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ebp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0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3.xml" ContentType="application/vnd.openxmlformats-officedocument.presentationml.notesSlide+xml"/>
  <Override PartName="/ppt/tags/tag85.xml" ContentType="application/vnd.openxmlformats-officedocument.presentationml.tags+xml"/>
  <Override PartName="/ppt/notesSlides/notesSlide14.xml" ContentType="application/vnd.openxmlformats-officedocument.presentationml.notesSlide+xml"/>
  <Override PartName="/ppt/tags/tag86.xml" ContentType="application/vnd.openxmlformats-officedocument.presentationml.tags+xml"/>
  <Override PartName="/ppt/notesSlides/notesSlide15.xml" ContentType="application/vnd.openxmlformats-officedocument.presentationml.notesSlide+xml"/>
  <Override PartName="/ppt/tags/tag87.xml" ContentType="application/vnd.openxmlformats-officedocument.presentationml.tags+xml"/>
  <Override PartName="/ppt/notesSlides/notesSlide16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26"/>
  </p:notesMasterIdLst>
  <p:handoutMasterIdLst>
    <p:handoutMasterId r:id="rId127"/>
  </p:handoutMasterIdLst>
  <p:sldIdLst>
    <p:sldId id="484" r:id="rId2"/>
    <p:sldId id="485" r:id="rId3"/>
    <p:sldId id="486" r:id="rId4"/>
    <p:sldId id="381" r:id="rId5"/>
    <p:sldId id="396" r:id="rId6"/>
    <p:sldId id="383" r:id="rId7"/>
    <p:sldId id="384" r:id="rId8"/>
    <p:sldId id="385" r:id="rId9"/>
    <p:sldId id="386" r:id="rId10"/>
    <p:sldId id="389" r:id="rId11"/>
    <p:sldId id="390" r:id="rId12"/>
    <p:sldId id="391" r:id="rId13"/>
    <p:sldId id="395" r:id="rId14"/>
    <p:sldId id="404" r:id="rId15"/>
    <p:sldId id="398" r:id="rId16"/>
    <p:sldId id="405" r:id="rId17"/>
    <p:sldId id="406" r:id="rId18"/>
    <p:sldId id="401" r:id="rId19"/>
    <p:sldId id="402" r:id="rId20"/>
    <p:sldId id="403" r:id="rId21"/>
    <p:sldId id="408" r:id="rId22"/>
    <p:sldId id="424" r:id="rId23"/>
    <p:sldId id="410" r:id="rId24"/>
    <p:sldId id="411" r:id="rId25"/>
    <p:sldId id="412" r:id="rId26"/>
    <p:sldId id="413" r:id="rId27"/>
    <p:sldId id="414" r:id="rId28"/>
    <p:sldId id="415" r:id="rId29"/>
    <p:sldId id="425" r:id="rId30"/>
    <p:sldId id="417" r:id="rId31"/>
    <p:sldId id="418" r:id="rId32"/>
    <p:sldId id="419" r:id="rId33"/>
    <p:sldId id="420" r:id="rId34"/>
    <p:sldId id="421" r:id="rId35"/>
    <p:sldId id="428" r:id="rId36"/>
    <p:sldId id="429" r:id="rId37"/>
    <p:sldId id="430" r:id="rId38"/>
    <p:sldId id="431" r:id="rId39"/>
    <p:sldId id="432" r:id="rId40"/>
    <p:sldId id="433" r:id="rId41"/>
    <p:sldId id="434" r:id="rId42"/>
    <p:sldId id="435" r:id="rId43"/>
    <p:sldId id="436" r:id="rId44"/>
    <p:sldId id="437" r:id="rId45"/>
    <p:sldId id="438" r:id="rId46"/>
    <p:sldId id="439" r:id="rId47"/>
    <p:sldId id="440" r:id="rId48"/>
    <p:sldId id="441" r:id="rId49"/>
    <p:sldId id="442" r:id="rId50"/>
    <p:sldId id="443" r:id="rId51"/>
    <p:sldId id="444" r:id="rId52"/>
    <p:sldId id="445" r:id="rId53"/>
    <p:sldId id="446" r:id="rId54"/>
    <p:sldId id="447" r:id="rId55"/>
    <p:sldId id="448" r:id="rId56"/>
    <p:sldId id="449" r:id="rId57"/>
    <p:sldId id="450" r:id="rId58"/>
    <p:sldId id="451" r:id="rId59"/>
    <p:sldId id="452" r:id="rId60"/>
    <p:sldId id="453" r:id="rId61"/>
    <p:sldId id="454" r:id="rId62"/>
    <p:sldId id="455" r:id="rId63"/>
    <p:sldId id="456" r:id="rId64"/>
    <p:sldId id="457" r:id="rId65"/>
    <p:sldId id="458" r:id="rId66"/>
    <p:sldId id="459" r:id="rId67"/>
    <p:sldId id="460" r:id="rId68"/>
    <p:sldId id="461" r:id="rId69"/>
    <p:sldId id="462" r:id="rId70"/>
    <p:sldId id="463" r:id="rId71"/>
    <p:sldId id="464" r:id="rId72"/>
    <p:sldId id="465" r:id="rId73"/>
    <p:sldId id="466" r:id="rId74"/>
    <p:sldId id="467" r:id="rId75"/>
    <p:sldId id="468" r:id="rId76"/>
    <p:sldId id="469" r:id="rId77"/>
    <p:sldId id="470" r:id="rId78"/>
    <p:sldId id="471" r:id="rId79"/>
    <p:sldId id="472" r:id="rId80"/>
    <p:sldId id="473" r:id="rId81"/>
    <p:sldId id="474" r:id="rId82"/>
    <p:sldId id="475" r:id="rId83"/>
    <p:sldId id="476" r:id="rId84"/>
    <p:sldId id="477" r:id="rId85"/>
    <p:sldId id="478" r:id="rId86"/>
    <p:sldId id="479" r:id="rId87"/>
    <p:sldId id="480" r:id="rId88"/>
    <p:sldId id="481" r:id="rId89"/>
    <p:sldId id="482" r:id="rId90"/>
    <p:sldId id="483" r:id="rId91"/>
    <p:sldId id="488" r:id="rId92"/>
    <p:sldId id="489" r:id="rId93"/>
    <p:sldId id="490" r:id="rId94"/>
    <p:sldId id="491" r:id="rId95"/>
    <p:sldId id="492" r:id="rId96"/>
    <p:sldId id="493" r:id="rId97"/>
    <p:sldId id="494" r:id="rId98"/>
    <p:sldId id="495" r:id="rId99"/>
    <p:sldId id="496" r:id="rId100"/>
    <p:sldId id="497" r:id="rId101"/>
    <p:sldId id="498" r:id="rId102"/>
    <p:sldId id="499" r:id="rId103"/>
    <p:sldId id="500" r:id="rId104"/>
    <p:sldId id="501" r:id="rId105"/>
    <p:sldId id="502" r:id="rId106"/>
    <p:sldId id="503" r:id="rId107"/>
    <p:sldId id="504" r:id="rId108"/>
    <p:sldId id="505" r:id="rId109"/>
    <p:sldId id="506" r:id="rId110"/>
    <p:sldId id="507" r:id="rId111"/>
    <p:sldId id="508" r:id="rId112"/>
    <p:sldId id="509" r:id="rId113"/>
    <p:sldId id="510" r:id="rId114"/>
    <p:sldId id="511" r:id="rId115"/>
    <p:sldId id="512" r:id="rId116"/>
    <p:sldId id="513" r:id="rId117"/>
    <p:sldId id="514" r:id="rId118"/>
    <p:sldId id="515" r:id="rId119"/>
    <p:sldId id="516" r:id="rId120"/>
    <p:sldId id="517" r:id="rId121"/>
    <p:sldId id="518" r:id="rId122"/>
    <p:sldId id="519" r:id="rId123"/>
    <p:sldId id="520" r:id="rId124"/>
    <p:sldId id="521" r:id="rId125"/>
  </p:sldIdLst>
  <p:sldSz cx="12192000" cy="6858000"/>
  <p:notesSz cx="6858000" cy="9144000"/>
  <p:custDataLst>
    <p:tags r:id="rId12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24089BA-10E1-4E88-9DF3-A70014003D3B}">
          <p14:sldIdLst>
            <p14:sldId id="484"/>
            <p14:sldId id="485"/>
            <p14:sldId id="486"/>
            <p14:sldId id="381"/>
            <p14:sldId id="396"/>
            <p14:sldId id="383"/>
            <p14:sldId id="384"/>
            <p14:sldId id="385"/>
            <p14:sldId id="386"/>
            <p14:sldId id="389"/>
            <p14:sldId id="390"/>
            <p14:sldId id="391"/>
            <p14:sldId id="395"/>
            <p14:sldId id="404"/>
            <p14:sldId id="398"/>
            <p14:sldId id="405"/>
            <p14:sldId id="406"/>
          </p14:sldIdLst>
        </p14:section>
        <p14:section name="Раздел без заголовка" id="{786807BB-2258-48F7-80AD-F58DAD50E92C}">
          <p14:sldIdLst>
            <p14:sldId id="401"/>
            <p14:sldId id="402"/>
            <p14:sldId id="403"/>
            <p14:sldId id="408"/>
            <p14:sldId id="424"/>
            <p14:sldId id="410"/>
            <p14:sldId id="411"/>
            <p14:sldId id="412"/>
            <p14:sldId id="413"/>
            <p14:sldId id="414"/>
            <p14:sldId id="415"/>
            <p14:sldId id="425"/>
            <p14:sldId id="417"/>
            <p14:sldId id="418"/>
            <p14:sldId id="419"/>
            <p14:sldId id="420"/>
            <p14:sldId id="421"/>
            <p14:sldId id="428"/>
            <p14:sldId id="429"/>
            <p14:sldId id="430"/>
            <p14:sldId id="431"/>
            <p14:sldId id="432"/>
            <p14:sldId id="433"/>
            <p14:sldId id="434"/>
            <p14:sldId id="435"/>
            <p14:sldId id="436"/>
            <p14:sldId id="437"/>
            <p14:sldId id="438"/>
            <p14:sldId id="439"/>
            <p14:sldId id="440"/>
            <p14:sldId id="441"/>
            <p14:sldId id="442"/>
            <p14:sldId id="443"/>
            <p14:sldId id="444"/>
            <p14:sldId id="445"/>
            <p14:sldId id="446"/>
            <p14:sldId id="447"/>
            <p14:sldId id="448"/>
            <p14:sldId id="449"/>
            <p14:sldId id="450"/>
            <p14:sldId id="451"/>
            <p14:sldId id="452"/>
            <p14:sldId id="453"/>
            <p14:sldId id="454"/>
            <p14:sldId id="455"/>
            <p14:sldId id="456"/>
            <p14:sldId id="457"/>
            <p14:sldId id="458"/>
            <p14:sldId id="459"/>
            <p14:sldId id="460"/>
            <p14:sldId id="461"/>
            <p14:sldId id="462"/>
            <p14:sldId id="463"/>
            <p14:sldId id="464"/>
            <p14:sldId id="465"/>
            <p14:sldId id="466"/>
            <p14:sldId id="467"/>
            <p14:sldId id="468"/>
            <p14:sldId id="469"/>
            <p14:sldId id="470"/>
            <p14:sldId id="471"/>
            <p14:sldId id="472"/>
            <p14:sldId id="473"/>
            <p14:sldId id="474"/>
            <p14:sldId id="475"/>
            <p14:sldId id="476"/>
            <p14:sldId id="477"/>
            <p14:sldId id="478"/>
            <p14:sldId id="479"/>
            <p14:sldId id="480"/>
            <p14:sldId id="481"/>
            <p14:sldId id="482"/>
            <p14:sldId id="483"/>
            <p14:sldId id="488"/>
            <p14:sldId id="489"/>
            <p14:sldId id="490"/>
            <p14:sldId id="491"/>
            <p14:sldId id="492"/>
            <p14:sldId id="493"/>
            <p14:sldId id="494"/>
            <p14:sldId id="495"/>
            <p14:sldId id="496"/>
            <p14:sldId id="497"/>
            <p14:sldId id="498"/>
            <p14:sldId id="499"/>
            <p14:sldId id="500"/>
            <p14:sldId id="501"/>
            <p14:sldId id="502"/>
            <p14:sldId id="503"/>
            <p14:sldId id="504"/>
            <p14:sldId id="505"/>
            <p14:sldId id="506"/>
            <p14:sldId id="507"/>
            <p14:sldId id="508"/>
            <p14:sldId id="509"/>
            <p14:sldId id="510"/>
            <p14:sldId id="511"/>
            <p14:sldId id="512"/>
            <p14:sldId id="513"/>
            <p14:sldId id="514"/>
            <p14:sldId id="515"/>
            <p14:sldId id="516"/>
            <p14:sldId id="517"/>
            <p14:sldId id="518"/>
            <p14:sldId id="519"/>
            <p14:sldId id="520"/>
            <p14:sldId id="52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000000"/>
    <a:srgbClr val="FFDD00"/>
    <a:srgbClr val="19191A"/>
    <a:srgbClr val="4D4D4F"/>
    <a:srgbClr val="FFFFFF"/>
    <a:srgbClr val="969696"/>
    <a:srgbClr val="4D4E4F"/>
    <a:srgbClr val="3B3B3B"/>
    <a:srgbClr val="FFB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75" autoAdjust="0"/>
    <p:restoredTop sz="94660"/>
  </p:normalViewPr>
  <p:slideViewPr>
    <p:cSldViewPr snapToGrid="0">
      <p:cViewPr varScale="1">
        <p:scale>
          <a:sx n="69" d="100"/>
          <a:sy n="69" d="100"/>
        </p:scale>
        <p:origin x="62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9" d="100"/>
          <a:sy n="49" d="100"/>
        </p:scale>
        <p:origin x="274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tags" Target="tags/tag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presProps" Target="presProps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viewProps" Target="viewProp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theme" Target="theme/theme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tableStyles" Target="tableStyle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549A83-D533-42D8-8E75-5B017B6AB5B7}" type="datetimeFigureOut">
              <a:rPr lang="ru-RU" smtClean="0"/>
              <a:t>02.10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67DB-950B-45CB-9474-12E8F2370C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70911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7E8DEA-0AF1-4C87-A5F7-005804322999}" type="datetimeFigureOut">
              <a:rPr lang="ru-RU" smtClean="0"/>
              <a:t>02.10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0E45B7-DE5A-456C-81EE-E71F1DC0A4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886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8902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2254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3009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5579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9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7050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9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7983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9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96636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9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7508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D86CE-FC70-4C38-AE61-2BEE7739A50A}" type="slidenum">
              <a: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9</a:t>
            </a:fld>
            <a:endParaRPr kumimoji="0" lang="ru-RU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075570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D86CE-FC70-4C38-AE61-2BEE7739A50A}" type="slidenum">
              <a: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0</a:t>
            </a:fld>
            <a:endParaRPr kumimoji="0" lang="ru-RU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50310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6598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1691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35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390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911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0380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9319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9298A-7553-4F64-B8D5-74D07E1620D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787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паттерном темн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Объект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111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6" name="Объект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6" name="Группа 255">
            <a:extLst>
              <a:ext uri="{FF2B5EF4-FFF2-40B4-BE49-F238E27FC236}">
                <a16:creationId xmlns:a16="http://schemas.microsoft.com/office/drawing/2014/main" id="{ECD95AE3-6917-4E0E-8326-D97F3A438889}"/>
              </a:ext>
            </a:extLst>
          </p:cNvPr>
          <p:cNvGrpSpPr/>
          <p:nvPr/>
        </p:nvGrpSpPr>
        <p:grpSpPr>
          <a:xfrm>
            <a:off x="11212286" y="3918810"/>
            <a:ext cx="979714" cy="979714"/>
            <a:chOff x="435428" y="11408228"/>
            <a:chExt cx="979714" cy="979714"/>
          </a:xfrm>
        </p:grpSpPr>
        <p:sp>
          <p:nvSpPr>
            <p:cNvPr id="136" name="Полилиния: фигура 135">
              <a:extLst>
                <a:ext uri="{FF2B5EF4-FFF2-40B4-BE49-F238E27FC236}">
                  <a16:creationId xmlns:a16="http://schemas.microsoft.com/office/drawing/2014/main" id="{BADA7BB2-A5AA-4246-A31D-BFA6B6077014}"/>
                </a:ext>
              </a:extLst>
            </p:cNvPr>
            <p:cNvSpPr/>
            <p:nvPr/>
          </p:nvSpPr>
          <p:spPr>
            <a:xfrm>
              <a:off x="925285" y="1189808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09" y="489617"/>
                    <a:pt x="489547" y="489617"/>
                  </a:cubicBez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Полилиния: фигура 136">
              <a:extLst>
                <a:ext uri="{FF2B5EF4-FFF2-40B4-BE49-F238E27FC236}">
                  <a16:creationId xmlns:a16="http://schemas.microsoft.com/office/drawing/2014/main" id="{3DF9420A-6F44-474C-A9DC-A08235BB2501}"/>
                </a:ext>
              </a:extLst>
            </p:cNvPr>
            <p:cNvSpPr/>
            <p:nvPr/>
          </p:nvSpPr>
          <p:spPr>
            <a:xfrm>
              <a:off x="435428" y="1140822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09" y="489617"/>
                    <a:pt x="489547" y="489617"/>
                  </a:cubicBez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Полилиния: фигура 137">
              <a:extLst>
                <a:ext uri="{FF2B5EF4-FFF2-40B4-BE49-F238E27FC236}">
                  <a16:creationId xmlns:a16="http://schemas.microsoft.com/office/drawing/2014/main" id="{6D2DA61A-7383-47F5-A402-24DAAF5CB999}"/>
                </a:ext>
              </a:extLst>
            </p:cNvPr>
            <p:cNvSpPr/>
            <p:nvPr/>
          </p:nvSpPr>
          <p:spPr>
            <a:xfrm>
              <a:off x="925285" y="1140822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228" y="489617"/>
                    <a:pt x="489547" y="270298"/>
                    <a:pt x="489547" y="-240"/>
                  </a:cubicBezTo>
                  <a:cubicBezTo>
                    <a:pt x="219009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Полилиния: фигура 138">
              <a:extLst>
                <a:ext uri="{FF2B5EF4-FFF2-40B4-BE49-F238E27FC236}">
                  <a16:creationId xmlns:a16="http://schemas.microsoft.com/office/drawing/2014/main" id="{5BE789FF-92AB-430F-9597-D960B393B880}"/>
                </a:ext>
              </a:extLst>
            </p:cNvPr>
            <p:cNvSpPr/>
            <p:nvPr/>
          </p:nvSpPr>
          <p:spPr>
            <a:xfrm>
              <a:off x="435428" y="1189808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228" y="489617"/>
                    <a:pt x="489547" y="270298"/>
                    <a:pt x="489547" y="-240"/>
                  </a:cubicBezTo>
                  <a:cubicBezTo>
                    <a:pt x="219009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CA59229B-EE8E-487A-BC67-E5F364F227C6}"/>
              </a:ext>
            </a:extLst>
          </p:cNvPr>
          <p:cNvGrpSpPr/>
          <p:nvPr/>
        </p:nvGrpSpPr>
        <p:grpSpPr>
          <a:xfrm>
            <a:off x="979714" y="5878310"/>
            <a:ext cx="979714" cy="979714"/>
            <a:chOff x="979714" y="5878310"/>
            <a:chExt cx="979714" cy="979714"/>
          </a:xfrm>
          <a:solidFill>
            <a:schemeClr val="bg1"/>
          </a:solidFill>
        </p:grpSpPr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C2DDC12E-D66F-4824-8BC2-E80BE2DD73A6}"/>
                </a:ext>
              </a:extLst>
            </p:cNvPr>
            <p:cNvSpPr/>
            <p:nvPr/>
          </p:nvSpPr>
          <p:spPr>
            <a:xfrm rot="16200000">
              <a:off x="979714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Полилиния: фигура 77">
              <a:extLst>
                <a:ext uri="{FF2B5EF4-FFF2-40B4-BE49-F238E27FC236}">
                  <a16:creationId xmlns:a16="http://schemas.microsoft.com/office/drawing/2014/main" id="{4B4ECD97-237D-4B48-9049-E4EC8C061485}"/>
                </a:ext>
              </a:extLst>
            </p:cNvPr>
            <p:cNvSpPr/>
            <p:nvPr/>
          </p:nvSpPr>
          <p:spPr>
            <a:xfrm>
              <a:off x="1224642" y="6123239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629866EB-766B-457B-A7A6-E79F9AD483F7}"/>
              </a:ext>
            </a:extLst>
          </p:cNvPr>
          <p:cNvGrpSpPr/>
          <p:nvPr/>
        </p:nvGrpSpPr>
        <p:grpSpPr>
          <a:xfrm>
            <a:off x="0" y="5878310"/>
            <a:ext cx="979715" cy="979714"/>
            <a:chOff x="0" y="5878310"/>
            <a:chExt cx="979715" cy="979714"/>
          </a:xfrm>
          <a:solidFill>
            <a:schemeClr val="tx1"/>
          </a:solidFill>
        </p:grpSpPr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A5E086CD-5F07-4AA6-8933-AC6A9CD2E999}"/>
                </a:ext>
              </a:extLst>
            </p:cNvPr>
            <p:cNvSpPr/>
            <p:nvPr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Полилиния: фигура 139">
              <a:extLst>
                <a:ext uri="{FF2B5EF4-FFF2-40B4-BE49-F238E27FC236}">
                  <a16:creationId xmlns:a16="http://schemas.microsoft.com/office/drawing/2014/main" id="{034DBDB6-12C3-4594-AF73-07D36538C92E}"/>
                </a:ext>
              </a:extLst>
            </p:cNvPr>
            <p:cNvSpPr/>
            <p:nvPr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Полилиния: фигура 140">
              <a:extLst>
                <a:ext uri="{FF2B5EF4-FFF2-40B4-BE49-F238E27FC236}">
                  <a16:creationId xmlns:a16="http://schemas.microsoft.com/office/drawing/2014/main" id="{040F9763-04B6-4CC6-A0F6-17B1B102C5F1}"/>
                </a:ext>
              </a:extLst>
            </p:cNvPr>
            <p:cNvSpPr/>
            <p:nvPr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141">
              <a:extLst>
                <a:ext uri="{FF2B5EF4-FFF2-40B4-BE49-F238E27FC236}">
                  <a16:creationId xmlns:a16="http://schemas.microsoft.com/office/drawing/2014/main" id="{9CD9A099-4583-4857-BA2A-19DCBAEF0A08}"/>
                </a:ext>
              </a:extLst>
            </p:cNvPr>
            <p:cNvSpPr/>
            <p:nvPr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Полилиния: фигура 142">
              <a:extLst>
                <a:ext uri="{FF2B5EF4-FFF2-40B4-BE49-F238E27FC236}">
                  <a16:creationId xmlns:a16="http://schemas.microsoft.com/office/drawing/2014/main" id="{8E76BC78-C554-4DCB-A452-B470C9BE0D3F}"/>
                </a:ext>
              </a:extLst>
            </p:cNvPr>
            <p:cNvSpPr/>
            <p:nvPr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54E18161-5270-4656-9BE0-C7E84AAF80B4}"/>
              </a:ext>
            </a:extLst>
          </p:cNvPr>
          <p:cNvGrpSpPr/>
          <p:nvPr/>
        </p:nvGrpSpPr>
        <p:grpSpPr>
          <a:xfrm>
            <a:off x="3918832" y="5877824"/>
            <a:ext cx="979763" cy="979714"/>
            <a:chOff x="3918832" y="5877824"/>
            <a:chExt cx="979763" cy="979714"/>
          </a:xfrm>
        </p:grpSpPr>
        <p:sp>
          <p:nvSpPr>
            <p:cNvPr id="185" name="Полилиния: фигура 184">
              <a:extLst>
                <a:ext uri="{FF2B5EF4-FFF2-40B4-BE49-F238E27FC236}">
                  <a16:creationId xmlns:a16="http://schemas.microsoft.com/office/drawing/2014/main" id="{DB9FCC3E-2838-4EFC-BB69-BE9E6132D3F8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Полилиния: фигура 185">
              <a:extLst>
                <a:ext uri="{FF2B5EF4-FFF2-40B4-BE49-F238E27FC236}">
                  <a16:creationId xmlns:a16="http://schemas.microsoft.com/office/drawing/2014/main" id="{7E069E49-BBB6-436A-A4BE-D24ED60BAEFD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Полилиния: фигура 186">
              <a:extLst>
                <a:ext uri="{FF2B5EF4-FFF2-40B4-BE49-F238E27FC236}">
                  <a16:creationId xmlns:a16="http://schemas.microsoft.com/office/drawing/2014/main" id="{35D2F51D-CB1C-4CF9-AD57-15ED227D7D67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6394556F-271F-4D9A-A738-312FB849987A}"/>
              </a:ext>
            </a:extLst>
          </p:cNvPr>
          <p:cNvGrpSpPr/>
          <p:nvPr/>
        </p:nvGrpSpPr>
        <p:grpSpPr>
          <a:xfrm>
            <a:off x="1959428" y="5878310"/>
            <a:ext cx="979714" cy="979714"/>
            <a:chOff x="1959428" y="5878310"/>
            <a:chExt cx="979714" cy="979714"/>
          </a:xfrm>
        </p:grpSpPr>
        <p:sp>
          <p:nvSpPr>
            <p:cNvPr id="192" name="Полилиния: фигура 191">
              <a:extLst>
                <a:ext uri="{FF2B5EF4-FFF2-40B4-BE49-F238E27FC236}">
                  <a16:creationId xmlns:a16="http://schemas.microsoft.com/office/drawing/2014/main" id="{4CCAC6B2-7370-43B5-BEA9-11C11BAE2533}"/>
                </a:ext>
              </a:extLst>
            </p:cNvPr>
            <p:cNvSpPr/>
            <p:nvPr/>
          </p:nvSpPr>
          <p:spPr>
            <a:xfrm>
              <a:off x="1959428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Полилиния: фигура 192">
              <a:extLst>
                <a:ext uri="{FF2B5EF4-FFF2-40B4-BE49-F238E27FC236}">
                  <a16:creationId xmlns:a16="http://schemas.microsoft.com/office/drawing/2014/main" id="{9C82A4A1-510A-42D8-BA6C-EE4E613F6BCE}"/>
                </a:ext>
              </a:extLst>
            </p:cNvPr>
            <p:cNvSpPr/>
            <p:nvPr/>
          </p:nvSpPr>
          <p:spPr>
            <a:xfrm>
              <a:off x="1959428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Полилиния: фигура 193">
              <a:extLst>
                <a:ext uri="{FF2B5EF4-FFF2-40B4-BE49-F238E27FC236}">
                  <a16:creationId xmlns:a16="http://schemas.microsoft.com/office/drawing/2014/main" id="{A4BE1AB5-CC37-47D8-8122-9A93D035ABED}"/>
                </a:ext>
              </a:extLst>
            </p:cNvPr>
            <p:cNvSpPr/>
            <p:nvPr/>
          </p:nvSpPr>
          <p:spPr>
            <a:xfrm>
              <a:off x="2449285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Полилиния: фигура 194">
              <a:extLst>
                <a:ext uri="{FF2B5EF4-FFF2-40B4-BE49-F238E27FC236}">
                  <a16:creationId xmlns:a16="http://schemas.microsoft.com/office/drawing/2014/main" id="{A3045010-0175-4DFB-819D-6888D7D4BCF8}"/>
                </a:ext>
              </a:extLst>
            </p:cNvPr>
            <p:cNvSpPr/>
            <p:nvPr/>
          </p:nvSpPr>
          <p:spPr>
            <a:xfrm>
              <a:off x="2449285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BCCD2995-E956-417F-B21B-35664D8F3E4D}"/>
              </a:ext>
            </a:extLst>
          </p:cNvPr>
          <p:cNvGrpSpPr/>
          <p:nvPr/>
        </p:nvGrpSpPr>
        <p:grpSpPr>
          <a:xfrm>
            <a:off x="9252833" y="25"/>
            <a:ext cx="979714" cy="979714"/>
            <a:chOff x="9252833" y="25"/>
            <a:chExt cx="979714" cy="979714"/>
          </a:xfrm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EC7D329E-BF65-41FB-A97F-7BF94125C18F}"/>
                </a:ext>
              </a:extLst>
            </p:cNvPr>
            <p:cNvSpPr/>
            <p:nvPr/>
          </p:nvSpPr>
          <p:spPr>
            <a:xfrm>
              <a:off x="9252833" y="25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Полилиния: фигура 35">
              <a:extLst>
                <a:ext uri="{FF2B5EF4-FFF2-40B4-BE49-F238E27FC236}">
                  <a16:creationId xmlns:a16="http://schemas.microsoft.com/office/drawing/2014/main" id="{0861E1E5-24E2-40A2-BB3B-2C5AFA60C5A0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1220D0ED-E517-4D98-BAE8-68113FD042B1}"/>
              </a:ext>
            </a:extLst>
          </p:cNvPr>
          <p:cNvGrpSpPr/>
          <p:nvPr/>
        </p:nvGrpSpPr>
        <p:grpSpPr>
          <a:xfrm>
            <a:off x="7293404" y="25"/>
            <a:ext cx="979714" cy="979714"/>
            <a:chOff x="7293404" y="25"/>
            <a:chExt cx="979714" cy="979714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16CE94B4-0D7E-47E1-886F-E236C37DD402}"/>
                </a:ext>
              </a:extLst>
            </p:cNvPr>
            <p:cNvSpPr/>
            <p:nvPr/>
          </p:nvSpPr>
          <p:spPr>
            <a:xfrm rot="16200000">
              <a:off x="7293404" y="25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28E77091-E3CC-4723-860F-9B387F97B2F4}"/>
                </a:ext>
              </a:extLst>
            </p:cNvPr>
            <p:cNvSpPr/>
            <p:nvPr/>
          </p:nvSpPr>
          <p:spPr>
            <a:xfrm>
              <a:off x="7293404" y="489882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id="{C15221AC-D0A9-4CE9-B8D6-1DD508A88412}"/>
                </a:ext>
              </a:extLst>
            </p:cNvPr>
            <p:cNvSpPr/>
            <p:nvPr/>
          </p:nvSpPr>
          <p:spPr>
            <a:xfrm>
              <a:off x="7293404" y="25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Полилиния: фигура 38">
              <a:extLst>
                <a:ext uri="{FF2B5EF4-FFF2-40B4-BE49-F238E27FC236}">
                  <a16:creationId xmlns:a16="http://schemas.microsoft.com/office/drawing/2014/main" id="{D4AE3F71-6BCA-4CC3-A20C-7C8B4ED39529}"/>
                </a:ext>
              </a:extLst>
            </p:cNvPr>
            <p:cNvSpPr/>
            <p:nvPr/>
          </p:nvSpPr>
          <p:spPr>
            <a:xfrm>
              <a:off x="7783261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Полилиния: фигура 39">
              <a:extLst>
                <a:ext uri="{FF2B5EF4-FFF2-40B4-BE49-F238E27FC236}">
                  <a16:creationId xmlns:a16="http://schemas.microsoft.com/office/drawing/2014/main" id="{9919190F-ACE3-4BC5-97EF-77617D484AB6}"/>
                </a:ext>
              </a:extLst>
            </p:cNvPr>
            <p:cNvSpPr/>
            <p:nvPr/>
          </p:nvSpPr>
          <p:spPr>
            <a:xfrm>
              <a:off x="7783261" y="489882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F5917ACC-88D1-41C0-B4F6-4D0F67FA81EF}"/>
              </a:ext>
            </a:extLst>
          </p:cNvPr>
          <p:cNvGrpSpPr/>
          <p:nvPr/>
        </p:nvGrpSpPr>
        <p:grpSpPr>
          <a:xfrm>
            <a:off x="11212261" y="1959453"/>
            <a:ext cx="979714" cy="979714"/>
            <a:chOff x="11212261" y="1959453"/>
            <a:chExt cx="979714" cy="979714"/>
          </a:xfrm>
        </p:grpSpPr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CD509DBA-B533-44DF-B1F6-18461B35F6CC}"/>
                </a:ext>
              </a:extLst>
            </p:cNvPr>
            <p:cNvSpPr/>
            <p:nvPr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A163077D-7E27-4D8F-992E-C78D3C4E490C}"/>
                </a:ext>
              </a:extLst>
            </p:cNvPr>
            <p:cNvSpPr/>
            <p:nvPr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319A51EB-78B3-4C96-9E82-D326BE953997}"/>
                </a:ext>
              </a:extLst>
            </p:cNvPr>
            <p:cNvSpPr/>
            <p:nvPr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1F51EE05-0046-4107-92DF-57F04912B538}"/>
                </a:ext>
              </a:extLst>
            </p:cNvPr>
            <p:cNvSpPr/>
            <p:nvPr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Полилиния: фигура 59">
            <a:extLst>
              <a:ext uri="{FF2B5EF4-FFF2-40B4-BE49-F238E27FC236}">
                <a16:creationId xmlns:a16="http://schemas.microsoft.com/office/drawing/2014/main" id="{C6FBF05D-48B1-4E7F-9948-223B323020B7}"/>
              </a:ext>
            </a:extLst>
          </p:cNvPr>
          <p:cNvSpPr/>
          <p:nvPr/>
        </p:nvSpPr>
        <p:spPr>
          <a:xfrm>
            <a:off x="10477475" y="1224667"/>
            <a:ext cx="489857" cy="489857"/>
          </a:xfrm>
          <a:custGeom>
            <a:avLst/>
            <a:gdLst>
              <a:gd name="connsiteX0" fmla="*/ 489857 w 489857"/>
              <a:gd name="connsiteY0" fmla="*/ 244929 h 489857"/>
              <a:gd name="connsiteX1" fmla="*/ 244929 w 489857"/>
              <a:gd name="connsiteY1" fmla="*/ 489857 h 489857"/>
              <a:gd name="connsiteX2" fmla="*/ 0 w 489857"/>
              <a:gd name="connsiteY2" fmla="*/ 244929 h 489857"/>
              <a:gd name="connsiteX3" fmla="*/ 244929 w 489857"/>
              <a:gd name="connsiteY3" fmla="*/ 0 h 489857"/>
              <a:gd name="connsiteX4" fmla="*/ 489857 w 489857"/>
              <a:gd name="connsiteY4" fmla="*/ 24492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489857" y="244929"/>
                </a:moveTo>
                <a:cubicBezTo>
                  <a:pt x="489857" y="380199"/>
                  <a:pt x="380199" y="489857"/>
                  <a:pt x="244929" y="489857"/>
                </a:cubicBezTo>
                <a:cubicBezTo>
                  <a:pt x="109658" y="489857"/>
                  <a:pt x="0" y="380199"/>
                  <a:pt x="0" y="244929"/>
                </a:cubicBezTo>
                <a:cubicBezTo>
                  <a:pt x="0" y="109658"/>
                  <a:pt x="109658" y="0"/>
                  <a:pt x="244929" y="0"/>
                </a:cubicBezTo>
                <a:cubicBezTo>
                  <a:pt x="380199" y="0"/>
                  <a:pt x="489857" y="109658"/>
                  <a:pt x="489857" y="244929"/>
                </a:cubicBezTo>
                <a:close/>
              </a:path>
            </a:pathLst>
          </a:custGeom>
          <a:solidFill>
            <a:schemeClr val="bg2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F42128F7-4C9F-45AF-AAFB-AE3CD4A4E90B}"/>
              </a:ext>
            </a:extLst>
          </p:cNvPr>
          <p:cNvGrpSpPr/>
          <p:nvPr/>
        </p:nvGrpSpPr>
        <p:grpSpPr>
          <a:xfrm>
            <a:off x="10232547" y="1959453"/>
            <a:ext cx="979714" cy="979714"/>
            <a:chOff x="10232547" y="1959453"/>
            <a:chExt cx="979714" cy="979714"/>
          </a:xfrm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CAEFCC71-06E7-4967-A41A-88ACD0A902EB}"/>
                </a:ext>
              </a:extLst>
            </p:cNvPr>
            <p:cNvSpPr/>
            <p:nvPr/>
          </p:nvSpPr>
          <p:spPr>
            <a:xfrm rot="16200000">
              <a:off x="10232547" y="1959453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Полилиния: фигура 60">
              <a:extLst>
                <a:ext uri="{FF2B5EF4-FFF2-40B4-BE49-F238E27FC236}">
                  <a16:creationId xmlns:a16="http://schemas.microsoft.com/office/drawing/2014/main" id="{46038D64-C84F-4E9C-A992-D48C10224D2A}"/>
                </a:ext>
              </a:extLst>
            </p:cNvPr>
            <p:cNvSpPr/>
            <p:nvPr/>
          </p:nvSpPr>
          <p:spPr>
            <a:xfrm>
              <a:off x="10232547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Полилиния: фигура 61">
              <a:extLst>
                <a:ext uri="{FF2B5EF4-FFF2-40B4-BE49-F238E27FC236}">
                  <a16:creationId xmlns:a16="http://schemas.microsoft.com/office/drawing/2014/main" id="{FFE5DEB1-524D-430C-9CE3-5FA4E7A02126}"/>
                </a:ext>
              </a:extLst>
            </p:cNvPr>
            <p:cNvSpPr/>
            <p:nvPr/>
          </p:nvSpPr>
          <p:spPr>
            <a:xfrm>
              <a:off x="10232547" y="1959453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Полилиния: фигура 62">
              <a:extLst>
                <a:ext uri="{FF2B5EF4-FFF2-40B4-BE49-F238E27FC236}">
                  <a16:creationId xmlns:a16="http://schemas.microsoft.com/office/drawing/2014/main" id="{9A64166C-AEE7-4BCA-804F-3BC24E54D733}"/>
                </a:ext>
              </a:extLst>
            </p:cNvPr>
            <p:cNvSpPr/>
            <p:nvPr/>
          </p:nvSpPr>
          <p:spPr>
            <a:xfrm>
              <a:off x="10722404" y="1959453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Полилиния: фигура 63">
              <a:extLst>
                <a:ext uri="{FF2B5EF4-FFF2-40B4-BE49-F238E27FC236}">
                  <a16:creationId xmlns:a16="http://schemas.microsoft.com/office/drawing/2014/main" id="{8C5A8605-9ECD-4EF1-8E60-AFCFD6B3D51D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4AA1D64C-CF37-4B2D-99A5-2E1F80762337}"/>
              </a:ext>
            </a:extLst>
          </p:cNvPr>
          <p:cNvGrpSpPr/>
          <p:nvPr/>
        </p:nvGrpSpPr>
        <p:grpSpPr>
          <a:xfrm>
            <a:off x="10232547" y="25"/>
            <a:ext cx="979714" cy="979714"/>
            <a:chOff x="10232547" y="25"/>
            <a:chExt cx="979714" cy="979714"/>
          </a:xfrm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3459CD28-4DA2-4516-8226-82ED9A7C52A6}"/>
                </a:ext>
              </a:extLst>
            </p:cNvPr>
            <p:cNvSpPr/>
            <p:nvPr/>
          </p:nvSpPr>
          <p:spPr>
            <a:xfrm rot="16200000">
              <a:off x="10232547" y="25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Полилиния: фигура 64">
              <a:extLst>
                <a:ext uri="{FF2B5EF4-FFF2-40B4-BE49-F238E27FC236}">
                  <a16:creationId xmlns:a16="http://schemas.microsoft.com/office/drawing/2014/main" id="{CDC5EC26-A53D-46A8-ACB5-50DA15A7A1E2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Полилиния: фигура 65">
              <a:extLst>
                <a:ext uri="{FF2B5EF4-FFF2-40B4-BE49-F238E27FC236}">
                  <a16:creationId xmlns:a16="http://schemas.microsoft.com/office/drawing/2014/main" id="{F1946BA5-9A24-48D6-9405-492A4DB9E79B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Полилиния: фигура 66">
              <a:extLst>
                <a:ext uri="{FF2B5EF4-FFF2-40B4-BE49-F238E27FC236}">
                  <a16:creationId xmlns:a16="http://schemas.microsoft.com/office/drawing/2014/main" id="{8446FB5C-1877-4196-9B17-10C460241CA9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Полилиния: фигура 67">
              <a:extLst>
                <a:ext uri="{FF2B5EF4-FFF2-40B4-BE49-F238E27FC236}">
                  <a16:creationId xmlns:a16="http://schemas.microsoft.com/office/drawing/2014/main" id="{5938DBD3-1649-48AC-AAA0-D64EE1201C3F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C930C507-5C34-43A7-AEC7-EE9D769D5B55}"/>
              </a:ext>
            </a:extLst>
          </p:cNvPr>
          <p:cNvGrpSpPr/>
          <p:nvPr/>
        </p:nvGrpSpPr>
        <p:grpSpPr>
          <a:xfrm>
            <a:off x="11401541" y="1143057"/>
            <a:ext cx="545506" cy="653078"/>
            <a:chOff x="11401541" y="1143057"/>
            <a:chExt cx="545506" cy="653078"/>
          </a:xfrm>
        </p:grpSpPr>
        <p:sp>
          <p:nvSpPr>
            <p:cNvPr id="103" name="Полилиния: фигура 102">
              <a:extLst>
                <a:ext uri="{FF2B5EF4-FFF2-40B4-BE49-F238E27FC236}">
                  <a16:creationId xmlns:a16="http://schemas.microsoft.com/office/drawing/2014/main" id="{C50ED4C5-82FE-427E-87BE-1FC56AE9674C}"/>
                </a:ext>
              </a:extLst>
            </p:cNvPr>
            <p:cNvSpPr/>
            <p:nvPr/>
          </p:nvSpPr>
          <p:spPr>
            <a:xfrm>
              <a:off x="11401541" y="1597449"/>
              <a:ext cx="300576" cy="198686"/>
            </a:xfrm>
            <a:custGeom>
              <a:avLst/>
              <a:gdLst>
                <a:gd name="connsiteX0" fmla="*/ -310 w 300576"/>
                <a:gd name="connsiteY0" fmla="*/ -240 h 198686"/>
                <a:gd name="connsiteX1" fmla="*/ 300267 w 300576"/>
                <a:gd name="connsiteY1" fmla="*/ 198446 h 198686"/>
                <a:gd name="connsiteX2" fmla="*/ -310 w 300576"/>
                <a:gd name="connsiteY2" fmla="*/ -240 h 198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576" h="198686">
                  <a:moveTo>
                    <a:pt x="-310" y="-240"/>
                  </a:moveTo>
                  <a:cubicBezTo>
                    <a:pt x="51028" y="120255"/>
                    <a:pt x="169279" y="198466"/>
                    <a:pt x="300267" y="198446"/>
                  </a:cubicBezTo>
                  <a:cubicBezTo>
                    <a:pt x="248930" y="77951"/>
                    <a:pt x="130678" y="-259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Полилиния: фигура 103">
              <a:extLst>
                <a:ext uri="{FF2B5EF4-FFF2-40B4-BE49-F238E27FC236}">
                  <a16:creationId xmlns:a16="http://schemas.microsoft.com/office/drawing/2014/main" id="{4C8E45E4-8744-44C6-AB08-4764879AF1D2}"/>
                </a:ext>
              </a:extLst>
            </p:cNvPr>
            <p:cNvSpPr/>
            <p:nvPr/>
          </p:nvSpPr>
          <p:spPr>
            <a:xfrm>
              <a:off x="1145719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Полилиния: фигура 104">
              <a:extLst>
                <a:ext uri="{FF2B5EF4-FFF2-40B4-BE49-F238E27FC236}">
                  <a16:creationId xmlns:a16="http://schemas.microsoft.com/office/drawing/2014/main" id="{F42A29E0-C857-4255-9E3C-64E7824FE21C}"/>
                </a:ext>
              </a:extLst>
            </p:cNvPr>
            <p:cNvSpPr/>
            <p:nvPr/>
          </p:nvSpPr>
          <p:spPr>
            <a:xfrm>
              <a:off x="11702118" y="1652509"/>
              <a:ext cx="223081" cy="143625"/>
            </a:xfrm>
            <a:custGeom>
              <a:avLst/>
              <a:gdLst>
                <a:gd name="connsiteX0" fmla="*/ -310 w 223081"/>
                <a:gd name="connsiteY0" fmla="*/ 143386 h 143625"/>
                <a:gd name="connsiteX1" fmla="*/ 222771 w 223081"/>
                <a:gd name="connsiteY1" fmla="*/ -240 h 143625"/>
                <a:gd name="connsiteX2" fmla="*/ -310 w 223081"/>
                <a:gd name="connsiteY2" fmla="*/ 143386 h 143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081" h="143625">
                  <a:moveTo>
                    <a:pt x="-310" y="143386"/>
                  </a:moveTo>
                  <a:cubicBezTo>
                    <a:pt x="95801" y="143415"/>
                    <a:pt x="182994" y="87248"/>
                    <a:pt x="222771" y="-240"/>
                  </a:cubicBezTo>
                  <a:cubicBezTo>
                    <a:pt x="126661" y="-270"/>
                    <a:pt x="39467" y="55897"/>
                    <a:pt x="-310" y="143386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Полилиния: фигура 105">
              <a:extLst>
                <a:ext uri="{FF2B5EF4-FFF2-40B4-BE49-F238E27FC236}">
                  <a16:creationId xmlns:a16="http://schemas.microsoft.com/office/drawing/2014/main" id="{E211E195-B6C9-436B-8E35-D1876A5A8E0A}"/>
                </a:ext>
              </a:extLst>
            </p:cNvPr>
            <p:cNvSpPr/>
            <p:nvPr/>
          </p:nvSpPr>
          <p:spPr>
            <a:xfrm>
              <a:off x="1157965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066FB9AB-2CD5-4AB7-82DC-A90CEA40C467}"/>
              </a:ext>
            </a:extLst>
          </p:cNvPr>
          <p:cNvGrpSpPr/>
          <p:nvPr/>
        </p:nvGrpSpPr>
        <p:grpSpPr>
          <a:xfrm>
            <a:off x="9252833" y="979714"/>
            <a:ext cx="979714" cy="979763"/>
            <a:chOff x="9252833" y="979714"/>
            <a:chExt cx="979714" cy="979763"/>
          </a:xfrm>
        </p:grpSpPr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B9C21BF7-60A9-4015-A905-63CD92318A9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157">
              <a:extLst>
                <a:ext uri="{FF2B5EF4-FFF2-40B4-BE49-F238E27FC236}">
                  <a16:creationId xmlns:a16="http://schemas.microsoft.com/office/drawing/2014/main" id="{43601776-0B2E-41F1-9543-02B1116A0ADF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Полилиния: фигура 158">
              <a:extLst>
                <a:ext uri="{FF2B5EF4-FFF2-40B4-BE49-F238E27FC236}">
                  <a16:creationId xmlns:a16="http://schemas.microsoft.com/office/drawing/2014/main" id="{8423E724-4902-42ED-984A-C1864466591B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Полилиния: фигура 159">
              <a:extLst>
                <a:ext uri="{FF2B5EF4-FFF2-40B4-BE49-F238E27FC236}">
                  <a16:creationId xmlns:a16="http://schemas.microsoft.com/office/drawing/2014/main" id="{741AFE2C-13EA-47C0-98EF-BDAD5085E5A2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761668E6-E8F2-4824-B98B-D4E0741E0543}"/>
              </a:ext>
            </a:extLst>
          </p:cNvPr>
          <p:cNvGrpSpPr/>
          <p:nvPr/>
        </p:nvGrpSpPr>
        <p:grpSpPr>
          <a:xfrm>
            <a:off x="8460243" y="187150"/>
            <a:ext cx="605463" cy="605463"/>
            <a:chOff x="8460243" y="187150"/>
            <a:chExt cx="605463" cy="605463"/>
          </a:xfrm>
          <a:solidFill>
            <a:schemeClr val="bg2"/>
          </a:solidFill>
        </p:grpSpPr>
        <p:sp>
          <p:nvSpPr>
            <p:cNvPr id="163" name="Полилиния: фигура 162">
              <a:extLst>
                <a:ext uri="{FF2B5EF4-FFF2-40B4-BE49-F238E27FC236}">
                  <a16:creationId xmlns:a16="http://schemas.microsoft.com/office/drawing/2014/main" id="{B291E06A-AC6C-458E-9720-F4ACA5C91108}"/>
                </a:ext>
              </a:extLst>
            </p:cNvPr>
            <p:cNvSpPr/>
            <p:nvPr/>
          </p:nvSpPr>
          <p:spPr>
            <a:xfrm>
              <a:off x="8592015" y="318922"/>
              <a:ext cx="341920" cy="341920"/>
            </a:xfrm>
            <a:custGeom>
              <a:avLst/>
              <a:gdLst>
                <a:gd name="connsiteX0" fmla="*/ 341920 w 341920"/>
                <a:gd name="connsiteY0" fmla="*/ 170960 h 341920"/>
                <a:gd name="connsiteX1" fmla="*/ 170960 w 341920"/>
                <a:gd name="connsiteY1" fmla="*/ 341920 h 341920"/>
                <a:gd name="connsiteX2" fmla="*/ 0 w 341920"/>
                <a:gd name="connsiteY2" fmla="*/ 170960 h 341920"/>
                <a:gd name="connsiteX3" fmla="*/ 170960 w 341920"/>
                <a:gd name="connsiteY3" fmla="*/ 0 h 341920"/>
                <a:gd name="connsiteX4" fmla="*/ 341920 w 341920"/>
                <a:gd name="connsiteY4" fmla="*/ 170960 h 34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1920" h="341920">
                  <a:moveTo>
                    <a:pt x="341920" y="170960"/>
                  </a:moveTo>
                  <a:cubicBezTo>
                    <a:pt x="341920" y="265379"/>
                    <a:pt x="265379" y="341920"/>
                    <a:pt x="170960" y="341920"/>
                  </a:cubicBezTo>
                  <a:cubicBezTo>
                    <a:pt x="76541" y="341920"/>
                    <a:pt x="0" y="265379"/>
                    <a:pt x="0" y="170960"/>
                  </a:cubicBezTo>
                  <a:cubicBezTo>
                    <a:pt x="0" y="76541"/>
                    <a:pt x="76541" y="0"/>
                    <a:pt x="170960" y="0"/>
                  </a:cubicBezTo>
                  <a:cubicBezTo>
                    <a:pt x="265379" y="0"/>
                    <a:pt x="341920" y="76541"/>
                    <a:pt x="341920" y="17096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163">
              <a:extLst>
                <a:ext uri="{FF2B5EF4-FFF2-40B4-BE49-F238E27FC236}">
                  <a16:creationId xmlns:a16="http://schemas.microsoft.com/office/drawing/2014/main" id="{48C9C058-E527-42EF-B18F-880607EC6F42}"/>
                </a:ext>
              </a:extLst>
            </p:cNvPr>
            <p:cNvSpPr/>
            <p:nvPr/>
          </p:nvSpPr>
          <p:spPr>
            <a:xfrm>
              <a:off x="8460243" y="187150"/>
              <a:ext cx="605463" cy="605463"/>
            </a:xfrm>
            <a:custGeom>
              <a:avLst/>
              <a:gdLst>
                <a:gd name="connsiteX0" fmla="*/ 302422 w 605463"/>
                <a:gd name="connsiteY0" fmla="*/ -240 h 605463"/>
                <a:gd name="connsiteX1" fmla="*/ 273031 w 605463"/>
                <a:gd name="connsiteY1" fmla="*/ 29151 h 605463"/>
                <a:gd name="connsiteX2" fmla="*/ 273031 w 605463"/>
                <a:gd name="connsiteY2" fmla="*/ 72847 h 605463"/>
                <a:gd name="connsiteX3" fmla="*/ 302422 w 605463"/>
                <a:gd name="connsiteY3" fmla="*/ 102238 h 605463"/>
                <a:gd name="connsiteX4" fmla="*/ 331813 w 605463"/>
                <a:gd name="connsiteY4" fmla="*/ 72847 h 605463"/>
                <a:gd name="connsiteX5" fmla="*/ 331813 w 605463"/>
                <a:gd name="connsiteY5" fmla="*/ 29151 h 605463"/>
                <a:gd name="connsiteX6" fmla="*/ 302422 w 605463"/>
                <a:gd name="connsiteY6" fmla="*/ -240 h 605463"/>
                <a:gd name="connsiteX7" fmla="*/ 302422 w 605463"/>
                <a:gd name="connsiteY7" fmla="*/ 502745 h 605463"/>
                <a:gd name="connsiteX8" fmla="*/ 273031 w 605463"/>
                <a:gd name="connsiteY8" fmla="*/ 532137 h 605463"/>
                <a:gd name="connsiteX9" fmla="*/ 273031 w 605463"/>
                <a:gd name="connsiteY9" fmla="*/ 575832 h 605463"/>
                <a:gd name="connsiteX10" fmla="*/ 302422 w 605463"/>
                <a:gd name="connsiteY10" fmla="*/ 605223 h 605463"/>
                <a:gd name="connsiteX11" fmla="*/ 331813 w 605463"/>
                <a:gd name="connsiteY11" fmla="*/ 575832 h 605463"/>
                <a:gd name="connsiteX12" fmla="*/ 331813 w 605463"/>
                <a:gd name="connsiteY12" fmla="*/ 532137 h 605463"/>
                <a:gd name="connsiteX13" fmla="*/ 302422 w 605463"/>
                <a:gd name="connsiteY13" fmla="*/ 502745 h 605463"/>
                <a:gd name="connsiteX14" fmla="*/ 102169 w 605463"/>
                <a:gd name="connsiteY14" fmla="*/ 302492 h 605463"/>
                <a:gd name="connsiteX15" fmla="*/ 72778 w 605463"/>
                <a:gd name="connsiteY15" fmla="*/ 273100 h 605463"/>
                <a:gd name="connsiteX16" fmla="*/ 29081 w 605463"/>
                <a:gd name="connsiteY16" fmla="*/ 273100 h 605463"/>
                <a:gd name="connsiteX17" fmla="*/ -310 w 605463"/>
                <a:gd name="connsiteY17" fmla="*/ 302492 h 605463"/>
                <a:gd name="connsiteX18" fmla="*/ 29081 w 605463"/>
                <a:gd name="connsiteY18" fmla="*/ 331883 h 605463"/>
                <a:gd name="connsiteX19" fmla="*/ 72778 w 605463"/>
                <a:gd name="connsiteY19" fmla="*/ 331883 h 605463"/>
                <a:gd name="connsiteX20" fmla="*/ 102169 w 605463"/>
                <a:gd name="connsiteY20" fmla="*/ 302492 h 605463"/>
                <a:gd name="connsiteX21" fmla="*/ 575763 w 605463"/>
                <a:gd name="connsiteY21" fmla="*/ 273100 h 605463"/>
                <a:gd name="connsiteX22" fmla="*/ 532066 w 605463"/>
                <a:gd name="connsiteY22" fmla="*/ 273100 h 605463"/>
                <a:gd name="connsiteX23" fmla="*/ 502675 w 605463"/>
                <a:gd name="connsiteY23" fmla="*/ 302492 h 605463"/>
                <a:gd name="connsiteX24" fmla="*/ 532066 w 605463"/>
                <a:gd name="connsiteY24" fmla="*/ 331883 h 605463"/>
                <a:gd name="connsiteX25" fmla="*/ 575763 w 605463"/>
                <a:gd name="connsiteY25" fmla="*/ 331883 h 605463"/>
                <a:gd name="connsiteX26" fmla="*/ 605154 w 605463"/>
                <a:gd name="connsiteY26" fmla="*/ 302492 h 605463"/>
                <a:gd name="connsiteX27" fmla="*/ 575763 w 605463"/>
                <a:gd name="connsiteY27" fmla="*/ 273100 h 605463"/>
                <a:gd name="connsiteX28" fmla="*/ 129894 w 605463"/>
                <a:gd name="connsiteY28" fmla="*/ 88424 h 605463"/>
                <a:gd name="connsiteX29" fmla="*/ 88355 w 605463"/>
                <a:gd name="connsiteY29" fmla="*/ 86955 h 605463"/>
                <a:gd name="connsiteX30" fmla="*/ 86885 w 605463"/>
                <a:gd name="connsiteY30" fmla="*/ 128494 h 605463"/>
                <a:gd name="connsiteX31" fmla="*/ 88355 w 605463"/>
                <a:gd name="connsiteY31" fmla="*/ 129964 h 605463"/>
                <a:gd name="connsiteX32" fmla="*/ 119216 w 605463"/>
                <a:gd name="connsiteY32" fmla="*/ 160923 h 605463"/>
                <a:gd name="connsiteX33" fmla="*/ 160854 w 605463"/>
                <a:gd name="connsiteY33" fmla="*/ 160923 h 605463"/>
                <a:gd name="connsiteX34" fmla="*/ 160854 w 605463"/>
                <a:gd name="connsiteY34" fmla="*/ 119285 h 605463"/>
                <a:gd name="connsiteX35" fmla="*/ 485628 w 605463"/>
                <a:gd name="connsiteY35" fmla="*/ 444061 h 605463"/>
                <a:gd name="connsiteX36" fmla="*/ 443990 w 605463"/>
                <a:gd name="connsiteY36" fmla="*/ 444061 h 605463"/>
                <a:gd name="connsiteX37" fmla="*/ 443990 w 605463"/>
                <a:gd name="connsiteY37" fmla="*/ 485698 h 605463"/>
                <a:gd name="connsiteX38" fmla="*/ 474950 w 605463"/>
                <a:gd name="connsiteY38" fmla="*/ 516559 h 605463"/>
                <a:gd name="connsiteX39" fmla="*/ 516489 w 605463"/>
                <a:gd name="connsiteY39" fmla="*/ 516559 h 605463"/>
                <a:gd name="connsiteX40" fmla="*/ 516489 w 605463"/>
                <a:gd name="connsiteY40" fmla="*/ 475019 h 605463"/>
                <a:gd name="connsiteX41" fmla="*/ 119216 w 605463"/>
                <a:gd name="connsiteY41" fmla="*/ 444061 h 605463"/>
                <a:gd name="connsiteX42" fmla="*/ 88355 w 605463"/>
                <a:gd name="connsiteY42" fmla="*/ 475019 h 605463"/>
                <a:gd name="connsiteX43" fmla="*/ 88355 w 605463"/>
                <a:gd name="connsiteY43" fmla="*/ 516589 h 605463"/>
                <a:gd name="connsiteX44" fmla="*/ 109125 w 605463"/>
                <a:gd name="connsiteY44" fmla="*/ 525181 h 605463"/>
                <a:gd name="connsiteX45" fmla="*/ 129894 w 605463"/>
                <a:gd name="connsiteY45" fmla="*/ 516559 h 605463"/>
                <a:gd name="connsiteX46" fmla="*/ 160854 w 605463"/>
                <a:gd name="connsiteY46" fmla="*/ 485698 h 605463"/>
                <a:gd name="connsiteX47" fmla="*/ 160854 w 605463"/>
                <a:gd name="connsiteY47" fmla="*/ 444061 h 605463"/>
                <a:gd name="connsiteX48" fmla="*/ 119216 w 605463"/>
                <a:gd name="connsiteY48" fmla="*/ 444061 h 605463"/>
                <a:gd name="connsiteX49" fmla="*/ 464858 w 605463"/>
                <a:gd name="connsiteY49" fmla="*/ 169740 h 605463"/>
                <a:gd name="connsiteX50" fmla="*/ 485628 w 605463"/>
                <a:gd name="connsiteY50" fmla="*/ 161217 h 605463"/>
                <a:gd name="connsiteX51" fmla="*/ 516489 w 605463"/>
                <a:gd name="connsiteY51" fmla="*/ 130258 h 605463"/>
                <a:gd name="connsiteX52" fmla="*/ 517959 w 605463"/>
                <a:gd name="connsiteY52" fmla="*/ 88718 h 605463"/>
                <a:gd name="connsiteX53" fmla="*/ 476419 w 605463"/>
                <a:gd name="connsiteY53" fmla="*/ 87248 h 605463"/>
                <a:gd name="connsiteX54" fmla="*/ 474950 w 605463"/>
                <a:gd name="connsiteY54" fmla="*/ 88718 h 605463"/>
                <a:gd name="connsiteX55" fmla="*/ 443990 w 605463"/>
                <a:gd name="connsiteY55" fmla="*/ 119579 h 605463"/>
                <a:gd name="connsiteX56" fmla="*/ 443990 w 605463"/>
                <a:gd name="connsiteY56" fmla="*/ 161148 h 605463"/>
                <a:gd name="connsiteX57" fmla="*/ 464858 w 605463"/>
                <a:gd name="connsiteY57" fmla="*/ 169740 h 60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5463" h="605463">
                  <a:moveTo>
                    <a:pt x="302422" y="-240"/>
                  </a:moveTo>
                  <a:cubicBezTo>
                    <a:pt x="286158" y="-240"/>
                    <a:pt x="273031" y="12917"/>
                    <a:pt x="273031" y="29151"/>
                  </a:cubicBezTo>
                  <a:lnTo>
                    <a:pt x="273031" y="72847"/>
                  </a:lnTo>
                  <a:cubicBezTo>
                    <a:pt x="273031" y="89081"/>
                    <a:pt x="286158" y="102238"/>
                    <a:pt x="302422" y="102238"/>
                  </a:cubicBezTo>
                  <a:cubicBezTo>
                    <a:pt x="318686" y="102238"/>
                    <a:pt x="331813" y="89081"/>
                    <a:pt x="331813" y="72847"/>
                  </a:cubicBezTo>
                  <a:lnTo>
                    <a:pt x="331813" y="29151"/>
                  </a:lnTo>
                  <a:cubicBezTo>
                    <a:pt x="331813" y="12917"/>
                    <a:pt x="318686" y="-240"/>
                    <a:pt x="302422" y="-240"/>
                  </a:cubicBezTo>
                  <a:close/>
                  <a:moveTo>
                    <a:pt x="302422" y="502745"/>
                  </a:moveTo>
                  <a:cubicBezTo>
                    <a:pt x="286158" y="502745"/>
                    <a:pt x="273031" y="515903"/>
                    <a:pt x="273031" y="532137"/>
                  </a:cubicBezTo>
                  <a:lnTo>
                    <a:pt x="273031" y="575832"/>
                  </a:lnTo>
                  <a:cubicBezTo>
                    <a:pt x="273031" y="592066"/>
                    <a:pt x="286158" y="605223"/>
                    <a:pt x="302422" y="605223"/>
                  </a:cubicBezTo>
                  <a:cubicBezTo>
                    <a:pt x="318686" y="605223"/>
                    <a:pt x="331813" y="592066"/>
                    <a:pt x="331813" y="575832"/>
                  </a:cubicBezTo>
                  <a:lnTo>
                    <a:pt x="331813" y="532137"/>
                  </a:lnTo>
                  <a:cubicBezTo>
                    <a:pt x="331813" y="515903"/>
                    <a:pt x="318686" y="502745"/>
                    <a:pt x="302422" y="502745"/>
                  </a:cubicBezTo>
                  <a:close/>
                  <a:moveTo>
                    <a:pt x="102169" y="302492"/>
                  </a:moveTo>
                  <a:cubicBezTo>
                    <a:pt x="102169" y="286258"/>
                    <a:pt x="89040" y="273100"/>
                    <a:pt x="72778" y="273100"/>
                  </a:cubicBezTo>
                  <a:lnTo>
                    <a:pt x="29081" y="273100"/>
                  </a:lnTo>
                  <a:cubicBezTo>
                    <a:pt x="12818" y="273100"/>
                    <a:pt x="-310" y="286258"/>
                    <a:pt x="-310" y="302492"/>
                  </a:cubicBezTo>
                  <a:cubicBezTo>
                    <a:pt x="-310" y="318726"/>
                    <a:pt x="12818" y="331883"/>
                    <a:pt x="29081" y="331883"/>
                  </a:cubicBezTo>
                  <a:lnTo>
                    <a:pt x="72778" y="331883"/>
                  </a:lnTo>
                  <a:cubicBezTo>
                    <a:pt x="89040" y="331883"/>
                    <a:pt x="102169" y="318726"/>
                    <a:pt x="102169" y="302492"/>
                  </a:cubicBezTo>
                  <a:close/>
                  <a:moveTo>
                    <a:pt x="575763" y="273100"/>
                  </a:moveTo>
                  <a:lnTo>
                    <a:pt x="532066" y="273100"/>
                  </a:lnTo>
                  <a:cubicBezTo>
                    <a:pt x="515804" y="273100"/>
                    <a:pt x="502675" y="286258"/>
                    <a:pt x="502675" y="302492"/>
                  </a:cubicBezTo>
                  <a:cubicBezTo>
                    <a:pt x="502675" y="318726"/>
                    <a:pt x="515804" y="331883"/>
                    <a:pt x="532066" y="331883"/>
                  </a:cubicBezTo>
                  <a:lnTo>
                    <a:pt x="575763" y="331883"/>
                  </a:lnTo>
                  <a:cubicBezTo>
                    <a:pt x="592026" y="331883"/>
                    <a:pt x="605154" y="318726"/>
                    <a:pt x="605154" y="302492"/>
                  </a:cubicBezTo>
                  <a:cubicBezTo>
                    <a:pt x="605154" y="286258"/>
                    <a:pt x="592026" y="273100"/>
                    <a:pt x="575763" y="273100"/>
                  </a:cubicBezTo>
                  <a:close/>
                  <a:moveTo>
                    <a:pt x="129894" y="88424"/>
                  </a:moveTo>
                  <a:cubicBezTo>
                    <a:pt x="118824" y="76550"/>
                    <a:pt x="100209" y="75894"/>
                    <a:pt x="88355" y="86955"/>
                  </a:cubicBezTo>
                  <a:cubicBezTo>
                    <a:pt x="76499" y="98025"/>
                    <a:pt x="75814" y="116620"/>
                    <a:pt x="86885" y="128494"/>
                  </a:cubicBezTo>
                  <a:cubicBezTo>
                    <a:pt x="87375" y="129004"/>
                    <a:pt x="87864" y="129494"/>
                    <a:pt x="88355" y="129964"/>
                  </a:cubicBezTo>
                  <a:lnTo>
                    <a:pt x="119216" y="160923"/>
                  </a:lnTo>
                  <a:cubicBezTo>
                    <a:pt x="130678" y="172425"/>
                    <a:pt x="149391" y="172425"/>
                    <a:pt x="160854" y="160923"/>
                  </a:cubicBezTo>
                  <a:cubicBezTo>
                    <a:pt x="172316" y="149421"/>
                    <a:pt x="172316" y="130787"/>
                    <a:pt x="160854" y="119285"/>
                  </a:cubicBezTo>
                  <a:close/>
                  <a:moveTo>
                    <a:pt x="485628" y="444061"/>
                  </a:moveTo>
                  <a:cubicBezTo>
                    <a:pt x="474166" y="432559"/>
                    <a:pt x="455453" y="432559"/>
                    <a:pt x="443990" y="444061"/>
                  </a:cubicBezTo>
                  <a:cubicBezTo>
                    <a:pt x="432528" y="455562"/>
                    <a:pt x="432528" y="474196"/>
                    <a:pt x="443990" y="485698"/>
                  </a:cubicBezTo>
                  <a:lnTo>
                    <a:pt x="474950" y="516559"/>
                  </a:lnTo>
                  <a:cubicBezTo>
                    <a:pt x="486413" y="528022"/>
                    <a:pt x="505027" y="528022"/>
                    <a:pt x="516489" y="516559"/>
                  </a:cubicBezTo>
                  <a:cubicBezTo>
                    <a:pt x="527952" y="505087"/>
                    <a:pt x="527952" y="486492"/>
                    <a:pt x="516489" y="475019"/>
                  </a:cubicBezTo>
                  <a:close/>
                  <a:moveTo>
                    <a:pt x="119216" y="444061"/>
                  </a:moveTo>
                  <a:lnTo>
                    <a:pt x="88355" y="475019"/>
                  </a:lnTo>
                  <a:cubicBezTo>
                    <a:pt x="76892" y="486502"/>
                    <a:pt x="76892" y="505116"/>
                    <a:pt x="88355" y="516589"/>
                  </a:cubicBezTo>
                  <a:cubicBezTo>
                    <a:pt x="93840" y="522085"/>
                    <a:pt x="101384" y="525171"/>
                    <a:pt x="109125" y="525181"/>
                  </a:cubicBezTo>
                  <a:cubicBezTo>
                    <a:pt x="116962" y="525171"/>
                    <a:pt x="124407" y="522075"/>
                    <a:pt x="129894" y="516559"/>
                  </a:cubicBezTo>
                  <a:lnTo>
                    <a:pt x="160854" y="485698"/>
                  </a:lnTo>
                  <a:cubicBezTo>
                    <a:pt x="172316" y="474196"/>
                    <a:pt x="172316" y="455562"/>
                    <a:pt x="160854" y="444061"/>
                  </a:cubicBezTo>
                  <a:cubicBezTo>
                    <a:pt x="149391" y="432559"/>
                    <a:pt x="130678" y="432559"/>
                    <a:pt x="119216" y="444061"/>
                  </a:cubicBezTo>
                  <a:close/>
                  <a:moveTo>
                    <a:pt x="464858" y="169740"/>
                  </a:moveTo>
                  <a:cubicBezTo>
                    <a:pt x="472598" y="169760"/>
                    <a:pt x="480142" y="166694"/>
                    <a:pt x="485628" y="161217"/>
                  </a:cubicBezTo>
                  <a:lnTo>
                    <a:pt x="516489" y="130258"/>
                  </a:lnTo>
                  <a:cubicBezTo>
                    <a:pt x="528345" y="119187"/>
                    <a:pt x="529030" y="100592"/>
                    <a:pt x="517959" y="88718"/>
                  </a:cubicBezTo>
                  <a:cubicBezTo>
                    <a:pt x="506888" y="76844"/>
                    <a:pt x="488273" y="76187"/>
                    <a:pt x="476419" y="87248"/>
                  </a:cubicBezTo>
                  <a:cubicBezTo>
                    <a:pt x="475929" y="87719"/>
                    <a:pt x="475440" y="88208"/>
                    <a:pt x="474950" y="88718"/>
                  </a:cubicBezTo>
                  <a:lnTo>
                    <a:pt x="443990" y="119579"/>
                  </a:lnTo>
                  <a:cubicBezTo>
                    <a:pt x="432528" y="131061"/>
                    <a:pt x="432528" y="149676"/>
                    <a:pt x="443990" y="161148"/>
                  </a:cubicBezTo>
                  <a:cubicBezTo>
                    <a:pt x="449575" y="166664"/>
                    <a:pt x="457021" y="169760"/>
                    <a:pt x="464858" y="1697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E6EDDE70-D96A-4AF0-A963-DFC5E317E9DF}"/>
              </a:ext>
            </a:extLst>
          </p:cNvPr>
          <p:cNvGrpSpPr/>
          <p:nvPr/>
        </p:nvGrpSpPr>
        <p:grpSpPr>
          <a:xfrm>
            <a:off x="6436154" y="122489"/>
            <a:ext cx="734785" cy="734785"/>
            <a:chOff x="6436154" y="122489"/>
            <a:chExt cx="734785" cy="734785"/>
          </a:xfrm>
        </p:grpSpPr>
        <p:sp>
          <p:nvSpPr>
            <p:cNvPr id="165" name="Полилиния: фигура 164">
              <a:extLst>
                <a:ext uri="{FF2B5EF4-FFF2-40B4-BE49-F238E27FC236}">
                  <a16:creationId xmlns:a16="http://schemas.microsoft.com/office/drawing/2014/main" id="{2A81ED5C-A92B-4D47-8C83-68D402E52E6E}"/>
                </a:ext>
              </a:extLst>
            </p:cNvPr>
            <p:cNvSpPr/>
            <p:nvPr/>
          </p:nvSpPr>
          <p:spPr>
            <a:xfrm>
              <a:off x="6926011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Полилиния: фигура 165">
              <a:extLst>
                <a:ext uri="{FF2B5EF4-FFF2-40B4-BE49-F238E27FC236}">
                  <a16:creationId xmlns:a16="http://schemas.microsoft.com/office/drawing/2014/main" id="{EE87FE63-1026-406A-B2F2-7931F03D63A1}"/>
                </a:ext>
              </a:extLst>
            </p:cNvPr>
            <p:cNvSpPr/>
            <p:nvPr/>
          </p:nvSpPr>
          <p:spPr>
            <a:xfrm>
              <a:off x="6436154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Полилиния: фигура 166">
              <a:extLst>
                <a:ext uri="{FF2B5EF4-FFF2-40B4-BE49-F238E27FC236}">
                  <a16:creationId xmlns:a16="http://schemas.microsoft.com/office/drawing/2014/main" id="{A37354AA-A6DD-4D6B-9FAC-5E4690891AD0}"/>
                </a:ext>
              </a:extLst>
            </p:cNvPr>
            <p:cNvSpPr/>
            <p:nvPr/>
          </p:nvSpPr>
          <p:spPr>
            <a:xfrm>
              <a:off x="6926011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167">
              <a:extLst>
                <a:ext uri="{FF2B5EF4-FFF2-40B4-BE49-F238E27FC236}">
                  <a16:creationId xmlns:a16="http://schemas.microsoft.com/office/drawing/2014/main" id="{AB7081E8-773C-49ED-BCCB-C838A59023E3}"/>
                </a:ext>
              </a:extLst>
            </p:cNvPr>
            <p:cNvSpPr/>
            <p:nvPr/>
          </p:nvSpPr>
          <p:spPr>
            <a:xfrm>
              <a:off x="6681083" y="367417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Полилиния: фигура 168">
              <a:extLst>
                <a:ext uri="{FF2B5EF4-FFF2-40B4-BE49-F238E27FC236}">
                  <a16:creationId xmlns:a16="http://schemas.microsoft.com/office/drawing/2014/main" id="{D646D978-97EC-48E9-B4A8-A4A6F9D30562}"/>
                </a:ext>
              </a:extLst>
            </p:cNvPr>
            <p:cNvSpPr/>
            <p:nvPr/>
          </p:nvSpPr>
          <p:spPr>
            <a:xfrm>
              <a:off x="6436154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7BCE63D-03FD-404E-9458-F8E3EFBBCFBD}"/>
              </a:ext>
            </a:extLst>
          </p:cNvPr>
          <p:cNvGrpSpPr/>
          <p:nvPr/>
        </p:nvGrpSpPr>
        <p:grpSpPr>
          <a:xfrm>
            <a:off x="8273118" y="979739"/>
            <a:ext cx="979714" cy="979714"/>
            <a:chOff x="8273118" y="979739"/>
            <a:chExt cx="979714" cy="979714"/>
          </a:xfrm>
        </p:grpSpPr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D20A8817-F84F-4F82-8619-04118A25FC56}"/>
                </a:ext>
              </a:extLst>
            </p:cNvPr>
            <p:cNvSpPr/>
            <p:nvPr/>
          </p:nvSpPr>
          <p:spPr>
            <a:xfrm rot="5400000">
              <a:off x="827311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Полилиния: фигура 179">
              <a:extLst>
                <a:ext uri="{FF2B5EF4-FFF2-40B4-BE49-F238E27FC236}">
                  <a16:creationId xmlns:a16="http://schemas.microsoft.com/office/drawing/2014/main" id="{4DADD3D2-3D81-45E8-BF16-CC3DA7AD836A}"/>
                </a:ext>
              </a:extLst>
            </p:cNvPr>
            <p:cNvSpPr/>
            <p:nvPr/>
          </p:nvSpPr>
          <p:spPr>
            <a:xfrm>
              <a:off x="8885440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Полилиния: фигура 180">
              <a:extLst>
                <a:ext uri="{FF2B5EF4-FFF2-40B4-BE49-F238E27FC236}">
                  <a16:creationId xmlns:a16="http://schemas.microsoft.com/office/drawing/2014/main" id="{0B0C6158-75B5-4E61-86B5-931764D3A3B7}"/>
                </a:ext>
              </a:extLst>
            </p:cNvPr>
            <p:cNvSpPr/>
            <p:nvPr/>
          </p:nvSpPr>
          <p:spPr>
            <a:xfrm>
              <a:off x="8395583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Полилиния: фигура 181">
              <a:extLst>
                <a:ext uri="{FF2B5EF4-FFF2-40B4-BE49-F238E27FC236}">
                  <a16:creationId xmlns:a16="http://schemas.microsoft.com/office/drawing/2014/main" id="{588FE40D-77A4-4D0F-9A4F-D642160E108C}"/>
                </a:ext>
              </a:extLst>
            </p:cNvPr>
            <p:cNvSpPr/>
            <p:nvPr/>
          </p:nvSpPr>
          <p:spPr>
            <a:xfrm>
              <a:off x="8885440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Полилиния: фигура 182">
              <a:extLst>
                <a:ext uri="{FF2B5EF4-FFF2-40B4-BE49-F238E27FC236}">
                  <a16:creationId xmlns:a16="http://schemas.microsoft.com/office/drawing/2014/main" id="{B100302D-F757-4DC0-8A83-E88A98835871}"/>
                </a:ext>
              </a:extLst>
            </p:cNvPr>
            <p:cNvSpPr/>
            <p:nvPr/>
          </p:nvSpPr>
          <p:spPr>
            <a:xfrm>
              <a:off x="8640511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183">
              <a:extLst>
                <a:ext uri="{FF2B5EF4-FFF2-40B4-BE49-F238E27FC236}">
                  <a16:creationId xmlns:a16="http://schemas.microsoft.com/office/drawing/2014/main" id="{DC5B6DB2-0730-48A1-B6AE-29F41B8C871D}"/>
                </a:ext>
              </a:extLst>
            </p:cNvPr>
            <p:cNvSpPr/>
            <p:nvPr/>
          </p:nvSpPr>
          <p:spPr>
            <a:xfrm>
              <a:off x="8395583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7B661A19-13F6-4A15-8484-E822B8E09FD7}"/>
              </a:ext>
            </a:extLst>
          </p:cNvPr>
          <p:cNvGrpSpPr/>
          <p:nvPr/>
        </p:nvGrpSpPr>
        <p:grpSpPr>
          <a:xfrm>
            <a:off x="11212236" y="2939167"/>
            <a:ext cx="979764" cy="979714"/>
            <a:chOff x="11212236" y="2939167"/>
            <a:chExt cx="979764" cy="979714"/>
          </a:xfrm>
        </p:grpSpPr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515EC5F0-A401-459E-B485-69A93C1DA1A3}"/>
                </a:ext>
              </a:extLst>
            </p:cNvPr>
            <p:cNvSpPr/>
            <p:nvPr/>
          </p:nvSpPr>
          <p:spPr>
            <a:xfrm rot="10800000">
              <a:off x="11212261" y="2939167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Полилиния: фигура 195">
              <a:extLst>
                <a:ext uri="{FF2B5EF4-FFF2-40B4-BE49-F238E27FC236}">
                  <a16:creationId xmlns:a16="http://schemas.microsoft.com/office/drawing/2014/main" id="{E5F25B68-2EC6-4D56-919C-98E630A6DE9A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Полилиния: фигура 196">
              <a:extLst>
                <a:ext uri="{FF2B5EF4-FFF2-40B4-BE49-F238E27FC236}">
                  <a16:creationId xmlns:a16="http://schemas.microsoft.com/office/drawing/2014/main" id="{E2275AFD-CFE4-422C-BB41-D6CA5299F960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Полилиния: фигура 197">
              <a:extLst>
                <a:ext uri="{FF2B5EF4-FFF2-40B4-BE49-F238E27FC236}">
                  <a16:creationId xmlns:a16="http://schemas.microsoft.com/office/drawing/2014/main" id="{9CE9A69C-C451-490F-9383-BED64E8D0441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AD98B825-AF18-43B1-B0FF-F03309B1070B}"/>
              </a:ext>
            </a:extLst>
          </p:cNvPr>
          <p:cNvGrpSpPr/>
          <p:nvPr/>
        </p:nvGrpSpPr>
        <p:grpSpPr>
          <a:xfrm>
            <a:off x="11212261" y="0"/>
            <a:ext cx="979714" cy="979763"/>
            <a:chOff x="11212261" y="0"/>
            <a:chExt cx="979714" cy="979763"/>
          </a:xfrm>
        </p:grpSpPr>
        <p:sp>
          <p:nvSpPr>
            <p:cNvPr id="199" name="Полилиния: фигура 198">
              <a:extLst>
                <a:ext uri="{FF2B5EF4-FFF2-40B4-BE49-F238E27FC236}">
                  <a16:creationId xmlns:a16="http://schemas.microsoft.com/office/drawing/2014/main" id="{ECF8DDA7-F0CB-40E8-A032-F548960EDEC9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Полилиния: фигура 199">
              <a:extLst>
                <a:ext uri="{FF2B5EF4-FFF2-40B4-BE49-F238E27FC236}">
                  <a16:creationId xmlns:a16="http://schemas.microsoft.com/office/drawing/2014/main" id="{4BA92410-FB0B-40AA-95AB-2B4A2B7CC382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Полилиния: фигура 200">
              <a:extLst>
                <a:ext uri="{FF2B5EF4-FFF2-40B4-BE49-F238E27FC236}">
                  <a16:creationId xmlns:a16="http://schemas.microsoft.com/office/drawing/2014/main" id="{733293B6-26B3-485A-90DD-CAFC051C69BA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24" name="Группа 623">
            <a:extLst>
              <a:ext uri="{FF2B5EF4-FFF2-40B4-BE49-F238E27FC236}">
                <a16:creationId xmlns:a16="http://schemas.microsoft.com/office/drawing/2014/main" id="{B50044AD-9A7E-4E1A-8C89-3BAEB2121FDD}"/>
              </a:ext>
            </a:extLst>
          </p:cNvPr>
          <p:cNvGrpSpPr/>
          <p:nvPr/>
        </p:nvGrpSpPr>
        <p:grpSpPr>
          <a:xfrm>
            <a:off x="9250947" y="5879124"/>
            <a:ext cx="978876" cy="978876"/>
            <a:chOff x="8516790" y="10745439"/>
            <a:chExt cx="978876" cy="978876"/>
          </a:xfrm>
        </p:grpSpPr>
        <p:sp>
          <p:nvSpPr>
            <p:cNvPr id="452" name="Полилиния: фигура 451">
              <a:extLst>
                <a:ext uri="{FF2B5EF4-FFF2-40B4-BE49-F238E27FC236}">
                  <a16:creationId xmlns:a16="http://schemas.microsoft.com/office/drawing/2014/main" id="{84B44415-C758-40C8-8314-484D15E4CE57}"/>
                </a:ext>
              </a:extLst>
            </p:cNvPr>
            <p:cNvSpPr/>
            <p:nvPr/>
          </p:nvSpPr>
          <p:spPr>
            <a:xfrm>
              <a:off x="8516790" y="10745439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chemeClr val="bg2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3" name="Полилиния: фигура 452">
              <a:extLst>
                <a:ext uri="{FF2B5EF4-FFF2-40B4-BE49-F238E27FC236}">
                  <a16:creationId xmlns:a16="http://schemas.microsoft.com/office/drawing/2014/main" id="{BECE4CAB-50FA-4873-9A0C-3C2F4A598A1A}"/>
                </a:ext>
              </a:extLst>
            </p:cNvPr>
            <p:cNvSpPr/>
            <p:nvPr/>
          </p:nvSpPr>
          <p:spPr>
            <a:xfrm>
              <a:off x="9006228" y="10745439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chemeClr val="tx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3" name="Полилиния: фигура 512">
            <a:extLst>
              <a:ext uri="{FF2B5EF4-FFF2-40B4-BE49-F238E27FC236}">
                <a16:creationId xmlns:a16="http://schemas.microsoft.com/office/drawing/2014/main" id="{A0B69E39-F345-4C47-AEE4-2BFA4439EDED}"/>
              </a:ext>
            </a:extLst>
          </p:cNvPr>
          <p:cNvSpPr/>
          <p:nvPr/>
        </p:nvSpPr>
        <p:spPr>
          <a:xfrm>
            <a:off x="10478966" y="6123843"/>
            <a:ext cx="489438" cy="489438"/>
          </a:xfrm>
          <a:custGeom>
            <a:avLst/>
            <a:gdLst>
              <a:gd name="connsiteX0" fmla="*/ 489438 w 489438"/>
              <a:gd name="connsiteY0" fmla="*/ 244719 h 489438"/>
              <a:gd name="connsiteX1" fmla="*/ 244719 w 489438"/>
              <a:gd name="connsiteY1" fmla="*/ 489438 h 489438"/>
              <a:gd name="connsiteX2" fmla="*/ 0 w 489438"/>
              <a:gd name="connsiteY2" fmla="*/ 244719 h 489438"/>
              <a:gd name="connsiteX3" fmla="*/ 244719 w 489438"/>
              <a:gd name="connsiteY3" fmla="*/ 0 h 489438"/>
              <a:gd name="connsiteX4" fmla="*/ 489438 w 489438"/>
              <a:gd name="connsiteY4" fmla="*/ 244719 h 48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438" h="489438">
                <a:moveTo>
                  <a:pt x="489438" y="244719"/>
                </a:moveTo>
                <a:cubicBezTo>
                  <a:pt x="489438" y="379874"/>
                  <a:pt x="379874" y="489438"/>
                  <a:pt x="244719" y="489438"/>
                </a:cubicBezTo>
                <a:cubicBezTo>
                  <a:pt x="109564" y="489438"/>
                  <a:pt x="0" y="379874"/>
                  <a:pt x="0" y="244719"/>
                </a:cubicBezTo>
                <a:cubicBezTo>
                  <a:pt x="0" y="109564"/>
                  <a:pt x="109564" y="0"/>
                  <a:pt x="244719" y="0"/>
                </a:cubicBezTo>
                <a:cubicBezTo>
                  <a:pt x="379874" y="0"/>
                  <a:pt x="489438" y="109564"/>
                  <a:pt x="489438" y="244719"/>
                </a:cubicBezTo>
                <a:close/>
              </a:path>
            </a:pathLst>
          </a:custGeom>
          <a:solidFill>
            <a:schemeClr val="bg2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F5132FEB-CFD8-4B0D-8EA5-4F88CE26565D}"/>
              </a:ext>
            </a:extLst>
          </p:cNvPr>
          <p:cNvGrpSpPr/>
          <p:nvPr/>
        </p:nvGrpSpPr>
        <p:grpSpPr>
          <a:xfrm>
            <a:off x="11335484" y="5022606"/>
            <a:ext cx="734157" cy="734158"/>
            <a:chOff x="11335484" y="5022606"/>
            <a:chExt cx="734157" cy="734158"/>
          </a:xfrm>
        </p:grpSpPr>
        <p:sp>
          <p:nvSpPr>
            <p:cNvPr id="539" name="Полилиния: фигура 538">
              <a:extLst>
                <a:ext uri="{FF2B5EF4-FFF2-40B4-BE49-F238E27FC236}">
                  <a16:creationId xmlns:a16="http://schemas.microsoft.com/office/drawing/2014/main" id="{CA156623-E264-4E49-A6F2-3C3876E9979C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chemeClr val="bg2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0" name="Полилиния: фигура 539">
              <a:extLst>
                <a:ext uri="{FF2B5EF4-FFF2-40B4-BE49-F238E27FC236}">
                  <a16:creationId xmlns:a16="http://schemas.microsoft.com/office/drawing/2014/main" id="{5FDEEBE7-373A-4E22-B5F6-F59C3C459617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chemeClr val="bg2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1" name="Полилиния: фигура 540">
              <a:extLst>
                <a:ext uri="{FF2B5EF4-FFF2-40B4-BE49-F238E27FC236}">
                  <a16:creationId xmlns:a16="http://schemas.microsoft.com/office/drawing/2014/main" id="{2B96FC31-EE2E-45C1-9C7B-5782A2805CAC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chemeClr val="tx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2" name="Полилиния: фигура 541">
              <a:extLst>
                <a:ext uri="{FF2B5EF4-FFF2-40B4-BE49-F238E27FC236}">
                  <a16:creationId xmlns:a16="http://schemas.microsoft.com/office/drawing/2014/main" id="{A6D5F13D-7EFC-4975-9CF3-4A8FECAD8EDF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chemeClr val="bg2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3" name="Полилиния: фигура 542">
              <a:extLst>
                <a:ext uri="{FF2B5EF4-FFF2-40B4-BE49-F238E27FC236}">
                  <a16:creationId xmlns:a16="http://schemas.microsoft.com/office/drawing/2014/main" id="{DD0A8BBE-BAAE-40BD-B297-697ADF52CDFF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chemeClr val="tx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88" name="Полилиния: фигура 387">
            <a:extLst>
              <a:ext uri="{FF2B5EF4-FFF2-40B4-BE49-F238E27FC236}">
                <a16:creationId xmlns:a16="http://schemas.microsoft.com/office/drawing/2014/main" id="{5F070198-501B-4D27-86D7-07D2C786DDE2}"/>
              </a:ext>
            </a:extLst>
          </p:cNvPr>
          <p:cNvSpPr/>
          <p:nvPr/>
        </p:nvSpPr>
        <p:spPr>
          <a:xfrm rot="16200000">
            <a:off x="11213124" y="5879124"/>
            <a:ext cx="978876" cy="978876"/>
          </a:xfrm>
          <a:custGeom>
            <a:avLst/>
            <a:gdLst>
              <a:gd name="connsiteX0" fmla="*/ -310 w 978876"/>
              <a:gd name="connsiteY0" fmla="*/ -240 h 978876"/>
              <a:gd name="connsiteX1" fmla="*/ 978567 w 978876"/>
              <a:gd name="connsiteY1" fmla="*/ -240 h 978876"/>
              <a:gd name="connsiteX2" fmla="*/ 978567 w 978876"/>
              <a:gd name="connsiteY2" fmla="*/ 978637 h 978876"/>
              <a:gd name="connsiteX3" fmla="*/ -310 w 978876"/>
              <a:gd name="connsiteY3" fmla="*/ 978637 h 97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8876" h="978876">
                <a:moveTo>
                  <a:pt x="-310" y="-240"/>
                </a:moveTo>
                <a:lnTo>
                  <a:pt x="978567" y="-240"/>
                </a:lnTo>
                <a:lnTo>
                  <a:pt x="978567" y="978637"/>
                </a:lnTo>
                <a:lnTo>
                  <a:pt x="-310" y="978637"/>
                </a:lnTo>
                <a:close/>
              </a:path>
            </a:pathLst>
          </a:custGeom>
          <a:solidFill>
            <a:schemeClr val="tx1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EE632E81-45DB-44E4-9159-DEAFE77E3A66}"/>
              </a:ext>
            </a:extLst>
          </p:cNvPr>
          <p:cNvGrpSpPr/>
          <p:nvPr/>
        </p:nvGrpSpPr>
        <p:grpSpPr>
          <a:xfrm>
            <a:off x="5094572" y="6068734"/>
            <a:ext cx="605463" cy="605463"/>
            <a:chOff x="5094572" y="6068734"/>
            <a:chExt cx="605463" cy="605463"/>
          </a:xfrm>
          <a:solidFill>
            <a:schemeClr val="bg2"/>
          </a:solidFill>
        </p:grpSpPr>
        <p:sp>
          <p:nvSpPr>
            <p:cNvPr id="693" name="Полилиния: фигура 692">
              <a:extLst>
                <a:ext uri="{FF2B5EF4-FFF2-40B4-BE49-F238E27FC236}">
                  <a16:creationId xmlns:a16="http://schemas.microsoft.com/office/drawing/2014/main" id="{9E5C8D50-49FC-4CFD-8A18-7D589F38C0CE}"/>
                </a:ext>
              </a:extLst>
            </p:cNvPr>
            <p:cNvSpPr/>
            <p:nvPr/>
          </p:nvSpPr>
          <p:spPr>
            <a:xfrm>
              <a:off x="5226343" y="6200506"/>
              <a:ext cx="341920" cy="341920"/>
            </a:xfrm>
            <a:custGeom>
              <a:avLst/>
              <a:gdLst>
                <a:gd name="connsiteX0" fmla="*/ 341920 w 341920"/>
                <a:gd name="connsiteY0" fmla="*/ 170960 h 341920"/>
                <a:gd name="connsiteX1" fmla="*/ 170960 w 341920"/>
                <a:gd name="connsiteY1" fmla="*/ 341920 h 341920"/>
                <a:gd name="connsiteX2" fmla="*/ 0 w 341920"/>
                <a:gd name="connsiteY2" fmla="*/ 170960 h 341920"/>
                <a:gd name="connsiteX3" fmla="*/ 170960 w 341920"/>
                <a:gd name="connsiteY3" fmla="*/ 0 h 341920"/>
                <a:gd name="connsiteX4" fmla="*/ 341920 w 341920"/>
                <a:gd name="connsiteY4" fmla="*/ 170960 h 34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1920" h="341920">
                  <a:moveTo>
                    <a:pt x="341920" y="170960"/>
                  </a:moveTo>
                  <a:cubicBezTo>
                    <a:pt x="341920" y="265379"/>
                    <a:pt x="265379" y="341920"/>
                    <a:pt x="170960" y="341920"/>
                  </a:cubicBezTo>
                  <a:cubicBezTo>
                    <a:pt x="76542" y="341920"/>
                    <a:pt x="0" y="265379"/>
                    <a:pt x="0" y="170960"/>
                  </a:cubicBezTo>
                  <a:cubicBezTo>
                    <a:pt x="0" y="76541"/>
                    <a:pt x="76542" y="0"/>
                    <a:pt x="170960" y="0"/>
                  </a:cubicBezTo>
                  <a:cubicBezTo>
                    <a:pt x="265379" y="0"/>
                    <a:pt x="341920" y="76541"/>
                    <a:pt x="341920" y="170960"/>
                  </a:cubicBezTo>
                  <a:close/>
                </a:path>
              </a:pathLst>
            </a:custGeom>
            <a:grpFill/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4" name="Полилиния: фигура 693">
              <a:extLst>
                <a:ext uri="{FF2B5EF4-FFF2-40B4-BE49-F238E27FC236}">
                  <a16:creationId xmlns:a16="http://schemas.microsoft.com/office/drawing/2014/main" id="{BBD285D6-79A9-4D1B-9429-B79004A47704}"/>
                </a:ext>
              </a:extLst>
            </p:cNvPr>
            <p:cNvSpPr/>
            <p:nvPr/>
          </p:nvSpPr>
          <p:spPr>
            <a:xfrm>
              <a:off x="5094572" y="6068734"/>
              <a:ext cx="605463" cy="605463"/>
            </a:xfrm>
            <a:custGeom>
              <a:avLst/>
              <a:gdLst>
                <a:gd name="connsiteX0" fmla="*/ 299524 w 605463"/>
                <a:gd name="connsiteY0" fmla="*/ -240 h 605463"/>
                <a:gd name="connsiteX1" fmla="*/ 270132 w 605463"/>
                <a:gd name="connsiteY1" fmla="*/ 29151 h 605463"/>
                <a:gd name="connsiteX2" fmla="*/ 270132 w 605463"/>
                <a:gd name="connsiteY2" fmla="*/ 72847 h 605463"/>
                <a:gd name="connsiteX3" fmla="*/ 299524 w 605463"/>
                <a:gd name="connsiteY3" fmla="*/ 102238 h 605463"/>
                <a:gd name="connsiteX4" fmla="*/ 328915 w 605463"/>
                <a:gd name="connsiteY4" fmla="*/ 72847 h 605463"/>
                <a:gd name="connsiteX5" fmla="*/ 328915 w 605463"/>
                <a:gd name="connsiteY5" fmla="*/ 29151 h 605463"/>
                <a:gd name="connsiteX6" fmla="*/ 299524 w 605463"/>
                <a:gd name="connsiteY6" fmla="*/ -240 h 605463"/>
                <a:gd name="connsiteX7" fmla="*/ 299524 w 605463"/>
                <a:gd name="connsiteY7" fmla="*/ 502745 h 605463"/>
                <a:gd name="connsiteX8" fmla="*/ 270132 w 605463"/>
                <a:gd name="connsiteY8" fmla="*/ 532137 h 605463"/>
                <a:gd name="connsiteX9" fmla="*/ 270132 w 605463"/>
                <a:gd name="connsiteY9" fmla="*/ 575832 h 605463"/>
                <a:gd name="connsiteX10" fmla="*/ 299524 w 605463"/>
                <a:gd name="connsiteY10" fmla="*/ 605223 h 605463"/>
                <a:gd name="connsiteX11" fmla="*/ 328915 w 605463"/>
                <a:gd name="connsiteY11" fmla="*/ 575832 h 605463"/>
                <a:gd name="connsiteX12" fmla="*/ 328915 w 605463"/>
                <a:gd name="connsiteY12" fmla="*/ 532137 h 605463"/>
                <a:gd name="connsiteX13" fmla="*/ 299524 w 605463"/>
                <a:gd name="connsiteY13" fmla="*/ 502745 h 605463"/>
                <a:gd name="connsiteX14" fmla="*/ 99271 w 605463"/>
                <a:gd name="connsiteY14" fmla="*/ 302492 h 605463"/>
                <a:gd name="connsiteX15" fmla="*/ 69879 w 605463"/>
                <a:gd name="connsiteY15" fmla="*/ 273100 h 605463"/>
                <a:gd name="connsiteX16" fmla="*/ 26184 w 605463"/>
                <a:gd name="connsiteY16" fmla="*/ 273100 h 605463"/>
                <a:gd name="connsiteX17" fmla="*/ -3207 w 605463"/>
                <a:gd name="connsiteY17" fmla="*/ 302492 h 605463"/>
                <a:gd name="connsiteX18" fmla="*/ 26184 w 605463"/>
                <a:gd name="connsiteY18" fmla="*/ 331883 h 605463"/>
                <a:gd name="connsiteX19" fmla="*/ 69879 w 605463"/>
                <a:gd name="connsiteY19" fmla="*/ 331883 h 605463"/>
                <a:gd name="connsiteX20" fmla="*/ 99271 w 605463"/>
                <a:gd name="connsiteY20" fmla="*/ 302492 h 605463"/>
                <a:gd name="connsiteX21" fmla="*/ 572865 w 605463"/>
                <a:gd name="connsiteY21" fmla="*/ 273100 h 605463"/>
                <a:gd name="connsiteX22" fmla="*/ 529168 w 605463"/>
                <a:gd name="connsiteY22" fmla="*/ 273100 h 605463"/>
                <a:gd name="connsiteX23" fmla="*/ 499777 w 605463"/>
                <a:gd name="connsiteY23" fmla="*/ 302492 h 605463"/>
                <a:gd name="connsiteX24" fmla="*/ 529168 w 605463"/>
                <a:gd name="connsiteY24" fmla="*/ 331883 h 605463"/>
                <a:gd name="connsiteX25" fmla="*/ 572865 w 605463"/>
                <a:gd name="connsiteY25" fmla="*/ 331883 h 605463"/>
                <a:gd name="connsiteX26" fmla="*/ 602257 w 605463"/>
                <a:gd name="connsiteY26" fmla="*/ 302492 h 605463"/>
                <a:gd name="connsiteX27" fmla="*/ 572865 w 605463"/>
                <a:gd name="connsiteY27" fmla="*/ 273100 h 605463"/>
                <a:gd name="connsiteX28" fmla="*/ 126997 w 605463"/>
                <a:gd name="connsiteY28" fmla="*/ 88424 h 605463"/>
                <a:gd name="connsiteX29" fmla="*/ 85457 w 605463"/>
                <a:gd name="connsiteY29" fmla="*/ 86955 h 605463"/>
                <a:gd name="connsiteX30" fmla="*/ 83986 w 605463"/>
                <a:gd name="connsiteY30" fmla="*/ 128494 h 605463"/>
                <a:gd name="connsiteX31" fmla="*/ 85457 w 605463"/>
                <a:gd name="connsiteY31" fmla="*/ 129964 h 605463"/>
                <a:gd name="connsiteX32" fmla="*/ 116317 w 605463"/>
                <a:gd name="connsiteY32" fmla="*/ 160923 h 605463"/>
                <a:gd name="connsiteX33" fmla="*/ 157955 w 605463"/>
                <a:gd name="connsiteY33" fmla="*/ 160923 h 605463"/>
                <a:gd name="connsiteX34" fmla="*/ 157955 w 605463"/>
                <a:gd name="connsiteY34" fmla="*/ 119285 h 605463"/>
                <a:gd name="connsiteX35" fmla="*/ 482730 w 605463"/>
                <a:gd name="connsiteY35" fmla="*/ 444061 h 605463"/>
                <a:gd name="connsiteX36" fmla="*/ 441092 w 605463"/>
                <a:gd name="connsiteY36" fmla="*/ 444061 h 605463"/>
                <a:gd name="connsiteX37" fmla="*/ 441092 w 605463"/>
                <a:gd name="connsiteY37" fmla="*/ 485698 h 605463"/>
                <a:gd name="connsiteX38" fmla="*/ 472052 w 605463"/>
                <a:gd name="connsiteY38" fmla="*/ 516559 h 605463"/>
                <a:gd name="connsiteX39" fmla="*/ 513592 w 605463"/>
                <a:gd name="connsiteY39" fmla="*/ 516559 h 605463"/>
                <a:gd name="connsiteX40" fmla="*/ 513592 w 605463"/>
                <a:gd name="connsiteY40" fmla="*/ 475019 h 605463"/>
                <a:gd name="connsiteX41" fmla="*/ 116317 w 605463"/>
                <a:gd name="connsiteY41" fmla="*/ 444061 h 605463"/>
                <a:gd name="connsiteX42" fmla="*/ 85457 w 605463"/>
                <a:gd name="connsiteY42" fmla="*/ 475019 h 605463"/>
                <a:gd name="connsiteX43" fmla="*/ 85457 w 605463"/>
                <a:gd name="connsiteY43" fmla="*/ 516589 h 605463"/>
                <a:gd name="connsiteX44" fmla="*/ 106226 w 605463"/>
                <a:gd name="connsiteY44" fmla="*/ 525181 h 605463"/>
                <a:gd name="connsiteX45" fmla="*/ 126997 w 605463"/>
                <a:gd name="connsiteY45" fmla="*/ 516559 h 605463"/>
                <a:gd name="connsiteX46" fmla="*/ 157955 w 605463"/>
                <a:gd name="connsiteY46" fmla="*/ 485698 h 605463"/>
                <a:gd name="connsiteX47" fmla="*/ 157955 w 605463"/>
                <a:gd name="connsiteY47" fmla="*/ 444061 h 605463"/>
                <a:gd name="connsiteX48" fmla="*/ 116317 w 605463"/>
                <a:gd name="connsiteY48" fmla="*/ 444061 h 605463"/>
                <a:gd name="connsiteX49" fmla="*/ 461961 w 605463"/>
                <a:gd name="connsiteY49" fmla="*/ 169740 h 605463"/>
                <a:gd name="connsiteX50" fmla="*/ 482730 w 605463"/>
                <a:gd name="connsiteY50" fmla="*/ 161217 h 605463"/>
                <a:gd name="connsiteX51" fmla="*/ 513592 w 605463"/>
                <a:gd name="connsiteY51" fmla="*/ 130258 h 605463"/>
                <a:gd name="connsiteX52" fmla="*/ 512121 w 605463"/>
                <a:gd name="connsiteY52" fmla="*/ 88718 h 605463"/>
                <a:gd name="connsiteX53" fmla="*/ 472052 w 605463"/>
                <a:gd name="connsiteY53" fmla="*/ 88718 h 605463"/>
                <a:gd name="connsiteX54" fmla="*/ 441092 w 605463"/>
                <a:gd name="connsiteY54" fmla="*/ 119579 h 605463"/>
                <a:gd name="connsiteX55" fmla="*/ 441092 w 605463"/>
                <a:gd name="connsiteY55" fmla="*/ 161148 h 605463"/>
                <a:gd name="connsiteX56" fmla="*/ 461961 w 605463"/>
                <a:gd name="connsiteY56" fmla="*/ 169740 h 60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605463" h="605463">
                  <a:moveTo>
                    <a:pt x="299524" y="-240"/>
                  </a:moveTo>
                  <a:cubicBezTo>
                    <a:pt x="283261" y="-240"/>
                    <a:pt x="270132" y="12917"/>
                    <a:pt x="270132" y="29151"/>
                  </a:cubicBezTo>
                  <a:lnTo>
                    <a:pt x="270132" y="72847"/>
                  </a:lnTo>
                  <a:cubicBezTo>
                    <a:pt x="270132" y="89081"/>
                    <a:pt x="283261" y="102238"/>
                    <a:pt x="299524" y="102238"/>
                  </a:cubicBezTo>
                  <a:cubicBezTo>
                    <a:pt x="315786" y="102238"/>
                    <a:pt x="328915" y="89081"/>
                    <a:pt x="328915" y="72847"/>
                  </a:cubicBezTo>
                  <a:lnTo>
                    <a:pt x="328915" y="29151"/>
                  </a:lnTo>
                  <a:cubicBezTo>
                    <a:pt x="328915" y="12917"/>
                    <a:pt x="315786" y="-240"/>
                    <a:pt x="299524" y="-240"/>
                  </a:cubicBezTo>
                  <a:close/>
                  <a:moveTo>
                    <a:pt x="299524" y="502745"/>
                  </a:moveTo>
                  <a:cubicBezTo>
                    <a:pt x="283261" y="502745"/>
                    <a:pt x="270132" y="515903"/>
                    <a:pt x="270132" y="532137"/>
                  </a:cubicBezTo>
                  <a:lnTo>
                    <a:pt x="270132" y="575832"/>
                  </a:lnTo>
                  <a:cubicBezTo>
                    <a:pt x="270132" y="592066"/>
                    <a:pt x="283261" y="605223"/>
                    <a:pt x="299524" y="605223"/>
                  </a:cubicBezTo>
                  <a:cubicBezTo>
                    <a:pt x="315786" y="605223"/>
                    <a:pt x="328915" y="592066"/>
                    <a:pt x="328915" y="575832"/>
                  </a:cubicBezTo>
                  <a:lnTo>
                    <a:pt x="328915" y="532137"/>
                  </a:lnTo>
                  <a:cubicBezTo>
                    <a:pt x="328915" y="515903"/>
                    <a:pt x="315786" y="502745"/>
                    <a:pt x="299524" y="502745"/>
                  </a:cubicBezTo>
                  <a:close/>
                  <a:moveTo>
                    <a:pt x="99271" y="302492"/>
                  </a:moveTo>
                  <a:cubicBezTo>
                    <a:pt x="99271" y="286258"/>
                    <a:pt x="86141" y="273100"/>
                    <a:pt x="69879" y="273100"/>
                  </a:cubicBezTo>
                  <a:lnTo>
                    <a:pt x="26184" y="273100"/>
                  </a:lnTo>
                  <a:cubicBezTo>
                    <a:pt x="9919" y="273100"/>
                    <a:pt x="-3207" y="286258"/>
                    <a:pt x="-3207" y="302492"/>
                  </a:cubicBezTo>
                  <a:cubicBezTo>
                    <a:pt x="-3207" y="318726"/>
                    <a:pt x="9919" y="331883"/>
                    <a:pt x="26184" y="331883"/>
                  </a:cubicBezTo>
                  <a:lnTo>
                    <a:pt x="69879" y="331883"/>
                  </a:lnTo>
                  <a:cubicBezTo>
                    <a:pt x="86141" y="331883"/>
                    <a:pt x="99271" y="318726"/>
                    <a:pt x="99271" y="302492"/>
                  </a:cubicBezTo>
                  <a:close/>
                  <a:moveTo>
                    <a:pt x="572865" y="273100"/>
                  </a:moveTo>
                  <a:lnTo>
                    <a:pt x="529168" y="273100"/>
                  </a:lnTo>
                  <a:cubicBezTo>
                    <a:pt x="512906" y="273100"/>
                    <a:pt x="499777" y="286258"/>
                    <a:pt x="499777" y="302492"/>
                  </a:cubicBezTo>
                  <a:cubicBezTo>
                    <a:pt x="499777" y="318726"/>
                    <a:pt x="512906" y="331883"/>
                    <a:pt x="529168" y="331883"/>
                  </a:cubicBezTo>
                  <a:lnTo>
                    <a:pt x="572865" y="331883"/>
                  </a:lnTo>
                  <a:cubicBezTo>
                    <a:pt x="589128" y="331883"/>
                    <a:pt x="602257" y="318726"/>
                    <a:pt x="602257" y="302492"/>
                  </a:cubicBezTo>
                  <a:cubicBezTo>
                    <a:pt x="602257" y="286258"/>
                    <a:pt x="589128" y="273100"/>
                    <a:pt x="572865" y="273100"/>
                  </a:cubicBezTo>
                  <a:close/>
                  <a:moveTo>
                    <a:pt x="126997" y="88424"/>
                  </a:moveTo>
                  <a:cubicBezTo>
                    <a:pt x="115925" y="76550"/>
                    <a:pt x="97312" y="75894"/>
                    <a:pt x="85457" y="86955"/>
                  </a:cubicBezTo>
                  <a:cubicBezTo>
                    <a:pt x="73601" y="98025"/>
                    <a:pt x="72917" y="116620"/>
                    <a:pt x="83986" y="128494"/>
                  </a:cubicBezTo>
                  <a:cubicBezTo>
                    <a:pt x="84477" y="129004"/>
                    <a:pt x="84967" y="129494"/>
                    <a:pt x="85457" y="129964"/>
                  </a:cubicBezTo>
                  <a:lnTo>
                    <a:pt x="116317" y="160923"/>
                  </a:lnTo>
                  <a:cubicBezTo>
                    <a:pt x="127779" y="172425"/>
                    <a:pt x="146493" y="172425"/>
                    <a:pt x="157955" y="160923"/>
                  </a:cubicBezTo>
                  <a:cubicBezTo>
                    <a:pt x="169417" y="149421"/>
                    <a:pt x="169417" y="130787"/>
                    <a:pt x="157955" y="119285"/>
                  </a:cubicBezTo>
                  <a:close/>
                  <a:moveTo>
                    <a:pt x="482730" y="444061"/>
                  </a:moveTo>
                  <a:cubicBezTo>
                    <a:pt x="471268" y="432559"/>
                    <a:pt x="452556" y="432559"/>
                    <a:pt x="441092" y="444061"/>
                  </a:cubicBezTo>
                  <a:cubicBezTo>
                    <a:pt x="429630" y="455562"/>
                    <a:pt x="429630" y="474196"/>
                    <a:pt x="441092" y="485698"/>
                  </a:cubicBezTo>
                  <a:lnTo>
                    <a:pt x="472052" y="516559"/>
                  </a:lnTo>
                  <a:cubicBezTo>
                    <a:pt x="483514" y="528022"/>
                    <a:pt x="502128" y="528022"/>
                    <a:pt x="513592" y="516559"/>
                  </a:cubicBezTo>
                  <a:cubicBezTo>
                    <a:pt x="525054" y="505087"/>
                    <a:pt x="525054" y="486492"/>
                    <a:pt x="513592" y="475019"/>
                  </a:cubicBezTo>
                  <a:close/>
                  <a:moveTo>
                    <a:pt x="116317" y="444061"/>
                  </a:moveTo>
                  <a:lnTo>
                    <a:pt x="85457" y="475019"/>
                  </a:lnTo>
                  <a:cubicBezTo>
                    <a:pt x="73993" y="486502"/>
                    <a:pt x="73993" y="505116"/>
                    <a:pt x="85457" y="516589"/>
                  </a:cubicBezTo>
                  <a:cubicBezTo>
                    <a:pt x="90942" y="522085"/>
                    <a:pt x="98486" y="525171"/>
                    <a:pt x="106226" y="525181"/>
                  </a:cubicBezTo>
                  <a:cubicBezTo>
                    <a:pt x="114064" y="525171"/>
                    <a:pt x="121510" y="522075"/>
                    <a:pt x="126997" y="516559"/>
                  </a:cubicBezTo>
                  <a:lnTo>
                    <a:pt x="157955" y="485698"/>
                  </a:lnTo>
                  <a:cubicBezTo>
                    <a:pt x="169417" y="474196"/>
                    <a:pt x="169417" y="455562"/>
                    <a:pt x="157955" y="444061"/>
                  </a:cubicBezTo>
                  <a:cubicBezTo>
                    <a:pt x="146493" y="432559"/>
                    <a:pt x="127779" y="432559"/>
                    <a:pt x="116317" y="444061"/>
                  </a:cubicBezTo>
                  <a:close/>
                  <a:moveTo>
                    <a:pt x="461961" y="169740"/>
                  </a:moveTo>
                  <a:cubicBezTo>
                    <a:pt x="469701" y="169760"/>
                    <a:pt x="477245" y="166694"/>
                    <a:pt x="482730" y="161217"/>
                  </a:cubicBezTo>
                  <a:lnTo>
                    <a:pt x="513592" y="130258"/>
                  </a:lnTo>
                  <a:cubicBezTo>
                    <a:pt x="524662" y="118384"/>
                    <a:pt x="523975" y="99789"/>
                    <a:pt x="512121" y="88718"/>
                  </a:cubicBezTo>
                  <a:cubicBezTo>
                    <a:pt x="500855" y="78196"/>
                    <a:pt x="483318" y="78196"/>
                    <a:pt x="472052" y="88718"/>
                  </a:cubicBezTo>
                  <a:lnTo>
                    <a:pt x="441092" y="119579"/>
                  </a:lnTo>
                  <a:cubicBezTo>
                    <a:pt x="429630" y="131061"/>
                    <a:pt x="429630" y="149676"/>
                    <a:pt x="441092" y="161148"/>
                  </a:cubicBezTo>
                  <a:cubicBezTo>
                    <a:pt x="446677" y="166664"/>
                    <a:pt x="454123" y="169760"/>
                    <a:pt x="461961" y="169740"/>
                  </a:cubicBezTo>
                  <a:close/>
                </a:path>
              </a:pathLst>
            </a:custGeom>
            <a:grpFill/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60" name="Группа 859">
            <a:extLst>
              <a:ext uri="{FF2B5EF4-FFF2-40B4-BE49-F238E27FC236}">
                <a16:creationId xmlns:a16="http://schemas.microsoft.com/office/drawing/2014/main" id="{F8F86E30-F2DF-4B41-8384-71719A5975C0}"/>
              </a:ext>
            </a:extLst>
          </p:cNvPr>
          <p:cNvGrpSpPr/>
          <p:nvPr/>
        </p:nvGrpSpPr>
        <p:grpSpPr>
          <a:xfrm>
            <a:off x="2977841" y="5878286"/>
            <a:ext cx="979714" cy="979714"/>
            <a:chOff x="-3883873" y="7143806"/>
            <a:chExt cx="979714" cy="979714"/>
          </a:xfrm>
        </p:grpSpPr>
        <p:sp>
          <p:nvSpPr>
            <p:cNvPr id="756" name="Полилиния: фигура 755">
              <a:extLst>
                <a:ext uri="{FF2B5EF4-FFF2-40B4-BE49-F238E27FC236}">
                  <a16:creationId xmlns:a16="http://schemas.microsoft.com/office/drawing/2014/main" id="{7EBED22D-AAEE-43D1-9B14-DB34B0A8812A}"/>
                </a:ext>
              </a:extLst>
            </p:cNvPr>
            <p:cNvSpPr/>
            <p:nvPr/>
          </p:nvSpPr>
          <p:spPr>
            <a:xfrm>
              <a:off x="-3883873" y="7143806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chemeClr val="bg2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7" name="Полилиния: фигура 756">
              <a:extLst>
                <a:ext uri="{FF2B5EF4-FFF2-40B4-BE49-F238E27FC236}">
                  <a16:creationId xmlns:a16="http://schemas.microsoft.com/office/drawing/2014/main" id="{042FAF0E-CFDA-4146-8C94-4B1BADA44FB3}"/>
                </a:ext>
              </a:extLst>
            </p:cNvPr>
            <p:cNvSpPr/>
            <p:nvPr/>
          </p:nvSpPr>
          <p:spPr>
            <a:xfrm>
              <a:off x="-3394016" y="7633663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chemeClr val="bg2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8" name="Полилиния: фигура 757">
              <a:extLst>
                <a:ext uri="{FF2B5EF4-FFF2-40B4-BE49-F238E27FC236}">
                  <a16:creationId xmlns:a16="http://schemas.microsoft.com/office/drawing/2014/main" id="{0176590C-88BE-466E-904A-44137ACC9EEA}"/>
                </a:ext>
              </a:extLst>
            </p:cNvPr>
            <p:cNvSpPr/>
            <p:nvPr/>
          </p:nvSpPr>
          <p:spPr>
            <a:xfrm>
              <a:off x="-3883873" y="7633663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chemeClr val="bg2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9" name="Полилиния: фигура 758">
              <a:extLst>
                <a:ext uri="{FF2B5EF4-FFF2-40B4-BE49-F238E27FC236}">
                  <a16:creationId xmlns:a16="http://schemas.microsoft.com/office/drawing/2014/main" id="{4D5DF151-F873-4D80-8BDF-7B89B43D27F3}"/>
                </a:ext>
              </a:extLst>
            </p:cNvPr>
            <p:cNvSpPr/>
            <p:nvPr/>
          </p:nvSpPr>
          <p:spPr>
            <a:xfrm>
              <a:off x="-3394016" y="7143806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chemeClr val="tx1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5" name="Заголовок 1">
            <a:extLst>
              <a:ext uri="{FF2B5EF4-FFF2-40B4-BE49-F238E27FC236}">
                <a16:creationId xmlns:a16="http://schemas.microsoft.com/office/drawing/2014/main" id="{4AA2E929-5B00-47BA-848F-4A659E3F54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499" y="2522816"/>
            <a:ext cx="8995021" cy="1107996"/>
          </a:xfr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торая строчка</a:t>
            </a:r>
            <a:endParaRPr lang="en-US" dirty="0"/>
          </a:p>
        </p:txBody>
      </p:sp>
      <p:sp>
        <p:nvSpPr>
          <p:cNvPr id="126" name="Подзаголовок 2">
            <a:extLst>
              <a:ext uri="{FF2B5EF4-FFF2-40B4-BE49-F238E27FC236}">
                <a16:creationId xmlns:a16="http://schemas.microsoft.com/office/drawing/2014/main" id="{1182E9E8-961A-4C13-8310-A3C2A7587F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1499" y="3837164"/>
            <a:ext cx="8995021" cy="251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Дата</a:t>
            </a:r>
            <a:endParaRPr lang="en-US" dirty="0"/>
          </a:p>
        </p:txBody>
      </p:sp>
      <p:sp>
        <p:nvSpPr>
          <p:cNvPr id="129" name="Полилиния: фигура 512">
            <a:extLst>
              <a:ext uri="{FF2B5EF4-FFF2-40B4-BE49-F238E27FC236}">
                <a16:creationId xmlns:a16="http://schemas.microsoft.com/office/drawing/2014/main" id="{A0B69E39-F345-4C47-AEE4-2BFA4439EDED}"/>
              </a:ext>
            </a:extLst>
          </p:cNvPr>
          <p:cNvSpPr/>
          <p:nvPr userDrawn="1"/>
        </p:nvSpPr>
        <p:spPr>
          <a:xfrm>
            <a:off x="11457189" y="6123843"/>
            <a:ext cx="489438" cy="489438"/>
          </a:xfrm>
          <a:custGeom>
            <a:avLst/>
            <a:gdLst>
              <a:gd name="connsiteX0" fmla="*/ 489438 w 489438"/>
              <a:gd name="connsiteY0" fmla="*/ 244719 h 489438"/>
              <a:gd name="connsiteX1" fmla="*/ 244719 w 489438"/>
              <a:gd name="connsiteY1" fmla="*/ 489438 h 489438"/>
              <a:gd name="connsiteX2" fmla="*/ 0 w 489438"/>
              <a:gd name="connsiteY2" fmla="*/ 244719 h 489438"/>
              <a:gd name="connsiteX3" fmla="*/ 244719 w 489438"/>
              <a:gd name="connsiteY3" fmla="*/ 0 h 489438"/>
              <a:gd name="connsiteX4" fmla="*/ 489438 w 489438"/>
              <a:gd name="connsiteY4" fmla="*/ 244719 h 48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438" h="489438">
                <a:moveTo>
                  <a:pt x="489438" y="244719"/>
                </a:moveTo>
                <a:cubicBezTo>
                  <a:pt x="489438" y="379874"/>
                  <a:pt x="379874" y="489438"/>
                  <a:pt x="244719" y="489438"/>
                </a:cubicBezTo>
                <a:cubicBezTo>
                  <a:pt x="109564" y="489438"/>
                  <a:pt x="0" y="379874"/>
                  <a:pt x="0" y="244719"/>
                </a:cubicBezTo>
                <a:cubicBezTo>
                  <a:pt x="0" y="109564"/>
                  <a:pt x="109564" y="0"/>
                  <a:pt x="244719" y="0"/>
                </a:cubicBezTo>
                <a:cubicBezTo>
                  <a:pt x="379874" y="0"/>
                  <a:pt x="489438" y="109564"/>
                  <a:pt x="489438" y="244719"/>
                </a:cubicBezTo>
                <a:close/>
              </a:path>
            </a:pathLst>
          </a:custGeom>
          <a:solidFill>
            <a:srgbClr val="4D4D4F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30" name="Группа 129">
            <a:extLst>
              <a:ext uri="{FF2B5EF4-FFF2-40B4-BE49-F238E27FC236}">
                <a16:creationId xmlns:a16="http://schemas.microsoft.com/office/drawing/2014/main" id="{066FB9AB-2CD5-4AB7-82DC-A90CEA40C467}"/>
              </a:ext>
            </a:extLst>
          </p:cNvPr>
          <p:cNvGrpSpPr/>
          <p:nvPr userDrawn="1"/>
        </p:nvGrpSpPr>
        <p:grpSpPr>
          <a:xfrm>
            <a:off x="10229823" y="4838180"/>
            <a:ext cx="979714" cy="979763"/>
            <a:chOff x="9252833" y="979714"/>
            <a:chExt cx="979714" cy="979763"/>
          </a:xfrm>
        </p:grpSpPr>
        <p:sp>
          <p:nvSpPr>
            <p:cNvPr id="131" name="Полилиния: фигура 27">
              <a:extLst>
                <a:ext uri="{FF2B5EF4-FFF2-40B4-BE49-F238E27FC236}">
                  <a16:creationId xmlns:a16="http://schemas.microsoft.com/office/drawing/2014/main" id="{B9C21BF7-60A9-4015-A905-63CD92318A9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Полилиния: фигура 157">
              <a:extLst>
                <a:ext uri="{FF2B5EF4-FFF2-40B4-BE49-F238E27FC236}">
                  <a16:creationId xmlns:a16="http://schemas.microsoft.com/office/drawing/2014/main" id="{43601776-0B2E-41F1-9543-02B1116A0ADF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Полилиния: фигура 158">
              <a:extLst>
                <a:ext uri="{FF2B5EF4-FFF2-40B4-BE49-F238E27FC236}">
                  <a16:creationId xmlns:a16="http://schemas.microsoft.com/office/drawing/2014/main" id="{8423E724-4902-42ED-984A-C1864466591B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rgbClr val="FFDD00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Полилиния: фигура 159">
              <a:extLst>
                <a:ext uri="{FF2B5EF4-FFF2-40B4-BE49-F238E27FC236}">
                  <a16:creationId xmlns:a16="http://schemas.microsoft.com/office/drawing/2014/main" id="{741AFE2C-13EA-47C0-98EF-BDAD5085E5A2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rgbClr val="FFDD00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98" y="518565"/>
            <a:ext cx="3690846" cy="41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801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284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58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2679E2A7-16E3-4592-AF55-B1DEB267D605}"/>
              </a:ext>
            </a:extLst>
          </p:cNvPr>
          <p:cNvSpPr/>
          <p:nvPr/>
        </p:nvSpPr>
        <p:spPr>
          <a:xfrm>
            <a:off x="1" y="1135450"/>
            <a:ext cx="3800475" cy="5242420"/>
          </a:xfrm>
          <a:custGeom>
            <a:avLst/>
            <a:gdLst>
              <a:gd name="connsiteX0" fmla="*/ 1179265 w 3800475"/>
              <a:gd name="connsiteY0" fmla="*/ 0 h 5242420"/>
              <a:gd name="connsiteX1" fmla="*/ 3800475 w 3800475"/>
              <a:gd name="connsiteY1" fmla="*/ 2621210 h 5242420"/>
              <a:gd name="connsiteX2" fmla="*/ 1179265 w 3800475"/>
              <a:gd name="connsiteY2" fmla="*/ 5242420 h 5242420"/>
              <a:gd name="connsiteX3" fmla="*/ 158972 w 3800475"/>
              <a:gd name="connsiteY3" fmla="*/ 5036433 h 5242420"/>
              <a:gd name="connsiteX4" fmla="*/ 0 w 3800475"/>
              <a:gd name="connsiteY4" fmla="*/ 4959852 h 5242420"/>
              <a:gd name="connsiteX5" fmla="*/ 0 w 3800475"/>
              <a:gd name="connsiteY5" fmla="*/ 282569 h 5242420"/>
              <a:gd name="connsiteX6" fmla="*/ 158972 w 3800475"/>
              <a:gd name="connsiteY6" fmla="*/ 205988 h 5242420"/>
              <a:gd name="connsiteX7" fmla="*/ 1179265 w 3800475"/>
              <a:gd name="connsiteY7" fmla="*/ 0 h 5242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00475" h="5242420">
                <a:moveTo>
                  <a:pt x="1179265" y="0"/>
                </a:moveTo>
                <a:cubicBezTo>
                  <a:pt x="2626919" y="0"/>
                  <a:pt x="3800475" y="1173556"/>
                  <a:pt x="3800475" y="2621210"/>
                </a:cubicBezTo>
                <a:cubicBezTo>
                  <a:pt x="3800475" y="4068864"/>
                  <a:pt x="2626919" y="5242420"/>
                  <a:pt x="1179265" y="5242420"/>
                </a:cubicBezTo>
                <a:cubicBezTo>
                  <a:pt x="817352" y="5242420"/>
                  <a:pt x="472569" y="5169073"/>
                  <a:pt x="158972" y="5036433"/>
                </a:cubicBezTo>
                <a:lnTo>
                  <a:pt x="0" y="4959852"/>
                </a:lnTo>
                <a:lnTo>
                  <a:pt x="0" y="282569"/>
                </a:lnTo>
                <a:lnTo>
                  <a:pt x="158972" y="205988"/>
                </a:lnTo>
                <a:cubicBezTo>
                  <a:pt x="472569" y="73347"/>
                  <a:pt x="817352" y="0"/>
                  <a:pt x="1179265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A9C89A8F-16DD-47DB-A455-F1D6F8AABE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635672"/>
            <a:ext cx="3300259" cy="4241978"/>
          </a:xfrm>
          <a:custGeom>
            <a:avLst/>
            <a:gdLst>
              <a:gd name="connsiteX0" fmla="*/ 1179265 w 3300259"/>
              <a:gd name="connsiteY0" fmla="*/ 0 h 4241978"/>
              <a:gd name="connsiteX1" fmla="*/ 3300259 w 3300259"/>
              <a:gd name="connsiteY1" fmla="*/ 2120990 h 4241978"/>
              <a:gd name="connsiteX2" fmla="*/ 1179265 w 3300259"/>
              <a:gd name="connsiteY2" fmla="*/ 4241978 h 4241978"/>
              <a:gd name="connsiteX3" fmla="*/ 168272 w 3300259"/>
              <a:gd name="connsiteY3" fmla="*/ 3985988 h 4241978"/>
              <a:gd name="connsiteX4" fmla="*/ 0 w 3300259"/>
              <a:gd name="connsiteY4" fmla="*/ 3883760 h 4241978"/>
              <a:gd name="connsiteX5" fmla="*/ 0 w 3300259"/>
              <a:gd name="connsiteY5" fmla="*/ 358218 h 4241978"/>
              <a:gd name="connsiteX6" fmla="*/ 168272 w 3300259"/>
              <a:gd name="connsiteY6" fmla="*/ 255991 h 4241978"/>
              <a:gd name="connsiteX7" fmla="*/ 1179265 w 3300259"/>
              <a:gd name="connsiteY7" fmla="*/ 0 h 424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00259" h="4241978">
                <a:moveTo>
                  <a:pt x="1179265" y="0"/>
                </a:moveTo>
                <a:cubicBezTo>
                  <a:pt x="2350664" y="0"/>
                  <a:pt x="3300259" y="949593"/>
                  <a:pt x="3300259" y="2120990"/>
                </a:cubicBezTo>
                <a:cubicBezTo>
                  <a:pt x="3300259" y="3292385"/>
                  <a:pt x="2350664" y="4241978"/>
                  <a:pt x="1179265" y="4241978"/>
                </a:cubicBezTo>
                <a:cubicBezTo>
                  <a:pt x="813204" y="4241978"/>
                  <a:pt x="468802" y="4149245"/>
                  <a:pt x="168272" y="3985988"/>
                </a:cubicBezTo>
                <a:lnTo>
                  <a:pt x="0" y="3883760"/>
                </a:lnTo>
                <a:lnTo>
                  <a:pt x="0" y="358218"/>
                </a:lnTo>
                <a:lnTo>
                  <a:pt x="168272" y="255991"/>
                </a:lnTo>
                <a:cubicBezTo>
                  <a:pt x="468802" y="92734"/>
                  <a:pt x="813204" y="0"/>
                  <a:pt x="1179265" y="0"/>
                </a:cubicBezTo>
                <a:close/>
              </a:path>
            </a:pathLst>
          </a:cu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400" dirty="0">
                <a:noFill/>
                <a:latin typeface="+mn-lt"/>
              </a:defRPr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499" y="6548344"/>
            <a:ext cx="8820000" cy="15773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id="{4762C45A-B737-2826-FECA-EE158D963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0118" y="6548344"/>
            <a:ext cx="52197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693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807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7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Рисунок 5">
            <a:extLst>
              <a:ext uri="{FF2B5EF4-FFF2-40B4-BE49-F238E27FC236}">
                <a16:creationId xmlns:a16="http://schemas.microsoft.com/office/drawing/2014/main" id="{33CE292E-815A-7B83-D6CE-64EAD787C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1499" y="1198563"/>
            <a:ext cx="3514279" cy="1548447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26" name="Рисунок 5">
            <a:extLst>
              <a:ext uri="{FF2B5EF4-FFF2-40B4-BE49-F238E27FC236}">
                <a16:creationId xmlns:a16="http://schemas.microsoft.com/office/drawing/2014/main" id="{5219DB9F-24FF-6089-30C6-ACD10CD861C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1499" y="3872451"/>
            <a:ext cx="3514279" cy="1548447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27" name="Рисунок 5">
            <a:extLst>
              <a:ext uri="{FF2B5EF4-FFF2-40B4-BE49-F238E27FC236}">
                <a16:creationId xmlns:a16="http://schemas.microsoft.com/office/drawing/2014/main" id="{40B84815-2606-FBA2-9A7C-D1A9E7CBFD5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07809" y="1198563"/>
            <a:ext cx="3514279" cy="1548447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28" name="Рисунок 5">
            <a:extLst>
              <a:ext uri="{FF2B5EF4-FFF2-40B4-BE49-F238E27FC236}">
                <a16:creationId xmlns:a16="http://schemas.microsoft.com/office/drawing/2014/main" id="{B4DCEA8B-0E9F-F8E6-7E29-73B03B6EA5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07809" y="3872451"/>
            <a:ext cx="3514279" cy="1548447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29" name="Рисунок 5">
            <a:extLst>
              <a:ext uri="{FF2B5EF4-FFF2-40B4-BE49-F238E27FC236}">
                <a16:creationId xmlns:a16="http://schemas.microsoft.com/office/drawing/2014/main" id="{8EAD028C-57E8-5A52-38AF-74E8621076C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338860" y="1198563"/>
            <a:ext cx="3514279" cy="1548447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30" name="Рисунок 5">
            <a:extLst>
              <a:ext uri="{FF2B5EF4-FFF2-40B4-BE49-F238E27FC236}">
                <a16:creationId xmlns:a16="http://schemas.microsoft.com/office/drawing/2014/main" id="{AAA9469D-5219-0CF7-E49B-73F809205F5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8860" y="3872451"/>
            <a:ext cx="3514279" cy="1548447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13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501" y="6548344"/>
            <a:ext cx="10260000" cy="15773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id="{4762C45A-B737-2826-FECA-EE158D963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0118" y="6548344"/>
            <a:ext cx="52197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 b="1">
                <a:solidFill>
                  <a:schemeClr val="tx2"/>
                </a:solidFill>
                <a:latin typeface="+mj-lt"/>
              </a:defRPr>
            </a:lvl1pPr>
          </a:lstStyle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693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5245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2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Рисунок 5">
            <a:extLst>
              <a:ext uri="{FF2B5EF4-FFF2-40B4-BE49-F238E27FC236}">
                <a16:creationId xmlns:a16="http://schemas.microsoft.com/office/drawing/2014/main" id="{AA6408A6-271D-480C-5202-4A51E88D7B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1500" y="3188652"/>
            <a:ext cx="5426294" cy="3085148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3" name="Рисунок 5">
            <a:extLst>
              <a:ext uri="{FF2B5EF4-FFF2-40B4-BE49-F238E27FC236}">
                <a16:creationId xmlns:a16="http://schemas.microsoft.com/office/drawing/2014/main" id="{915E1FC9-AD53-F1D6-0A81-808B259778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4206" y="3188652"/>
            <a:ext cx="5426294" cy="3085148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501" y="6548344"/>
            <a:ext cx="10260000" cy="15773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4762C45A-B737-2826-FECA-EE158D963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0118" y="6548344"/>
            <a:ext cx="52197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 b="1">
                <a:solidFill>
                  <a:schemeClr val="tx2"/>
                </a:solidFill>
                <a:latin typeface="+mj-lt"/>
              </a:defRPr>
            </a:lvl1pPr>
          </a:lstStyle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693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8605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2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Рисунок 5">
            <a:extLst>
              <a:ext uri="{FF2B5EF4-FFF2-40B4-BE49-F238E27FC236}">
                <a16:creationId xmlns:a16="http://schemas.microsoft.com/office/drawing/2014/main" id="{CB9F83FF-AFAC-54B2-5BB8-2DB91487DB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19428" y="1214121"/>
            <a:ext cx="2825750" cy="2393951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8" name="Рисунок 5">
            <a:extLst>
              <a:ext uri="{FF2B5EF4-FFF2-40B4-BE49-F238E27FC236}">
                <a16:creationId xmlns:a16="http://schemas.microsoft.com/office/drawing/2014/main" id="{33CE292E-815A-7B83-D6CE-64EAD787C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1500" y="1214121"/>
            <a:ext cx="2825750" cy="2393951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18" name="Рисунок 5">
            <a:extLst>
              <a:ext uri="{FF2B5EF4-FFF2-40B4-BE49-F238E27FC236}">
                <a16:creationId xmlns:a16="http://schemas.microsoft.com/office/drawing/2014/main" id="{B3C44B0B-DD1C-F4BD-03D1-7CE90F88BA1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19428" y="3879849"/>
            <a:ext cx="2825750" cy="2393951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9" name="Рисунок 5">
            <a:extLst>
              <a:ext uri="{FF2B5EF4-FFF2-40B4-BE49-F238E27FC236}">
                <a16:creationId xmlns:a16="http://schemas.microsoft.com/office/drawing/2014/main" id="{C584B881-E757-E572-5B9E-6502E9DD70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1500" y="3879849"/>
            <a:ext cx="2825750" cy="2393951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11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501" y="6548344"/>
            <a:ext cx="10260000" cy="15773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id="{4762C45A-B737-2826-FECA-EE158D963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0118" y="6548344"/>
            <a:ext cx="52197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 b="1">
                <a:solidFill>
                  <a:schemeClr val="tx2"/>
                </a:solidFill>
                <a:latin typeface="+mj-lt"/>
              </a:defRPr>
            </a:lvl1pPr>
          </a:lstStyle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693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8616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4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Рисунок 5">
            <a:extLst>
              <a:ext uri="{FF2B5EF4-FFF2-40B4-BE49-F238E27FC236}">
                <a16:creationId xmlns:a16="http://schemas.microsoft.com/office/drawing/2014/main" id="{33CE292E-815A-7B83-D6CE-64EAD787C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1500" y="1198563"/>
            <a:ext cx="5401798" cy="2872422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7" name="Рисунок 5">
            <a:extLst>
              <a:ext uri="{FF2B5EF4-FFF2-40B4-BE49-F238E27FC236}">
                <a16:creationId xmlns:a16="http://schemas.microsoft.com/office/drawing/2014/main" id="{60F394F3-E891-48FF-963C-71DE47EFC8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20290" y="1198563"/>
            <a:ext cx="5401798" cy="2872422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501" y="6548344"/>
            <a:ext cx="10260000" cy="15773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4762C45A-B737-2826-FECA-EE158D963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0118" y="6548344"/>
            <a:ext cx="52197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 b="1">
                <a:solidFill>
                  <a:schemeClr val="tx2"/>
                </a:solidFill>
                <a:latin typeface="+mj-lt"/>
              </a:defRPr>
            </a:lvl1pPr>
          </a:lstStyle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693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9545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хайлайт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6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714FE449-9026-DBA5-9208-A645FF4C63D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1500" y="1198562"/>
            <a:ext cx="3516313" cy="3144838"/>
          </a:xfrm>
          <a:custGeom>
            <a:avLst/>
            <a:gdLst>
              <a:gd name="connsiteX0" fmla="*/ 0 w 3516313"/>
              <a:gd name="connsiteY0" fmla="*/ 0 h 3144838"/>
              <a:gd name="connsiteX1" fmla="*/ 3516313 w 3516313"/>
              <a:gd name="connsiteY1" fmla="*/ 0 h 3144838"/>
              <a:gd name="connsiteX2" fmla="*/ 3516313 w 3516313"/>
              <a:gd name="connsiteY2" fmla="*/ 3144838 h 3144838"/>
              <a:gd name="connsiteX3" fmla="*/ 2103557 w 3516313"/>
              <a:gd name="connsiteY3" fmla="*/ 3144838 h 3144838"/>
              <a:gd name="connsiteX4" fmla="*/ 2100524 w 3516313"/>
              <a:gd name="connsiteY4" fmla="*/ 3114680 h 3144838"/>
              <a:gd name="connsiteX5" fmla="*/ 1758157 w 3516313"/>
              <a:gd name="connsiteY5" fmla="*/ 2834957 h 3144838"/>
              <a:gd name="connsiteX6" fmla="*/ 1415790 w 3516313"/>
              <a:gd name="connsiteY6" fmla="*/ 3114680 h 3144838"/>
              <a:gd name="connsiteX7" fmla="*/ 1412757 w 3516313"/>
              <a:gd name="connsiteY7" fmla="*/ 3144838 h 3144838"/>
              <a:gd name="connsiteX8" fmla="*/ 0 w 3516313"/>
              <a:gd name="connsiteY8" fmla="*/ 3144838 h 314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16313" h="3144838">
                <a:moveTo>
                  <a:pt x="0" y="0"/>
                </a:moveTo>
                <a:lnTo>
                  <a:pt x="3516313" y="0"/>
                </a:lnTo>
                <a:lnTo>
                  <a:pt x="3516313" y="3144838"/>
                </a:lnTo>
                <a:lnTo>
                  <a:pt x="2103557" y="3144838"/>
                </a:lnTo>
                <a:lnTo>
                  <a:pt x="2100524" y="3114680"/>
                </a:lnTo>
                <a:cubicBezTo>
                  <a:pt x="2067938" y="2955042"/>
                  <a:pt x="1927036" y="2834957"/>
                  <a:pt x="1758157" y="2834957"/>
                </a:cubicBezTo>
                <a:cubicBezTo>
                  <a:pt x="1589278" y="2834957"/>
                  <a:pt x="1448377" y="2955042"/>
                  <a:pt x="1415790" y="3114680"/>
                </a:cubicBezTo>
                <a:lnTo>
                  <a:pt x="1412757" y="3144838"/>
                </a:lnTo>
                <a:lnTo>
                  <a:pt x="0" y="3144838"/>
                </a:lnTo>
                <a:close/>
              </a:path>
            </a:pathLst>
          </a:cu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72F6A96C-51B2-DC30-5F4C-727AFF1B3D8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05775" y="1198562"/>
            <a:ext cx="3516313" cy="3144838"/>
          </a:xfrm>
          <a:custGeom>
            <a:avLst/>
            <a:gdLst>
              <a:gd name="connsiteX0" fmla="*/ 0 w 3516313"/>
              <a:gd name="connsiteY0" fmla="*/ 0 h 3144838"/>
              <a:gd name="connsiteX1" fmla="*/ 3516313 w 3516313"/>
              <a:gd name="connsiteY1" fmla="*/ 0 h 3144838"/>
              <a:gd name="connsiteX2" fmla="*/ 3516313 w 3516313"/>
              <a:gd name="connsiteY2" fmla="*/ 3144838 h 3144838"/>
              <a:gd name="connsiteX3" fmla="*/ 2103557 w 3516313"/>
              <a:gd name="connsiteY3" fmla="*/ 3144838 h 3144838"/>
              <a:gd name="connsiteX4" fmla="*/ 2100524 w 3516313"/>
              <a:gd name="connsiteY4" fmla="*/ 3114680 h 3144838"/>
              <a:gd name="connsiteX5" fmla="*/ 1758157 w 3516313"/>
              <a:gd name="connsiteY5" fmla="*/ 2834957 h 3144838"/>
              <a:gd name="connsiteX6" fmla="*/ 1415790 w 3516313"/>
              <a:gd name="connsiteY6" fmla="*/ 3114680 h 3144838"/>
              <a:gd name="connsiteX7" fmla="*/ 1412757 w 3516313"/>
              <a:gd name="connsiteY7" fmla="*/ 3144838 h 3144838"/>
              <a:gd name="connsiteX8" fmla="*/ 0 w 3516313"/>
              <a:gd name="connsiteY8" fmla="*/ 3144838 h 314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16313" h="3144838">
                <a:moveTo>
                  <a:pt x="0" y="0"/>
                </a:moveTo>
                <a:lnTo>
                  <a:pt x="3516313" y="0"/>
                </a:lnTo>
                <a:lnTo>
                  <a:pt x="3516313" y="3144838"/>
                </a:lnTo>
                <a:lnTo>
                  <a:pt x="2103557" y="3144838"/>
                </a:lnTo>
                <a:lnTo>
                  <a:pt x="2100524" y="3114680"/>
                </a:lnTo>
                <a:cubicBezTo>
                  <a:pt x="2067938" y="2955042"/>
                  <a:pt x="1927036" y="2834957"/>
                  <a:pt x="1758157" y="2834957"/>
                </a:cubicBezTo>
                <a:cubicBezTo>
                  <a:pt x="1589278" y="2834957"/>
                  <a:pt x="1448377" y="2955042"/>
                  <a:pt x="1415790" y="3114680"/>
                </a:cubicBezTo>
                <a:lnTo>
                  <a:pt x="1412757" y="3144838"/>
                </a:lnTo>
                <a:lnTo>
                  <a:pt x="0" y="3144838"/>
                </a:lnTo>
                <a:close/>
              </a:path>
            </a:pathLst>
          </a:cu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2BE0461E-B2A4-02F9-CA28-7B0F4EBB2D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37843" y="1198562"/>
            <a:ext cx="3516313" cy="3144838"/>
          </a:xfrm>
          <a:custGeom>
            <a:avLst/>
            <a:gdLst>
              <a:gd name="connsiteX0" fmla="*/ 0 w 3516313"/>
              <a:gd name="connsiteY0" fmla="*/ 0 h 3144838"/>
              <a:gd name="connsiteX1" fmla="*/ 3516313 w 3516313"/>
              <a:gd name="connsiteY1" fmla="*/ 0 h 3144838"/>
              <a:gd name="connsiteX2" fmla="*/ 3516313 w 3516313"/>
              <a:gd name="connsiteY2" fmla="*/ 3144838 h 3144838"/>
              <a:gd name="connsiteX3" fmla="*/ 2103557 w 3516313"/>
              <a:gd name="connsiteY3" fmla="*/ 3144838 h 3144838"/>
              <a:gd name="connsiteX4" fmla="*/ 2100524 w 3516313"/>
              <a:gd name="connsiteY4" fmla="*/ 3114680 h 3144838"/>
              <a:gd name="connsiteX5" fmla="*/ 1758157 w 3516313"/>
              <a:gd name="connsiteY5" fmla="*/ 2834957 h 3144838"/>
              <a:gd name="connsiteX6" fmla="*/ 1415790 w 3516313"/>
              <a:gd name="connsiteY6" fmla="*/ 3114680 h 3144838"/>
              <a:gd name="connsiteX7" fmla="*/ 1412757 w 3516313"/>
              <a:gd name="connsiteY7" fmla="*/ 3144838 h 3144838"/>
              <a:gd name="connsiteX8" fmla="*/ 0 w 3516313"/>
              <a:gd name="connsiteY8" fmla="*/ 3144838 h 314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16313" h="3144838">
                <a:moveTo>
                  <a:pt x="0" y="0"/>
                </a:moveTo>
                <a:lnTo>
                  <a:pt x="3516313" y="0"/>
                </a:lnTo>
                <a:lnTo>
                  <a:pt x="3516313" y="3144838"/>
                </a:lnTo>
                <a:lnTo>
                  <a:pt x="2103557" y="3144838"/>
                </a:lnTo>
                <a:lnTo>
                  <a:pt x="2100524" y="3114680"/>
                </a:lnTo>
                <a:cubicBezTo>
                  <a:pt x="2067938" y="2955042"/>
                  <a:pt x="1927036" y="2834957"/>
                  <a:pt x="1758157" y="2834957"/>
                </a:cubicBezTo>
                <a:cubicBezTo>
                  <a:pt x="1589278" y="2834957"/>
                  <a:pt x="1448377" y="2955042"/>
                  <a:pt x="1415790" y="3114680"/>
                </a:cubicBezTo>
                <a:lnTo>
                  <a:pt x="1412757" y="3144838"/>
                </a:lnTo>
                <a:lnTo>
                  <a:pt x="0" y="3144838"/>
                </a:lnTo>
                <a:close/>
              </a:path>
            </a:pathLst>
          </a:cu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501" y="6548344"/>
            <a:ext cx="10260000" cy="15773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4762C45A-B737-2826-FECA-EE158D963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0118" y="6548344"/>
            <a:ext cx="52197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 b="1">
                <a:solidFill>
                  <a:schemeClr val="tx2"/>
                </a:solidFill>
                <a:latin typeface="+mj-lt"/>
              </a:defRPr>
            </a:lvl1pPr>
          </a:lstStyle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693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0873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0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Рисунок 5">
            <a:extLst>
              <a:ext uri="{FF2B5EF4-FFF2-40B4-BE49-F238E27FC236}">
                <a16:creationId xmlns:a16="http://schemas.microsoft.com/office/drawing/2014/main" id="{33CE292E-815A-7B83-D6CE-64EAD787C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1500" y="1214120"/>
            <a:ext cx="6028496" cy="5067616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501" y="6548344"/>
            <a:ext cx="10260000" cy="15773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4762C45A-B737-2826-FECA-EE158D963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0118" y="6548344"/>
            <a:ext cx="52197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 b="1">
                <a:solidFill>
                  <a:schemeClr val="tx2"/>
                </a:solidFill>
                <a:latin typeface="+mj-lt"/>
              </a:defRPr>
            </a:lvl1pPr>
          </a:lstStyle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693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470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хайлайт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29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Рисунок 27">
            <a:extLst>
              <a:ext uri="{FF2B5EF4-FFF2-40B4-BE49-F238E27FC236}">
                <a16:creationId xmlns:a16="http://schemas.microsoft.com/office/drawing/2014/main" id="{49EEFC89-F59C-BDDD-8BD8-2AE9848F19F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1500" y="1198564"/>
            <a:ext cx="5399088" cy="3144836"/>
          </a:xfrm>
          <a:custGeom>
            <a:avLst/>
            <a:gdLst>
              <a:gd name="connsiteX0" fmla="*/ 0 w 5399088"/>
              <a:gd name="connsiteY0" fmla="*/ 0 h 3144836"/>
              <a:gd name="connsiteX1" fmla="*/ 5399088 w 5399088"/>
              <a:gd name="connsiteY1" fmla="*/ 0 h 3144836"/>
              <a:gd name="connsiteX2" fmla="*/ 5399088 w 5399088"/>
              <a:gd name="connsiteY2" fmla="*/ 3144836 h 3144836"/>
              <a:gd name="connsiteX3" fmla="*/ 3044943 w 5399088"/>
              <a:gd name="connsiteY3" fmla="*/ 3144836 h 3144836"/>
              <a:gd name="connsiteX4" fmla="*/ 3041973 w 5399088"/>
              <a:gd name="connsiteY4" fmla="*/ 3115306 h 3144836"/>
              <a:gd name="connsiteX5" fmla="*/ 3041910 w 5399088"/>
              <a:gd name="connsiteY5" fmla="*/ 3114678 h 3144836"/>
              <a:gd name="connsiteX6" fmla="*/ 3021547 w 5399088"/>
              <a:gd name="connsiteY6" fmla="*/ 3048918 h 3144836"/>
              <a:gd name="connsiteX7" fmla="*/ 3002062 w 5399088"/>
              <a:gd name="connsiteY7" fmla="*/ 3012931 h 3144836"/>
              <a:gd name="connsiteX8" fmla="*/ 2998417 w 5399088"/>
              <a:gd name="connsiteY8" fmla="*/ 3003624 h 3144836"/>
              <a:gd name="connsiteX9" fmla="*/ 2994680 w 5399088"/>
              <a:gd name="connsiteY9" fmla="*/ 2999297 h 3144836"/>
              <a:gd name="connsiteX10" fmla="*/ 2989327 w 5399088"/>
              <a:gd name="connsiteY10" fmla="*/ 2989410 h 3144836"/>
              <a:gd name="connsiteX11" fmla="*/ 2946654 w 5399088"/>
              <a:gd name="connsiteY11" fmla="*/ 2937563 h 3144836"/>
              <a:gd name="connsiteX12" fmla="*/ 2928140 w 5399088"/>
              <a:gd name="connsiteY12" fmla="*/ 2922250 h 3144836"/>
              <a:gd name="connsiteX13" fmla="*/ 2921837 w 5399088"/>
              <a:gd name="connsiteY13" fmla="*/ 2914952 h 3144836"/>
              <a:gd name="connsiteX14" fmla="*/ 2906094 w 5399088"/>
              <a:gd name="connsiteY14" fmla="*/ 2904016 h 3144836"/>
              <a:gd name="connsiteX15" fmla="*/ 2894933 w 5399088"/>
              <a:gd name="connsiteY15" fmla="*/ 2894785 h 3144836"/>
              <a:gd name="connsiteX16" fmla="*/ 2885117 w 5399088"/>
              <a:gd name="connsiteY16" fmla="*/ 2889444 h 3144836"/>
              <a:gd name="connsiteX17" fmla="*/ 2873493 w 5399088"/>
              <a:gd name="connsiteY17" fmla="*/ 2881369 h 3144836"/>
              <a:gd name="connsiteX18" fmla="*/ 2850601 w 5399088"/>
              <a:gd name="connsiteY18" fmla="*/ 2870663 h 3144836"/>
              <a:gd name="connsiteX19" fmla="*/ 2835571 w 5399088"/>
              <a:gd name="connsiteY19" fmla="*/ 2862485 h 3144836"/>
              <a:gd name="connsiteX20" fmla="*/ 2828229 w 5399088"/>
              <a:gd name="connsiteY20" fmla="*/ 2860201 h 3144836"/>
              <a:gd name="connsiteX21" fmla="*/ 2819702 w 5399088"/>
              <a:gd name="connsiteY21" fmla="*/ 2856213 h 3144836"/>
              <a:gd name="connsiteX22" fmla="*/ 2786669 w 5399088"/>
              <a:gd name="connsiteY22" fmla="*/ 2847268 h 3144836"/>
              <a:gd name="connsiteX23" fmla="*/ 2769973 w 5399088"/>
              <a:gd name="connsiteY23" fmla="*/ 2842072 h 3144836"/>
              <a:gd name="connsiteX24" fmla="*/ 2765999 w 5399088"/>
              <a:gd name="connsiteY24" fmla="*/ 2841671 h 3144836"/>
              <a:gd name="connsiteX25" fmla="*/ 2761405 w 5399088"/>
              <a:gd name="connsiteY25" fmla="*/ 2840427 h 3144836"/>
              <a:gd name="connsiteX26" fmla="*/ 2699543 w 5399088"/>
              <a:gd name="connsiteY26" fmla="*/ 2834955 h 3144836"/>
              <a:gd name="connsiteX27" fmla="*/ 2637682 w 5399088"/>
              <a:gd name="connsiteY27" fmla="*/ 2840427 h 3144836"/>
              <a:gd name="connsiteX28" fmla="*/ 2633088 w 5399088"/>
              <a:gd name="connsiteY28" fmla="*/ 2841671 h 3144836"/>
              <a:gd name="connsiteX29" fmla="*/ 2629113 w 5399088"/>
              <a:gd name="connsiteY29" fmla="*/ 2842072 h 3144836"/>
              <a:gd name="connsiteX30" fmla="*/ 2612415 w 5399088"/>
              <a:gd name="connsiteY30" fmla="*/ 2847269 h 3144836"/>
              <a:gd name="connsiteX31" fmla="*/ 2579385 w 5399088"/>
              <a:gd name="connsiteY31" fmla="*/ 2856213 h 3144836"/>
              <a:gd name="connsiteX32" fmla="*/ 2570859 w 5399088"/>
              <a:gd name="connsiteY32" fmla="*/ 2860200 h 3144836"/>
              <a:gd name="connsiteX33" fmla="*/ 2563515 w 5399088"/>
              <a:gd name="connsiteY33" fmla="*/ 2862485 h 3144836"/>
              <a:gd name="connsiteX34" fmla="*/ 2548482 w 5399088"/>
              <a:gd name="connsiteY34" fmla="*/ 2870665 h 3144836"/>
              <a:gd name="connsiteX35" fmla="*/ 2525594 w 5399088"/>
              <a:gd name="connsiteY35" fmla="*/ 2881369 h 3144836"/>
              <a:gd name="connsiteX36" fmla="*/ 2513973 w 5399088"/>
              <a:gd name="connsiteY36" fmla="*/ 2889442 h 3144836"/>
              <a:gd name="connsiteX37" fmla="*/ 2504153 w 5399088"/>
              <a:gd name="connsiteY37" fmla="*/ 2894785 h 3144836"/>
              <a:gd name="connsiteX38" fmla="*/ 2492989 w 5399088"/>
              <a:gd name="connsiteY38" fmla="*/ 2904019 h 3144836"/>
              <a:gd name="connsiteX39" fmla="*/ 2477250 w 5399088"/>
              <a:gd name="connsiteY39" fmla="*/ 2914952 h 3144836"/>
              <a:gd name="connsiteX40" fmla="*/ 2470949 w 5399088"/>
              <a:gd name="connsiteY40" fmla="*/ 2922248 h 3144836"/>
              <a:gd name="connsiteX41" fmla="*/ 2452433 w 5399088"/>
              <a:gd name="connsiteY41" fmla="*/ 2937563 h 3144836"/>
              <a:gd name="connsiteX42" fmla="*/ 2409760 w 5399088"/>
              <a:gd name="connsiteY42" fmla="*/ 2989410 h 3144836"/>
              <a:gd name="connsiteX43" fmla="*/ 2404406 w 5399088"/>
              <a:gd name="connsiteY43" fmla="*/ 2999299 h 3144836"/>
              <a:gd name="connsiteX44" fmla="*/ 2400670 w 5399088"/>
              <a:gd name="connsiteY44" fmla="*/ 3003624 h 3144836"/>
              <a:gd name="connsiteX45" fmla="*/ 2397027 w 5399088"/>
              <a:gd name="connsiteY45" fmla="*/ 3012927 h 3144836"/>
              <a:gd name="connsiteX46" fmla="*/ 2377539 w 5399088"/>
              <a:gd name="connsiteY46" fmla="*/ 3048918 h 3144836"/>
              <a:gd name="connsiteX47" fmla="*/ 2357176 w 5399088"/>
              <a:gd name="connsiteY47" fmla="*/ 3114678 h 3144836"/>
              <a:gd name="connsiteX48" fmla="*/ 2357113 w 5399088"/>
              <a:gd name="connsiteY48" fmla="*/ 3115306 h 3144836"/>
              <a:gd name="connsiteX49" fmla="*/ 2354143 w 5399088"/>
              <a:gd name="connsiteY49" fmla="*/ 3144836 h 3144836"/>
              <a:gd name="connsiteX50" fmla="*/ 0 w 5399088"/>
              <a:gd name="connsiteY50" fmla="*/ 3144836 h 3144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399088" h="3144836">
                <a:moveTo>
                  <a:pt x="0" y="0"/>
                </a:moveTo>
                <a:lnTo>
                  <a:pt x="5399088" y="0"/>
                </a:lnTo>
                <a:lnTo>
                  <a:pt x="5399088" y="3144836"/>
                </a:lnTo>
                <a:lnTo>
                  <a:pt x="3044943" y="3144836"/>
                </a:lnTo>
                <a:lnTo>
                  <a:pt x="3041973" y="3115306"/>
                </a:lnTo>
                <a:lnTo>
                  <a:pt x="3041910" y="3114678"/>
                </a:lnTo>
                <a:cubicBezTo>
                  <a:pt x="3037255" y="3091873"/>
                  <a:pt x="3030389" y="3069875"/>
                  <a:pt x="3021547" y="3048918"/>
                </a:cubicBezTo>
                <a:lnTo>
                  <a:pt x="3002062" y="3012931"/>
                </a:lnTo>
                <a:lnTo>
                  <a:pt x="2998417" y="3003624"/>
                </a:lnTo>
                <a:lnTo>
                  <a:pt x="2994680" y="2999297"/>
                </a:lnTo>
                <a:lnTo>
                  <a:pt x="2989327" y="2989410"/>
                </a:lnTo>
                <a:cubicBezTo>
                  <a:pt x="2976766" y="2970773"/>
                  <a:pt x="2962464" y="2953412"/>
                  <a:pt x="2946654" y="2937563"/>
                </a:cubicBezTo>
                <a:lnTo>
                  <a:pt x="2928140" y="2922250"/>
                </a:lnTo>
                <a:lnTo>
                  <a:pt x="2921837" y="2914952"/>
                </a:lnTo>
                <a:lnTo>
                  <a:pt x="2906094" y="2904016"/>
                </a:lnTo>
                <a:lnTo>
                  <a:pt x="2894933" y="2894785"/>
                </a:lnTo>
                <a:lnTo>
                  <a:pt x="2885117" y="2889444"/>
                </a:lnTo>
                <a:lnTo>
                  <a:pt x="2873493" y="2881369"/>
                </a:lnTo>
                <a:lnTo>
                  <a:pt x="2850601" y="2870663"/>
                </a:lnTo>
                <a:lnTo>
                  <a:pt x="2835571" y="2862485"/>
                </a:lnTo>
                <a:lnTo>
                  <a:pt x="2828229" y="2860201"/>
                </a:lnTo>
                <a:lnTo>
                  <a:pt x="2819702" y="2856213"/>
                </a:lnTo>
                <a:lnTo>
                  <a:pt x="2786669" y="2847268"/>
                </a:lnTo>
                <a:lnTo>
                  <a:pt x="2769973" y="2842072"/>
                </a:lnTo>
                <a:lnTo>
                  <a:pt x="2765999" y="2841671"/>
                </a:lnTo>
                <a:lnTo>
                  <a:pt x="2761405" y="2840427"/>
                </a:lnTo>
                <a:cubicBezTo>
                  <a:pt x="2741326" y="2836831"/>
                  <a:pt x="2720653" y="2834955"/>
                  <a:pt x="2699543" y="2834955"/>
                </a:cubicBezTo>
                <a:cubicBezTo>
                  <a:pt x="2678433" y="2834955"/>
                  <a:pt x="2657761" y="2836831"/>
                  <a:pt x="2637682" y="2840427"/>
                </a:cubicBezTo>
                <a:lnTo>
                  <a:pt x="2633088" y="2841671"/>
                </a:lnTo>
                <a:lnTo>
                  <a:pt x="2629113" y="2842072"/>
                </a:lnTo>
                <a:lnTo>
                  <a:pt x="2612415" y="2847269"/>
                </a:lnTo>
                <a:lnTo>
                  <a:pt x="2579385" y="2856213"/>
                </a:lnTo>
                <a:lnTo>
                  <a:pt x="2570859" y="2860200"/>
                </a:lnTo>
                <a:lnTo>
                  <a:pt x="2563515" y="2862485"/>
                </a:lnTo>
                <a:lnTo>
                  <a:pt x="2548482" y="2870665"/>
                </a:lnTo>
                <a:lnTo>
                  <a:pt x="2525594" y="2881369"/>
                </a:lnTo>
                <a:lnTo>
                  <a:pt x="2513973" y="2889442"/>
                </a:lnTo>
                <a:lnTo>
                  <a:pt x="2504153" y="2894785"/>
                </a:lnTo>
                <a:lnTo>
                  <a:pt x="2492989" y="2904019"/>
                </a:lnTo>
                <a:lnTo>
                  <a:pt x="2477250" y="2914952"/>
                </a:lnTo>
                <a:lnTo>
                  <a:pt x="2470949" y="2922248"/>
                </a:lnTo>
                <a:lnTo>
                  <a:pt x="2452433" y="2937563"/>
                </a:lnTo>
                <a:cubicBezTo>
                  <a:pt x="2436623" y="2953412"/>
                  <a:pt x="2422320" y="2970773"/>
                  <a:pt x="2409760" y="2989410"/>
                </a:cubicBezTo>
                <a:lnTo>
                  <a:pt x="2404406" y="2999299"/>
                </a:lnTo>
                <a:lnTo>
                  <a:pt x="2400670" y="3003624"/>
                </a:lnTo>
                <a:lnTo>
                  <a:pt x="2397027" y="3012927"/>
                </a:lnTo>
                <a:lnTo>
                  <a:pt x="2377539" y="3048918"/>
                </a:lnTo>
                <a:cubicBezTo>
                  <a:pt x="2368697" y="3069875"/>
                  <a:pt x="2361831" y="3091873"/>
                  <a:pt x="2357176" y="3114678"/>
                </a:cubicBezTo>
                <a:lnTo>
                  <a:pt x="2357113" y="3115306"/>
                </a:lnTo>
                <a:lnTo>
                  <a:pt x="2354143" y="3144836"/>
                </a:lnTo>
                <a:lnTo>
                  <a:pt x="0" y="3144836"/>
                </a:lnTo>
                <a:close/>
              </a:path>
            </a:pathLst>
          </a:cu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32F46A34-A804-72E0-807F-1A97848FA22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21412" y="1198564"/>
            <a:ext cx="5399088" cy="3144836"/>
          </a:xfrm>
          <a:custGeom>
            <a:avLst/>
            <a:gdLst>
              <a:gd name="connsiteX0" fmla="*/ 0 w 5399088"/>
              <a:gd name="connsiteY0" fmla="*/ 0 h 3144836"/>
              <a:gd name="connsiteX1" fmla="*/ 5399088 w 5399088"/>
              <a:gd name="connsiteY1" fmla="*/ 0 h 3144836"/>
              <a:gd name="connsiteX2" fmla="*/ 5399088 w 5399088"/>
              <a:gd name="connsiteY2" fmla="*/ 3144836 h 3144836"/>
              <a:gd name="connsiteX3" fmla="*/ 3044943 w 5399088"/>
              <a:gd name="connsiteY3" fmla="*/ 3144836 h 3144836"/>
              <a:gd name="connsiteX4" fmla="*/ 3041910 w 5399088"/>
              <a:gd name="connsiteY4" fmla="*/ 3114678 h 3144836"/>
              <a:gd name="connsiteX5" fmla="*/ 2699543 w 5399088"/>
              <a:gd name="connsiteY5" fmla="*/ 2834955 h 3144836"/>
              <a:gd name="connsiteX6" fmla="*/ 2357176 w 5399088"/>
              <a:gd name="connsiteY6" fmla="*/ 3114678 h 3144836"/>
              <a:gd name="connsiteX7" fmla="*/ 2354143 w 5399088"/>
              <a:gd name="connsiteY7" fmla="*/ 3144836 h 3144836"/>
              <a:gd name="connsiteX8" fmla="*/ 0 w 5399088"/>
              <a:gd name="connsiteY8" fmla="*/ 3144836 h 3144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99088" h="3144836">
                <a:moveTo>
                  <a:pt x="0" y="0"/>
                </a:moveTo>
                <a:lnTo>
                  <a:pt x="5399088" y="0"/>
                </a:lnTo>
                <a:lnTo>
                  <a:pt x="5399088" y="3144836"/>
                </a:lnTo>
                <a:lnTo>
                  <a:pt x="3044943" y="3144836"/>
                </a:lnTo>
                <a:lnTo>
                  <a:pt x="3041910" y="3114678"/>
                </a:lnTo>
                <a:cubicBezTo>
                  <a:pt x="3009324" y="2955040"/>
                  <a:pt x="2868423" y="2834955"/>
                  <a:pt x="2699543" y="2834955"/>
                </a:cubicBezTo>
                <a:cubicBezTo>
                  <a:pt x="2530664" y="2834955"/>
                  <a:pt x="2389763" y="2955040"/>
                  <a:pt x="2357176" y="3114678"/>
                </a:cubicBezTo>
                <a:lnTo>
                  <a:pt x="2354143" y="3144836"/>
                </a:lnTo>
                <a:lnTo>
                  <a:pt x="0" y="3144836"/>
                </a:lnTo>
                <a:close/>
              </a:path>
            </a:pathLst>
          </a:cu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400">
                <a:noFill/>
                <a:latin typeface="+mn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501" y="6548344"/>
            <a:ext cx="10260000" cy="15773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4762C45A-B737-2826-FECA-EE158D963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0118" y="6548344"/>
            <a:ext cx="52197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 b="1">
                <a:solidFill>
                  <a:schemeClr val="tx2"/>
                </a:solidFill>
                <a:latin typeface="+mj-lt"/>
              </a:defRPr>
            </a:lvl1pPr>
          </a:lstStyle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693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548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Слайд с цита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06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126070E-0A56-FB23-FFFB-213FABA05E55}"/>
              </a:ext>
            </a:extLst>
          </p:cNvPr>
          <p:cNvSpPr txBox="1"/>
          <p:nvPr userDrawn="1"/>
        </p:nvSpPr>
        <p:spPr>
          <a:xfrm>
            <a:off x="188385" y="459899"/>
            <a:ext cx="1046761" cy="14773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ru-RU" sz="9600" b="1" dirty="0">
                <a:solidFill>
                  <a:schemeClr val="accent3"/>
                </a:solidFill>
                <a:latin typeface="+mj-lt"/>
              </a:rPr>
              <a:t>«</a:t>
            </a:r>
            <a:endParaRPr lang="en-RU" sz="9600" b="1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10" name="Рисунок 2">
            <a:extLst>
              <a:ext uri="{FF2B5EF4-FFF2-40B4-BE49-F238E27FC236}">
                <a16:creationId xmlns:a16="http://schemas.microsoft.com/office/drawing/2014/main" id="{094B6EA1-3E7B-15D8-A66F-DD4007835F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22695" y="0"/>
            <a:ext cx="5869304" cy="6858000"/>
          </a:xfrm>
          <a:prstGeom prst="rect">
            <a:avLst/>
          </a:prstGeom>
          <a:pattFill prst="lgCheck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lang="ru-RU" sz="1400">
                <a:noFill/>
                <a:latin typeface="+mn-lt"/>
              </a:defRPr>
            </a:lvl1pPr>
          </a:lstStyle>
          <a:p>
            <a:pPr lvl="0" algn="ctr"/>
            <a:endParaRPr lang="ru-RU"/>
          </a:p>
        </p:txBody>
      </p:sp>
      <p:cxnSp>
        <p:nvCxnSpPr>
          <p:cNvPr id="11" name="Прямая соединительная линия 68">
            <a:extLst>
              <a:ext uri="{FF2B5EF4-FFF2-40B4-BE49-F238E27FC236}">
                <a16:creationId xmlns:a16="http://schemas.microsoft.com/office/drawing/2014/main" id="{EF848C07-B5A3-1B9A-527D-CCFCF6B27839}"/>
              </a:ext>
            </a:extLst>
          </p:cNvPr>
          <p:cNvCxnSpPr>
            <a:cxnSpLocks/>
          </p:cNvCxnSpPr>
          <p:nvPr userDrawn="1"/>
        </p:nvCxnSpPr>
        <p:spPr>
          <a:xfrm flipV="1">
            <a:off x="6288330" y="0"/>
            <a:ext cx="0" cy="685800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DFE927F7-68D1-4E62-7174-744C699EAB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9967" y="1874164"/>
            <a:ext cx="5088323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цитаты в несколько строк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607DDB-8BE0-A0D8-E628-FC763F4AAB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73823" y="4983836"/>
            <a:ext cx="2286000" cy="249299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/>
            </a:lvl1pPr>
          </a:lstStyle>
          <a:p>
            <a:pPr lvl="0"/>
            <a:r>
              <a:rPr lang="ru-RU" dirty="0"/>
              <a:t>Фамилия Имя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3277477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bg object 17"/>
          <p:cNvSpPr/>
          <p:nvPr/>
        </p:nvSpPr>
        <p:spPr>
          <a:xfrm>
            <a:off x="1144029" y="5713571"/>
            <a:ext cx="1144107" cy="1144027"/>
          </a:xfrm>
          <a:custGeom>
            <a:avLst/>
            <a:gdLst/>
            <a:ahLst/>
            <a:cxnLst/>
            <a:rect l="l" t="t" r="r" b="b"/>
            <a:pathLst>
              <a:path w="1886585" h="1886584">
                <a:moveTo>
                  <a:pt x="1886455" y="0"/>
                </a:moveTo>
                <a:lnTo>
                  <a:pt x="0" y="0"/>
                </a:lnTo>
                <a:lnTo>
                  <a:pt x="0" y="1886455"/>
                </a:lnTo>
                <a:lnTo>
                  <a:pt x="1886455" y="1886455"/>
                </a:lnTo>
                <a:lnTo>
                  <a:pt x="1886455" y="0"/>
                </a:lnTo>
                <a:close/>
              </a:path>
            </a:pathLst>
          </a:custGeom>
          <a:solidFill>
            <a:srgbClr val="001E63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bg object 18"/>
          <p:cNvSpPr/>
          <p:nvPr/>
        </p:nvSpPr>
        <p:spPr>
          <a:xfrm>
            <a:off x="2" y="5141592"/>
            <a:ext cx="1144107" cy="572206"/>
          </a:xfrm>
          <a:custGeom>
            <a:avLst/>
            <a:gdLst/>
            <a:ahLst/>
            <a:cxnLst/>
            <a:rect l="l" t="t" r="r" b="b"/>
            <a:pathLst>
              <a:path w="1886585" h="943609">
                <a:moveTo>
                  <a:pt x="943227" y="0"/>
                </a:moveTo>
                <a:lnTo>
                  <a:pt x="894689" y="1227"/>
                </a:lnTo>
                <a:lnTo>
                  <a:pt x="846788" y="4869"/>
                </a:lnTo>
                <a:lnTo>
                  <a:pt x="799584" y="10868"/>
                </a:lnTo>
                <a:lnTo>
                  <a:pt x="753135" y="19163"/>
                </a:lnTo>
                <a:lnTo>
                  <a:pt x="707501" y="29696"/>
                </a:lnTo>
                <a:lnTo>
                  <a:pt x="662742" y="42406"/>
                </a:lnTo>
                <a:lnTo>
                  <a:pt x="618915" y="57236"/>
                </a:lnTo>
                <a:lnTo>
                  <a:pt x="576082" y="74125"/>
                </a:lnTo>
                <a:lnTo>
                  <a:pt x="534301" y="93014"/>
                </a:lnTo>
                <a:lnTo>
                  <a:pt x="493631" y="113845"/>
                </a:lnTo>
                <a:lnTo>
                  <a:pt x="454131" y="136557"/>
                </a:lnTo>
                <a:lnTo>
                  <a:pt x="415861" y="161092"/>
                </a:lnTo>
                <a:lnTo>
                  <a:pt x="378881" y="187390"/>
                </a:lnTo>
                <a:lnTo>
                  <a:pt x="343248" y="215391"/>
                </a:lnTo>
                <a:lnTo>
                  <a:pt x="309024" y="245038"/>
                </a:lnTo>
                <a:lnTo>
                  <a:pt x="276266" y="276270"/>
                </a:lnTo>
                <a:lnTo>
                  <a:pt x="245034" y="309028"/>
                </a:lnTo>
                <a:lnTo>
                  <a:pt x="215388" y="343253"/>
                </a:lnTo>
                <a:lnTo>
                  <a:pt x="187387" y="378885"/>
                </a:lnTo>
                <a:lnTo>
                  <a:pt x="161089" y="415866"/>
                </a:lnTo>
                <a:lnTo>
                  <a:pt x="136555" y="454136"/>
                </a:lnTo>
                <a:lnTo>
                  <a:pt x="113843" y="493635"/>
                </a:lnTo>
                <a:lnTo>
                  <a:pt x="93013" y="534305"/>
                </a:lnTo>
                <a:lnTo>
                  <a:pt x="74124" y="576087"/>
                </a:lnTo>
                <a:lnTo>
                  <a:pt x="57235" y="618920"/>
                </a:lnTo>
                <a:lnTo>
                  <a:pt x="42405" y="662746"/>
                </a:lnTo>
                <a:lnTo>
                  <a:pt x="29695" y="707505"/>
                </a:lnTo>
                <a:lnTo>
                  <a:pt x="19163" y="753138"/>
                </a:lnTo>
                <a:lnTo>
                  <a:pt x="10868" y="799586"/>
                </a:lnTo>
                <a:lnTo>
                  <a:pt x="4869" y="846790"/>
                </a:lnTo>
                <a:lnTo>
                  <a:pt x="1227" y="894690"/>
                </a:lnTo>
                <a:lnTo>
                  <a:pt x="0" y="943227"/>
                </a:lnTo>
                <a:lnTo>
                  <a:pt x="1886455" y="943227"/>
                </a:lnTo>
                <a:lnTo>
                  <a:pt x="1885228" y="894690"/>
                </a:lnTo>
                <a:lnTo>
                  <a:pt x="1881585" y="846790"/>
                </a:lnTo>
                <a:lnTo>
                  <a:pt x="1875587" y="799586"/>
                </a:lnTo>
                <a:lnTo>
                  <a:pt x="1867292" y="753138"/>
                </a:lnTo>
                <a:lnTo>
                  <a:pt x="1856760" y="707505"/>
                </a:lnTo>
                <a:lnTo>
                  <a:pt x="1844049" y="662746"/>
                </a:lnTo>
                <a:lnTo>
                  <a:pt x="1829220" y="618920"/>
                </a:lnTo>
                <a:lnTo>
                  <a:pt x="1812331" y="576087"/>
                </a:lnTo>
                <a:lnTo>
                  <a:pt x="1793442" y="534305"/>
                </a:lnTo>
                <a:lnTo>
                  <a:pt x="1772612" y="493635"/>
                </a:lnTo>
                <a:lnTo>
                  <a:pt x="1749900" y="454136"/>
                </a:lnTo>
                <a:lnTo>
                  <a:pt x="1725366" y="415866"/>
                </a:lnTo>
                <a:lnTo>
                  <a:pt x="1699068" y="378885"/>
                </a:lnTo>
                <a:lnTo>
                  <a:pt x="1671067" y="343253"/>
                </a:lnTo>
                <a:lnTo>
                  <a:pt x="1641420" y="309028"/>
                </a:lnTo>
                <a:lnTo>
                  <a:pt x="1610189" y="276270"/>
                </a:lnTo>
                <a:lnTo>
                  <a:pt x="1577431" y="245038"/>
                </a:lnTo>
                <a:lnTo>
                  <a:pt x="1543206" y="215391"/>
                </a:lnTo>
                <a:lnTo>
                  <a:pt x="1507574" y="187390"/>
                </a:lnTo>
                <a:lnTo>
                  <a:pt x="1470593" y="161092"/>
                </a:lnTo>
                <a:lnTo>
                  <a:pt x="1432324" y="136557"/>
                </a:lnTo>
                <a:lnTo>
                  <a:pt x="1392824" y="113845"/>
                </a:lnTo>
                <a:lnTo>
                  <a:pt x="1352154" y="93014"/>
                </a:lnTo>
                <a:lnTo>
                  <a:pt x="1310373" y="74125"/>
                </a:lnTo>
                <a:lnTo>
                  <a:pt x="1267539" y="57236"/>
                </a:lnTo>
                <a:lnTo>
                  <a:pt x="1223713" y="42406"/>
                </a:lnTo>
                <a:lnTo>
                  <a:pt x="1178953" y="29696"/>
                </a:lnTo>
                <a:lnTo>
                  <a:pt x="1133320" y="19163"/>
                </a:lnTo>
                <a:lnTo>
                  <a:pt x="1086871" y="10868"/>
                </a:lnTo>
                <a:lnTo>
                  <a:pt x="1039666" y="4869"/>
                </a:lnTo>
                <a:lnTo>
                  <a:pt x="991765" y="1227"/>
                </a:lnTo>
                <a:lnTo>
                  <a:pt x="943227" y="0"/>
                </a:lnTo>
                <a:close/>
              </a:path>
            </a:pathLst>
          </a:custGeom>
          <a:solidFill>
            <a:srgbClr val="FFB8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9" name="bg object 19"/>
          <p:cNvSpPr/>
          <p:nvPr/>
        </p:nvSpPr>
        <p:spPr>
          <a:xfrm>
            <a:off x="1" y="4569616"/>
            <a:ext cx="1144107" cy="572206"/>
          </a:xfrm>
          <a:custGeom>
            <a:avLst/>
            <a:gdLst/>
            <a:ahLst/>
            <a:cxnLst/>
            <a:rect l="l" t="t" r="r" b="b"/>
            <a:pathLst>
              <a:path w="1886585" h="943609">
                <a:moveTo>
                  <a:pt x="1886455" y="0"/>
                </a:moveTo>
                <a:lnTo>
                  <a:pt x="0" y="0"/>
                </a:lnTo>
                <a:lnTo>
                  <a:pt x="1227" y="48537"/>
                </a:lnTo>
                <a:lnTo>
                  <a:pt x="4869" y="96437"/>
                </a:lnTo>
                <a:lnTo>
                  <a:pt x="10868" y="143641"/>
                </a:lnTo>
                <a:lnTo>
                  <a:pt x="19163" y="190089"/>
                </a:lnTo>
                <a:lnTo>
                  <a:pt x="29695" y="235722"/>
                </a:lnTo>
                <a:lnTo>
                  <a:pt x="42405" y="280481"/>
                </a:lnTo>
                <a:lnTo>
                  <a:pt x="57235" y="324307"/>
                </a:lnTo>
                <a:lnTo>
                  <a:pt x="74124" y="367140"/>
                </a:lnTo>
                <a:lnTo>
                  <a:pt x="93013" y="408922"/>
                </a:lnTo>
                <a:lnTo>
                  <a:pt x="113843" y="449592"/>
                </a:lnTo>
                <a:lnTo>
                  <a:pt x="136555" y="489091"/>
                </a:lnTo>
                <a:lnTo>
                  <a:pt x="161089" y="527361"/>
                </a:lnTo>
                <a:lnTo>
                  <a:pt x="187387" y="564342"/>
                </a:lnTo>
                <a:lnTo>
                  <a:pt x="215388" y="599974"/>
                </a:lnTo>
                <a:lnTo>
                  <a:pt x="245034" y="634199"/>
                </a:lnTo>
                <a:lnTo>
                  <a:pt x="276266" y="666957"/>
                </a:lnTo>
                <a:lnTo>
                  <a:pt x="309024" y="698189"/>
                </a:lnTo>
                <a:lnTo>
                  <a:pt x="343248" y="727835"/>
                </a:lnTo>
                <a:lnTo>
                  <a:pt x="378881" y="755837"/>
                </a:lnTo>
                <a:lnTo>
                  <a:pt x="415861" y="782135"/>
                </a:lnTo>
                <a:lnTo>
                  <a:pt x="454131" y="806670"/>
                </a:lnTo>
                <a:lnTo>
                  <a:pt x="493631" y="829382"/>
                </a:lnTo>
                <a:lnTo>
                  <a:pt x="534301" y="850212"/>
                </a:lnTo>
                <a:lnTo>
                  <a:pt x="576082" y="869102"/>
                </a:lnTo>
                <a:lnTo>
                  <a:pt x="618915" y="885991"/>
                </a:lnTo>
                <a:lnTo>
                  <a:pt x="662742" y="900820"/>
                </a:lnTo>
                <a:lnTo>
                  <a:pt x="707501" y="913531"/>
                </a:lnTo>
                <a:lnTo>
                  <a:pt x="753135" y="924064"/>
                </a:lnTo>
                <a:lnTo>
                  <a:pt x="799584" y="932359"/>
                </a:lnTo>
                <a:lnTo>
                  <a:pt x="846788" y="938357"/>
                </a:lnTo>
                <a:lnTo>
                  <a:pt x="894689" y="942000"/>
                </a:lnTo>
                <a:lnTo>
                  <a:pt x="943227" y="943227"/>
                </a:lnTo>
                <a:lnTo>
                  <a:pt x="991765" y="942000"/>
                </a:lnTo>
                <a:lnTo>
                  <a:pt x="1039666" y="938357"/>
                </a:lnTo>
                <a:lnTo>
                  <a:pt x="1086871" y="932359"/>
                </a:lnTo>
                <a:lnTo>
                  <a:pt x="1133320" y="924064"/>
                </a:lnTo>
                <a:lnTo>
                  <a:pt x="1178953" y="913531"/>
                </a:lnTo>
                <a:lnTo>
                  <a:pt x="1223713" y="900820"/>
                </a:lnTo>
                <a:lnTo>
                  <a:pt x="1267539" y="885991"/>
                </a:lnTo>
                <a:lnTo>
                  <a:pt x="1310373" y="869102"/>
                </a:lnTo>
                <a:lnTo>
                  <a:pt x="1352154" y="850212"/>
                </a:lnTo>
                <a:lnTo>
                  <a:pt x="1392824" y="829382"/>
                </a:lnTo>
                <a:lnTo>
                  <a:pt x="1432324" y="806670"/>
                </a:lnTo>
                <a:lnTo>
                  <a:pt x="1470593" y="782135"/>
                </a:lnTo>
                <a:lnTo>
                  <a:pt x="1507574" y="755837"/>
                </a:lnTo>
                <a:lnTo>
                  <a:pt x="1543206" y="727835"/>
                </a:lnTo>
                <a:lnTo>
                  <a:pt x="1577431" y="698189"/>
                </a:lnTo>
                <a:lnTo>
                  <a:pt x="1610189" y="666957"/>
                </a:lnTo>
                <a:lnTo>
                  <a:pt x="1641420" y="634199"/>
                </a:lnTo>
                <a:lnTo>
                  <a:pt x="1671067" y="599974"/>
                </a:lnTo>
                <a:lnTo>
                  <a:pt x="1699068" y="564342"/>
                </a:lnTo>
                <a:lnTo>
                  <a:pt x="1725366" y="527361"/>
                </a:lnTo>
                <a:lnTo>
                  <a:pt x="1749900" y="489091"/>
                </a:lnTo>
                <a:lnTo>
                  <a:pt x="1772612" y="449592"/>
                </a:lnTo>
                <a:lnTo>
                  <a:pt x="1793442" y="408922"/>
                </a:lnTo>
                <a:lnTo>
                  <a:pt x="1812331" y="367140"/>
                </a:lnTo>
                <a:lnTo>
                  <a:pt x="1829220" y="324307"/>
                </a:lnTo>
                <a:lnTo>
                  <a:pt x="1844049" y="280481"/>
                </a:lnTo>
                <a:lnTo>
                  <a:pt x="1856760" y="235722"/>
                </a:lnTo>
                <a:lnTo>
                  <a:pt x="1867292" y="190089"/>
                </a:lnTo>
                <a:lnTo>
                  <a:pt x="1875587" y="143641"/>
                </a:lnTo>
                <a:lnTo>
                  <a:pt x="1881585" y="96437"/>
                </a:lnTo>
                <a:lnTo>
                  <a:pt x="1885228" y="48537"/>
                </a:lnTo>
                <a:lnTo>
                  <a:pt x="1886455" y="0"/>
                </a:lnTo>
                <a:close/>
              </a:path>
            </a:pathLst>
          </a:custGeom>
          <a:solidFill>
            <a:srgbClr val="001E63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0" name="bg object 20"/>
          <p:cNvSpPr/>
          <p:nvPr/>
        </p:nvSpPr>
        <p:spPr>
          <a:xfrm>
            <a:off x="265397" y="5713569"/>
            <a:ext cx="2022886" cy="1144027"/>
          </a:xfrm>
          <a:custGeom>
            <a:avLst/>
            <a:gdLst/>
            <a:ahLst/>
            <a:cxnLst/>
            <a:rect l="l" t="t" r="r" b="b"/>
            <a:pathLst>
              <a:path w="3335654" h="1886584">
                <a:moveTo>
                  <a:pt x="1011174" y="774065"/>
                </a:moveTo>
                <a:lnTo>
                  <a:pt x="1007821" y="730364"/>
                </a:lnTo>
                <a:lnTo>
                  <a:pt x="997788" y="687489"/>
                </a:lnTo>
                <a:lnTo>
                  <a:pt x="981062" y="646290"/>
                </a:lnTo>
                <a:lnTo>
                  <a:pt x="957643" y="607568"/>
                </a:lnTo>
                <a:lnTo>
                  <a:pt x="927544" y="572173"/>
                </a:lnTo>
                <a:lnTo>
                  <a:pt x="892149" y="542074"/>
                </a:lnTo>
                <a:lnTo>
                  <a:pt x="853440" y="518655"/>
                </a:lnTo>
                <a:lnTo>
                  <a:pt x="812228" y="501942"/>
                </a:lnTo>
                <a:lnTo>
                  <a:pt x="769366" y="491896"/>
                </a:lnTo>
                <a:lnTo>
                  <a:pt x="725652" y="488556"/>
                </a:lnTo>
                <a:lnTo>
                  <a:pt x="681951" y="491896"/>
                </a:lnTo>
                <a:lnTo>
                  <a:pt x="639076" y="501942"/>
                </a:lnTo>
                <a:lnTo>
                  <a:pt x="597877" y="518655"/>
                </a:lnTo>
                <a:lnTo>
                  <a:pt x="559155" y="542074"/>
                </a:lnTo>
                <a:lnTo>
                  <a:pt x="523760" y="572173"/>
                </a:lnTo>
                <a:lnTo>
                  <a:pt x="505599" y="590346"/>
                </a:lnTo>
                <a:lnTo>
                  <a:pt x="487438" y="572173"/>
                </a:lnTo>
                <a:lnTo>
                  <a:pt x="452043" y="542074"/>
                </a:lnTo>
                <a:lnTo>
                  <a:pt x="413321" y="518655"/>
                </a:lnTo>
                <a:lnTo>
                  <a:pt x="372110" y="501942"/>
                </a:lnTo>
                <a:lnTo>
                  <a:pt x="329234" y="491896"/>
                </a:lnTo>
                <a:lnTo>
                  <a:pt x="285534" y="488556"/>
                </a:lnTo>
                <a:lnTo>
                  <a:pt x="241833" y="491896"/>
                </a:lnTo>
                <a:lnTo>
                  <a:pt x="198958" y="501942"/>
                </a:lnTo>
                <a:lnTo>
                  <a:pt x="157746" y="518655"/>
                </a:lnTo>
                <a:lnTo>
                  <a:pt x="119037" y="542074"/>
                </a:lnTo>
                <a:lnTo>
                  <a:pt x="83654" y="572173"/>
                </a:lnTo>
                <a:lnTo>
                  <a:pt x="53543" y="607568"/>
                </a:lnTo>
                <a:lnTo>
                  <a:pt x="30111" y="646290"/>
                </a:lnTo>
                <a:lnTo>
                  <a:pt x="13385" y="687489"/>
                </a:lnTo>
                <a:lnTo>
                  <a:pt x="3340" y="730364"/>
                </a:lnTo>
                <a:lnTo>
                  <a:pt x="0" y="774065"/>
                </a:lnTo>
                <a:lnTo>
                  <a:pt x="3340" y="817778"/>
                </a:lnTo>
                <a:lnTo>
                  <a:pt x="13385" y="860640"/>
                </a:lnTo>
                <a:lnTo>
                  <a:pt x="30111" y="901852"/>
                </a:lnTo>
                <a:lnTo>
                  <a:pt x="53543" y="940562"/>
                </a:lnTo>
                <a:lnTo>
                  <a:pt x="83654" y="975956"/>
                </a:lnTo>
                <a:lnTo>
                  <a:pt x="505599" y="1397914"/>
                </a:lnTo>
                <a:lnTo>
                  <a:pt x="927544" y="975956"/>
                </a:lnTo>
                <a:lnTo>
                  <a:pt x="957643" y="940562"/>
                </a:lnTo>
                <a:lnTo>
                  <a:pt x="981062" y="901852"/>
                </a:lnTo>
                <a:lnTo>
                  <a:pt x="997788" y="860640"/>
                </a:lnTo>
                <a:lnTo>
                  <a:pt x="1007821" y="817778"/>
                </a:lnTo>
                <a:lnTo>
                  <a:pt x="1011174" y="774065"/>
                </a:lnTo>
                <a:close/>
              </a:path>
              <a:path w="3335654" h="1886584">
                <a:moveTo>
                  <a:pt x="3335274" y="0"/>
                </a:moveTo>
                <a:lnTo>
                  <a:pt x="3287331" y="596"/>
                </a:lnTo>
                <a:lnTo>
                  <a:pt x="3239681" y="2387"/>
                </a:lnTo>
                <a:lnTo>
                  <a:pt x="3192348" y="5334"/>
                </a:lnTo>
                <a:lnTo>
                  <a:pt x="3145320" y="9448"/>
                </a:lnTo>
                <a:lnTo>
                  <a:pt x="3098647" y="14706"/>
                </a:lnTo>
                <a:lnTo>
                  <a:pt x="3052318" y="21082"/>
                </a:lnTo>
                <a:lnTo>
                  <a:pt x="3006344" y="28575"/>
                </a:lnTo>
                <a:lnTo>
                  <a:pt x="2960763" y="37172"/>
                </a:lnTo>
                <a:lnTo>
                  <a:pt x="2915564" y="46863"/>
                </a:lnTo>
                <a:lnTo>
                  <a:pt x="2870784" y="57619"/>
                </a:lnTo>
                <a:lnTo>
                  <a:pt x="2826410" y="69430"/>
                </a:lnTo>
                <a:lnTo>
                  <a:pt x="2782481" y="82283"/>
                </a:lnTo>
                <a:lnTo>
                  <a:pt x="2739009" y="96177"/>
                </a:lnTo>
                <a:lnTo>
                  <a:pt x="2695994" y="111074"/>
                </a:lnTo>
                <a:lnTo>
                  <a:pt x="2653461" y="126987"/>
                </a:lnTo>
                <a:lnTo>
                  <a:pt x="2611412" y="143878"/>
                </a:lnTo>
                <a:lnTo>
                  <a:pt x="2569870" y="161734"/>
                </a:lnTo>
                <a:lnTo>
                  <a:pt x="2528862" y="180568"/>
                </a:lnTo>
                <a:lnTo>
                  <a:pt x="2488374" y="200329"/>
                </a:lnTo>
                <a:lnTo>
                  <a:pt x="2448445" y="221030"/>
                </a:lnTo>
                <a:lnTo>
                  <a:pt x="2409075" y="242646"/>
                </a:lnTo>
                <a:lnTo>
                  <a:pt x="2370277" y="265163"/>
                </a:lnTo>
                <a:lnTo>
                  <a:pt x="2332075" y="288569"/>
                </a:lnTo>
                <a:lnTo>
                  <a:pt x="2294483" y="312851"/>
                </a:lnTo>
                <a:lnTo>
                  <a:pt x="2257501" y="337997"/>
                </a:lnTo>
                <a:lnTo>
                  <a:pt x="2221153" y="363982"/>
                </a:lnTo>
                <a:lnTo>
                  <a:pt x="2185466" y="390791"/>
                </a:lnTo>
                <a:lnTo>
                  <a:pt x="2150427" y="418426"/>
                </a:lnTo>
                <a:lnTo>
                  <a:pt x="2116074" y="446874"/>
                </a:lnTo>
                <a:lnTo>
                  <a:pt x="2082406" y="476097"/>
                </a:lnTo>
                <a:lnTo>
                  <a:pt x="2049437" y="506107"/>
                </a:lnTo>
                <a:lnTo>
                  <a:pt x="2017191" y="536867"/>
                </a:lnTo>
                <a:lnTo>
                  <a:pt x="1985683" y="568375"/>
                </a:lnTo>
                <a:lnTo>
                  <a:pt x="1954923" y="600621"/>
                </a:lnTo>
                <a:lnTo>
                  <a:pt x="1924913" y="633590"/>
                </a:lnTo>
                <a:lnTo>
                  <a:pt x="1895690" y="667258"/>
                </a:lnTo>
                <a:lnTo>
                  <a:pt x="1867255" y="701611"/>
                </a:lnTo>
                <a:lnTo>
                  <a:pt x="1839607" y="736650"/>
                </a:lnTo>
                <a:lnTo>
                  <a:pt x="1812798" y="772337"/>
                </a:lnTo>
                <a:lnTo>
                  <a:pt x="1786813" y="808685"/>
                </a:lnTo>
                <a:lnTo>
                  <a:pt x="1761667" y="845667"/>
                </a:lnTo>
                <a:lnTo>
                  <a:pt x="1737385" y="883259"/>
                </a:lnTo>
                <a:lnTo>
                  <a:pt x="1713979" y="921461"/>
                </a:lnTo>
                <a:lnTo>
                  <a:pt x="1691462" y="960259"/>
                </a:lnTo>
                <a:lnTo>
                  <a:pt x="1669846" y="999629"/>
                </a:lnTo>
                <a:lnTo>
                  <a:pt x="1649145" y="1039558"/>
                </a:lnTo>
                <a:lnTo>
                  <a:pt x="1629384" y="1080046"/>
                </a:lnTo>
                <a:lnTo>
                  <a:pt x="1610563" y="1121054"/>
                </a:lnTo>
                <a:lnTo>
                  <a:pt x="1592694" y="1162596"/>
                </a:lnTo>
                <a:lnTo>
                  <a:pt x="1575803" y="1204645"/>
                </a:lnTo>
                <a:lnTo>
                  <a:pt x="1559902" y="1247178"/>
                </a:lnTo>
                <a:lnTo>
                  <a:pt x="1544993" y="1290193"/>
                </a:lnTo>
                <a:lnTo>
                  <a:pt x="1531112" y="1333665"/>
                </a:lnTo>
                <a:lnTo>
                  <a:pt x="1518246" y="1377594"/>
                </a:lnTo>
                <a:lnTo>
                  <a:pt x="1506435" y="1421968"/>
                </a:lnTo>
                <a:lnTo>
                  <a:pt x="1495679" y="1466748"/>
                </a:lnTo>
                <a:lnTo>
                  <a:pt x="1486001" y="1511947"/>
                </a:lnTo>
                <a:lnTo>
                  <a:pt x="1477403" y="1557528"/>
                </a:lnTo>
                <a:lnTo>
                  <a:pt x="1469898" y="1603489"/>
                </a:lnTo>
                <a:lnTo>
                  <a:pt x="1463522" y="1649831"/>
                </a:lnTo>
                <a:lnTo>
                  <a:pt x="1458264" y="1696504"/>
                </a:lnTo>
                <a:lnTo>
                  <a:pt x="1454162" y="1743519"/>
                </a:lnTo>
                <a:lnTo>
                  <a:pt x="1451203" y="1790865"/>
                </a:lnTo>
                <a:lnTo>
                  <a:pt x="1449425" y="1838515"/>
                </a:lnTo>
                <a:lnTo>
                  <a:pt x="1448828" y="1886458"/>
                </a:lnTo>
                <a:lnTo>
                  <a:pt x="1496771" y="1885861"/>
                </a:lnTo>
                <a:lnTo>
                  <a:pt x="1544421" y="1884083"/>
                </a:lnTo>
                <a:lnTo>
                  <a:pt x="1591754" y="1881124"/>
                </a:lnTo>
                <a:lnTo>
                  <a:pt x="1638769" y="1877009"/>
                </a:lnTo>
                <a:lnTo>
                  <a:pt x="1685455" y="1871764"/>
                </a:lnTo>
                <a:lnTo>
                  <a:pt x="1731784" y="1865376"/>
                </a:lnTo>
                <a:lnTo>
                  <a:pt x="1777758" y="1857883"/>
                </a:lnTo>
                <a:lnTo>
                  <a:pt x="1823339" y="1849285"/>
                </a:lnTo>
                <a:lnTo>
                  <a:pt x="1868538" y="1839595"/>
                </a:lnTo>
                <a:lnTo>
                  <a:pt x="1913318" y="1828850"/>
                </a:lnTo>
                <a:lnTo>
                  <a:pt x="1957679" y="1817027"/>
                </a:lnTo>
                <a:lnTo>
                  <a:pt x="2001608" y="1804174"/>
                </a:lnTo>
                <a:lnTo>
                  <a:pt x="2045093" y="1790280"/>
                </a:lnTo>
                <a:lnTo>
                  <a:pt x="2088108" y="1775383"/>
                </a:lnTo>
                <a:lnTo>
                  <a:pt x="2130641" y="1759483"/>
                </a:lnTo>
                <a:lnTo>
                  <a:pt x="2172690" y="1742592"/>
                </a:lnTo>
                <a:lnTo>
                  <a:pt x="2214219" y="1724723"/>
                </a:lnTo>
                <a:lnTo>
                  <a:pt x="2255240" y="1705902"/>
                </a:lnTo>
                <a:lnTo>
                  <a:pt x="2295728" y="1686128"/>
                </a:lnTo>
                <a:lnTo>
                  <a:pt x="2335657" y="1665427"/>
                </a:lnTo>
                <a:lnTo>
                  <a:pt x="2375027" y="1643811"/>
                </a:lnTo>
                <a:lnTo>
                  <a:pt x="2413825" y="1621294"/>
                </a:lnTo>
                <a:lnTo>
                  <a:pt x="2452027" y="1597888"/>
                </a:lnTo>
                <a:lnTo>
                  <a:pt x="2489619" y="1573606"/>
                </a:lnTo>
                <a:lnTo>
                  <a:pt x="2526601" y="1548472"/>
                </a:lnTo>
                <a:lnTo>
                  <a:pt x="2562936" y="1522488"/>
                </a:lnTo>
                <a:lnTo>
                  <a:pt x="2598636" y="1495666"/>
                </a:lnTo>
                <a:lnTo>
                  <a:pt x="2633675" y="1468031"/>
                </a:lnTo>
                <a:lnTo>
                  <a:pt x="2668028" y="1439595"/>
                </a:lnTo>
                <a:lnTo>
                  <a:pt x="2701696" y="1410360"/>
                </a:lnTo>
                <a:lnTo>
                  <a:pt x="2734653" y="1380363"/>
                </a:lnTo>
                <a:lnTo>
                  <a:pt x="2766898" y="1349590"/>
                </a:lnTo>
                <a:lnTo>
                  <a:pt x="2798407" y="1318082"/>
                </a:lnTo>
                <a:lnTo>
                  <a:pt x="2829179" y="1285836"/>
                </a:lnTo>
                <a:lnTo>
                  <a:pt x="2859176" y="1252880"/>
                </a:lnTo>
                <a:lnTo>
                  <a:pt x="2888411" y="1219212"/>
                </a:lnTo>
                <a:lnTo>
                  <a:pt x="2916847" y="1184846"/>
                </a:lnTo>
                <a:lnTo>
                  <a:pt x="2944482" y="1149819"/>
                </a:lnTo>
                <a:lnTo>
                  <a:pt x="2971304" y="1114120"/>
                </a:lnTo>
                <a:lnTo>
                  <a:pt x="2997289" y="1077772"/>
                </a:lnTo>
                <a:lnTo>
                  <a:pt x="3022435" y="1040803"/>
                </a:lnTo>
                <a:lnTo>
                  <a:pt x="3046717" y="1003198"/>
                </a:lnTo>
                <a:lnTo>
                  <a:pt x="3070123" y="964996"/>
                </a:lnTo>
                <a:lnTo>
                  <a:pt x="3092640" y="926211"/>
                </a:lnTo>
                <a:lnTo>
                  <a:pt x="3114256" y="886841"/>
                </a:lnTo>
                <a:lnTo>
                  <a:pt x="3134957" y="846899"/>
                </a:lnTo>
                <a:lnTo>
                  <a:pt x="3154718" y="806424"/>
                </a:lnTo>
                <a:lnTo>
                  <a:pt x="3173539" y="765403"/>
                </a:lnTo>
                <a:lnTo>
                  <a:pt x="3191408" y="723861"/>
                </a:lnTo>
                <a:lnTo>
                  <a:pt x="3208299" y="681824"/>
                </a:lnTo>
                <a:lnTo>
                  <a:pt x="3224199" y="639279"/>
                </a:lnTo>
                <a:lnTo>
                  <a:pt x="3239109" y="596265"/>
                </a:lnTo>
                <a:lnTo>
                  <a:pt x="3252990" y="552792"/>
                </a:lnTo>
                <a:lnTo>
                  <a:pt x="3265855" y="508863"/>
                </a:lnTo>
                <a:lnTo>
                  <a:pt x="3277666" y="464502"/>
                </a:lnTo>
                <a:lnTo>
                  <a:pt x="3288423" y="419709"/>
                </a:lnTo>
                <a:lnTo>
                  <a:pt x="3298101" y="374523"/>
                </a:lnTo>
                <a:lnTo>
                  <a:pt x="3306699" y="328930"/>
                </a:lnTo>
                <a:lnTo>
                  <a:pt x="3314204" y="282968"/>
                </a:lnTo>
                <a:lnTo>
                  <a:pt x="3320580" y="236639"/>
                </a:lnTo>
                <a:lnTo>
                  <a:pt x="3325838" y="189953"/>
                </a:lnTo>
                <a:lnTo>
                  <a:pt x="3329940" y="142938"/>
                </a:lnTo>
                <a:lnTo>
                  <a:pt x="3332899" y="95592"/>
                </a:lnTo>
                <a:lnTo>
                  <a:pt x="3334677" y="47942"/>
                </a:lnTo>
                <a:lnTo>
                  <a:pt x="3335274" y="0"/>
                </a:lnTo>
                <a:close/>
              </a:path>
            </a:pathLst>
          </a:custGeom>
          <a:solidFill>
            <a:srgbClr val="FF75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21" name="bg object 2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471852" y="0"/>
            <a:ext cx="5720147" cy="6850792"/>
          </a:xfrm>
          <a:prstGeom prst="rect">
            <a:avLst/>
          </a:prstGeom>
        </p:spPr>
      </p:pic>
      <p:sp>
        <p:nvSpPr>
          <p:cNvPr id="22" name="bg object 22"/>
          <p:cNvSpPr/>
          <p:nvPr/>
        </p:nvSpPr>
        <p:spPr>
          <a:xfrm>
            <a:off x="2300787" y="6285542"/>
            <a:ext cx="572246" cy="572206"/>
          </a:xfrm>
          <a:custGeom>
            <a:avLst/>
            <a:gdLst/>
            <a:ahLst/>
            <a:cxnLst/>
            <a:rect l="l" t="t" r="r" b="b"/>
            <a:pathLst>
              <a:path w="943610" h="943609">
                <a:moveTo>
                  <a:pt x="0" y="0"/>
                </a:moveTo>
                <a:lnTo>
                  <a:pt x="0" y="471619"/>
                </a:lnTo>
                <a:lnTo>
                  <a:pt x="48221" y="474053"/>
                </a:lnTo>
                <a:lnTo>
                  <a:pt x="95049" y="481200"/>
                </a:lnTo>
                <a:lnTo>
                  <a:pt x="140247" y="492821"/>
                </a:lnTo>
                <a:lnTo>
                  <a:pt x="183577" y="508680"/>
                </a:lnTo>
                <a:lnTo>
                  <a:pt x="224804" y="528539"/>
                </a:lnTo>
                <a:lnTo>
                  <a:pt x="263689" y="552162"/>
                </a:lnTo>
                <a:lnTo>
                  <a:pt x="299995" y="579311"/>
                </a:lnTo>
                <a:lnTo>
                  <a:pt x="333487" y="609749"/>
                </a:lnTo>
                <a:lnTo>
                  <a:pt x="363926" y="643240"/>
                </a:lnTo>
                <a:lnTo>
                  <a:pt x="391075" y="679546"/>
                </a:lnTo>
                <a:lnTo>
                  <a:pt x="414698" y="718430"/>
                </a:lnTo>
                <a:lnTo>
                  <a:pt x="434557" y="759656"/>
                </a:lnTo>
                <a:lnTo>
                  <a:pt x="450416" y="802985"/>
                </a:lnTo>
                <a:lnTo>
                  <a:pt x="462037" y="848181"/>
                </a:lnTo>
                <a:lnTo>
                  <a:pt x="469184" y="895008"/>
                </a:lnTo>
                <a:lnTo>
                  <a:pt x="471619" y="943227"/>
                </a:lnTo>
                <a:lnTo>
                  <a:pt x="943217" y="943227"/>
                </a:lnTo>
                <a:lnTo>
                  <a:pt x="941990" y="894689"/>
                </a:lnTo>
                <a:lnTo>
                  <a:pt x="938347" y="846788"/>
                </a:lnTo>
                <a:lnTo>
                  <a:pt x="932349" y="799584"/>
                </a:lnTo>
                <a:lnTo>
                  <a:pt x="924054" y="753135"/>
                </a:lnTo>
                <a:lnTo>
                  <a:pt x="913521" y="707501"/>
                </a:lnTo>
                <a:lnTo>
                  <a:pt x="900811" y="662742"/>
                </a:lnTo>
                <a:lnTo>
                  <a:pt x="885982" y="618915"/>
                </a:lnTo>
                <a:lnTo>
                  <a:pt x="869093" y="576082"/>
                </a:lnTo>
                <a:lnTo>
                  <a:pt x="850204" y="534301"/>
                </a:lnTo>
                <a:lnTo>
                  <a:pt x="829374" y="493631"/>
                </a:lnTo>
                <a:lnTo>
                  <a:pt x="806662" y="454131"/>
                </a:lnTo>
                <a:lnTo>
                  <a:pt x="782128" y="415861"/>
                </a:lnTo>
                <a:lnTo>
                  <a:pt x="755830" y="378881"/>
                </a:lnTo>
                <a:lnTo>
                  <a:pt x="727829" y="343248"/>
                </a:lnTo>
                <a:lnTo>
                  <a:pt x="698183" y="309024"/>
                </a:lnTo>
                <a:lnTo>
                  <a:pt x="666952" y="276266"/>
                </a:lnTo>
                <a:lnTo>
                  <a:pt x="634194" y="245034"/>
                </a:lnTo>
                <a:lnTo>
                  <a:pt x="599970" y="215388"/>
                </a:lnTo>
                <a:lnTo>
                  <a:pt x="564338" y="187387"/>
                </a:lnTo>
                <a:lnTo>
                  <a:pt x="527358" y="161089"/>
                </a:lnTo>
                <a:lnTo>
                  <a:pt x="489088" y="136555"/>
                </a:lnTo>
                <a:lnTo>
                  <a:pt x="449589" y="113843"/>
                </a:lnTo>
                <a:lnTo>
                  <a:pt x="408920" y="93013"/>
                </a:lnTo>
                <a:lnTo>
                  <a:pt x="367139" y="74124"/>
                </a:lnTo>
                <a:lnTo>
                  <a:pt x="324306" y="57235"/>
                </a:lnTo>
                <a:lnTo>
                  <a:pt x="280480" y="42405"/>
                </a:lnTo>
                <a:lnTo>
                  <a:pt x="235721" y="29695"/>
                </a:lnTo>
                <a:lnTo>
                  <a:pt x="190088" y="19163"/>
                </a:lnTo>
                <a:lnTo>
                  <a:pt x="143640" y="10868"/>
                </a:lnTo>
                <a:lnTo>
                  <a:pt x="96437" y="4869"/>
                </a:lnTo>
                <a:lnTo>
                  <a:pt x="48537" y="1227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3" name="bg object 23"/>
          <p:cNvSpPr/>
          <p:nvPr/>
        </p:nvSpPr>
        <p:spPr>
          <a:xfrm>
            <a:off x="2300784" y="5713569"/>
            <a:ext cx="1144107" cy="572206"/>
          </a:xfrm>
          <a:custGeom>
            <a:avLst/>
            <a:gdLst/>
            <a:ahLst/>
            <a:cxnLst/>
            <a:rect l="l" t="t" r="r" b="b"/>
            <a:pathLst>
              <a:path w="1886585" h="943609">
                <a:moveTo>
                  <a:pt x="943216" y="0"/>
                </a:moveTo>
                <a:lnTo>
                  <a:pt x="471614" y="0"/>
                </a:lnTo>
                <a:lnTo>
                  <a:pt x="469188" y="48221"/>
                </a:lnTo>
                <a:lnTo>
                  <a:pt x="462038" y="95046"/>
                </a:lnTo>
                <a:lnTo>
                  <a:pt x="450418" y="140246"/>
                </a:lnTo>
                <a:lnTo>
                  <a:pt x="434555" y="183578"/>
                </a:lnTo>
                <a:lnTo>
                  <a:pt x="414693" y="224802"/>
                </a:lnTo>
                <a:lnTo>
                  <a:pt x="391071" y="263690"/>
                </a:lnTo>
                <a:lnTo>
                  <a:pt x="363931" y="299986"/>
                </a:lnTo>
                <a:lnTo>
                  <a:pt x="333489" y="333476"/>
                </a:lnTo>
                <a:lnTo>
                  <a:pt x="299999" y="363918"/>
                </a:lnTo>
                <a:lnTo>
                  <a:pt x="263690" y="391071"/>
                </a:lnTo>
                <a:lnTo>
                  <a:pt x="224802" y="414693"/>
                </a:lnTo>
                <a:lnTo>
                  <a:pt x="183578" y="434555"/>
                </a:lnTo>
                <a:lnTo>
                  <a:pt x="140246" y="450418"/>
                </a:lnTo>
                <a:lnTo>
                  <a:pt x="95046" y="462038"/>
                </a:lnTo>
                <a:lnTo>
                  <a:pt x="48221" y="469188"/>
                </a:lnTo>
                <a:lnTo>
                  <a:pt x="0" y="471614"/>
                </a:lnTo>
                <a:lnTo>
                  <a:pt x="0" y="943241"/>
                </a:lnTo>
                <a:lnTo>
                  <a:pt x="48539" y="942009"/>
                </a:lnTo>
                <a:lnTo>
                  <a:pt x="96431" y="938364"/>
                </a:lnTo>
                <a:lnTo>
                  <a:pt x="143637" y="932370"/>
                </a:lnTo>
                <a:lnTo>
                  <a:pt x="190093" y="924077"/>
                </a:lnTo>
                <a:lnTo>
                  <a:pt x="235724" y="913536"/>
                </a:lnTo>
                <a:lnTo>
                  <a:pt x="280479" y="900836"/>
                </a:lnTo>
                <a:lnTo>
                  <a:pt x="324307" y="886002"/>
                </a:lnTo>
                <a:lnTo>
                  <a:pt x="367144" y="869111"/>
                </a:lnTo>
                <a:lnTo>
                  <a:pt x="408914" y="850226"/>
                </a:lnTo>
                <a:lnTo>
                  <a:pt x="449592" y="829398"/>
                </a:lnTo>
                <a:lnTo>
                  <a:pt x="489089" y="806678"/>
                </a:lnTo>
                <a:lnTo>
                  <a:pt x="527354" y="782142"/>
                </a:lnTo>
                <a:lnTo>
                  <a:pt x="564337" y="755853"/>
                </a:lnTo>
                <a:lnTo>
                  <a:pt x="599973" y="727849"/>
                </a:lnTo>
                <a:lnTo>
                  <a:pt x="634199" y="698207"/>
                </a:lnTo>
                <a:lnTo>
                  <a:pt x="666953" y="666965"/>
                </a:lnTo>
                <a:lnTo>
                  <a:pt x="698182" y="634212"/>
                </a:lnTo>
                <a:lnTo>
                  <a:pt x="727824" y="599986"/>
                </a:lnTo>
                <a:lnTo>
                  <a:pt x="755827" y="564349"/>
                </a:lnTo>
                <a:lnTo>
                  <a:pt x="782129" y="527367"/>
                </a:lnTo>
                <a:lnTo>
                  <a:pt x="806665" y="489102"/>
                </a:lnTo>
                <a:lnTo>
                  <a:pt x="829373" y="449605"/>
                </a:lnTo>
                <a:lnTo>
                  <a:pt x="850201" y="408927"/>
                </a:lnTo>
                <a:lnTo>
                  <a:pt x="869099" y="367144"/>
                </a:lnTo>
                <a:lnTo>
                  <a:pt x="885977" y="324319"/>
                </a:lnTo>
                <a:lnTo>
                  <a:pt x="900811" y="280492"/>
                </a:lnTo>
                <a:lnTo>
                  <a:pt x="913523" y="235724"/>
                </a:lnTo>
                <a:lnTo>
                  <a:pt x="924052" y="190093"/>
                </a:lnTo>
                <a:lnTo>
                  <a:pt x="932345" y="143649"/>
                </a:lnTo>
                <a:lnTo>
                  <a:pt x="938352" y="96443"/>
                </a:lnTo>
                <a:lnTo>
                  <a:pt x="941984" y="48539"/>
                </a:lnTo>
                <a:lnTo>
                  <a:pt x="943216" y="0"/>
                </a:lnTo>
                <a:close/>
              </a:path>
              <a:path w="1886585" h="943609">
                <a:moveTo>
                  <a:pt x="1886458" y="471627"/>
                </a:moveTo>
                <a:lnTo>
                  <a:pt x="1838236" y="469188"/>
                </a:lnTo>
                <a:lnTo>
                  <a:pt x="1791411" y="462038"/>
                </a:lnTo>
                <a:lnTo>
                  <a:pt x="1746211" y="450418"/>
                </a:lnTo>
                <a:lnTo>
                  <a:pt x="1702879" y="434555"/>
                </a:lnTo>
                <a:lnTo>
                  <a:pt x="1661655" y="414705"/>
                </a:lnTo>
                <a:lnTo>
                  <a:pt x="1622767" y="391071"/>
                </a:lnTo>
                <a:lnTo>
                  <a:pt x="1586471" y="363931"/>
                </a:lnTo>
                <a:lnTo>
                  <a:pt x="1552981" y="333489"/>
                </a:lnTo>
                <a:lnTo>
                  <a:pt x="1522539" y="299999"/>
                </a:lnTo>
                <a:lnTo>
                  <a:pt x="1495386" y="263690"/>
                </a:lnTo>
                <a:lnTo>
                  <a:pt x="1471764" y="224802"/>
                </a:lnTo>
                <a:lnTo>
                  <a:pt x="1451902" y="183578"/>
                </a:lnTo>
                <a:lnTo>
                  <a:pt x="1436039" y="140246"/>
                </a:lnTo>
                <a:lnTo>
                  <a:pt x="1424419" y="95046"/>
                </a:lnTo>
                <a:lnTo>
                  <a:pt x="1417281" y="48221"/>
                </a:lnTo>
                <a:lnTo>
                  <a:pt x="1414843" y="0"/>
                </a:lnTo>
                <a:lnTo>
                  <a:pt x="943229" y="0"/>
                </a:lnTo>
                <a:lnTo>
                  <a:pt x="944448" y="48539"/>
                </a:lnTo>
                <a:lnTo>
                  <a:pt x="948093" y="96443"/>
                </a:lnTo>
                <a:lnTo>
                  <a:pt x="954087" y="143649"/>
                </a:lnTo>
                <a:lnTo>
                  <a:pt x="962393" y="190093"/>
                </a:lnTo>
                <a:lnTo>
                  <a:pt x="972921" y="235724"/>
                </a:lnTo>
                <a:lnTo>
                  <a:pt x="985634" y="280492"/>
                </a:lnTo>
                <a:lnTo>
                  <a:pt x="1000455" y="324307"/>
                </a:lnTo>
                <a:lnTo>
                  <a:pt x="1017346" y="367144"/>
                </a:lnTo>
                <a:lnTo>
                  <a:pt x="1036243" y="408927"/>
                </a:lnTo>
                <a:lnTo>
                  <a:pt x="1057071" y="449592"/>
                </a:lnTo>
                <a:lnTo>
                  <a:pt x="1079779" y="489102"/>
                </a:lnTo>
                <a:lnTo>
                  <a:pt x="1104315" y="527367"/>
                </a:lnTo>
                <a:lnTo>
                  <a:pt x="1130617" y="564349"/>
                </a:lnTo>
                <a:lnTo>
                  <a:pt x="1158608" y="599973"/>
                </a:lnTo>
                <a:lnTo>
                  <a:pt x="1188262" y="634199"/>
                </a:lnTo>
                <a:lnTo>
                  <a:pt x="1219492" y="666965"/>
                </a:lnTo>
                <a:lnTo>
                  <a:pt x="1252245" y="698195"/>
                </a:lnTo>
                <a:lnTo>
                  <a:pt x="1286471" y="727837"/>
                </a:lnTo>
                <a:lnTo>
                  <a:pt x="1322108" y="755840"/>
                </a:lnTo>
                <a:lnTo>
                  <a:pt x="1359090" y="782142"/>
                </a:lnTo>
                <a:lnTo>
                  <a:pt x="1397355" y="806678"/>
                </a:lnTo>
                <a:lnTo>
                  <a:pt x="1436852" y="829386"/>
                </a:lnTo>
                <a:lnTo>
                  <a:pt x="1477530" y="850214"/>
                </a:lnTo>
                <a:lnTo>
                  <a:pt x="1519313" y="869111"/>
                </a:lnTo>
                <a:lnTo>
                  <a:pt x="1562150" y="885990"/>
                </a:lnTo>
                <a:lnTo>
                  <a:pt x="1605965" y="900823"/>
                </a:lnTo>
                <a:lnTo>
                  <a:pt x="1650733" y="913536"/>
                </a:lnTo>
                <a:lnTo>
                  <a:pt x="1696364" y="924064"/>
                </a:lnTo>
                <a:lnTo>
                  <a:pt x="1742821" y="932357"/>
                </a:lnTo>
                <a:lnTo>
                  <a:pt x="1790026" y="938364"/>
                </a:lnTo>
                <a:lnTo>
                  <a:pt x="1837918" y="942009"/>
                </a:lnTo>
                <a:lnTo>
                  <a:pt x="1886458" y="943229"/>
                </a:lnTo>
                <a:lnTo>
                  <a:pt x="1886458" y="471627"/>
                </a:lnTo>
                <a:close/>
              </a:path>
            </a:pathLst>
          </a:custGeom>
          <a:solidFill>
            <a:srgbClr val="00BD63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4" name="bg object 24"/>
          <p:cNvSpPr/>
          <p:nvPr/>
        </p:nvSpPr>
        <p:spPr>
          <a:xfrm>
            <a:off x="2872803" y="6285539"/>
            <a:ext cx="572246" cy="572206"/>
          </a:xfrm>
          <a:custGeom>
            <a:avLst/>
            <a:gdLst/>
            <a:ahLst/>
            <a:cxnLst/>
            <a:rect l="l" t="t" r="r" b="b"/>
            <a:pathLst>
              <a:path w="943610" h="943609">
                <a:moveTo>
                  <a:pt x="943227" y="0"/>
                </a:moveTo>
                <a:lnTo>
                  <a:pt x="894689" y="1227"/>
                </a:lnTo>
                <a:lnTo>
                  <a:pt x="846788" y="4869"/>
                </a:lnTo>
                <a:lnTo>
                  <a:pt x="799584" y="10868"/>
                </a:lnTo>
                <a:lnTo>
                  <a:pt x="753135" y="19163"/>
                </a:lnTo>
                <a:lnTo>
                  <a:pt x="707501" y="29695"/>
                </a:lnTo>
                <a:lnTo>
                  <a:pt x="662742" y="42406"/>
                </a:lnTo>
                <a:lnTo>
                  <a:pt x="618915" y="57235"/>
                </a:lnTo>
                <a:lnTo>
                  <a:pt x="576082" y="74124"/>
                </a:lnTo>
                <a:lnTo>
                  <a:pt x="534301" y="93013"/>
                </a:lnTo>
                <a:lnTo>
                  <a:pt x="493631" y="113843"/>
                </a:lnTo>
                <a:lnTo>
                  <a:pt x="454131" y="136555"/>
                </a:lnTo>
                <a:lnTo>
                  <a:pt x="415861" y="161090"/>
                </a:lnTo>
                <a:lnTo>
                  <a:pt x="378881" y="187387"/>
                </a:lnTo>
                <a:lnTo>
                  <a:pt x="343248" y="215389"/>
                </a:lnTo>
                <a:lnTo>
                  <a:pt x="309024" y="245035"/>
                </a:lnTo>
                <a:lnTo>
                  <a:pt x="276266" y="276267"/>
                </a:lnTo>
                <a:lnTo>
                  <a:pt x="245034" y="309025"/>
                </a:lnTo>
                <a:lnTo>
                  <a:pt x="215388" y="343250"/>
                </a:lnTo>
                <a:lnTo>
                  <a:pt x="187387" y="378883"/>
                </a:lnTo>
                <a:lnTo>
                  <a:pt x="161089" y="415864"/>
                </a:lnTo>
                <a:lnTo>
                  <a:pt x="136555" y="454134"/>
                </a:lnTo>
                <a:lnTo>
                  <a:pt x="113843" y="493634"/>
                </a:lnTo>
                <a:lnTo>
                  <a:pt x="93013" y="534305"/>
                </a:lnTo>
                <a:lnTo>
                  <a:pt x="74124" y="576087"/>
                </a:lnTo>
                <a:lnTo>
                  <a:pt x="57235" y="618920"/>
                </a:lnTo>
                <a:lnTo>
                  <a:pt x="42405" y="662747"/>
                </a:lnTo>
                <a:lnTo>
                  <a:pt x="29695" y="707508"/>
                </a:lnTo>
                <a:lnTo>
                  <a:pt x="19163" y="753142"/>
                </a:lnTo>
                <a:lnTo>
                  <a:pt x="10868" y="799592"/>
                </a:lnTo>
                <a:lnTo>
                  <a:pt x="4869" y="846797"/>
                </a:lnTo>
                <a:lnTo>
                  <a:pt x="1227" y="894699"/>
                </a:lnTo>
                <a:lnTo>
                  <a:pt x="0" y="943238"/>
                </a:lnTo>
                <a:lnTo>
                  <a:pt x="471608" y="943238"/>
                </a:lnTo>
                <a:lnTo>
                  <a:pt x="474043" y="895018"/>
                </a:lnTo>
                <a:lnTo>
                  <a:pt x="481190" y="848191"/>
                </a:lnTo>
                <a:lnTo>
                  <a:pt x="492812" y="802994"/>
                </a:lnTo>
                <a:lnTo>
                  <a:pt x="508671" y="759664"/>
                </a:lnTo>
                <a:lnTo>
                  <a:pt x="528531" y="718438"/>
                </a:lnTo>
                <a:lnTo>
                  <a:pt x="552155" y="679553"/>
                </a:lnTo>
                <a:lnTo>
                  <a:pt x="579305" y="643246"/>
                </a:lnTo>
                <a:lnTo>
                  <a:pt x="609744" y="609754"/>
                </a:lnTo>
                <a:lnTo>
                  <a:pt x="643236" y="579315"/>
                </a:lnTo>
                <a:lnTo>
                  <a:pt x="679543" y="552165"/>
                </a:lnTo>
                <a:lnTo>
                  <a:pt x="718428" y="528541"/>
                </a:lnTo>
                <a:lnTo>
                  <a:pt x="759654" y="508681"/>
                </a:lnTo>
                <a:lnTo>
                  <a:pt x="802984" y="492822"/>
                </a:lnTo>
                <a:lnTo>
                  <a:pt x="848181" y="481200"/>
                </a:lnTo>
                <a:lnTo>
                  <a:pt x="895008" y="474054"/>
                </a:lnTo>
                <a:lnTo>
                  <a:pt x="943227" y="471619"/>
                </a:lnTo>
                <a:lnTo>
                  <a:pt x="943227" y="0"/>
                </a:lnTo>
                <a:close/>
              </a:path>
            </a:pathLst>
          </a:custGeom>
          <a:solidFill>
            <a:srgbClr val="FFB8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5" name="bg object 25"/>
          <p:cNvSpPr/>
          <p:nvPr/>
        </p:nvSpPr>
        <p:spPr>
          <a:xfrm>
            <a:off x="6042838" y="714972"/>
            <a:ext cx="286123" cy="286103"/>
          </a:xfrm>
          <a:custGeom>
            <a:avLst/>
            <a:gdLst/>
            <a:ahLst/>
            <a:cxnLst/>
            <a:rect l="l" t="t" r="r" b="b"/>
            <a:pathLst>
              <a:path w="471804" h="471805">
                <a:moveTo>
                  <a:pt x="235814" y="0"/>
                </a:moveTo>
                <a:lnTo>
                  <a:pt x="188286" y="4791"/>
                </a:lnTo>
                <a:lnTo>
                  <a:pt x="144020" y="18532"/>
                </a:lnTo>
                <a:lnTo>
                  <a:pt x="103963" y="40275"/>
                </a:lnTo>
                <a:lnTo>
                  <a:pt x="69064" y="69071"/>
                </a:lnTo>
                <a:lnTo>
                  <a:pt x="40270" y="103970"/>
                </a:lnTo>
                <a:lnTo>
                  <a:pt x="18530" y="144025"/>
                </a:lnTo>
                <a:lnTo>
                  <a:pt x="4790" y="188285"/>
                </a:lnTo>
                <a:lnTo>
                  <a:pt x="0" y="235804"/>
                </a:lnTo>
                <a:lnTo>
                  <a:pt x="4790" y="283325"/>
                </a:lnTo>
                <a:lnTo>
                  <a:pt x="18530" y="327588"/>
                </a:lnTo>
                <a:lnTo>
                  <a:pt x="40270" y="367642"/>
                </a:lnTo>
                <a:lnTo>
                  <a:pt x="69064" y="402541"/>
                </a:lnTo>
                <a:lnTo>
                  <a:pt x="103963" y="431335"/>
                </a:lnTo>
                <a:lnTo>
                  <a:pt x="144020" y="453077"/>
                </a:lnTo>
                <a:lnTo>
                  <a:pt x="188286" y="466817"/>
                </a:lnTo>
                <a:lnTo>
                  <a:pt x="235814" y="471608"/>
                </a:lnTo>
                <a:lnTo>
                  <a:pt x="283336" y="466817"/>
                </a:lnTo>
                <a:lnTo>
                  <a:pt x="327598" y="453077"/>
                </a:lnTo>
                <a:lnTo>
                  <a:pt x="367653" y="431335"/>
                </a:lnTo>
                <a:lnTo>
                  <a:pt x="402551" y="402541"/>
                </a:lnTo>
                <a:lnTo>
                  <a:pt x="431346" y="367642"/>
                </a:lnTo>
                <a:lnTo>
                  <a:pt x="453087" y="327588"/>
                </a:lnTo>
                <a:lnTo>
                  <a:pt x="466828" y="283325"/>
                </a:lnTo>
                <a:lnTo>
                  <a:pt x="471619" y="235804"/>
                </a:lnTo>
                <a:lnTo>
                  <a:pt x="466828" y="188285"/>
                </a:lnTo>
                <a:lnTo>
                  <a:pt x="453087" y="144025"/>
                </a:lnTo>
                <a:lnTo>
                  <a:pt x="431346" y="103970"/>
                </a:lnTo>
                <a:lnTo>
                  <a:pt x="402551" y="69071"/>
                </a:lnTo>
                <a:lnTo>
                  <a:pt x="367653" y="40275"/>
                </a:lnTo>
                <a:lnTo>
                  <a:pt x="327598" y="18532"/>
                </a:lnTo>
                <a:lnTo>
                  <a:pt x="283336" y="4791"/>
                </a:lnTo>
                <a:lnTo>
                  <a:pt x="235814" y="0"/>
                </a:lnTo>
                <a:close/>
              </a:path>
            </a:pathLst>
          </a:custGeom>
          <a:solidFill>
            <a:srgbClr val="FFB8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6" name="bg object 26"/>
          <p:cNvSpPr/>
          <p:nvPr/>
        </p:nvSpPr>
        <p:spPr>
          <a:xfrm>
            <a:off x="5470826" y="142998"/>
            <a:ext cx="286123" cy="286103"/>
          </a:xfrm>
          <a:custGeom>
            <a:avLst/>
            <a:gdLst/>
            <a:ahLst/>
            <a:cxnLst/>
            <a:rect l="l" t="t" r="r" b="b"/>
            <a:pathLst>
              <a:path w="471804" h="471805">
                <a:moveTo>
                  <a:pt x="235804" y="0"/>
                </a:moveTo>
                <a:lnTo>
                  <a:pt x="188282" y="4790"/>
                </a:lnTo>
                <a:lnTo>
                  <a:pt x="144020" y="18531"/>
                </a:lnTo>
                <a:lnTo>
                  <a:pt x="103965" y="40272"/>
                </a:lnTo>
                <a:lnTo>
                  <a:pt x="69067" y="69067"/>
                </a:lnTo>
                <a:lnTo>
                  <a:pt x="40272" y="103965"/>
                </a:lnTo>
                <a:lnTo>
                  <a:pt x="18531" y="144020"/>
                </a:lnTo>
                <a:lnTo>
                  <a:pt x="4790" y="188282"/>
                </a:lnTo>
                <a:lnTo>
                  <a:pt x="0" y="235804"/>
                </a:lnTo>
                <a:lnTo>
                  <a:pt x="4790" y="283322"/>
                </a:lnTo>
                <a:lnTo>
                  <a:pt x="18531" y="327583"/>
                </a:lnTo>
                <a:lnTo>
                  <a:pt x="40272" y="367638"/>
                </a:lnTo>
                <a:lnTo>
                  <a:pt x="69067" y="402537"/>
                </a:lnTo>
                <a:lnTo>
                  <a:pt x="103965" y="431332"/>
                </a:lnTo>
                <a:lnTo>
                  <a:pt x="144020" y="453075"/>
                </a:lnTo>
                <a:lnTo>
                  <a:pt x="188282" y="466817"/>
                </a:lnTo>
                <a:lnTo>
                  <a:pt x="235804" y="471608"/>
                </a:lnTo>
                <a:lnTo>
                  <a:pt x="283323" y="466817"/>
                </a:lnTo>
                <a:lnTo>
                  <a:pt x="327585" y="453075"/>
                </a:lnTo>
                <a:lnTo>
                  <a:pt x="367641" y="431332"/>
                </a:lnTo>
                <a:lnTo>
                  <a:pt x="402542" y="402537"/>
                </a:lnTo>
                <a:lnTo>
                  <a:pt x="431340" y="367638"/>
                </a:lnTo>
                <a:lnTo>
                  <a:pt x="453084" y="327583"/>
                </a:lnTo>
                <a:lnTo>
                  <a:pt x="466827" y="283322"/>
                </a:lnTo>
                <a:lnTo>
                  <a:pt x="471619" y="235804"/>
                </a:lnTo>
                <a:lnTo>
                  <a:pt x="466827" y="188282"/>
                </a:lnTo>
                <a:lnTo>
                  <a:pt x="453084" y="144020"/>
                </a:lnTo>
                <a:lnTo>
                  <a:pt x="431340" y="103965"/>
                </a:lnTo>
                <a:lnTo>
                  <a:pt x="402542" y="69067"/>
                </a:lnTo>
                <a:lnTo>
                  <a:pt x="367641" y="40272"/>
                </a:lnTo>
                <a:lnTo>
                  <a:pt x="327585" y="18531"/>
                </a:lnTo>
                <a:lnTo>
                  <a:pt x="283323" y="4790"/>
                </a:lnTo>
                <a:lnTo>
                  <a:pt x="235804" y="0"/>
                </a:lnTo>
                <a:close/>
              </a:path>
            </a:pathLst>
          </a:custGeom>
          <a:solidFill>
            <a:srgbClr val="00BD63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7" name="bg object 27"/>
          <p:cNvSpPr/>
          <p:nvPr/>
        </p:nvSpPr>
        <p:spPr>
          <a:xfrm>
            <a:off x="6042843" y="142995"/>
            <a:ext cx="286123" cy="286103"/>
          </a:xfrm>
          <a:custGeom>
            <a:avLst/>
            <a:gdLst/>
            <a:ahLst/>
            <a:cxnLst/>
            <a:rect l="l" t="t" r="r" b="b"/>
            <a:pathLst>
              <a:path w="471804" h="471805">
                <a:moveTo>
                  <a:pt x="235804" y="0"/>
                </a:moveTo>
                <a:lnTo>
                  <a:pt x="188282" y="4790"/>
                </a:lnTo>
                <a:lnTo>
                  <a:pt x="144020" y="18531"/>
                </a:lnTo>
                <a:lnTo>
                  <a:pt x="103965" y="40272"/>
                </a:lnTo>
                <a:lnTo>
                  <a:pt x="69067" y="69067"/>
                </a:lnTo>
                <a:lnTo>
                  <a:pt x="40272" y="103965"/>
                </a:lnTo>
                <a:lnTo>
                  <a:pt x="18531" y="144020"/>
                </a:lnTo>
                <a:lnTo>
                  <a:pt x="4790" y="188282"/>
                </a:lnTo>
                <a:lnTo>
                  <a:pt x="0" y="235804"/>
                </a:lnTo>
                <a:lnTo>
                  <a:pt x="4790" y="283329"/>
                </a:lnTo>
                <a:lnTo>
                  <a:pt x="18531" y="327594"/>
                </a:lnTo>
                <a:lnTo>
                  <a:pt x="40272" y="367650"/>
                </a:lnTo>
                <a:lnTo>
                  <a:pt x="69067" y="402550"/>
                </a:lnTo>
                <a:lnTo>
                  <a:pt x="103965" y="431345"/>
                </a:lnTo>
                <a:lnTo>
                  <a:pt x="144020" y="453087"/>
                </a:lnTo>
                <a:lnTo>
                  <a:pt x="188282" y="466828"/>
                </a:lnTo>
                <a:lnTo>
                  <a:pt x="235804" y="471619"/>
                </a:lnTo>
                <a:lnTo>
                  <a:pt x="283322" y="466828"/>
                </a:lnTo>
                <a:lnTo>
                  <a:pt x="327583" y="453087"/>
                </a:lnTo>
                <a:lnTo>
                  <a:pt x="367638" y="431345"/>
                </a:lnTo>
                <a:lnTo>
                  <a:pt x="402537" y="402550"/>
                </a:lnTo>
                <a:lnTo>
                  <a:pt x="431332" y="367650"/>
                </a:lnTo>
                <a:lnTo>
                  <a:pt x="453075" y="327594"/>
                </a:lnTo>
                <a:lnTo>
                  <a:pt x="466817" y="283329"/>
                </a:lnTo>
                <a:lnTo>
                  <a:pt x="471608" y="235804"/>
                </a:lnTo>
                <a:lnTo>
                  <a:pt x="466817" y="188282"/>
                </a:lnTo>
                <a:lnTo>
                  <a:pt x="453075" y="144020"/>
                </a:lnTo>
                <a:lnTo>
                  <a:pt x="431332" y="103965"/>
                </a:lnTo>
                <a:lnTo>
                  <a:pt x="402537" y="69067"/>
                </a:lnTo>
                <a:lnTo>
                  <a:pt x="367638" y="40272"/>
                </a:lnTo>
                <a:lnTo>
                  <a:pt x="327583" y="18531"/>
                </a:lnTo>
                <a:lnTo>
                  <a:pt x="283322" y="4790"/>
                </a:lnTo>
                <a:lnTo>
                  <a:pt x="235804" y="0"/>
                </a:lnTo>
                <a:close/>
              </a:path>
            </a:pathLst>
          </a:custGeom>
          <a:solidFill>
            <a:srgbClr val="00BD63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8" name="bg object 28"/>
          <p:cNvSpPr/>
          <p:nvPr/>
        </p:nvSpPr>
        <p:spPr>
          <a:xfrm>
            <a:off x="5470827" y="428988"/>
            <a:ext cx="572246" cy="572206"/>
          </a:xfrm>
          <a:custGeom>
            <a:avLst/>
            <a:gdLst/>
            <a:ahLst/>
            <a:cxnLst/>
            <a:rect l="l" t="t" r="r" b="b"/>
            <a:pathLst>
              <a:path w="943609" h="943610">
                <a:moveTo>
                  <a:pt x="471601" y="707415"/>
                </a:moveTo>
                <a:lnTo>
                  <a:pt x="466813" y="659904"/>
                </a:lnTo>
                <a:lnTo>
                  <a:pt x="453072" y="615632"/>
                </a:lnTo>
                <a:lnTo>
                  <a:pt x="431330" y="575576"/>
                </a:lnTo>
                <a:lnTo>
                  <a:pt x="402526" y="540677"/>
                </a:lnTo>
                <a:lnTo>
                  <a:pt x="367639" y="511886"/>
                </a:lnTo>
                <a:lnTo>
                  <a:pt x="327583" y="490143"/>
                </a:lnTo>
                <a:lnTo>
                  <a:pt x="283324" y="476389"/>
                </a:lnTo>
                <a:lnTo>
                  <a:pt x="235800" y="471601"/>
                </a:lnTo>
                <a:lnTo>
                  <a:pt x="188277" y="476389"/>
                </a:lnTo>
                <a:lnTo>
                  <a:pt x="144018" y="490143"/>
                </a:lnTo>
                <a:lnTo>
                  <a:pt x="103962" y="511886"/>
                </a:lnTo>
                <a:lnTo>
                  <a:pt x="69062" y="540677"/>
                </a:lnTo>
                <a:lnTo>
                  <a:pt x="40271" y="575576"/>
                </a:lnTo>
                <a:lnTo>
                  <a:pt x="18529" y="615632"/>
                </a:lnTo>
                <a:lnTo>
                  <a:pt x="4787" y="659904"/>
                </a:lnTo>
                <a:lnTo>
                  <a:pt x="0" y="707415"/>
                </a:lnTo>
                <a:lnTo>
                  <a:pt x="4787" y="754938"/>
                </a:lnTo>
                <a:lnTo>
                  <a:pt x="18529" y="799198"/>
                </a:lnTo>
                <a:lnTo>
                  <a:pt x="40271" y="839254"/>
                </a:lnTo>
                <a:lnTo>
                  <a:pt x="69062" y="874153"/>
                </a:lnTo>
                <a:lnTo>
                  <a:pt x="103962" y="902944"/>
                </a:lnTo>
                <a:lnTo>
                  <a:pt x="144018" y="924687"/>
                </a:lnTo>
                <a:lnTo>
                  <a:pt x="188277" y="938428"/>
                </a:lnTo>
                <a:lnTo>
                  <a:pt x="235800" y="943229"/>
                </a:lnTo>
                <a:lnTo>
                  <a:pt x="283324" y="938428"/>
                </a:lnTo>
                <a:lnTo>
                  <a:pt x="327583" y="924687"/>
                </a:lnTo>
                <a:lnTo>
                  <a:pt x="367639" y="902944"/>
                </a:lnTo>
                <a:lnTo>
                  <a:pt x="402526" y="874153"/>
                </a:lnTo>
                <a:lnTo>
                  <a:pt x="431330" y="839254"/>
                </a:lnTo>
                <a:lnTo>
                  <a:pt x="453072" y="799198"/>
                </a:lnTo>
                <a:lnTo>
                  <a:pt x="466813" y="754938"/>
                </a:lnTo>
                <a:lnTo>
                  <a:pt x="471601" y="707415"/>
                </a:lnTo>
                <a:close/>
              </a:path>
              <a:path w="943609" h="943610">
                <a:moveTo>
                  <a:pt x="943216" y="235800"/>
                </a:moveTo>
                <a:lnTo>
                  <a:pt x="938428" y="188277"/>
                </a:lnTo>
                <a:lnTo>
                  <a:pt x="924687" y="144018"/>
                </a:lnTo>
                <a:lnTo>
                  <a:pt x="902944" y="103962"/>
                </a:lnTo>
                <a:lnTo>
                  <a:pt x="874153" y="69062"/>
                </a:lnTo>
                <a:lnTo>
                  <a:pt x="839254" y="40271"/>
                </a:lnTo>
                <a:lnTo>
                  <a:pt x="799198" y="18529"/>
                </a:lnTo>
                <a:lnTo>
                  <a:pt x="754938" y="4787"/>
                </a:lnTo>
                <a:lnTo>
                  <a:pt x="707415" y="0"/>
                </a:lnTo>
                <a:lnTo>
                  <a:pt x="659892" y="4787"/>
                </a:lnTo>
                <a:lnTo>
                  <a:pt x="615632" y="18529"/>
                </a:lnTo>
                <a:lnTo>
                  <a:pt x="575576" y="40271"/>
                </a:lnTo>
                <a:lnTo>
                  <a:pt x="540677" y="69062"/>
                </a:lnTo>
                <a:lnTo>
                  <a:pt x="511886" y="103962"/>
                </a:lnTo>
                <a:lnTo>
                  <a:pt x="490143" y="144018"/>
                </a:lnTo>
                <a:lnTo>
                  <a:pt x="476402" y="188277"/>
                </a:lnTo>
                <a:lnTo>
                  <a:pt x="471614" y="235800"/>
                </a:lnTo>
                <a:lnTo>
                  <a:pt x="476402" y="283324"/>
                </a:lnTo>
                <a:lnTo>
                  <a:pt x="490143" y="327596"/>
                </a:lnTo>
                <a:lnTo>
                  <a:pt x="511886" y="367652"/>
                </a:lnTo>
                <a:lnTo>
                  <a:pt x="540677" y="402551"/>
                </a:lnTo>
                <a:lnTo>
                  <a:pt x="575576" y="431342"/>
                </a:lnTo>
                <a:lnTo>
                  <a:pt x="615632" y="453085"/>
                </a:lnTo>
                <a:lnTo>
                  <a:pt x="659892" y="466826"/>
                </a:lnTo>
                <a:lnTo>
                  <a:pt x="707415" y="471614"/>
                </a:lnTo>
                <a:lnTo>
                  <a:pt x="754938" y="466826"/>
                </a:lnTo>
                <a:lnTo>
                  <a:pt x="799198" y="453085"/>
                </a:lnTo>
                <a:lnTo>
                  <a:pt x="839254" y="431342"/>
                </a:lnTo>
                <a:lnTo>
                  <a:pt x="874153" y="402551"/>
                </a:lnTo>
                <a:lnTo>
                  <a:pt x="902944" y="367652"/>
                </a:lnTo>
                <a:lnTo>
                  <a:pt x="924687" y="327596"/>
                </a:lnTo>
                <a:lnTo>
                  <a:pt x="938428" y="283324"/>
                </a:lnTo>
                <a:lnTo>
                  <a:pt x="943216" y="235800"/>
                </a:lnTo>
                <a:close/>
              </a:path>
            </a:pathLst>
          </a:custGeom>
          <a:solidFill>
            <a:srgbClr val="FFB8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29" name="bg object 2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028579" y="535212"/>
            <a:ext cx="72930" cy="72925"/>
          </a:xfrm>
          <a:prstGeom prst="rect">
            <a:avLst/>
          </a:prstGeom>
        </p:spPr>
      </p:pic>
      <p:pic>
        <p:nvPicPr>
          <p:cNvPr id="30" name="bg object 3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1"/>
            <a:ext cx="3432090" cy="2287898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380934" y="2744254"/>
            <a:ext cx="5879964" cy="4619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2" b="1" i="0">
                <a:solidFill>
                  <a:srgbClr val="003B95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378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546" b="1" i="0">
                <a:solidFill>
                  <a:srgbClr val="003B95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04" b="0" i="0">
                <a:solidFill>
                  <a:srgbClr val="338DCD"/>
                </a:solidFill>
                <a:latin typeface="Verdana"/>
                <a:cs typeface="Verdana"/>
              </a:defRPr>
            </a:lvl1pPr>
          </a:lstStyle>
          <a:p>
            <a:pPr marL="112439">
              <a:spcBef>
                <a:spcPts val="64"/>
              </a:spcBef>
            </a:pPr>
            <a:r>
              <a:rPr lang="ru-RU" smtClean="0"/>
              <a:t>стр.</a:t>
            </a:r>
            <a:r>
              <a:rPr lang="ru-RU" spc="-30" smtClean="0"/>
              <a:t> </a:t>
            </a:r>
            <a:fld id="{81D60167-4931-47E6-BA6A-407CBD079E47}" type="slidenum">
              <a:rPr spc="-30" smtClean="0"/>
              <a:pPr marL="112439">
                <a:spcBef>
                  <a:spcPts val="64"/>
                </a:spcBef>
              </a:pPr>
              <a:t>‹#›</a:t>
            </a:fld>
            <a:endParaRPr spc="-30" dirty="0"/>
          </a:p>
        </p:txBody>
      </p:sp>
    </p:spTree>
    <p:extLst>
      <p:ext uri="{BB962C8B-B14F-4D97-AF65-F5344CB8AC3E}">
        <p14:creationId xmlns:p14="http://schemas.microsoft.com/office/powerpoint/2010/main" val="3261069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 с паттерном темн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Объект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5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6" name="Объект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Заголовок 1">
            <a:extLst>
              <a:ext uri="{FF2B5EF4-FFF2-40B4-BE49-F238E27FC236}">
                <a16:creationId xmlns:a16="http://schemas.microsoft.com/office/drawing/2014/main" id="{4AA2E929-5B00-47BA-848F-4A659E3F54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499" y="2522816"/>
            <a:ext cx="8995021" cy="1107996"/>
          </a:xfr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торая строчка</a:t>
            </a:r>
            <a:endParaRPr lang="en-US" dirty="0"/>
          </a:p>
        </p:txBody>
      </p:sp>
      <p:sp>
        <p:nvSpPr>
          <p:cNvPr id="126" name="Подзаголовок 2">
            <a:extLst>
              <a:ext uri="{FF2B5EF4-FFF2-40B4-BE49-F238E27FC236}">
                <a16:creationId xmlns:a16="http://schemas.microsoft.com/office/drawing/2014/main" id="{1182E9E8-961A-4C13-8310-A3C2A7587F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1499" y="3837164"/>
            <a:ext cx="8995021" cy="251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Дата</a:t>
            </a:r>
            <a:endParaRPr lang="en-US" dirty="0"/>
          </a:p>
        </p:txBody>
      </p:sp>
      <p:pic>
        <p:nvPicPr>
          <p:cNvPr id="116" name="Рисунок 1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99" y="637571"/>
            <a:ext cx="3690846" cy="41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675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31893" y="616335"/>
            <a:ext cx="10928214" cy="461986"/>
          </a:xfrm>
        </p:spPr>
        <p:txBody>
          <a:bodyPr lIns="0" tIns="0" rIns="0" bIns="0"/>
          <a:lstStyle>
            <a:lvl1pPr>
              <a:defRPr sz="3002" b="1" i="0">
                <a:solidFill>
                  <a:srgbClr val="003B95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790678" y="1421550"/>
            <a:ext cx="6467613" cy="237886"/>
          </a:xfrm>
        </p:spPr>
        <p:txBody>
          <a:bodyPr lIns="0" tIns="0" rIns="0" bIns="0"/>
          <a:lstStyle>
            <a:lvl1pPr>
              <a:defRPr sz="1546" b="1" i="0">
                <a:solidFill>
                  <a:srgbClr val="003B95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04" b="0" i="0">
                <a:solidFill>
                  <a:srgbClr val="338DCD"/>
                </a:solidFill>
                <a:latin typeface="Verdana"/>
                <a:cs typeface="Verdana"/>
              </a:defRPr>
            </a:lvl1pPr>
          </a:lstStyle>
          <a:p>
            <a:pPr marL="112439">
              <a:spcBef>
                <a:spcPts val="64"/>
              </a:spcBef>
            </a:pPr>
            <a:r>
              <a:rPr lang="ru-RU" smtClean="0"/>
              <a:t>стр.</a:t>
            </a:r>
            <a:r>
              <a:rPr lang="ru-RU" spc="-30" smtClean="0"/>
              <a:t> </a:t>
            </a:r>
            <a:fld id="{81D60167-4931-47E6-BA6A-407CBD079E47}" type="slidenum">
              <a:rPr spc="-30" smtClean="0"/>
              <a:pPr marL="112439">
                <a:spcBef>
                  <a:spcPts val="64"/>
                </a:spcBef>
              </a:pPr>
              <a:t>‹#›</a:t>
            </a:fld>
            <a:endParaRPr spc="-30" dirty="0"/>
          </a:p>
        </p:txBody>
      </p:sp>
    </p:spTree>
    <p:extLst>
      <p:ext uri="{BB962C8B-B14F-4D97-AF65-F5344CB8AC3E}">
        <p14:creationId xmlns:p14="http://schemas.microsoft.com/office/powerpoint/2010/main" val="12732810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31893" y="616335"/>
            <a:ext cx="10928214" cy="461986"/>
          </a:xfrm>
        </p:spPr>
        <p:txBody>
          <a:bodyPr lIns="0" tIns="0" rIns="0" bIns="0"/>
          <a:lstStyle>
            <a:lvl1pPr>
              <a:defRPr sz="3002" b="1" i="0">
                <a:solidFill>
                  <a:srgbClr val="003B95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3924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562160" y="1926373"/>
            <a:ext cx="3811251" cy="275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89" b="1" i="0">
                <a:solidFill>
                  <a:srgbClr val="18418F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04" b="0" i="0">
                <a:solidFill>
                  <a:srgbClr val="338DCD"/>
                </a:solidFill>
                <a:latin typeface="Verdana"/>
                <a:cs typeface="Verdana"/>
              </a:defRPr>
            </a:lvl1pPr>
          </a:lstStyle>
          <a:p>
            <a:pPr marL="112439">
              <a:spcBef>
                <a:spcPts val="64"/>
              </a:spcBef>
            </a:pPr>
            <a:r>
              <a:rPr lang="ru-RU" smtClean="0"/>
              <a:t>стр.</a:t>
            </a:r>
            <a:r>
              <a:rPr lang="ru-RU" spc="-30" smtClean="0"/>
              <a:t> </a:t>
            </a:r>
            <a:fld id="{81D60167-4931-47E6-BA6A-407CBD079E47}" type="slidenum">
              <a:rPr spc="-30" smtClean="0"/>
              <a:pPr marL="112439">
                <a:spcBef>
                  <a:spcPts val="64"/>
                </a:spcBef>
              </a:pPr>
              <a:t>‹#›</a:t>
            </a:fld>
            <a:endParaRPr spc="-30" dirty="0"/>
          </a:p>
        </p:txBody>
      </p:sp>
    </p:spTree>
    <p:extLst>
      <p:ext uri="{BB962C8B-B14F-4D97-AF65-F5344CB8AC3E}">
        <p14:creationId xmlns:p14="http://schemas.microsoft.com/office/powerpoint/2010/main" val="23488683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 светл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904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ADC001C-CDF4-4293-8F86-3BBE937096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499" y="2522816"/>
            <a:ext cx="8995021" cy="1107996"/>
          </a:xfr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торая строчка</a:t>
            </a:r>
            <a:endParaRPr lang="en-US" dirty="0"/>
          </a:p>
        </p:txBody>
      </p:sp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4D22471E-80E5-4159-8B41-DF68D85A66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1499" y="3837164"/>
            <a:ext cx="8995021" cy="251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Дата</a:t>
            </a:r>
            <a:endParaRPr lang="en-US" dirty="0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907" y="2939938"/>
            <a:ext cx="0" cy="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00" y="655200"/>
            <a:ext cx="3527999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94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Разделитель с паттерном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18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Полилиния: фигура 29">
            <a:extLst>
              <a:ext uri="{FF2B5EF4-FFF2-40B4-BE49-F238E27FC236}">
                <a16:creationId xmlns:a16="http://schemas.microsoft.com/office/drawing/2014/main" id="{7AE37D25-279B-FAD5-AEE7-483751C79B9B}"/>
              </a:ext>
            </a:extLst>
          </p:cNvPr>
          <p:cNvSpPr/>
          <p:nvPr/>
        </p:nvSpPr>
        <p:spPr>
          <a:xfrm>
            <a:off x="9310419" y="5880526"/>
            <a:ext cx="488736" cy="977473"/>
          </a:xfrm>
          <a:custGeom>
            <a:avLst/>
            <a:gdLst>
              <a:gd name="connsiteX0" fmla="*/ -310 w 489438"/>
              <a:gd name="connsiteY0" fmla="*/ 978637 h 978876"/>
              <a:gd name="connsiteX1" fmla="*/ 489128 w 489438"/>
              <a:gd name="connsiteY1" fmla="*/ 489198 h 978876"/>
              <a:gd name="connsiteX2" fmla="*/ -310 w 489438"/>
              <a:gd name="connsiteY2" fmla="*/ -240 h 97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438" h="978876">
                <a:moveTo>
                  <a:pt x="-310" y="978637"/>
                </a:moveTo>
                <a:cubicBezTo>
                  <a:pt x="269958" y="978637"/>
                  <a:pt x="489128" y="759506"/>
                  <a:pt x="489128" y="489198"/>
                </a:cubicBezTo>
                <a:cubicBezTo>
                  <a:pt x="489128" y="218891"/>
                  <a:pt x="269958" y="-240"/>
                  <a:pt x="-310" y="-240"/>
                </a:cubicBezTo>
                <a:close/>
              </a:path>
            </a:pathLst>
          </a:custGeom>
          <a:solidFill>
            <a:srgbClr val="FFDD00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0" name="Полилиния: фигура 30">
            <a:extLst>
              <a:ext uri="{FF2B5EF4-FFF2-40B4-BE49-F238E27FC236}">
                <a16:creationId xmlns:a16="http://schemas.microsoft.com/office/drawing/2014/main" id="{AC1D7F98-B9D9-57B7-CC22-7DF1DAED54CF}"/>
              </a:ext>
            </a:extLst>
          </p:cNvPr>
          <p:cNvSpPr/>
          <p:nvPr/>
        </p:nvSpPr>
        <p:spPr>
          <a:xfrm>
            <a:off x="9799155" y="5880526"/>
            <a:ext cx="488736" cy="977473"/>
          </a:xfrm>
          <a:custGeom>
            <a:avLst/>
            <a:gdLst>
              <a:gd name="connsiteX0" fmla="*/ 489128 w 489438"/>
              <a:gd name="connsiteY0" fmla="*/ -240 h 978876"/>
              <a:gd name="connsiteX1" fmla="*/ -310 w 489438"/>
              <a:gd name="connsiteY1" fmla="*/ 489198 h 978876"/>
              <a:gd name="connsiteX2" fmla="*/ 489128 w 489438"/>
              <a:gd name="connsiteY2" fmla="*/ 978637 h 97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438" h="978876">
                <a:moveTo>
                  <a:pt x="489128" y="-240"/>
                </a:moveTo>
                <a:cubicBezTo>
                  <a:pt x="218861" y="-240"/>
                  <a:pt x="-310" y="218891"/>
                  <a:pt x="-310" y="489198"/>
                </a:cubicBezTo>
                <a:cubicBezTo>
                  <a:pt x="-310" y="759506"/>
                  <a:pt x="218861" y="978637"/>
                  <a:pt x="489128" y="978637"/>
                </a:cubicBezTo>
                <a:close/>
              </a:path>
            </a:pathLst>
          </a:custGeom>
          <a:solidFill>
            <a:srgbClr val="FFDD00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41" name="Полилиния: фигура 35">
            <a:extLst>
              <a:ext uri="{FF2B5EF4-FFF2-40B4-BE49-F238E27FC236}">
                <a16:creationId xmlns:a16="http://schemas.microsoft.com/office/drawing/2014/main" id="{1EC629B3-F129-7CF7-A2BD-42A84E922D3C}"/>
              </a:ext>
            </a:extLst>
          </p:cNvPr>
          <p:cNvSpPr/>
          <p:nvPr/>
        </p:nvSpPr>
        <p:spPr>
          <a:xfrm rot="16200000">
            <a:off x="11214527" y="5880526"/>
            <a:ext cx="977473" cy="977473"/>
          </a:xfrm>
          <a:custGeom>
            <a:avLst/>
            <a:gdLst>
              <a:gd name="connsiteX0" fmla="*/ -310 w 978876"/>
              <a:gd name="connsiteY0" fmla="*/ -240 h 978876"/>
              <a:gd name="connsiteX1" fmla="*/ 978567 w 978876"/>
              <a:gd name="connsiteY1" fmla="*/ -240 h 978876"/>
              <a:gd name="connsiteX2" fmla="*/ 978567 w 978876"/>
              <a:gd name="connsiteY2" fmla="*/ 978637 h 978876"/>
              <a:gd name="connsiteX3" fmla="*/ -310 w 978876"/>
              <a:gd name="connsiteY3" fmla="*/ 978637 h 97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8876" h="978876">
                <a:moveTo>
                  <a:pt x="-310" y="-240"/>
                </a:moveTo>
                <a:lnTo>
                  <a:pt x="978567" y="-240"/>
                </a:lnTo>
                <a:lnTo>
                  <a:pt x="978567" y="978637"/>
                </a:lnTo>
                <a:lnTo>
                  <a:pt x="-310" y="978637"/>
                </a:lnTo>
                <a:close/>
              </a:path>
            </a:pathLst>
          </a:custGeom>
          <a:noFill/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Полилиния: фигура 32">
            <a:extLst>
              <a:ext uri="{FF2B5EF4-FFF2-40B4-BE49-F238E27FC236}">
                <a16:creationId xmlns:a16="http://schemas.microsoft.com/office/drawing/2014/main" id="{9399CA00-A682-3BD2-C663-F3FEA23DE7A8}"/>
              </a:ext>
            </a:extLst>
          </p:cNvPr>
          <p:cNvSpPr/>
          <p:nvPr/>
        </p:nvSpPr>
        <p:spPr>
          <a:xfrm rot="5400000">
            <a:off x="10236816" y="5880526"/>
            <a:ext cx="977473" cy="977473"/>
          </a:xfrm>
          <a:custGeom>
            <a:avLst/>
            <a:gdLst>
              <a:gd name="connsiteX0" fmla="*/ -310 w 978876"/>
              <a:gd name="connsiteY0" fmla="*/ -240 h 978876"/>
              <a:gd name="connsiteX1" fmla="*/ 978567 w 978876"/>
              <a:gd name="connsiteY1" fmla="*/ -240 h 978876"/>
              <a:gd name="connsiteX2" fmla="*/ 978567 w 978876"/>
              <a:gd name="connsiteY2" fmla="*/ 978637 h 978876"/>
              <a:gd name="connsiteX3" fmla="*/ -310 w 978876"/>
              <a:gd name="connsiteY3" fmla="*/ 978637 h 97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8876" h="978876">
                <a:moveTo>
                  <a:pt x="-310" y="-240"/>
                </a:moveTo>
                <a:lnTo>
                  <a:pt x="978567" y="-240"/>
                </a:lnTo>
                <a:lnTo>
                  <a:pt x="978567" y="978637"/>
                </a:lnTo>
                <a:lnTo>
                  <a:pt x="-310" y="978637"/>
                </a:lnTo>
                <a:close/>
              </a:path>
            </a:pathLst>
          </a:custGeom>
          <a:solidFill>
            <a:schemeClr val="bg1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Полилиния: фигура 37">
            <a:extLst>
              <a:ext uri="{FF2B5EF4-FFF2-40B4-BE49-F238E27FC236}">
                <a16:creationId xmlns:a16="http://schemas.microsoft.com/office/drawing/2014/main" id="{771D2AE4-D7A7-37B7-2A9F-C9F8B9B1DF1A}"/>
              </a:ext>
            </a:extLst>
          </p:cNvPr>
          <p:cNvSpPr/>
          <p:nvPr/>
        </p:nvSpPr>
        <p:spPr>
          <a:xfrm>
            <a:off x="10481422" y="6124894"/>
            <a:ext cx="488736" cy="488735"/>
          </a:xfrm>
          <a:custGeom>
            <a:avLst/>
            <a:gdLst>
              <a:gd name="connsiteX0" fmla="*/ 489438 w 489438"/>
              <a:gd name="connsiteY0" fmla="*/ 244719 h 489438"/>
              <a:gd name="connsiteX1" fmla="*/ 244719 w 489438"/>
              <a:gd name="connsiteY1" fmla="*/ 489438 h 489438"/>
              <a:gd name="connsiteX2" fmla="*/ 0 w 489438"/>
              <a:gd name="connsiteY2" fmla="*/ 244719 h 489438"/>
              <a:gd name="connsiteX3" fmla="*/ 244719 w 489438"/>
              <a:gd name="connsiteY3" fmla="*/ 0 h 489438"/>
              <a:gd name="connsiteX4" fmla="*/ 489438 w 489438"/>
              <a:gd name="connsiteY4" fmla="*/ 244719 h 48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438" h="489438">
                <a:moveTo>
                  <a:pt x="489438" y="244719"/>
                </a:moveTo>
                <a:cubicBezTo>
                  <a:pt x="489438" y="379874"/>
                  <a:pt x="379874" y="489438"/>
                  <a:pt x="244719" y="489438"/>
                </a:cubicBezTo>
                <a:cubicBezTo>
                  <a:pt x="109564" y="489438"/>
                  <a:pt x="0" y="379874"/>
                  <a:pt x="0" y="244719"/>
                </a:cubicBezTo>
                <a:cubicBezTo>
                  <a:pt x="0" y="109564"/>
                  <a:pt x="109564" y="0"/>
                  <a:pt x="244719" y="0"/>
                </a:cubicBezTo>
                <a:cubicBezTo>
                  <a:pt x="379874" y="0"/>
                  <a:pt x="489438" y="109564"/>
                  <a:pt x="489438" y="244719"/>
                </a:cubicBezTo>
                <a:close/>
              </a:path>
            </a:pathLst>
          </a:custGeom>
          <a:solidFill>
            <a:schemeClr val="tx1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5" name="Полилиния: фигура 38">
            <a:extLst>
              <a:ext uri="{FF2B5EF4-FFF2-40B4-BE49-F238E27FC236}">
                <a16:creationId xmlns:a16="http://schemas.microsoft.com/office/drawing/2014/main" id="{541C9ACD-568F-8637-D608-4D98DE612750}"/>
              </a:ext>
            </a:extLst>
          </p:cNvPr>
          <p:cNvSpPr/>
          <p:nvPr/>
        </p:nvSpPr>
        <p:spPr>
          <a:xfrm>
            <a:off x="10237054" y="4903053"/>
            <a:ext cx="977473" cy="977473"/>
          </a:xfrm>
          <a:custGeom>
            <a:avLst/>
            <a:gdLst>
              <a:gd name="connsiteX0" fmla="*/ 978567 w 978876"/>
              <a:gd name="connsiteY0" fmla="*/ -240 h 978876"/>
              <a:gd name="connsiteX1" fmla="*/ -310 w 978876"/>
              <a:gd name="connsiteY1" fmla="*/ 978637 h 978876"/>
              <a:gd name="connsiteX2" fmla="*/ 978567 w 978876"/>
              <a:gd name="connsiteY2" fmla="*/ -240 h 97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8876" h="978876">
                <a:moveTo>
                  <a:pt x="978567" y="-240"/>
                </a:moveTo>
                <a:cubicBezTo>
                  <a:pt x="437953" y="-240"/>
                  <a:pt x="-310" y="438022"/>
                  <a:pt x="-310" y="978637"/>
                </a:cubicBezTo>
                <a:cubicBezTo>
                  <a:pt x="540304" y="978637"/>
                  <a:pt x="978567" y="540374"/>
                  <a:pt x="978567" y="-240"/>
                </a:cubicBezTo>
                <a:close/>
              </a:path>
            </a:pathLst>
          </a:custGeom>
          <a:solidFill>
            <a:schemeClr val="bg1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6" name="Полилиния: фигура 39">
            <a:extLst>
              <a:ext uri="{FF2B5EF4-FFF2-40B4-BE49-F238E27FC236}">
                <a16:creationId xmlns:a16="http://schemas.microsoft.com/office/drawing/2014/main" id="{2CEFE2E8-C801-B2DF-C309-266491FD61D3}"/>
              </a:ext>
            </a:extLst>
          </p:cNvPr>
          <p:cNvSpPr/>
          <p:nvPr/>
        </p:nvSpPr>
        <p:spPr>
          <a:xfrm>
            <a:off x="11825448" y="5513973"/>
            <a:ext cx="244368" cy="244368"/>
          </a:xfrm>
          <a:custGeom>
            <a:avLst/>
            <a:gdLst>
              <a:gd name="connsiteX0" fmla="*/ 244719 w 244719"/>
              <a:gd name="connsiteY0" fmla="*/ 122360 h 244719"/>
              <a:gd name="connsiteX1" fmla="*/ 122360 w 244719"/>
              <a:gd name="connsiteY1" fmla="*/ 244719 h 244719"/>
              <a:gd name="connsiteX2" fmla="*/ 0 w 244719"/>
              <a:gd name="connsiteY2" fmla="*/ 122360 h 244719"/>
              <a:gd name="connsiteX3" fmla="*/ 122360 w 244719"/>
              <a:gd name="connsiteY3" fmla="*/ 0 h 244719"/>
              <a:gd name="connsiteX4" fmla="*/ 244719 w 244719"/>
              <a:gd name="connsiteY4" fmla="*/ 122360 h 244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719" h="244719">
                <a:moveTo>
                  <a:pt x="244719" y="122360"/>
                </a:moveTo>
                <a:cubicBezTo>
                  <a:pt x="244719" y="189937"/>
                  <a:pt x="189937" y="244719"/>
                  <a:pt x="122360" y="244719"/>
                </a:cubicBezTo>
                <a:cubicBezTo>
                  <a:pt x="54782" y="244719"/>
                  <a:pt x="0" y="189937"/>
                  <a:pt x="0" y="122360"/>
                </a:cubicBezTo>
                <a:cubicBezTo>
                  <a:pt x="0" y="54782"/>
                  <a:pt x="54782" y="0"/>
                  <a:pt x="122360" y="0"/>
                </a:cubicBezTo>
                <a:cubicBezTo>
                  <a:pt x="189937" y="0"/>
                  <a:pt x="244719" y="54782"/>
                  <a:pt x="244719" y="122360"/>
                </a:cubicBezTo>
                <a:close/>
              </a:path>
            </a:pathLst>
          </a:custGeom>
          <a:solidFill>
            <a:schemeClr val="tx1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7" name="Полилиния: фигура 40">
            <a:extLst>
              <a:ext uri="{FF2B5EF4-FFF2-40B4-BE49-F238E27FC236}">
                <a16:creationId xmlns:a16="http://schemas.microsoft.com/office/drawing/2014/main" id="{5A76BE50-F569-D366-7AB1-3FACC18FC8FD}"/>
              </a:ext>
            </a:extLst>
          </p:cNvPr>
          <p:cNvSpPr/>
          <p:nvPr/>
        </p:nvSpPr>
        <p:spPr>
          <a:xfrm>
            <a:off x="11336712" y="5025236"/>
            <a:ext cx="244368" cy="244368"/>
          </a:xfrm>
          <a:custGeom>
            <a:avLst/>
            <a:gdLst>
              <a:gd name="connsiteX0" fmla="*/ 244719 w 244719"/>
              <a:gd name="connsiteY0" fmla="*/ 122360 h 244719"/>
              <a:gd name="connsiteX1" fmla="*/ 122360 w 244719"/>
              <a:gd name="connsiteY1" fmla="*/ 244719 h 244719"/>
              <a:gd name="connsiteX2" fmla="*/ 0 w 244719"/>
              <a:gd name="connsiteY2" fmla="*/ 122360 h 244719"/>
              <a:gd name="connsiteX3" fmla="*/ 122360 w 244719"/>
              <a:gd name="connsiteY3" fmla="*/ 0 h 244719"/>
              <a:gd name="connsiteX4" fmla="*/ 244719 w 244719"/>
              <a:gd name="connsiteY4" fmla="*/ 122360 h 244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719" h="244719">
                <a:moveTo>
                  <a:pt x="244719" y="122360"/>
                </a:moveTo>
                <a:cubicBezTo>
                  <a:pt x="244719" y="189937"/>
                  <a:pt x="189937" y="244719"/>
                  <a:pt x="122360" y="244719"/>
                </a:cubicBezTo>
                <a:cubicBezTo>
                  <a:pt x="54782" y="244719"/>
                  <a:pt x="0" y="189937"/>
                  <a:pt x="0" y="122360"/>
                </a:cubicBezTo>
                <a:cubicBezTo>
                  <a:pt x="0" y="54782"/>
                  <a:pt x="54782" y="0"/>
                  <a:pt x="122360" y="0"/>
                </a:cubicBezTo>
                <a:cubicBezTo>
                  <a:pt x="189937" y="0"/>
                  <a:pt x="244719" y="54782"/>
                  <a:pt x="244719" y="122360"/>
                </a:cubicBezTo>
                <a:close/>
              </a:path>
            </a:pathLst>
          </a:custGeom>
          <a:solidFill>
            <a:schemeClr val="tx1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8" name="Полилиния: фигура 41">
            <a:extLst>
              <a:ext uri="{FF2B5EF4-FFF2-40B4-BE49-F238E27FC236}">
                <a16:creationId xmlns:a16="http://schemas.microsoft.com/office/drawing/2014/main" id="{FE22727D-1C1D-4E79-495B-FC295573D98A}"/>
              </a:ext>
            </a:extLst>
          </p:cNvPr>
          <p:cNvSpPr/>
          <p:nvPr/>
        </p:nvSpPr>
        <p:spPr>
          <a:xfrm>
            <a:off x="11825448" y="5025236"/>
            <a:ext cx="244368" cy="244368"/>
          </a:xfrm>
          <a:custGeom>
            <a:avLst/>
            <a:gdLst>
              <a:gd name="connsiteX0" fmla="*/ 244719 w 244719"/>
              <a:gd name="connsiteY0" fmla="*/ 122360 h 244719"/>
              <a:gd name="connsiteX1" fmla="*/ 122360 w 244719"/>
              <a:gd name="connsiteY1" fmla="*/ 244719 h 244719"/>
              <a:gd name="connsiteX2" fmla="*/ 0 w 244719"/>
              <a:gd name="connsiteY2" fmla="*/ 122360 h 244719"/>
              <a:gd name="connsiteX3" fmla="*/ 122360 w 244719"/>
              <a:gd name="connsiteY3" fmla="*/ 0 h 244719"/>
              <a:gd name="connsiteX4" fmla="*/ 244719 w 244719"/>
              <a:gd name="connsiteY4" fmla="*/ 122360 h 244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719" h="244719">
                <a:moveTo>
                  <a:pt x="244719" y="122360"/>
                </a:moveTo>
                <a:cubicBezTo>
                  <a:pt x="244719" y="189937"/>
                  <a:pt x="189937" y="244719"/>
                  <a:pt x="122360" y="244719"/>
                </a:cubicBezTo>
                <a:cubicBezTo>
                  <a:pt x="54782" y="244719"/>
                  <a:pt x="0" y="189937"/>
                  <a:pt x="0" y="122360"/>
                </a:cubicBezTo>
                <a:cubicBezTo>
                  <a:pt x="0" y="54782"/>
                  <a:pt x="54782" y="0"/>
                  <a:pt x="122360" y="0"/>
                </a:cubicBezTo>
                <a:cubicBezTo>
                  <a:pt x="189937" y="0"/>
                  <a:pt x="244719" y="54782"/>
                  <a:pt x="244719" y="122360"/>
                </a:cubicBezTo>
                <a:close/>
              </a:path>
            </a:pathLst>
          </a:custGeom>
          <a:solidFill>
            <a:schemeClr val="tx1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9" name="Полилиния: фигура 42">
            <a:extLst>
              <a:ext uri="{FF2B5EF4-FFF2-40B4-BE49-F238E27FC236}">
                <a16:creationId xmlns:a16="http://schemas.microsoft.com/office/drawing/2014/main" id="{77B5FFA8-6C14-166E-0498-93163BC1066B}"/>
              </a:ext>
            </a:extLst>
          </p:cNvPr>
          <p:cNvSpPr/>
          <p:nvPr/>
        </p:nvSpPr>
        <p:spPr>
          <a:xfrm>
            <a:off x="11581080" y="5269605"/>
            <a:ext cx="244368" cy="244368"/>
          </a:xfrm>
          <a:custGeom>
            <a:avLst/>
            <a:gdLst>
              <a:gd name="connsiteX0" fmla="*/ 244719 w 244719"/>
              <a:gd name="connsiteY0" fmla="*/ 122360 h 244719"/>
              <a:gd name="connsiteX1" fmla="*/ 122360 w 244719"/>
              <a:gd name="connsiteY1" fmla="*/ 244719 h 244719"/>
              <a:gd name="connsiteX2" fmla="*/ 0 w 244719"/>
              <a:gd name="connsiteY2" fmla="*/ 122360 h 244719"/>
              <a:gd name="connsiteX3" fmla="*/ 122360 w 244719"/>
              <a:gd name="connsiteY3" fmla="*/ 0 h 244719"/>
              <a:gd name="connsiteX4" fmla="*/ 244719 w 244719"/>
              <a:gd name="connsiteY4" fmla="*/ 122360 h 244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719" h="244719">
                <a:moveTo>
                  <a:pt x="244719" y="122360"/>
                </a:moveTo>
                <a:cubicBezTo>
                  <a:pt x="244719" y="189937"/>
                  <a:pt x="189937" y="244719"/>
                  <a:pt x="122360" y="244719"/>
                </a:cubicBezTo>
                <a:cubicBezTo>
                  <a:pt x="54782" y="244719"/>
                  <a:pt x="0" y="189937"/>
                  <a:pt x="0" y="122360"/>
                </a:cubicBezTo>
                <a:cubicBezTo>
                  <a:pt x="0" y="54782"/>
                  <a:pt x="54782" y="0"/>
                  <a:pt x="122360" y="0"/>
                </a:cubicBezTo>
                <a:cubicBezTo>
                  <a:pt x="189937" y="0"/>
                  <a:pt x="244719" y="54782"/>
                  <a:pt x="244719" y="122360"/>
                </a:cubicBezTo>
                <a:close/>
              </a:path>
            </a:pathLst>
          </a:custGeom>
          <a:solidFill>
            <a:srgbClr val="FFDD00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0" name="Полилиния: фигура 43">
            <a:extLst>
              <a:ext uri="{FF2B5EF4-FFF2-40B4-BE49-F238E27FC236}">
                <a16:creationId xmlns:a16="http://schemas.microsoft.com/office/drawing/2014/main" id="{DFC74432-806C-FE9B-3172-74E47A38D527}"/>
              </a:ext>
            </a:extLst>
          </p:cNvPr>
          <p:cNvSpPr/>
          <p:nvPr/>
        </p:nvSpPr>
        <p:spPr>
          <a:xfrm>
            <a:off x="11336712" y="5513973"/>
            <a:ext cx="244368" cy="244368"/>
          </a:xfrm>
          <a:custGeom>
            <a:avLst/>
            <a:gdLst>
              <a:gd name="connsiteX0" fmla="*/ 244719 w 244719"/>
              <a:gd name="connsiteY0" fmla="*/ 122360 h 244719"/>
              <a:gd name="connsiteX1" fmla="*/ 122360 w 244719"/>
              <a:gd name="connsiteY1" fmla="*/ 244719 h 244719"/>
              <a:gd name="connsiteX2" fmla="*/ 0 w 244719"/>
              <a:gd name="connsiteY2" fmla="*/ 122360 h 244719"/>
              <a:gd name="connsiteX3" fmla="*/ 122360 w 244719"/>
              <a:gd name="connsiteY3" fmla="*/ 0 h 244719"/>
              <a:gd name="connsiteX4" fmla="*/ 244719 w 244719"/>
              <a:gd name="connsiteY4" fmla="*/ 122360 h 244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719" h="244719">
                <a:moveTo>
                  <a:pt x="244719" y="122360"/>
                </a:moveTo>
                <a:cubicBezTo>
                  <a:pt x="244719" y="189937"/>
                  <a:pt x="189937" y="244719"/>
                  <a:pt x="122360" y="244719"/>
                </a:cubicBezTo>
                <a:cubicBezTo>
                  <a:pt x="54782" y="244719"/>
                  <a:pt x="0" y="189937"/>
                  <a:pt x="0" y="122360"/>
                </a:cubicBezTo>
                <a:cubicBezTo>
                  <a:pt x="0" y="54782"/>
                  <a:pt x="54782" y="0"/>
                  <a:pt x="122360" y="0"/>
                </a:cubicBezTo>
                <a:cubicBezTo>
                  <a:pt x="189937" y="0"/>
                  <a:pt x="244719" y="54782"/>
                  <a:pt x="244719" y="122360"/>
                </a:cubicBezTo>
                <a:close/>
              </a:path>
            </a:pathLst>
          </a:custGeom>
          <a:solidFill>
            <a:schemeClr val="tx1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2"/>
              </a:solidFill>
            </a:endParaRPr>
          </a:p>
        </p:txBody>
      </p:sp>
      <p:sp>
        <p:nvSpPr>
          <p:cNvPr id="90" name="Полилиния: фигура 105">
            <a:extLst>
              <a:ext uri="{FF2B5EF4-FFF2-40B4-BE49-F238E27FC236}">
                <a16:creationId xmlns:a16="http://schemas.microsoft.com/office/drawing/2014/main" id="{221F817F-7EC3-54E3-C932-F09C8401708B}"/>
              </a:ext>
            </a:extLst>
          </p:cNvPr>
          <p:cNvSpPr/>
          <p:nvPr/>
        </p:nvSpPr>
        <p:spPr>
          <a:xfrm>
            <a:off x="10710763" y="2455628"/>
            <a:ext cx="489155" cy="489155"/>
          </a:xfrm>
          <a:custGeom>
            <a:avLst/>
            <a:gdLst>
              <a:gd name="connsiteX0" fmla="*/ -310 w 489857"/>
              <a:gd name="connsiteY0" fmla="*/ -240 h 489857"/>
              <a:gd name="connsiteX1" fmla="*/ 489547 w 489857"/>
              <a:gd name="connsiteY1" fmla="*/ 489617 h 489857"/>
              <a:gd name="connsiteX2" fmla="*/ -310 w 489857"/>
              <a:gd name="connsiteY2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857" h="489857">
                <a:moveTo>
                  <a:pt x="-310" y="-240"/>
                </a:moveTo>
                <a:cubicBezTo>
                  <a:pt x="-310" y="270298"/>
                  <a:pt x="219048" y="489617"/>
                  <a:pt x="489547" y="489617"/>
                </a:cubicBezTo>
                <a:cubicBezTo>
                  <a:pt x="489547" y="219079"/>
                  <a:pt x="270189" y="-240"/>
                  <a:pt x="-310" y="-240"/>
                </a:cubicBezTo>
                <a:close/>
              </a:path>
            </a:pathLst>
          </a:custGeom>
          <a:solidFill>
            <a:schemeClr val="tx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1" name="Полилиния: фигура 106">
            <a:extLst>
              <a:ext uri="{FF2B5EF4-FFF2-40B4-BE49-F238E27FC236}">
                <a16:creationId xmlns:a16="http://schemas.microsoft.com/office/drawing/2014/main" id="{CF9A9883-D805-017B-FC4D-85501BEA2102}"/>
              </a:ext>
            </a:extLst>
          </p:cNvPr>
          <p:cNvSpPr/>
          <p:nvPr/>
        </p:nvSpPr>
        <p:spPr>
          <a:xfrm>
            <a:off x="10221609" y="1966474"/>
            <a:ext cx="489155" cy="489155"/>
          </a:xfrm>
          <a:custGeom>
            <a:avLst/>
            <a:gdLst>
              <a:gd name="connsiteX0" fmla="*/ -310 w 489857"/>
              <a:gd name="connsiteY0" fmla="*/ -240 h 489857"/>
              <a:gd name="connsiteX1" fmla="*/ 489547 w 489857"/>
              <a:gd name="connsiteY1" fmla="*/ 489617 h 489857"/>
              <a:gd name="connsiteX2" fmla="*/ -310 w 489857"/>
              <a:gd name="connsiteY2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857" h="489857">
                <a:moveTo>
                  <a:pt x="-310" y="-240"/>
                </a:moveTo>
                <a:cubicBezTo>
                  <a:pt x="-310" y="270298"/>
                  <a:pt x="219048" y="489617"/>
                  <a:pt x="489547" y="489617"/>
                </a:cubicBezTo>
                <a:cubicBezTo>
                  <a:pt x="489547" y="219079"/>
                  <a:pt x="270189" y="-240"/>
                  <a:pt x="-310" y="-240"/>
                </a:cubicBezTo>
                <a:close/>
              </a:path>
            </a:pathLst>
          </a:custGeom>
          <a:solidFill>
            <a:schemeClr val="tx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2" name="Полилиния: фигура 107">
            <a:extLst>
              <a:ext uri="{FF2B5EF4-FFF2-40B4-BE49-F238E27FC236}">
                <a16:creationId xmlns:a16="http://schemas.microsoft.com/office/drawing/2014/main" id="{DC063878-F546-B7EE-03D8-FB173F2E2DC5}"/>
              </a:ext>
            </a:extLst>
          </p:cNvPr>
          <p:cNvSpPr/>
          <p:nvPr/>
        </p:nvSpPr>
        <p:spPr>
          <a:xfrm>
            <a:off x="10710763" y="1966474"/>
            <a:ext cx="489155" cy="489155"/>
          </a:xfrm>
          <a:custGeom>
            <a:avLst/>
            <a:gdLst>
              <a:gd name="connsiteX0" fmla="*/ -310 w 489857"/>
              <a:gd name="connsiteY0" fmla="*/ 489617 h 489857"/>
              <a:gd name="connsiteX1" fmla="*/ 489547 w 489857"/>
              <a:gd name="connsiteY1" fmla="*/ -240 h 489857"/>
              <a:gd name="connsiteX2" fmla="*/ -310 w 489857"/>
              <a:gd name="connsiteY2" fmla="*/ 489617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857" h="489857">
                <a:moveTo>
                  <a:pt x="-310" y="489617"/>
                </a:moveTo>
                <a:cubicBezTo>
                  <a:pt x="270189" y="489617"/>
                  <a:pt x="489547" y="270298"/>
                  <a:pt x="489547" y="-240"/>
                </a:cubicBezTo>
                <a:cubicBezTo>
                  <a:pt x="219048" y="-240"/>
                  <a:pt x="-310" y="219079"/>
                  <a:pt x="-310" y="489617"/>
                </a:cubicBezTo>
                <a:close/>
              </a:path>
            </a:pathLst>
          </a:custGeom>
          <a:solidFill>
            <a:schemeClr val="tx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3" name="Полилиния: фигура 108">
            <a:extLst>
              <a:ext uri="{FF2B5EF4-FFF2-40B4-BE49-F238E27FC236}">
                <a16:creationId xmlns:a16="http://schemas.microsoft.com/office/drawing/2014/main" id="{B1DD7367-C17C-4447-675A-13AE0E3EAFE8}"/>
              </a:ext>
            </a:extLst>
          </p:cNvPr>
          <p:cNvSpPr/>
          <p:nvPr/>
        </p:nvSpPr>
        <p:spPr>
          <a:xfrm>
            <a:off x="10221609" y="2455628"/>
            <a:ext cx="489155" cy="489155"/>
          </a:xfrm>
          <a:custGeom>
            <a:avLst/>
            <a:gdLst>
              <a:gd name="connsiteX0" fmla="*/ -310 w 489857"/>
              <a:gd name="connsiteY0" fmla="*/ 489617 h 489857"/>
              <a:gd name="connsiteX1" fmla="*/ 489547 w 489857"/>
              <a:gd name="connsiteY1" fmla="*/ -240 h 489857"/>
              <a:gd name="connsiteX2" fmla="*/ -310 w 489857"/>
              <a:gd name="connsiteY2" fmla="*/ 489617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857" h="489857">
                <a:moveTo>
                  <a:pt x="-310" y="489617"/>
                </a:moveTo>
                <a:cubicBezTo>
                  <a:pt x="270189" y="489617"/>
                  <a:pt x="489547" y="270298"/>
                  <a:pt x="489547" y="-240"/>
                </a:cubicBezTo>
                <a:cubicBezTo>
                  <a:pt x="219048" y="-240"/>
                  <a:pt x="-310" y="219079"/>
                  <a:pt x="-310" y="489617"/>
                </a:cubicBezTo>
                <a:close/>
              </a:path>
            </a:pathLst>
          </a:custGeom>
          <a:solidFill>
            <a:schemeClr val="tx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4" name="Полилиния: фигура 110">
            <a:extLst>
              <a:ext uri="{FF2B5EF4-FFF2-40B4-BE49-F238E27FC236}">
                <a16:creationId xmlns:a16="http://schemas.microsoft.com/office/drawing/2014/main" id="{11C01802-A229-F95E-4D88-5A0B0E4362C3}"/>
              </a:ext>
            </a:extLst>
          </p:cNvPr>
          <p:cNvSpPr/>
          <p:nvPr/>
        </p:nvSpPr>
        <p:spPr>
          <a:xfrm rot="16200000">
            <a:off x="11213245" y="1955996"/>
            <a:ext cx="977473" cy="981217"/>
          </a:xfrm>
          <a:custGeom>
            <a:avLst/>
            <a:gdLst>
              <a:gd name="connsiteX0" fmla="*/ -310 w 979714"/>
              <a:gd name="connsiteY0" fmla="*/ -240 h 979714"/>
              <a:gd name="connsiteX1" fmla="*/ 979404 w 979714"/>
              <a:gd name="connsiteY1" fmla="*/ -240 h 979714"/>
              <a:gd name="connsiteX2" fmla="*/ 979404 w 979714"/>
              <a:gd name="connsiteY2" fmla="*/ 979474 h 979714"/>
              <a:gd name="connsiteX3" fmla="*/ -310 w 979714"/>
              <a:gd name="connsiteY3" fmla="*/ 979474 h 979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714" h="979714">
                <a:moveTo>
                  <a:pt x="-310" y="-240"/>
                </a:moveTo>
                <a:lnTo>
                  <a:pt x="979404" y="-240"/>
                </a:lnTo>
                <a:lnTo>
                  <a:pt x="979404" y="979474"/>
                </a:lnTo>
                <a:lnTo>
                  <a:pt x="-310" y="979474"/>
                </a:lnTo>
                <a:close/>
              </a:path>
            </a:pathLst>
          </a:custGeom>
          <a:solidFill>
            <a:schemeClr val="bg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5" name="Полилиния: фигура 111">
            <a:extLst>
              <a:ext uri="{FF2B5EF4-FFF2-40B4-BE49-F238E27FC236}">
                <a16:creationId xmlns:a16="http://schemas.microsoft.com/office/drawing/2014/main" id="{4CF64195-5C84-6E06-EA28-632701FF62FA}"/>
              </a:ext>
            </a:extLst>
          </p:cNvPr>
          <p:cNvSpPr/>
          <p:nvPr/>
        </p:nvSpPr>
        <p:spPr>
          <a:xfrm>
            <a:off x="11202056" y="2455628"/>
            <a:ext cx="498472" cy="489155"/>
          </a:xfrm>
          <a:custGeom>
            <a:avLst/>
            <a:gdLst>
              <a:gd name="connsiteX0" fmla="*/ -310 w 489857"/>
              <a:gd name="connsiteY0" fmla="*/ -240 h 489857"/>
              <a:gd name="connsiteX1" fmla="*/ -310 w 489857"/>
              <a:gd name="connsiteY1" fmla="*/ 244689 h 489857"/>
              <a:gd name="connsiteX2" fmla="*/ 244619 w 489857"/>
              <a:gd name="connsiteY2" fmla="*/ 489617 h 489857"/>
              <a:gd name="connsiteX3" fmla="*/ 489547 w 489857"/>
              <a:gd name="connsiteY3" fmla="*/ 489617 h 489857"/>
              <a:gd name="connsiteX4" fmla="*/ -310 w 489857"/>
              <a:gd name="connsiteY4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-310" y="-240"/>
                </a:moveTo>
                <a:lnTo>
                  <a:pt x="-310" y="244689"/>
                </a:lnTo>
                <a:cubicBezTo>
                  <a:pt x="134989" y="244689"/>
                  <a:pt x="244619" y="354348"/>
                  <a:pt x="244619" y="489617"/>
                </a:cubicBezTo>
                <a:lnTo>
                  <a:pt x="489547" y="489617"/>
                </a:lnTo>
                <a:cubicBezTo>
                  <a:pt x="489547" y="219079"/>
                  <a:pt x="270189" y="-240"/>
                  <a:pt x="-310" y="-240"/>
                </a:cubicBezTo>
                <a:close/>
              </a:path>
            </a:pathLst>
          </a:custGeom>
          <a:solidFill>
            <a:srgbClr val="FFDD00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6" name="Полилиния: фигура 112">
            <a:extLst>
              <a:ext uri="{FF2B5EF4-FFF2-40B4-BE49-F238E27FC236}">
                <a16:creationId xmlns:a16="http://schemas.microsoft.com/office/drawing/2014/main" id="{A232DDF6-FFE9-4A7C-95FA-78B6B0B68787}"/>
              </a:ext>
            </a:extLst>
          </p:cNvPr>
          <p:cNvSpPr/>
          <p:nvPr/>
        </p:nvSpPr>
        <p:spPr>
          <a:xfrm>
            <a:off x="11202056" y="1957868"/>
            <a:ext cx="498472" cy="489155"/>
          </a:xfrm>
          <a:custGeom>
            <a:avLst/>
            <a:gdLst>
              <a:gd name="connsiteX0" fmla="*/ -310 w 489857"/>
              <a:gd name="connsiteY0" fmla="*/ 244689 h 489857"/>
              <a:gd name="connsiteX1" fmla="*/ -310 w 489857"/>
              <a:gd name="connsiteY1" fmla="*/ 489617 h 489857"/>
              <a:gd name="connsiteX2" fmla="*/ 489547 w 489857"/>
              <a:gd name="connsiteY2" fmla="*/ -240 h 489857"/>
              <a:gd name="connsiteX3" fmla="*/ 244619 w 489857"/>
              <a:gd name="connsiteY3" fmla="*/ -240 h 489857"/>
              <a:gd name="connsiteX4" fmla="*/ -310 w 489857"/>
              <a:gd name="connsiteY4" fmla="*/ 24468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-310" y="244689"/>
                </a:moveTo>
                <a:lnTo>
                  <a:pt x="-310" y="489617"/>
                </a:lnTo>
                <a:cubicBezTo>
                  <a:pt x="270189" y="489617"/>
                  <a:pt x="489547" y="270298"/>
                  <a:pt x="489547" y="-240"/>
                </a:cubicBezTo>
                <a:lnTo>
                  <a:pt x="244619" y="-240"/>
                </a:lnTo>
                <a:cubicBezTo>
                  <a:pt x="244619" y="135029"/>
                  <a:pt x="134989" y="244689"/>
                  <a:pt x="-310" y="244689"/>
                </a:cubicBezTo>
                <a:close/>
              </a:path>
            </a:pathLst>
          </a:custGeom>
          <a:solidFill>
            <a:srgbClr val="FFDD00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7" name="Полилиния: фигура 113">
            <a:extLst>
              <a:ext uri="{FF2B5EF4-FFF2-40B4-BE49-F238E27FC236}">
                <a16:creationId xmlns:a16="http://schemas.microsoft.com/office/drawing/2014/main" id="{F87E652F-7893-9F92-6C7A-03C586308241}"/>
              </a:ext>
            </a:extLst>
          </p:cNvPr>
          <p:cNvSpPr/>
          <p:nvPr/>
        </p:nvSpPr>
        <p:spPr>
          <a:xfrm>
            <a:off x="11705694" y="1957868"/>
            <a:ext cx="489155" cy="489155"/>
          </a:xfrm>
          <a:custGeom>
            <a:avLst/>
            <a:gdLst>
              <a:gd name="connsiteX0" fmla="*/ 244619 w 489857"/>
              <a:gd name="connsiteY0" fmla="*/ -240 h 489857"/>
              <a:gd name="connsiteX1" fmla="*/ -310 w 489857"/>
              <a:gd name="connsiteY1" fmla="*/ -240 h 489857"/>
              <a:gd name="connsiteX2" fmla="*/ 489547 w 489857"/>
              <a:gd name="connsiteY2" fmla="*/ 489617 h 489857"/>
              <a:gd name="connsiteX3" fmla="*/ 489547 w 489857"/>
              <a:gd name="connsiteY3" fmla="*/ 244689 h 489857"/>
              <a:gd name="connsiteX4" fmla="*/ 244619 w 489857"/>
              <a:gd name="connsiteY4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244619" y="-240"/>
                </a:moveTo>
                <a:lnTo>
                  <a:pt x="-310" y="-240"/>
                </a:lnTo>
                <a:cubicBezTo>
                  <a:pt x="-310" y="270298"/>
                  <a:pt x="219048" y="489617"/>
                  <a:pt x="489547" y="489617"/>
                </a:cubicBezTo>
                <a:lnTo>
                  <a:pt x="489547" y="244689"/>
                </a:lnTo>
                <a:cubicBezTo>
                  <a:pt x="354248" y="244689"/>
                  <a:pt x="244619" y="135029"/>
                  <a:pt x="244619" y="-240"/>
                </a:cubicBezTo>
                <a:close/>
              </a:path>
            </a:pathLst>
          </a:custGeom>
          <a:solidFill>
            <a:srgbClr val="FFDD00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8" name="Полилиния: фигура 114">
            <a:extLst>
              <a:ext uri="{FF2B5EF4-FFF2-40B4-BE49-F238E27FC236}">
                <a16:creationId xmlns:a16="http://schemas.microsoft.com/office/drawing/2014/main" id="{E52A84F5-A190-3CBA-533E-1D627B7406C3}"/>
              </a:ext>
            </a:extLst>
          </p:cNvPr>
          <p:cNvSpPr/>
          <p:nvPr/>
        </p:nvSpPr>
        <p:spPr>
          <a:xfrm>
            <a:off x="11705694" y="2455628"/>
            <a:ext cx="489155" cy="489155"/>
          </a:xfrm>
          <a:custGeom>
            <a:avLst/>
            <a:gdLst>
              <a:gd name="connsiteX0" fmla="*/ 489547 w 489857"/>
              <a:gd name="connsiteY0" fmla="*/ 244689 h 489857"/>
              <a:gd name="connsiteX1" fmla="*/ 489547 w 489857"/>
              <a:gd name="connsiteY1" fmla="*/ -240 h 489857"/>
              <a:gd name="connsiteX2" fmla="*/ -310 w 489857"/>
              <a:gd name="connsiteY2" fmla="*/ 489617 h 489857"/>
              <a:gd name="connsiteX3" fmla="*/ 244619 w 489857"/>
              <a:gd name="connsiteY3" fmla="*/ 489617 h 489857"/>
              <a:gd name="connsiteX4" fmla="*/ 489547 w 489857"/>
              <a:gd name="connsiteY4" fmla="*/ 24468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489547" y="244689"/>
                </a:moveTo>
                <a:lnTo>
                  <a:pt x="489547" y="-240"/>
                </a:lnTo>
                <a:cubicBezTo>
                  <a:pt x="219048" y="-240"/>
                  <a:pt x="-310" y="219079"/>
                  <a:pt x="-310" y="489617"/>
                </a:cubicBezTo>
                <a:lnTo>
                  <a:pt x="244619" y="489617"/>
                </a:lnTo>
                <a:cubicBezTo>
                  <a:pt x="244619" y="354348"/>
                  <a:pt x="354248" y="244689"/>
                  <a:pt x="489547" y="244689"/>
                </a:cubicBezTo>
                <a:close/>
              </a:path>
            </a:pathLst>
          </a:custGeom>
          <a:solidFill>
            <a:srgbClr val="FFDD00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2" name="Полилиния: фигура 121">
            <a:extLst>
              <a:ext uri="{FF2B5EF4-FFF2-40B4-BE49-F238E27FC236}">
                <a16:creationId xmlns:a16="http://schemas.microsoft.com/office/drawing/2014/main" id="{5724ABB9-23F9-557B-640F-4EDA08185EA2}"/>
              </a:ext>
            </a:extLst>
          </p:cNvPr>
          <p:cNvSpPr/>
          <p:nvPr/>
        </p:nvSpPr>
        <p:spPr>
          <a:xfrm>
            <a:off x="11531830" y="2944783"/>
            <a:ext cx="326070" cy="978309"/>
          </a:xfrm>
          <a:custGeom>
            <a:avLst/>
            <a:gdLst>
              <a:gd name="connsiteX0" fmla="*/ 162959 w 326538"/>
              <a:gd name="connsiteY0" fmla="*/ 979474 h 979714"/>
              <a:gd name="connsiteX1" fmla="*/ 162959 w 326538"/>
              <a:gd name="connsiteY1" fmla="*/ -240 h 979714"/>
              <a:gd name="connsiteX2" fmla="*/ 162959 w 326538"/>
              <a:gd name="connsiteY2" fmla="*/ 979474 h 979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6538" h="979714">
                <a:moveTo>
                  <a:pt x="162959" y="979474"/>
                </a:moveTo>
                <a:cubicBezTo>
                  <a:pt x="380651" y="708975"/>
                  <a:pt x="380651" y="270259"/>
                  <a:pt x="162959" y="-240"/>
                </a:cubicBezTo>
                <a:cubicBezTo>
                  <a:pt x="-54733" y="270259"/>
                  <a:pt x="-54733" y="708975"/>
                  <a:pt x="162959" y="979474"/>
                </a:cubicBezTo>
                <a:close/>
              </a:path>
            </a:pathLst>
          </a:custGeom>
          <a:solidFill>
            <a:schemeClr val="tx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3" name="Полилиния: фигура 122">
            <a:extLst>
              <a:ext uri="{FF2B5EF4-FFF2-40B4-BE49-F238E27FC236}">
                <a16:creationId xmlns:a16="http://schemas.microsoft.com/office/drawing/2014/main" id="{2E6D9482-2CA0-8F16-ADC6-1839E26E999F}"/>
              </a:ext>
            </a:extLst>
          </p:cNvPr>
          <p:cNvSpPr/>
          <p:nvPr/>
        </p:nvSpPr>
        <p:spPr>
          <a:xfrm>
            <a:off x="11205686" y="2944783"/>
            <a:ext cx="326144" cy="978309"/>
          </a:xfrm>
          <a:custGeom>
            <a:avLst/>
            <a:gdLst>
              <a:gd name="connsiteX0" fmla="*/ 163034 w 326612"/>
              <a:gd name="connsiteY0" fmla="*/ 979474 h 979714"/>
              <a:gd name="connsiteX1" fmla="*/ 163034 w 326612"/>
              <a:gd name="connsiteY1" fmla="*/ -240 h 979714"/>
              <a:gd name="connsiteX2" fmla="*/ 163034 w 326612"/>
              <a:gd name="connsiteY2" fmla="*/ 979474 h 979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6612" h="979714">
                <a:moveTo>
                  <a:pt x="163034" y="979474"/>
                </a:moveTo>
                <a:cubicBezTo>
                  <a:pt x="380726" y="708975"/>
                  <a:pt x="380726" y="270259"/>
                  <a:pt x="163034" y="-240"/>
                </a:cubicBezTo>
                <a:cubicBezTo>
                  <a:pt x="-54758" y="270259"/>
                  <a:pt x="-54758" y="708975"/>
                  <a:pt x="163034" y="979474"/>
                </a:cubicBezTo>
                <a:close/>
              </a:path>
            </a:pathLst>
          </a:custGeom>
          <a:solidFill>
            <a:srgbClr val="FFDD00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4" name="Полилиния: фигура 123">
            <a:extLst>
              <a:ext uri="{FF2B5EF4-FFF2-40B4-BE49-F238E27FC236}">
                <a16:creationId xmlns:a16="http://schemas.microsoft.com/office/drawing/2014/main" id="{32880002-40DF-0E72-E8B9-259EBD329D29}"/>
              </a:ext>
            </a:extLst>
          </p:cNvPr>
          <p:cNvSpPr/>
          <p:nvPr/>
        </p:nvSpPr>
        <p:spPr>
          <a:xfrm>
            <a:off x="11857901" y="2944783"/>
            <a:ext cx="326144" cy="978309"/>
          </a:xfrm>
          <a:custGeom>
            <a:avLst/>
            <a:gdLst>
              <a:gd name="connsiteX0" fmla="*/ 162959 w 326612"/>
              <a:gd name="connsiteY0" fmla="*/ 979474 h 979714"/>
              <a:gd name="connsiteX1" fmla="*/ 162959 w 326612"/>
              <a:gd name="connsiteY1" fmla="*/ -240 h 979714"/>
              <a:gd name="connsiteX2" fmla="*/ 162959 w 326612"/>
              <a:gd name="connsiteY2" fmla="*/ 979474 h 979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6612" h="979714">
                <a:moveTo>
                  <a:pt x="162959" y="979474"/>
                </a:moveTo>
                <a:cubicBezTo>
                  <a:pt x="380751" y="708975"/>
                  <a:pt x="380751" y="270259"/>
                  <a:pt x="162959" y="-240"/>
                </a:cubicBezTo>
                <a:cubicBezTo>
                  <a:pt x="-54733" y="270259"/>
                  <a:pt x="-54733" y="708975"/>
                  <a:pt x="162959" y="979474"/>
                </a:cubicBezTo>
                <a:close/>
              </a:path>
            </a:pathLst>
          </a:custGeom>
          <a:solidFill>
            <a:srgbClr val="FFDD00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5" name="Полилиния: фигура 125">
            <a:extLst>
              <a:ext uri="{FF2B5EF4-FFF2-40B4-BE49-F238E27FC236}">
                <a16:creationId xmlns:a16="http://schemas.microsoft.com/office/drawing/2014/main" id="{7C23478D-CA78-9564-4653-E6EE3B7F9873}"/>
              </a:ext>
            </a:extLst>
          </p:cNvPr>
          <p:cNvSpPr/>
          <p:nvPr/>
        </p:nvSpPr>
        <p:spPr>
          <a:xfrm>
            <a:off x="11702251" y="4404456"/>
            <a:ext cx="489155" cy="489155"/>
          </a:xfrm>
          <a:custGeom>
            <a:avLst/>
            <a:gdLst>
              <a:gd name="connsiteX0" fmla="*/ -310 w 489857"/>
              <a:gd name="connsiteY0" fmla="*/ -240 h 489857"/>
              <a:gd name="connsiteX1" fmla="*/ 489547 w 489857"/>
              <a:gd name="connsiteY1" fmla="*/ 489617 h 489857"/>
              <a:gd name="connsiteX2" fmla="*/ -310 w 489857"/>
              <a:gd name="connsiteY2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857" h="489857">
                <a:moveTo>
                  <a:pt x="-310" y="-240"/>
                </a:moveTo>
                <a:cubicBezTo>
                  <a:pt x="-310" y="270298"/>
                  <a:pt x="219048" y="489617"/>
                  <a:pt x="489547" y="489617"/>
                </a:cubicBezTo>
                <a:cubicBezTo>
                  <a:pt x="489547" y="219079"/>
                  <a:pt x="270189" y="-240"/>
                  <a:pt x="-310" y="-240"/>
                </a:cubicBezTo>
                <a:close/>
              </a:path>
            </a:pathLst>
          </a:custGeom>
          <a:solidFill>
            <a:schemeClr val="tx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6" name="Полилиния: фигура 126">
            <a:extLst>
              <a:ext uri="{FF2B5EF4-FFF2-40B4-BE49-F238E27FC236}">
                <a16:creationId xmlns:a16="http://schemas.microsoft.com/office/drawing/2014/main" id="{880455E5-D941-01B7-2E0B-428B3E1168AF}"/>
              </a:ext>
            </a:extLst>
          </p:cNvPr>
          <p:cNvSpPr/>
          <p:nvPr/>
        </p:nvSpPr>
        <p:spPr>
          <a:xfrm>
            <a:off x="11213096" y="3915301"/>
            <a:ext cx="489155" cy="489155"/>
          </a:xfrm>
          <a:custGeom>
            <a:avLst/>
            <a:gdLst>
              <a:gd name="connsiteX0" fmla="*/ -310 w 489857"/>
              <a:gd name="connsiteY0" fmla="*/ -240 h 489857"/>
              <a:gd name="connsiteX1" fmla="*/ 489547 w 489857"/>
              <a:gd name="connsiteY1" fmla="*/ 489617 h 489857"/>
              <a:gd name="connsiteX2" fmla="*/ -310 w 489857"/>
              <a:gd name="connsiteY2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857" h="489857">
                <a:moveTo>
                  <a:pt x="-310" y="-240"/>
                </a:moveTo>
                <a:cubicBezTo>
                  <a:pt x="-310" y="270298"/>
                  <a:pt x="219048" y="489617"/>
                  <a:pt x="489547" y="489617"/>
                </a:cubicBezTo>
                <a:cubicBezTo>
                  <a:pt x="489547" y="219079"/>
                  <a:pt x="270189" y="-240"/>
                  <a:pt x="-310" y="-240"/>
                </a:cubicBezTo>
                <a:close/>
              </a:path>
            </a:pathLst>
          </a:custGeom>
          <a:solidFill>
            <a:schemeClr val="tx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7" name="Полилиния: фигура 127">
            <a:extLst>
              <a:ext uri="{FF2B5EF4-FFF2-40B4-BE49-F238E27FC236}">
                <a16:creationId xmlns:a16="http://schemas.microsoft.com/office/drawing/2014/main" id="{97F171CD-74ED-E86B-FCA3-2D8AB57BCA8F}"/>
              </a:ext>
            </a:extLst>
          </p:cNvPr>
          <p:cNvSpPr/>
          <p:nvPr/>
        </p:nvSpPr>
        <p:spPr>
          <a:xfrm>
            <a:off x="11702251" y="3915301"/>
            <a:ext cx="489155" cy="489155"/>
          </a:xfrm>
          <a:custGeom>
            <a:avLst/>
            <a:gdLst>
              <a:gd name="connsiteX0" fmla="*/ -310 w 489857"/>
              <a:gd name="connsiteY0" fmla="*/ 489617 h 489857"/>
              <a:gd name="connsiteX1" fmla="*/ 489547 w 489857"/>
              <a:gd name="connsiteY1" fmla="*/ -240 h 489857"/>
              <a:gd name="connsiteX2" fmla="*/ -310 w 489857"/>
              <a:gd name="connsiteY2" fmla="*/ 489617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857" h="489857">
                <a:moveTo>
                  <a:pt x="-310" y="489617"/>
                </a:moveTo>
                <a:cubicBezTo>
                  <a:pt x="270189" y="489617"/>
                  <a:pt x="489547" y="270298"/>
                  <a:pt x="489547" y="-240"/>
                </a:cubicBezTo>
                <a:cubicBezTo>
                  <a:pt x="219048" y="-240"/>
                  <a:pt x="-310" y="219079"/>
                  <a:pt x="-310" y="489617"/>
                </a:cubicBezTo>
                <a:close/>
              </a:path>
            </a:pathLst>
          </a:custGeom>
          <a:solidFill>
            <a:srgbClr val="FFDD00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8" name="Полилиния: фигура 128">
            <a:extLst>
              <a:ext uri="{FF2B5EF4-FFF2-40B4-BE49-F238E27FC236}">
                <a16:creationId xmlns:a16="http://schemas.microsoft.com/office/drawing/2014/main" id="{6B5C7B98-9AF3-A3C5-CC56-1F8415A3BBFA}"/>
              </a:ext>
            </a:extLst>
          </p:cNvPr>
          <p:cNvSpPr/>
          <p:nvPr/>
        </p:nvSpPr>
        <p:spPr>
          <a:xfrm>
            <a:off x="11213097" y="4404456"/>
            <a:ext cx="489155" cy="489155"/>
          </a:xfrm>
          <a:custGeom>
            <a:avLst/>
            <a:gdLst>
              <a:gd name="connsiteX0" fmla="*/ -310 w 489857"/>
              <a:gd name="connsiteY0" fmla="*/ 489617 h 489857"/>
              <a:gd name="connsiteX1" fmla="*/ 489547 w 489857"/>
              <a:gd name="connsiteY1" fmla="*/ -240 h 489857"/>
              <a:gd name="connsiteX2" fmla="*/ -310 w 489857"/>
              <a:gd name="connsiteY2" fmla="*/ 489617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857" h="489857">
                <a:moveTo>
                  <a:pt x="-310" y="489617"/>
                </a:moveTo>
                <a:cubicBezTo>
                  <a:pt x="270189" y="489617"/>
                  <a:pt x="489547" y="270298"/>
                  <a:pt x="489547" y="-240"/>
                </a:cubicBezTo>
                <a:cubicBezTo>
                  <a:pt x="219048" y="-240"/>
                  <a:pt x="-310" y="219079"/>
                  <a:pt x="-310" y="489617"/>
                </a:cubicBezTo>
                <a:close/>
              </a:path>
            </a:pathLst>
          </a:custGeom>
          <a:solidFill>
            <a:srgbClr val="FFDD00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3" name="Заголовок 1">
            <a:extLst>
              <a:ext uri="{FF2B5EF4-FFF2-40B4-BE49-F238E27FC236}">
                <a16:creationId xmlns:a16="http://schemas.microsoft.com/office/drawing/2014/main" id="{4AA2E929-5B00-47BA-848F-4A659E3F54B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72400" y="3182779"/>
            <a:ext cx="8995021" cy="492443"/>
          </a:xfr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Разделитель</a:t>
            </a:r>
            <a:endParaRPr lang="en-US" dirty="0"/>
          </a:p>
        </p:txBody>
      </p:sp>
      <p:pic>
        <p:nvPicPr>
          <p:cNvPr id="124" name="Рисунок 12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00" y="655200"/>
            <a:ext cx="3527999" cy="396000"/>
          </a:xfrm>
          <a:prstGeom prst="rect">
            <a:avLst/>
          </a:prstGeom>
        </p:spPr>
      </p:pic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id="{BCCD2995-E956-417F-B21B-35664D8F3E4D}"/>
              </a:ext>
            </a:extLst>
          </p:cNvPr>
          <p:cNvGrpSpPr/>
          <p:nvPr userDrawn="1"/>
        </p:nvGrpSpPr>
        <p:grpSpPr>
          <a:xfrm>
            <a:off x="9252833" y="25"/>
            <a:ext cx="979714" cy="979714"/>
            <a:chOff x="9252833" y="25"/>
            <a:chExt cx="979714" cy="979714"/>
          </a:xfrm>
        </p:grpSpPr>
        <p:sp>
          <p:nvSpPr>
            <p:cNvPr id="141" name="Полилиния: фигура 8">
              <a:extLst>
                <a:ext uri="{FF2B5EF4-FFF2-40B4-BE49-F238E27FC236}">
                  <a16:creationId xmlns:a16="http://schemas.microsoft.com/office/drawing/2014/main" id="{EC7D329E-BF65-41FB-A97F-7BF94125C18F}"/>
                </a:ext>
              </a:extLst>
            </p:cNvPr>
            <p:cNvSpPr/>
            <p:nvPr/>
          </p:nvSpPr>
          <p:spPr>
            <a:xfrm>
              <a:off x="9252833" y="25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35">
              <a:extLst>
                <a:ext uri="{FF2B5EF4-FFF2-40B4-BE49-F238E27FC236}">
                  <a16:creationId xmlns:a16="http://schemas.microsoft.com/office/drawing/2014/main" id="{0861E1E5-24E2-40A2-BB3B-2C5AFA60C5A0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3" name="Группа 142">
            <a:extLst>
              <a:ext uri="{FF2B5EF4-FFF2-40B4-BE49-F238E27FC236}">
                <a16:creationId xmlns:a16="http://schemas.microsoft.com/office/drawing/2014/main" id="{1220D0ED-E517-4D98-BAE8-68113FD042B1}"/>
              </a:ext>
            </a:extLst>
          </p:cNvPr>
          <p:cNvGrpSpPr/>
          <p:nvPr userDrawn="1"/>
        </p:nvGrpSpPr>
        <p:grpSpPr>
          <a:xfrm>
            <a:off x="7293404" y="25"/>
            <a:ext cx="979714" cy="979714"/>
            <a:chOff x="7293404" y="25"/>
            <a:chExt cx="979714" cy="979714"/>
          </a:xfrm>
        </p:grpSpPr>
        <p:sp>
          <p:nvSpPr>
            <p:cNvPr id="144" name="Полилиния: фигура 9">
              <a:extLst>
                <a:ext uri="{FF2B5EF4-FFF2-40B4-BE49-F238E27FC236}">
                  <a16:creationId xmlns:a16="http://schemas.microsoft.com/office/drawing/2014/main" id="{16CE94B4-0D7E-47E1-886F-E236C37DD402}"/>
                </a:ext>
              </a:extLst>
            </p:cNvPr>
            <p:cNvSpPr/>
            <p:nvPr/>
          </p:nvSpPr>
          <p:spPr>
            <a:xfrm rot="16200000">
              <a:off x="7293404" y="25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Полилиния: фигура 36">
              <a:extLst>
                <a:ext uri="{FF2B5EF4-FFF2-40B4-BE49-F238E27FC236}">
                  <a16:creationId xmlns:a16="http://schemas.microsoft.com/office/drawing/2014/main" id="{28E77091-E3CC-4723-860F-9B387F97B2F4}"/>
                </a:ext>
              </a:extLst>
            </p:cNvPr>
            <p:cNvSpPr/>
            <p:nvPr/>
          </p:nvSpPr>
          <p:spPr>
            <a:xfrm>
              <a:off x="7293404" y="489882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Полилиния: фигура 37">
              <a:extLst>
                <a:ext uri="{FF2B5EF4-FFF2-40B4-BE49-F238E27FC236}">
                  <a16:creationId xmlns:a16="http://schemas.microsoft.com/office/drawing/2014/main" id="{C15221AC-D0A9-4CE9-B8D6-1DD508A88412}"/>
                </a:ext>
              </a:extLst>
            </p:cNvPr>
            <p:cNvSpPr/>
            <p:nvPr/>
          </p:nvSpPr>
          <p:spPr>
            <a:xfrm>
              <a:off x="7293404" y="25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Полилиния: фигура 38">
              <a:extLst>
                <a:ext uri="{FF2B5EF4-FFF2-40B4-BE49-F238E27FC236}">
                  <a16:creationId xmlns:a16="http://schemas.microsoft.com/office/drawing/2014/main" id="{D4AE3F71-6BCA-4CC3-A20C-7C8B4ED39529}"/>
                </a:ext>
              </a:extLst>
            </p:cNvPr>
            <p:cNvSpPr/>
            <p:nvPr/>
          </p:nvSpPr>
          <p:spPr>
            <a:xfrm>
              <a:off x="7783261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Полилиния: фигура 39">
              <a:extLst>
                <a:ext uri="{FF2B5EF4-FFF2-40B4-BE49-F238E27FC236}">
                  <a16:creationId xmlns:a16="http://schemas.microsoft.com/office/drawing/2014/main" id="{9919190F-ACE3-4BC5-97EF-77617D484AB6}"/>
                </a:ext>
              </a:extLst>
            </p:cNvPr>
            <p:cNvSpPr/>
            <p:nvPr/>
          </p:nvSpPr>
          <p:spPr>
            <a:xfrm>
              <a:off x="7783261" y="489882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9" name="Полилиния: фигура 59">
            <a:extLst>
              <a:ext uri="{FF2B5EF4-FFF2-40B4-BE49-F238E27FC236}">
                <a16:creationId xmlns:a16="http://schemas.microsoft.com/office/drawing/2014/main" id="{C6FBF05D-48B1-4E7F-9948-223B323020B7}"/>
              </a:ext>
            </a:extLst>
          </p:cNvPr>
          <p:cNvSpPr/>
          <p:nvPr userDrawn="1"/>
        </p:nvSpPr>
        <p:spPr>
          <a:xfrm>
            <a:off x="10477475" y="1224667"/>
            <a:ext cx="489857" cy="489857"/>
          </a:xfrm>
          <a:custGeom>
            <a:avLst/>
            <a:gdLst>
              <a:gd name="connsiteX0" fmla="*/ 489857 w 489857"/>
              <a:gd name="connsiteY0" fmla="*/ 244929 h 489857"/>
              <a:gd name="connsiteX1" fmla="*/ 244929 w 489857"/>
              <a:gd name="connsiteY1" fmla="*/ 489857 h 489857"/>
              <a:gd name="connsiteX2" fmla="*/ 0 w 489857"/>
              <a:gd name="connsiteY2" fmla="*/ 244929 h 489857"/>
              <a:gd name="connsiteX3" fmla="*/ 244929 w 489857"/>
              <a:gd name="connsiteY3" fmla="*/ 0 h 489857"/>
              <a:gd name="connsiteX4" fmla="*/ 489857 w 489857"/>
              <a:gd name="connsiteY4" fmla="*/ 24492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489857" y="244929"/>
                </a:moveTo>
                <a:cubicBezTo>
                  <a:pt x="489857" y="380199"/>
                  <a:pt x="380199" y="489857"/>
                  <a:pt x="244929" y="489857"/>
                </a:cubicBezTo>
                <a:cubicBezTo>
                  <a:pt x="109658" y="489857"/>
                  <a:pt x="0" y="380199"/>
                  <a:pt x="0" y="244929"/>
                </a:cubicBezTo>
                <a:cubicBezTo>
                  <a:pt x="0" y="109658"/>
                  <a:pt x="109658" y="0"/>
                  <a:pt x="244929" y="0"/>
                </a:cubicBezTo>
                <a:cubicBezTo>
                  <a:pt x="380199" y="0"/>
                  <a:pt x="489857" y="109658"/>
                  <a:pt x="489857" y="244929"/>
                </a:cubicBezTo>
                <a:close/>
              </a:path>
            </a:pathLst>
          </a:custGeom>
          <a:solidFill>
            <a:schemeClr val="bg2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50" name="Группа 149">
            <a:extLst>
              <a:ext uri="{FF2B5EF4-FFF2-40B4-BE49-F238E27FC236}">
                <a16:creationId xmlns:a16="http://schemas.microsoft.com/office/drawing/2014/main" id="{4AA1D64C-CF37-4B2D-99A5-2E1F80762337}"/>
              </a:ext>
            </a:extLst>
          </p:cNvPr>
          <p:cNvGrpSpPr/>
          <p:nvPr userDrawn="1"/>
        </p:nvGrpSpPr>
        <p:grpSpPr>
          <a:xfrm>
            <a:off x="10232547" y="25"/>
            <a:ext cx="979714" cy="979714"/>
            <a:chOff x="10232547" y="25"/>
            <a:chExt cx="979714" cy="979714"/>
          </a:xfrm>
        </p:grpSpPr>
        <p:sp>
          <p:nvSpPr>
            <p:cNvPr id="151" name="Полилиния: фигура 14">
              <a:extLst>
                <a:ext uri="{FF2B5EF4-FFF2-40B4-BE49-F238E27FC236}">
                  <a16:creationId xmlns:a16="http://schemas.microsoft.com/office/drawing/2014/main" id="{3459CD28-4DA2-4516-8226-82ED9A7C52A6}"/>
                </a:ext>
              </a:extLst>
            </p:cNvPr>
            <p:cNvSpPr/>
            <p:nvPr/>
          </p:nvSpPr>
          <p:spPr>
            <a:xfrm rot="16200000">
              <a:off x="10232547" y="25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Полилиния: фигура 64">
              <a:extLst>
                <a:ext uri="{FF2B5EF4-FFF2-40B4-BE49-F238E27FC236}">
                  <a16:creationId xmlns:a16="http://schemas.microsoft.com/office/drawing/2014/main" id="{CDC5EC26-A53D-46A8-ACB5-50DA15A7A1E2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rgbClr val="4D4D4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Полилиния: фигура 65">
              <a:extLst>
                <a:ext uri="{FF2B5EF4-FFF2-40B4-BE49-F238E27FC236}">
                  <a16:creationId xmlns:a16="http://schemas.microsoft.com/office/drawing/2014/main" id="{F1946BA5-9A24-48D6-9405-492A4DB9E79B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Полилиния: фигура 66">
              <a:extLst>
                <a:ext uri="{FF2B5EF4-FFF2-40B4-BE49-F238E27FC236}">
                  <a16:creationId xmlns:a16="http://schemas.microsoft.com/office/drawing/2014/main" id="{8446FB5C-1877-4196-9B17-10C460241CA9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Полилиния: фигура 67">
              <a:extLst>
                <a:ext uri="{FF2B5EF4-FFF2-40B4-BE49-F238E27FC236}">
                  <a16:creationId xmlns:a16="http://schemas.microsoft.com/office/drawing/2014/main" id="{5938DBD3-1649-48AC-AAA0-D64EE1201C3F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6" name="Группа 155">
            <a:extLst>
              <a:ext uri="{FF2B5EF4-FFF2-40B4-BE49-F238E27FC236}">
                <a16:creationId xmlns:a16="http://schemas.microsoft.com/office/drawing/2014/main" id="{C930C507-5C34-43A7-AEC7-EE9D769D5B55}"/>
              </a:ext>
            </a:extLst>
          </p:cNvPr>
          <p:cNvGrpSpPr/>
          <p:nvPr userDrawn="1"/>
        </p:nvGrpSpPr>
        <p:grpSpPr>
          <a:xfrm>
            <a:off x="11401541" y="1143057"/>
            <a:ext cx="545506" cy="653078"/>
            <a:chOff x="11401541" y="1143057"/>
            <a:chExt cx="545506" cy="653078"/>
          </a:xfrm>
        </p:grpSpPr>
        <p:sp>
          <p:nvSpPr>
            <p:cNvPr id="157" name="Полилиния: фигура 102">
              <a:extLst>
                <a:ext uri="{FF2B5EF4-FFF2-40B4-BE49-F238E27FC236}">
                  <a16:creationId xmlns:a16="http://schemas.microsoft.com/office/drawing/2014/main" id="{C50ED4C5-82FE-427E-87BE-1FC56AE9674C}"/>
                </a:ext>
              </a:extLst>
            </p:cNvPr>
            <p:cNvSpPr/>
            <p:nvPr userDrawn="1"/>
          </p:nvSpPr>
          <p:spPr>
            <a:xfrm>
              <a:off x="11401541" y="1597449"/>
              <a:ext cx="300576" cy="198686"/>
            </a:xfrm>
            <a:custGeom>
              <a:avLst/>
              <a:gdLst>
                <a:gd name="connsiteX0" fmla="*/ -310 w 300576"/>
                <a:gd name="connsiteY0" fmla="*/ -240 h 198686"/>
                <a:gd name="connsiteX1" fmla="*/ 300267 w 300576"/>
                <a:gd name="connsiteY1" fmla="*/ 198446 h 198686"/>
                <a:gd name="connsiteX2" fmla="*/ -310 w 300576"/>
                <a:gd name="connsiteY2" fmla="*/ -240 h 198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576" h="198686">
                  <a:moveTo>
                    <a:pt x="-310" y="-240"/>
                  </a:moveTo>
                  <a:cubicBezTo>
                    <a:pt x="51028" y="120255"/>
                    <a:pt x="169279" y="198466"/>
                    <a:pt x="300267" y="198446"/>
                  </a:cubicBezTo>
                  <a:cubicBezTo>
                    <a:pt x="248930" y="77951"/>
                    <a:pt x="130678" y="-259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103">
              <a:extLst>
                <a:ext uri="{FF2B5EF4-FFF2-40B4-BE49-F238E27FC236}">
                  <a16:creationId xmlns:a16="http://schemas.microsoft.com/office/drawing/2014/main" id="{4C8E45E4-8744-44C6-AB08-4764879AF1D2}"/>
                </a:ext>
              </a:extLst>
            </p:cNvPr>
            <p:cNvSpPr/>
            <p:nvPr/>
          </p:nvSpPr>
          <p:spPr>
            <a:xfrm>
              <a:off x="1145719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Полилиния: фигура 104">
              <a:extLst>
                <a:ext uri="{FF2B5EF4-FFF2-40B4-BE49-F238E27FC236}">
                  <a16:creationId xmlns:a16="http://schemas.microsoft.com/office/drawing/2014/main" id="{F42A29E0-C857-4255-9E3C-64E7824FE21C}"/>
                </a:ext>
              </a:extLst>
            </p:cNvPr>
            <p:cNvSpPr/>
            <p:nvPr userDrawn="1"/>
          </p:nvSpPr>
          <p:spPr>
            <a:xfrm>
              <a:off x="11702118" y="1652509"/>
              <a:ext cx="223081" cy="143625"/>
            </a:xfrm>
            <a:custGeom>
              <a:avLst/>
              <a:gdLst>
                <a:gd name="connsiteX0" fmla="*/ -310 w 223081"/>
                <a:gd name="connsiteY0" fmla="*/ 143386 h 143625"/>
                <a:gd name="connsiteX1" fmla="*/ 222771 w 223081"/>
                <a:gd name="connsiteY1" fmla="*/ -240 h 143625"/>
                <a:gd name="connsiteX2" fmla="*/ -310 w 223081"/>
                <a:gd name="connsiteY2" fmla="*/ 143386 h 143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081" h="143625">
                  <a:moveTo>
                    <a:pt x="-310" y="143386"/>
                  </a:moveTo>
                  <a:cubicBezTo>
                    <a:pt x="95801" y="143415"/>
                    <a:pt x="182994" y="87248"/>
                    <a:pt x="222771" y="-240"/>
                  </a:cubicBezTo>
                  <a:cubicBezTo>
                    <a:pt x="126661" y="-270"/>
                    <a:pt x="39467" y="55897"/>
                    <a:pt x="-310" y="143386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Полилиния: фигура 105">
              <a:extLst>
                <a:ext uri="{FF2B5EF4-FFF2-40B4-BE49-F238E27FC236}">
                  <a16:creationId xmlns:a16="http://schemas.microsoft.com/office/drawing/2014/main" id="{E211E195-B6C9-436B-8E35-D1876A5A8E0A}"/>
                </a:ext>
              </a:extLst>
            </p:cNvPr>
            <p:cNvSpPr/>
            <p:nvPr/>
          </p:nvSpPr>
          <p:spPr>
            <a:xfrm>
              <a:off x="1157965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id="{066FB9AB-2CD5-4AB7-82DC-A90CEA40C467}"/>
              </a:ext>
            </a:extLst>
          </p:cNvPr>
          <p:cNvGrpSpPr/>
          <p:nvPr userDrawn="1"/>
        </p:nvGrpSpPr>
        <p:grpSpPr>
          <a:xfrm>
            <a:off x="9252833" y="979714"/>
            <a:ext cx="979714" cy="987790"/>
            <a:chOff x="9252833" y="979714"/>
            <a:chExt cx="979714" cy="987790"/>
          </a:xfrm>
        </p:grpSpPr>
        <p:sp>
          <p:nvSpPr>
            <p:cNvPr id="162" name="Полилиния: фигура 27">
              <a:extLst>
                <a:ext uri="{FF2B5EF4-FFF2-40B4-BE49-F238E27FC236}">
                  <a16:creationId xmlns:a16="http://schemas.microsoft.com/office/drawing/2014/main" id="{B9C21BF7-60A9-4015-A905-63CD92318A9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Полилиния: фигура 157">
              <a:extLst>
                <a:ext uri="{FF2B5EF4-FFF2-40B4-BE49-F238E27FC236}">
                  <a16:creationId xmlns:a16="http://schemas.microsoft.com/office/drawing/2014/main" id="{43601776-0B2E-41F1-9543-02B1116A0ADF}"/>
                </a:ext>
              </a:extLst>
            </p:cNvPr>
            <p:cNvSpPr/>
            <p:nvPr/>
          </p:nvSpPr>
          <p:spPr>
            <a:xfrm>
              <a:off x="9252833" y="1310340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158">
              <a:extLst>
                <a:ext uri="{FF2B5EF4-FFF2-40B4-BE49-F238E27FC236}">
                  <a16:creationId xmlns:a16="http://schemas.microsoft.com/office/drawing/2014/main" id="{8423E724-4902-42ED-984A-C1864466591B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Полилиния: фигура 159">
              <a:extLst>
                <a:ext uri="{FF2B5EF4-FFF2-40B4-BE49-F238E27FC236}">
                  <a16:creationId xmlns:a16="http://schemas.microsoft.com/office/drawing/2014/main" id="{741AFE2C-13EA-47C0-98EF-BDAD5085E5A2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158">
              <a:extLst>
                <a:ext uri="{FF2B5EF4-FFF2-40B4-BE49-F238E27FC236}">
                  <a16:creationId xmlns:a16="http://schemas.microsoft.com/office/drawing/2014/main" id="{8423E724-4902-42ED-984A-C1864466591B}"/>
                </a:ext>
              </a:extLst>
            </p:cNvPr>
            <p:cNvSpPr/>
            <p:nvPr userDrawn="1"/>
          </p:nvSpPr>
          <p:spPr>
            <a:xfrm>
              <a:off x="9252833" y="1640892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6" name="Группа 165">
            <a:extLst>
              <a:ext uri="{FF2B5EF4-FFF2-40B4-BE49-F238E27FC236}">
                <a16:creationId xmlns:a16="http://schemas.microsoft.com/office/drawing/2014/main" id="{761668E6-E8F2-4824-B98B-D4E0741E0543}"/>
              </a:ext>
            </a:extLst>
          </p:cNvPr>
          <p:cNvGrpSpPr/>
          <p:nvPr userDrawn="1"/>
        </p:nvGrpSpPr>
        <p:grpSpPr>
          <a:xfrm>
            <a:off x="8460243" y="187150"/>
            <a:ext cx="605463" cy="605463"/>
            <a:chOff x="8460243" y="187150"/>
            <a:chExt cx="605463" cy="605463"/>
          </a:xfrm>
          <a:solidFill>
            <a:schemeClr val="bg2"/>
          </a:solidFill>
        </p:grpSpPr>
        <p:sp>
          <p:nvSpPr>
            <p:cNvPr id="167" name="Полилиния: фигура 162">
              <a:extLst>
                <a:ext uri="{FF2B5EF4-FFF2-40B4-BE49-F238E27FC236}">
                  <a16:creationId xmlns:a16="http://schemas.microsoft.com/office/drawing/2014/main" id="{B291E06A-AC6C-458E-9720-F4ACA5C91108}"/>
                </a:ext>
              </a:extLst>
            </p:cNvPr>
            <p:cNvSpPr/>
            <p:nvPr/>
          </p:nvSpPr>
          <p:spPr>
            <a:xfrm>
              <a:off x="8592015" y="318922"/>
              <a:ext cx="341920" cy="341920"/>
            </a:xfrm>
            <a:custGeom>
              <a:avLst/>
              <a:gdLst>
                <a:gd name="connsiteX0" fmla="*/ 341920 w 341920"/>
                <a:gd name="connsiteY0" fmla="*/ 170960 h 341920"/>
                <a:gd name="connsiteX1" fmla="*/ 170960 w 341920"/>
                <a:gd name="connsiteY1" fmla="*/ 341920 h 341920"/>
                <a:gd name="connsiteX2" fmla="*/ 0 w 341920"/>
                <a:gd name="connsiteY2" fmla="*/ 170960 h 341920"/>
                <a:gd name="connsiteX3" fmla="*/ 170960 w 341920"/>
                <a:gd name="connsiteY3" fmla="*/ 0 h 341920"/>
                <a:gd name="connsiteX4" fmla="*/ 341920 w 341920"/>
                <a:gd name="connsiteY4" fmla="*/ 170960 h 34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1920" h="341920">
                  <a:moveTo>
                    <a:pt x="341920" y="170960"/>
                  </a:moveTo>
                  <a:cubicBezTo>
                    <a:pt x="341920" y="265379"/>
                    <a:pt x="265379" y="341920"/>
                    <a:pt x="170960" y="341920"/>
                  </a:cubicBezTo>
                  <a:cubicBezTo>
                    <a:pt x="76541" y="341920"/>
                    <a:pt x="0" y="265379"/>
                    <a:pt x="0" y="170960"/>
                  </a:cubicBezTo>
                  <a:cubicBezTo>
                    <a:pt x="0" y="76541"/>
                    <a:pt x="76541" y="0"/>
                    <a:pt x="170960" y="0"/>
                  </a:cubicBezTo>
                  <a:cubicBezTo>
                    <a:pt x="265379" y="0"/>
                    <a:pt x="341920" y="76541"/>
                    <a:pt x="341920" y="17096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163">
              <a:extLst>
                <a:ext uri="{FF2B5EF4-FFF2-40B4-BE49-F238E27FC236}">
                  <a16:creationId xmlns:a16="http://schemas.microsoft.com/office/drawing/2014/main" id="{48C9C058-E527-42EF-B18F-880607EC6F42}"/>
                </a:ext>
              </a:extLst>
            </p:cNvPr>
            <p:cNvSpPr/>
            <p:nvPr/>
          </p:nvSpPr>
          <p:spPr>
            <a:xfrm>
              <a:off x="8460243" y="187150"/>
              <a:ext cx="605463" cy="605463"/>
            </a:xfrm>
            <a:custGeom>
              <a:avLst/>
              <a:gdLst>
                <a:gd name="connsiteX0" fmla="*/ 302422 w 605463"/>
                <a:gd name="connsiteY0" fmla="*/ -240 h 605463"/>
                <a:gd name="connsiteX1" fmla="*/ 273031 w 605463"/>
                <a:gd name="connsiteY1" fmla="*/ 29151 h 605463"/>
                <a:gd name="connsiteX2" fmla="*/ 273031 w 605463"/>
                <a:gd name="connsiteY2" fmla="*/ 72847 h 605463"/>
                <a:gd name="connsiteX3" fmla="*/ 302422 w 605463"/>
                <a:gd name="connsiteY3" fmla="*/ 102238 h 605463"/>
                <a:gd name="connsiteX4" fmla="*/ 331813 w 605463"/>
                <a:gd name="connsiteY4" fmla="*/ 72847 h 605463"/>
                <a:gd name="connsiteX5" fmla="*/ 331813 w 605463"/>
                <a:gd name="connsiteY5" fmla="*/ 29151 h 605463"/>
                <a:gd name="connsiteX6" fmla="*/ 302422 w 605463"/>
                <a:gd name="connsiteY6" fmla="*/ -240 h 605463"/>
                <a:gd name="connsiteX7" fmla="*/ 302422 w 605463"/>
                <a:gd name="connsiteY7" fmla="*/ 502745 h 605463"/>
                <a:gd name="connsiteX8" fmla="*/ 273031 w 605463"/>
                <a:gd name="connsiteY8" fmla="*/ 532137 h 605463"/>
                <a:gd name="connsiteX9" fmla="*/ 273031 w 605463"/>
                <a:gd name="connsiteY9" fmla="*/ 575832 h 605463"/>
                <a:gd name="connsiteX10" fmla="*/ 302422 w 605463"/>
                <a:gd name="connsiteY10" fmla="*/ 605223 h 605463"/>
                <a:gd name="connsiteX11" fmla="*/ 331813 w 605463"/>
                <a:gd name="connsiteY11" fmla="*/ 575832 h 605463"/>
                <a:gd name="connsiteX12" fmla="*/ 331813 w 605463"/>
                <a:gd name="connsiteY12" fmla="*/ 532137 h 605463"/>
                <a:gd name="connsiteX13" fmla="*/ 302422 w 605463"/>
                <a:gd name="connsiteY13" fmla="*/ 502745 h 605463"/>
                <a:gd name="connsiteX14" fmla="*/ 102169 w 605463"/>
                <a:gd name="connsiteY14" fmla="*/ 302492 h 605463"/>
                <a:gd name="connsiteX15" fmla="*/ 72778 w 605463"/>
                <a:gd name="connsiteY15" fmla="*/ 273100 h 605463"/>
                <a:gd name="connsiteX16" fmla="*/ 29081 w 605463"/>
                <a:gd name="connsiteY16" fmla="*/ 273100 h 605463"/>
                <a:gd name="connsiteX17" fmla="*/ -310 w 605463"/>
                <a:gd name="connsiteY17" fmla="*/ 302492 h 605463"/>
                <a:gd name="connsiteX18" fmla="*/ 29081 w 605463"/>
                <a:gd name="connsiteY18" fmla="*/ 331883 h 605463"/>
                <a:gd name="connsiteX19" fmla="*/ 72778 w 605463"/>
                <a:gd name="connsiteY19" fmla="*/ 331883 h 605463"/>
                <a:gd name="connsiteX20" fmla="*/ 102169 w 605463"/>
                <a:gd name="connsiteY20" fmla="*/ 302492 h 605463"/>
                <a:gd name="connsiteX21" fmla="*/ 575763 w 605463"/>
                <a:gd name="connsiteY21" fmla="*/ 273100 h 605463"/>
                <a:gd name="connsiteX22" fmla="*/ 532066 w 605463"/>
                <a:gd name="connsiteY22" fmla="*/ 273100 h 605463"/>
                <a:gd name="connsiteX23" fmla="*/ 502675 w 605463"/>
                <a:gd name="connsiteY23" fmla="*/ 302492 h 605463"/>
                <a:gd name="connsiteX24" fmla="*/ 532066 w 605463"/>
                <a:gd name="connsiteY24" fmla="*/ 331883 h 605463"/>
                <a:gd name="connsiteX25" fmla="*/ 575763 w 605463"/>
                <a:gd name="connsiteY25" fmla="*/ 331883 h 605463"/>
                <a:gd name="connsiteX26" fmla="*/ 605154 w 605463"/>
                <a:gd name="connsiteY26" fmla="*/ 302492 h 605463"/>
                <a:gd name="connsiteX27" fmla="*/ 575763 w 605463"/>
                <a:gd name="connsiteY27" fmla="*/ 273100 h 605463"/>
                <a:gd name="connsiteX28" fmla="*/ 129894 w 605463"/>
                <a:gd name="connsiteY28" fmla="*/ 88424 h 605463"/>
                <a:gd name="connsiteX29" fmla="*/ 88355 w 605463"/>
                <a:gd name="connsiteY29" fmla="*/ 86955 h 605463"/>
                <a:gd name="connsiteX30" fmla="*/ 86885 w 605463"/>
                <a:gd name="connsiteY30" fmla="*/ 128494 h 605463"/>
                <a:gd name="connsiteX31" fmla="*/ 88355 w 605463"/>
                <a:gd name="connsiteY31" fmla="*/ 129964 h 605463"/>
                <a:gd name="connsiteX32" fmla="*/ 119216 w 605463"/>
                <a:gd name="connsiteY32" fmla="*/ 160923 h 605463"/>
                <a:gd name="connsiteX33" fmla="*/ 160854 w 605463"/>
                <a:gd name="connsiteY33" fmla="*/ 160923 h 605463"/>
                <a:gd name="connsiteX34" fmla="*/ 160854 w 605463"/>
                <a:gd name="connsiteY34" fmla="*/ 119285 h 605463"/>
                <a:gd name="connsiteX35" fmla="*/ 485628 w 605463"/>
                <a:gd name="connsiteY35" fmla="*/ 444061 h 605463"/>
                <a:gd name="connsiteX36" fmla="*/ 443990 w 605463"/>
                <a:gd name="connsiteY36" fmla="*/ 444061 h 605463"/>
                <a:gd name="connsiteX37" fmla="*/ 443990 w 605463"/>
                <a:gd name="connsiteY37" fmla="*/ 485698 h 605463"/>
                <a:gd name="connsiteX38" fmla="*/ 474950 w 605463"/>
                <a:gd name="connsiteY38" fmla="*/ 516559 h 605463"/>
                <a:gd name="connsiteX39" fmla="*/ 516489 w 605463"/>
                <a:gd name="connsiteY39" fmla="*/ 516559 h 605463"/>
                <a:gd name="connsiteX40" fmla="*/ 516489 w 605463"/>
                <a:gd name="connsiteY40" fmla="*/ 475019 h 605463"/>
                <a:gd name="connsiteX41" fmla="*/ 119216 w 605463"/>
                <a:gd name="connsiteY41" fmla="*/ 444061 h 605463"/>
                <a:gd name="connsiteX42" fmla="*/ 88355 w 605463"/>
                <a:gd name="connsiteY42" fmla="*/ 475019 h 605463"/>
                <a:gd name="connsiteX43" fmla="*/ 88355 w 605463"/>
                <a:gd name="connsiteY43" fmla="*/ 516589 h 605463"/>
                <a:gd name="connsiteX44" fmla="*/ 109125 w 605463"/>
                <a:gd name="connsiteY44" fmla="*/ 525181 h 605463"/>
                <a:gd name="connsiteX45" fmla="*/ 129894 w 605463"/>
                <a:gd name="connsiteY45" fmla="*/ 516559 h 605463"/>
                <a:gd name="connsiteX46" fmla="*/ 160854 w 605463"/>
                <a:gd name="connsiteY46" fmla="*/ 485698 h 605463"/>
                <a:gd name="connsiteX47" fmla="*/ 160854 w 605463"/>
                <a:gd name="connsiteY47" fmla="*/ 444061 h 605463"/>
                <a:gd name="connsiteX48" fmla="*/ 119216 w 605463"/>
                <a:gd name="connsiteY48" fmla="*/ 444061 h 605463"/>
                <a:gd name="connsiteX49" fmla="*/ 464858 w 605463"/>
                <a:gd name="connsiteY49" fmla="*/ 169740 h 605463"/>
                <a:gd name="connsiteX50" fmla="*/ 485628 w 605463"/>
                <a:gd name="connsiteY50" fmla="*/ 161217 h 605463"/>
                <a:gd name="connsiteX51" fmla="*/ 516489 w 605463"/>
                <a:gd name="connsiteY51" fmla="*/ 130258 h 605463"/>
                <a:gd name="connsiteX52" fmla="*/ 517959 w 605463"/>
                <a:gd name="connsiteY52" fmla="*/ 88718 h 605463"/>
                <a:gd name="connsiteX53" fmla="*/ 476419 w 605463"/>
                <a:gd name="connsiteY53" fmla="*/ 87248 h 605463"/>
                <a:gd name="connsiteX54" fmla="*/ 474950 w 605463"/>
                <a:gd name="connsiteY54" fmla="*/ 88718 h 605463"/>
                <a:gd name="connsiteX55" fmla="*/ 443990 w 605463"/>
                <a:gd name="connsiteY55" fmla="*/ 119579 h 605463"/>
                <a:gd name="connsiteX56" fmla="*/ 443990 w 605463"/>
                <a:gd name="connsiteY56" fmla="*/ 161148 h 605463"/>
                <a:gd name="connsiteX57" fmla="*/ 464858 w 605463"/>
                <a:gd name="connsiteY57" fmla="*/ 169740 h 60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5463" h="605463">
                  <a:moveTo>
                    <a:pt x="302422" y="-240"/>
                  </a:moveTo>
                  <a:cubicBezTo>
                    <a:pt x="286158" y="-240"/>
                    <a:pt x="273031" y="12917"/>
                    <a:pt x="273031" y="29151"/>
                  </a:cubicBezTo>
                  <a:lnTo>
                    <a:pt x="273031" y="72847"/>
                  </a:lnTo>
                  <a:cubicBezTo>
                    <a:pt x="273031" y="89081"/>
                    <a:pt x="286158" y="102238"/>
                    <a:pt x="302422" y="102238"/>
                  </a:cubicBezTo>
                  <a:cubicBezTo>
                    <a:pt x="318686" y="102238"/>
                    <a:pt x="331813" y="89081"/>
                    <a:pt x="331813" y="72847"/>
                  </a:cubicBezTo>
                  <a:lnTo>
                    <a:pt x="331813" y="29151"/>
                  </a:lnTo>
                  <a:cubicBezTo>
                    <a:pt x="331813" y="12917"/>
                    <a:pt x="318686" y="-240"/>
                    <a:pt x="302422" y="-240"/>
                  </a:cubicBezTo>
                  <a:close/>
                  <a:moveTo>
                    <a:pt x="302422" y="502745"/>
                  </a:moveTo>
                  <a:cubicBezTo>
                    <a:pt x="286158" y="502745"/>
                    <a:pt x="273031" y="515903"/>
                    <a:pt x="273031" y="532137"/>
                  </a:cubicBezTo>
                  <a:lnTo>
                    <a:pt x="273031" y="575832"/>
                  </a:lnTo>
                  <a:cubicBezTo>
                    <a:pt x="273031" y="592066"/>
                    <a:pt x="286158" y="605223"/>
                    <a:pt x="302422" y="605223"/>
                  </a:cubicBezTo>
                  <a:cubicBezTo>
                    <a:pt x="318686" y="605223"/>
                    <a:pt x="331813" y="592066"/>
                    <a:pt x="331813" y="575832"/>
                  </a:cubicBezTo>
                  <a:lnTo>
                    <a:pt x="331813" y="532137"/>
                  </a:lnTo>
                  <a:cubicBezTo>
                    <a:pt x="331813" y="515903"/>
                    <a:pt x="318686" y="502745"/>
                    <a:pt x="302422" y="502745"/>
                  </a:cubicBezTo>
                  <a:close/>
                  <a:moveTo>
                    <a:pt x="102169" y="302492"/>
                  </a:moveTo>
                  <a:cubicBezTo>
                    <a:pt x="102169" y="286258"/>
                    <a:pt x="89040" y="273100"/>
                    <a:pt x="72778" y="273100"/>
                  </a:cubicBezTo>
                  <a:lnTo>
                    <a:pt x="29081" y="273100"/>
                  </a:lnTo>
                  <a:cubicBezTo>
                    <a:pt x="12818" y="273100"/>
                    <a:pt x="-310" y="286258"/>
                    <a:pt x="-310" y="302492"/>
                  </a:cubicBezTo>
                  <a:cubicBezTo>
                    <a:pt x="-310" y="318726"/>
                    <a:pt x="12818" y="331883"/>
                    <a:pt x="29081" y="331883"/>
                  </a:cubicBezTo>
                  <a:lnTo>
                    <a:pt x="72778" y="331883"/>
                  </a:lnTo>
                  <a:cubicBezTo>
                    <a:pt x="89040" y="331883"/>
                    <a:pt x="102169" y="318726"/>
                    <a:pt x="102169" y="302492"/>
                  </a:cubicBezTo>
                  <a:close/>
                  <a:moveTo>
                    <a:pt x="575763" y="273100"/>
                  </a:moveTo>
                  <a:lnTo>
                    <a:pt x="532066" y="273100"/>
                  </a:lnTo>
                  <a:cubicBezTo>
                    <a:pt x="515804" y="273100"/>
                    <a:pt x="502675" y="286258"/>
                    <a:pt x="502675" y="302492"/>
                  </a:cubicBezTo>
                  <a:cubicBezTo>
                    <a:pt x="502675" y="318726"/>
                    <a:pt x="515804" y="331883"/>
                    <a:pt x="532066" y="331883"/>
                  </a:cubicBezTo>
                  <a:lnTo>
                    <a:pt x="575763" y="331883"/>
                  </a:lnTo>
                  <a:cubicBezTo>
                    <a:pt x="592026" y="331883"/>
                    <a:pt x="605154" y="318726"/>
                    <a:pt x="605154" y="302492"/>
                  </a:cubicBezTo>
                  <a:cubicBezTo>
                    <a:pt x="605154" y="286258"/>
                    <a:pt x="592026" y="273100"/>
                    <a:pt x="575763" y="273100"/>
                  </a:cubicBezTo>
                  <a:close/>
                  <a:moveTo>
                    <a:pt x="129894" y="88424"/>
                  </a:moveTo>
                  <a:cubicBezTo>
                    <a:pt x="118824" y="76550"/>
                    <a:pt x="100209" y="75894"/>
                    <a:pt x="88355" y="86955"/>
                  </a:cubicBezTo>
                  <a:cubicBezTo>
                    <a:pt x="76499" y="98025"/>
                    <a:pt x="75814" y="116620"/>
                    <a:pt x="86885" y="128494"/>
                  </a:cubicBezTo>
                  <a:cubicBezTo>
                    <a:pt x="87375" y="129004"/>
                    <a:pt x="87864" y="129494"/>
                    <a:pt x="88355" y="129964"/>
                  </a:cubicBezTo>
                  <a:lnTo>
                    <a:pt x="119216" y="160923"/>
                  </a:lnTo>
                  <a:cubicBezTo>
                    <a:pt x="130678" y="172425"/>
                    <a:pt x="149391" y="172425"/>
                    <a:pt x="160854" y="160923"/>
                  </a:cubicBezTo>
                  <a:cubicBezTo>
                    <a:pt x="172316" y="149421"/>
                    <a:pt x="172316" y="130787"/>
                    <a:pt x="160854" y="119285"/>
                  </a:cubicBezTo>
                  <a:close/>
                  <a:moveTo>
                    <a:pt x="485628" y="444061"/>
                  </a:moveTo>
                  <a:cubicBezTo>
                    <a:pt x="474166" y="432559"/>
                    <a:pt x="455453" y="432559"/>
                    <a:pt x="443990" y="444061"/>
                  </a:cubicBezTo>
                  <a:cubicBezTo>
                    <a:pt x="432528" y="455562"/>
                    <a:pt x="432528" y="474196"/>
                    <a:pt x="443990" y="485698"/>
                  </a:cubicBezTo>
                  <a:lnTo>
                    <a:pt x="474950" y="516559"/>
                  </a:lnTo>
                  <a:cubicBezTo>
                    <a:pt x="486413" y="528022"/>
                    <a:pt x="505027" y="528022"/>
                    <a:pt x="516489" y="516559"/>
                  </a:cubicBezTo>
                  <a:cubicBezTo>
                    <a:pt x="527952" y="505087"/>
                    <a:pt x="527952" y="486492"/>
                    <a:pt x="516489" y="475019"/>
                  </a:cubicBezTo>
                  <a:close/>
                  <a:moveTo>
                    <a:pt x="119216" y="444061"/>
                  </a:moveTo>
                  <a:lnTo>
                    <a:pt x="88355" y="475019"/>
                  </a:lnTo>
                  <a:cubicBezTo>
                    <a:pt x="76892" y="486502"/>
                    <a:pt x="76892" y="505116"/>
                    <a:pt x="88355" y="516589"/>
                  </a:cubicBezTo>
                  <a:cubicBezTo>
                    <a:pt x="93840" y="522085"/>
                    <a:pt x="101384" y="525171"/>
                    <a:pt x="109125" y="525181"/>
                  </a:cubicBezTo>
                  <a:cubicBezTo>
                    <a:pt x="116962" y="525171"/>
                    <a:pt x="124407" y="522075"/>
                    <a:pt x="129894" y="516559"/>
                  </a:cubicBezTo>
                  <a:lnTo>
                    <a:pt x="160854" y="485698"/>
                  </a:lnTo>
                  <a:cubicBezTo>
                    <a:pt x="172316" y="474196"/>
                    <a:pt x="172316" y="455562"/>
                    <a:pt x="160854" y="444061"/>
                  </a:cubicBezTo>
                  <a:cubicBezTo>
                    <a:pt x="149391" y="432559"/>
                    <a:pt x="130678" y="432559"/>
                    <a:pt x="119216" y="444061"/>
                  </a:cubicBezTo>
                  <a:close/>
                  <a:moveTo>
                    <a:pt x="464858" y="169740"/>
                  </a:moveTo>
                  <a:cubicBezTo>
                    <a:pt x="472598" y="169760"/>
                    <a:pt x="480142" y="166694"/>
                    <a:pt x="485628" y="161217"/>
                  </a:cubicBezTo>
                  <a:lnTo>
                    <a:pt x="516489" y="130258"/>
                  </a:lnTo>
                  <a:cubicBezTo>
                    <a:pt x="528345" y="119187"/>
                    <a:pt x="529030" y="100592"/>
                    <a:pt x="517959" y="88718"/>
                  </a:cubicBezTo>
                  <a:cubicBezTo>
                    <a:pt x="506888" y="76844"/>
                    <a:pt x="488273" y="76187"/>
                    <a:pt x="476419" y="87248"/>
                  </a:cubicBezTo>
                  <a:cubicBezTo>
                    <a:pt x="475929" y="87719"/>
                    <a:pt x="475440" y="88208"/>
                    <a:pt x="474950" y="88718"/>
                  </a:cubicBezTo>
                  <a:lnTo>
                    <a:pt x="443990" y="119579"/>
                  </a:lnTo>
                  <a:cubicBezTo>
                    <a:pt x="432528" y="131061"/>
                    <a:pt x="432528" y="149676"/>
                    <a:pt x="443990" y="161148"/>
                  </a:cubicBezTo>
                  <a:cubicBezTo>
                    <a:pt x="449575" y="166664"/>
                    <a:pt x="457021" y="169760"/>
                    <a:pt x="464858" y="1697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9" name="Группа 168">
            <a:extLst>
              <a:ext uri="{FF2B5EF4-FFF2-40B4-BE49-F238E27FC236}">
                <a16:creationId xmlns:a16="http://schemas.microsoft.com/office/drawing/2014/main" id="{07BCE63D-03FD-404E-9458-F8E3EFBBCFBD}"/>
              </a:ext>
            </a:extLst>
          </p:cNvPr>
          <p:cNvGrpSpPr/>
          <p:nvPr userDrawn="1"/>
        </p:nvGrpSpPr>
        <p:grpSpPr>
          <a:xfrm>
            <a:off x="8273118" y="979739"/>
            <a:ext cx="979714" cy="979714"/>
            <a:chOff x="8273118" y="979739"/>
            <a:chExt cx="979714" cy="979714"/>
          </a:xfrm>
        </p:grpSpPr>
        <p:sp>
          <p:nvSpPr>
            <p:cNvPr id="170" name="Полилиния: фигура 24">
              <a:extLst>
                <a:ext uri="{FF2B5EF4-FFF2-40B4-BE49-F238E27FC236}">
                  <a16:creationId xmlns:a16="http://schemas.microsoft.com/office/drawing/2014/main" id="{D20A8817-F84F-4F82-8619-04118A25FC56}"/>
                </a:ext>
              </a:extLst>
            </p:cNvPr>
            <p:cNvSpPr/>
            <p:nvPr/>
          </p:nvSpPr>
          <p:spPr>
            <a:xfrm rot="5400000">
              <a:off x="827311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Полилиния: фигура 179">
              <a:extLst>
                <a:ext uri="{FF2B5EF4-FFF2-40B4-BE49-F238E27FC236}">
                  <a16:creationId xmlns:a16="http://schemas.microsoft.com/office/drawing/2014/main" id="{4DADD3D2-3D81-45E8-BF16-CC3DA7AD836A}"/>
                </a:ext>
              </a:extLst>
            </p:cNvPr>
            <p:cNvSpPr/>
            <p:nvPr/>
          </p:nvSpPr>
          <p:spPr>
            <a:xfrm>
              <a:off x="8885440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4D4D4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Полилиния: фигура 180">
              <a:extLst>
                <a:ext uri="{FF2B5EF4-FFF2-40B4-BE49-F238E27FC236}">
                  <a16:creationId xmlns:a16="http://schemas.microsoft.com/office/drawing/2014/main" id="{0B0C6158-75B5-4E61-86B5-931764D3A3B7}"/>
                </a:ext>
              </a:extLst>
            </p:cNvPr>
            <p:cNvSpPr/>
            <p:nvPr/>
          </p:nvSpPr>
          <p:spPr>
            <a:xfrm>
              <a:off x="8395583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4D4D4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Полилиния: фигура 181">
              <a:extLst>
                <a:ext uri="{FF2B5EF4-FFF2-40B4-BE49-F238E27FC236}">
                  <a16:creationId xmlns:a16="http://schemas.microsoft.com/office/drawing/2014/main" id="{588FE40D-77A4-4D0F-9A4F-D642160E108C}"/>
                </a:ext>
              </a:extLst>
            </p:cNvPr>
            <p:cNvSpPr/>
            <p:nvPr/>
          </p:nvSpPr>
          <p:spPr>
            <a:xfrm>
              <a:off x="8885440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Полилиния: фигура 182">
              <a:extLst>
                <a:ext uri="{FF2B5EF4-FFF2-40B4-BE49-F238E27FC236}">
                  <a16:creationId xmlns:a16="http://schemas.microsoft.com/office/drawing/2014/main" id="{B100302D-F757-4DC0-8A83-E88A98835871}"/>
                </a:ext>
              </a:extLst>
            </p:cNvPr>
            <p:cNvSpPr/>
            <p:nvPr/>
          </p:nvSpPr>
          <p:spPr>
            <a:xfrm>
              <a:off x="8640511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4D4D4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Полилиния: фигура 183">
              <a:extLst>
                <a:ext uri="{FF2B5EF4-FFF2-40B4-BE49-F238E27FC236}">
                  <a16:creationId xmlns:a16="http://schemas.microsoft.com/office/drawing/2014/main" id="{DC5B6DB2-0730-48A1-B6AE-29F41B8C871D}"/>
                </a:ext>
              </a:extLst>
            </p:cNvPr>
            <p:cNvSpPr/>
            <p:nvPr/>
          </p:nvSpPr>
          <p:spPr>
            <a:xfrm>
              <a:off x="8395583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6" name="Группа 175">
            <a:extLst>
              <a:ext uri="{FF2B5EF4-FFF2-40B4-BE49-F238E27FC236}">
                <a16:creationId xmlns:a16="http://schemas.microsoft.com/office/drawing/2014/main" id="{AD98B825-AF18-43B1-B0FF-F03309B1070B}"/>
              </a:ext>
            </a:extLst>
          </p:cNvPr>
          <p:cNvGrpSpPr/>
          <p:nvPr userDrawn="1"/>
        </p:nvGrpSpPr>
        <p:grpSpPr>
          <a:xfrm>
            <a:off x="11212261" y="0"/>
            <a:ext cx="979714" cy="979763"/>
            <a:chOff x="11212261" y="0"/>
            <a:chExt cx="979714" cy="979763"/>
          </a:xfrm>
        </p:grpSpPr>
        <p:sp>
          <p:nvSpPr>
            <p:cNvPr id="177" name="Полилиния: фигура 198">
              <a:extLst>
                <a:ext uri="{FF2B5EF4-FFF2-40B4-BE49-F238E27FC236}">
                  <a16:creationId xmlns:a16="http://schemas.microsoft.com/office/drawing/2014/main" id="{ECF8DDA7-F0CB-40E8-A032-F548960EDEC9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Полилиния: фигура 199">
              <a:extLst>
                <a:ext uri="{FF2B5EF4-FFF2-40B4-BE49-F238E27FC236}">
                  <a16:creationId xmlns:a16="http://schemas.microsoft.com/office/drawing/2014/main" id="{4BA92410-FB0B-40AA-95AB-2B4A2B7CC382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Полилиния: фигура 200">
              <a:extLst>
                <a:ext uri="{FF2B5EF4-FFF2-40B4-BE49-F238E27FC236}">
                  <a16:creationId xmlns:a16="http://schemas.microsoft.com/office/drawing/2014/main" id="{733293B6-26B3-485A-90DD-CAFC051C69BA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6" name="Группа 205">
            <a:extLst>
              <a:ext uri="{FF2B5EF4-FFF2-40B4-BE49-F238E27FC236}">
                <a16:creationId xmlns:a16="http://schemas.microsoft.com/office/drawing/2014/main" id="{4AA1D64C-CF37-4B2D-99A5-2E1F80762337}"/>
              </a:ext>
            </a:extLst>
          </p:cNvPr>
          <p:cNvGrpSpPr/>
          <p:nvPr userDrawn="1"/>
        </p:nvGrpSpPr>
        <p:grpSpPr>
          <a:xfrm>
            <a:off x="11199918" y="5871083"/>
            <a:ext cx="979714" cy="979714"/>
            <a:chOff x="10232547" y="25"/>
            <a:chExt cx="979714" cy="979714"/>
          </a:xfrm>
        </p:grpSpPr>
        <p:sp>
          <p:nvSpPr>
            <p:cNvPr id="207" name="Полилиния: фигура 14">
              <a:extLst>
                <a:ext uri="{FF2B5EF4-FFF2-40B4-BE49-F238E27FC236}">
                  <a16:creationId xmlns:a16="http://schemas.microsoft.com/office/drawing/2014/main" id="{3459CD28-4DA2-4516-8226-82ED9A7C52A6}"/>
                </a:ext>
              </a:extLst>
            </p:cNvPr>
            <p:cNvSpPr/>
            <p:nvPr/>
          </p:nvSpPr>
          <p:spPr>
            <a:xfrm rot="16200000">
              <a:off x="10232547" y="25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Полилиния: фигура 64">
              <a:extLst>
                <a:ext uri="{FF2B5EF4-FFF2-40B4-BE49-F238E27FC236}">
                  <a16:creationId xmlns:a16="http://schemas.microsoft.com/office/drawing/2014/main" id="{CDC5EC26-A53D-46A8-ACB5-50DA15A7A1E2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rgbClr val="4D4D4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Полилиния: фигура 65">
              <a:extLst>
                <a:ext uri="{FF2B5EF4-FFF2-40B4-BE49-F238E27FC236}">
                  <a16:creationId xmlns:a16="http://schemas.microsoft.com/office/drawing/2014/main" id="{F1946BA5-9A24-48D6-9405-492A4DB9E79B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Полилиния: фигура 66">
              <a:extLst>
                <a:ext uri="{FF2B5EF4-FFF2-40B4-BE49-F238E27FC236}">
                  <a16:creationId xmlns:a16="http://schemas.microsoft.com/office/drawing/2014/main" id="{8446FB5C-1877-4196-9B17-10C460241CA9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Полилиния: фигура 67">
              <a:extLst>
                <a:ext uri="{FF2B5EF4-FFF2-40B4-BE49-F238E27FC236}">
                  <a16:creationId xmlns:a16="http://schemas.microsoft.com/office/drawing/2014/main" id="{5938DBD3-1649-48AC-AAA0-D64EE1201C3F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56212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Титул с логоготипом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199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5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00446F5D-51EF-4CCB-A0AF-BDAB71A8F3B5}"/>
              </a:ext>
            </a:extLst>
          </p:cNvPr>
          <p:cNvSpPr/>
          <p:nvPr/>
        </p:nvSpPr>
        <p:spPr>
          <a:xfrm>
            <a:off x="9750424" y="-1"/>
            <a:ext cx="2441575" cy="3429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latin typeface="+mj-lt"/>
            </a:endParaRPr>
          </a:p>
        </p:txBody>
      </p:sp>
      <p:sp>
        <p:nvSpPr>
          <p:cNvPr id="133" name="Овал 10">
            <a:extLst>
              <a:ext uri="{FF2B5EF4-FFF2-40B4-BE49-F238E27FC236}">
                <a16:creationId xmlns:a16="http://schemas.microsoft.com/office/drawing/2014/main" id="{CBF4C74C-A227-43B1-B801-A987A45022A5}"/>
              </a:ext>
            </a:extLst>
          </p:cNvPr>
          <p:cNvSpPr/>
          <p:nvPr/>
        </p:nvSpPr>
        <p:spPr>
          <a:xfrm>
            <a:off x="6025451" y="5060469"/>
            <a:ext cx="5544331" cy="1805865"/>
          </a:xfrm>
          <a:custGeom>
            <a:avLst/>
            <a:gdLst>
              <a:gd name="connsiteX0" fmla="*/ 0 w 403249"/>
              <a:gd name="connsiteY0" fmla="*/ 259232 h 518463"/>
              <a:gd name="connsiteX1" fmla="*/ 201625 w 403249"/>
              <a:gd name="connsiteY1" fmla="*/ 0 h 518463"/>
              <a:gd name="connsiteX2" fmla="*/ 403250 w 403249"/>
              <a:gd name="connsiteY2" fmla="*/ 259232 h 518463"/>
              <a:gd name="connsiteX3" fmla="*/ 201625 w 403249"/>
              <a:gd name="connsiteY3" fmla="*/ 518464 h 518463"/>
              <a:gd name="connsiteX4" fmla="*/ 0 w 403249"/>
              <a:gd name="connsiteY4" fmla="*/ 259232 h 518463"/>
              <a:gd name="connsiteX0" fmla="*/ 0 w 403250"/>
              <a:gd name="connsiteY0" fmla="*/ 259232 h 518464"/>
              <a:gd name="connsiteX1" fmla="*/ 201625 w 403250"/>
              <a:gd name="connsiteY1" fmla="*/ 0 h 518464"/>
              <a:gd name="connsiteX2" fmla="*/ 403250 w 403250"/>
              <a:gd name="connsiteY2" fmla="*/ 259232 h 518464"/>
              <a:gd name="connsiteX3" fmla="*/ 201625 w 403250"/>
              <a:gd name="connsiteY3" fmla="*/ 518464 h 518464"/>
              <a:gd name="connsiteX4" fmla="*/ 0 w 403250"/>
              <a:gd name="connsiteY4" fmla="*/ 259232 h 518464"/>
              <a:gd name="connsiteX0" fmla="*/ 0 w 403250"/>
              <a:gd name="connsiteY0" fmla="*/ 259232 h 518464"/>
              <a:gd name="connsiteX1" fmla="*/ 201625 w 403250"/>
              <a:gd name="connsiteY1" fmla="*/ 0 h 518464"/>
              <a:gd name="connsiteX2" fmla="*/ 403250 w 403250"/>
              <a:gd name="connsiteY2" fmla="*/ 259232 h 518464"/>
              <a:gd name="connsiteX3" fmla="*/ 201625 w 403250"/>
              <a:gd name="connsiteY3" fmla="*/ 518464 h 518464"/>
              <a:gd name="connsiteX4" fmla="*/ 0 w 403250"/>
              <a:gd name="connsiteY4" fmla="*/ 259232 h 518464"/>
              <a:gd name="connsiteX0" fmla="*/ 35892 w 970905"/>
              <a:gd name="connsiteY0" fmla="*/ 189914 h 3725846"/>
              <a:gd name="connsiteX1" fmla="*/ 957708 w 970905"/>
              <a:gd name="connsiteY1" fmla="*/ 3725846 h 3725846"/>
              <a:gd name="connsiteX2" fmla="*/ 439142 w 970905"/>
              <a:gd name="connsiteY2" fmla="*/ 189914 h 3725846"/>
              <a:gd name="connsiteX3" fmla="*/ 237517 w 970905"/>
              <a:gd name="connsiteY3" fmla="*/ 449146 h 3725846"/>
              <a:gd name="connsiteX4" fmla="*/ 35892 w 970905"/>
              <a:gd name="connsiteY4" fmla="*/ 189914 h 3725846"/>
              <a:gd name="connsiteX0" fmla="*/ 145940 w 3373310"/>
              <a:gd name="connsiteY0" fmla="*/ 309422 h 3845354"/>
              <a:gd name="connsiteX1" fmla="*/ 1067756 w 3373310"/>
              <a:gd name="connsiteY1" fmla="*/ 3845354 h 3845354"/>
              <a:gd name="connsiteX2" fmla="*/ 3373310 w 3373310"/>
              <a:gd name="connsiteY2" fmla="*/ 3740445 h 3845354"/>
              <a:gd name="connsiteX3" fmla="*/ 347565 w 3373310"/>
              <a:gd name="connsiteY3" fmla="*/ 568654 h 3845354"/>
              <a:gd name="connsiteX4" fmla="*/ 145940 w 3373310"/>
              <a:gd name="connsiteY4" fmla="*/ 309422 h 3845354"/>
              <a:gd name="connsiteX0" fmla="*/ 1930604 w 3037860"/>
              <a:gd name="connsiteY0" fmla="*/ 4615596 h 4715382"/>
              <a:gd name="connsiteX1" fmla="*/ 732306 w 3037860"/>
              <a:gd name="connsiteY1" fmla="*/ 3288215 h 4715382"/>
              <a:gd name="connsiteX2" fmla="*/ 3037860 w 3037860"/>
              <a:gd name="connsiteY2" fmla="*/ 3183306 h 4715382"/>
              <a:gd name="connsiteX3" fmla="*/ 12115 w 3037860"/>
              <a:gd name="connsiteY3" fmla="*/ 11515 h 4715382"/>
              <a:gd name="connsiteX4" fmla="*/ 1930604 w 3037860"/>
              <a:gd name="connsiteY4" fmla="*/ 4615596 h 4715382"/>
              <a:gd name="connsiteX0" fmla="*/ 1215414 w 5268623"/>
              <a:gd name="connsiteY0" fmla="*/ 1476792 h 1640357"/>
              <a:gd name="connsiteX1" fmla="*/ 17116 w 5268623"/>
              <a:gd name="connsiteY1" fmla="*/ 149411 h 1640357"/>
              <a:gd name="connsiteX2" fmla="*/ 2322670 w 5268623"/>
              <a:gd name="connsiteY2" fmla="*/ 44502 h 1640357"/>
              <a:gd name="connsiteX3" fmla="*/ 5260755 w 5268623"/>
              <a:gd name="connsiteY3" fmla="*/ 1460895 h 1640357"/>
              <a:gd name="connsiteX4" fmla="*/ 1215414 w 5268623"/>
              <a:gd name="connsiteY4" fmla="*/ 1476792 h 1640357"/>
              <a:gd name="connsiteX0" fmla="*/ 1215414 w 5268623"/>
              <a:gd name="connsiteY0" fmla="*/ 1476792 h 1476792"/>
              <a:gd name="connsiteX1" fmla="*/ 17116 w 5268623"/>
              <a:gd name="connsiteY1" fmla="*/ 149411 h 1476792"/>
              <a:gd name="connsiteX2" fmla="*/ 2322670 w 5268623"/>
              <a:gd name="connsiteY2" fmla="*/ 44502 h 1476792"/>
              <a:gd name="connsiteX3" fmla="*/ 5260755 w 5268623"/>
              <a:gd name="connsiteY3" fmla="*/ 1460895 h 1476792"/>
              <a:gd name="connsiteX4" fmla="*/ 1215414 w 5268623"/>
              <a:gd name="connsiteY4" fmla="*/ 1476792 h 1476792"/>
              <a:gd name="connsiteX0" fmla="*/ 1215414 w 5268623"/>
              <a:gd name="connsiteY0" fmla="*/ 1504913 h 1504913"/>
              <a:gd name="connsiteX1" fmla="*/ 17116 w 5268623"/>
              <a:gd name="connsiteY1" fmla="*/ 177532 h 1504913"/>
              <a:gd name="connsiteX2" fmla="*/ 2322670 w 5268623"/>
              <a:gd name="connsiteY2" fmla="*/ 72623 h 1504913"/>
              <a:gd name="connsiteX3" fmla="*/ 5260755 w 5268623"/>
              <a:gd name="connsiteY3" fmla="*/ 1489016 h 1504913"/>
              <a:gd name="connsiteX4" fmla="*/ 1215414 w 5268623"/>
              <a:gd name="connsiteY4" fmla="*/ 1504913 h 1504913"/>
              <a:gd name="connsiteX0" fmla="*/ 1219566 w 5272775"/>
              <a:gd name="connsiteY0" fmla="*/ 1504913 h 1504913"/>
              <a:gd name="connsiteX1" fmla="*/ 21268 w 5272775"/>
              <a:gd name="connsiteY1" fmla="*/ 177532 h 1504913"/>
              <a:gd name="connsiteX2" fmla="*/ 2326822 w 5272775"/>
              <a:gd name="connsiteY2" fmla="*/ 72623 h 1504913"/>
              <a:gd name="connsiteX3" fmla="*/ 5264907 w 5272775"/>
              <a:gd name="connsiteY3" fmla="*/ 1489016 h 1504913"/>
              <a:gd name="connsiteX4" fmla="*/ 1219566 w 5272775"/>
              <a:gd name="connsiteY4" fmla="*/ 1504913 h 1504913"/>
              <a:gd name="connsiteX0" fmla="*/ 1198298 w 5251507"/>
              <a:gd name="connsiteY0" fmla="*/ 1504913 h 1504913"/>
              <a:gd name="connsiteX1" fmla="*/ 0 w 5251507"/>
              <a:gd name="connsiteY1" fmla="*/ 177532 h 1504913"/>
              <a:gd name="connsiteX2" fmla="*/ 2305554 w 5251507"/>
              <a:gd name="connsiteY2" fmla="*/ 72623 h 1504913"/>
              <a:gd name="connsiteX3" fmla="*/ 5243639 w 5251507"/>
              <a:gd name="connsiteY3" fmla="*/ 1489016 h 1504913"/>
              <a:gd name="connsiteX4" fmla="*/ 1198298 w 5251507"/>
              <a:gd name="connsiteY4" fmla="*/ 1504913 h 1504913"/>
              <a:gd name="connsiteX0" fmla="*/ 1198298 w 5251507"/>
              <a:gd name="connsiteY0" fmla="*/ 1504913 h 1678290"/>
              <a:gd name="connsiteX1" fmla="*/ 0 w 5251507"/>
              <a:gd name="connsiteY1" fmla="*/ 177532 h 1678290"/>
              <a:gd name="connsiteX2" fmla="*/ 2305554 w 5251507"/>
              <a:gd name="connsiteY2" fmla="*/ 72623 h 1678290"/>
              <a:gd name="connsiteX3" fmla="*/ 5243639 w 5251507"/>
              <a:gd name="connsiteY3" fmla="*/ 1489016 h 1678290"/>
              <a:gd name="connsiteX4" fmla="*/ 1198298 w 5251507"/>
              <a:gd name="connsiteY4" fmla="*/ 1504913 h 1678290"/>
              <a:gd name="connsiteX0" fmla="*/ 1190206 w 5251617"/>
              <a:gd name="connsiteY0" fmla="*/ 1472545 h 1719471"/>
              <a:gd name="connsiteX1" fmla="*/ 0 w 5251617"/>
              <a:gd name="connsiteY1" fmla="*/ 177532 h 1719471"/>
              <a:gd name="connsiteX2" fmla="*/ 2305554 w 5251617"/>
              <a:gd name="connsiteY2" fmla="*/ 72623 h 1719471"/>
              <a:gd name="connsiteX3" fmla="*/ 5243639 w 5251617"/>
              <a:gd name="connsiteY3" fmla="*/ 1489016 h 1719471"/>
              <a:gd name="connsiteX4" fmla="*/ 1190206 w 5251617"/>
              <a:gd name="connsiteY4" fmla="*/ 1472545 h 1719471"/>
              <a:gd name="connsiteX0" fmla="*/ 1190206 w 5251617"/>
              <a:gd name="connsiteY0" fmla="*/ 1472545 h 1719471"/>
              <a:gd name="connsiteX1" fmla="*/ 0 w 5251617"/>
              <a:gd name="connsiteY1" fmla="*/ 177532 h 1719471"/>
              <a:gd name="connsiteX2" fmla="*/ 2305554 w 5251617"/>
              <a:gd name="connsiteY2" fmla="*/ 72623 h 1719471"/>
              <a:gd name="connsiteX3" fmla="*/ 5243639 w 5251617"/>
              <a:gd name="connsiteY3" fmla="*/ 1489016 h 1719471"/>
              <a:gd name="connsiteX4" fmla="*/ 1190206 w 5251617"/>
              <a:gd name="connsiteY4" fmla="*/ 1472545 h 1719471"/>
              <a:gd name="connsiteX0" fmla="*/ 1190206 w 5251617"/>
              <a:gd name="connsiteY0" fmla="*/ 1472545 h 1489016"/>
              <a:gd name="connsiteX1" fmla="*/ 0 w 5251617"/>
              <a:gd name="connsiteY1" fmla="*/ 177532 h 1489016"/>
              <a:gd name="connsiteX2" fmla="*/ 2305554 w 5251617"/>
              <a:gd name="connsiteY2" fmla="*/ 72623 h 1489016"/>
              <a:gd name="connsiteX3" fmla="*/ 5243639 w 5251617"/>
              <a:gd name="connsiteY3" fmla="*/ 1489016 h 1489016"/>
              <a:gd name="connsiteX4" fmla="*/ 1190206 w 5251617"/>
              <a:gd name="connsiteY4" fmla="*/ 1472545 h 1489016"/>
              <a:gd name="connsiteX0" fmla="*/ 1190206 w 5251617"/>
              <a:gd name="connsiteY0" fmla="*/ 1472545 h 1489016"/>
              <a:gd name="connsiteX1" fmla="*/ 0 w 5251617"/>
              <a:gd name="connsiteY1" fmla="*/ 177532 h 1489016"/>
              <a:gd name="connsiteX2" fmla="*/ 2305554 w 5251617"/>
              <a:gd name="connsiteY2" fmla="*/ 72623 h 1489016"/>
              <a:gd name="connsiteX3" fmla="*/ 5243639 w 5251617"/>
              <a:gd name="connsiteY3" fmla="*/ 1489016 h 1489016"/>
              <a:gd name="connsiteX4" fmla="*/ 1190206 w 5251617"/>
              <a:gd name="connsiteY4" fmla="*/ 1472545 h 1489016"/>
              <a:gd name="connsiteX0" fmla="*/ 1190206 w 5251617"/>
              <a:gd name="connsiteY0" fmla="*/ 1460284 h 1476755"/>
              <a:gd name="connsiteX1" fmla="*/ 0 w 5251617"/>
              <a:gd name="connsiteY1" fmla="*/ 165271 h 1476755"/>
              <a:gd name="connsiteX2" fmla="*/ 2305554 w 5251617"/>
              <a:gd name="connsiteY2" fmla="*/ 60362 h 1476755"/>
              <a:gd name="connsiteX3" fmla="*/ 5243639 w 5251617"/>
              <a:gd name="connsiteY3" fmla="*/ 1476755 h 1476755"/>
              <a:gd name="connsiteX4" fmla="*/ 1190206 w 5251617"/>
              <a:gd name="connsiteY4" fmla="*/ 1460284 h 1476755"/>
              <a:gd name="connsiteX0" fmla="*/ 1190206 w 5251617"/>
              <a:gd name="connsiteY0" fmla="*/ 1474542 h 1491013"/>
              <a:gd name="connsiteX1" fmla="*/ 0 w 5251617"/>
              <a:gd name="connsiteY1" fmla="*/ 179529 h 1491013"/>
              <a:gd name="connsiteX2" fmla="*/ 2305554 w 5251617"/>
              <a:gd name="connsiteY2" fmla="*/ 74620 h 1491013"/>
              <a:gd name="connsiteX3" fmla="*/ 5243639 w 5251617"/>
              <a:gd name="connsiteY3" fmla="*/ 1491013 h 1491013"/>
              <a:gd name="connsiteX4" fmla="*/ 1190206 w 5251617"/>
              <a:gd name="connsiteY4" fmla="*/ 1474542 h 1491013"/>
              <a:gd name="connsiteX0" fmla="*/ 1190206 w 5251617"/>
              <a:gd name="connsiteY0" fmla="*/ 1474542 h 1491013"/>
              <a:gd name="connsiteX1" fmla="*/ 0 w 5251617"/>
              <a:gd name="connsiteY1" fmla="*/ 179529 h 1491013"/>
              <a:gd name="connsiteX2" fmla="*/ 2305554 w 5251617"/>
              <a:gd name="connsiteY2" fmla="*/ 74620 h 1491013"/>
              <a:gd name="connsiteX3" fmla="*/ 5243639 w 5251617"/>
              <a:gd name="connsiteY3" fmla="*/ 1491013 h 1491013"/>
              <a:gd name="connsiteX4" fmla="*/ 1190206 w 5251617"/>
              <a:gd name="connsiteY4" fmla="*/ 1474542 h 1491013"/>
              <a:gd name="connsiteX0" fmla="*/ 1206390 w 5267801"/>
              <a:gd name="connsiteY0" fmla="*/ 1477014 h 1493485"/>
              <a:gd name="connsiteX1" fmla="*/ 0 w 5267801"/>
              <a:gd name="connsiteY1" fmla="*/ 173909 h 1493485"/>
              <a:gd name="connsiteX2" fmla="*/ 2321738 w 5267801"/>
              <a:gd name="connsiteY2" fmla="*/ 77092 h 1493485"/>
              <a:gd name="connsiteX3" fmla="*/ 5259823 w 5267801"/>
              <a:gd name="connsiteY3" fmla="*/ 1493485 h 1493485"/>
              <a:gd name="connsiteX4" fmla="*/ 1206390 w 5267801"/>
              <a:gd name="connsiteY4" fmla="*/ 1477014 h 1493485"/>
              <a:gd name="connsiteX0" fmla="*/ 1206390 w 5267801"/>
              <a:gd name="connsiteY0" fmla="*/ 1477014 h 1493485"/>
              <a:gd name="connsiteX1" fmla="*/ 0 w 5267801"/>
              <a:gd name="connsiteY1" fmla="*/ 173909 h 1493485"/>
              <a:gd name="connsiteX2" fmla="*/ 2321738 w 5267801"/>
              <a:gd name="connsiteY2" fmla="*/ 77092 h 1493485"/>
              <a:gd name="connsiteX3" fmla="*/ 5259823 w 5267801"/>
              <a:gd name="connsiteY3" fmla="*/ 1493485 h 1493485"/>
              <a:gd name="connsiteX4" fmla="*/ 1206390 w 5267801"/>
              <a:gd name="connsiteY4" fmla="*/ 1477014 h 1493485"/>
              <a:gd name="connsiteX0" fmla="*/ 1206390 w 5267801"/>
              <a:gd name="connsiteY0" fmla="*/ 1477014 h 1493485"/>
              <a:gd name="connsiteX1" fmla="*/ 0 w 5267801"/>
              <a:gd name="connsiteY1" fmla="*/ 173909 h 1493485"/>
              <a:gd name="connsiteX2" fmla="*/ 2321738 w 5267801"/>
              <a:gd name="connsiteY2" fmla="*/ 77092 h 1493485"/>
              <a:gd name="connsiteX3" fmla="*/ 5259823 w 5267801"/>
              <a:gd name="connsiteY3" fmla="*/ 1493485 h 1493485"/>
              <a:gd name="connsiteX4" fmla="*/ 1206390 w 5267801"/>
              <a:gd name="connsiteY4" fmla="*/ 1477014 h 1493485"/>
              <a:gd name="connsiteX0" fmla="*/ 1206390 w 5268064"/>
              <a:gd name="connsiteY0" fmla="*/ 1455841 h 1570657"/>
              <a:gd name="connsiteX1" fmla="*/ 0 w 5268064"/>
              <a:gd name="connsiteY1" fmla="*/ 152736 h 1570657"/>
              <a:gd name="connsiteX2" fmla="*/ 2337922 w 5268064"/>
              <a:gd name="connsiteY2" fmla="*/ 88287 h 1570657"/>
              <a:gd name="connsiteX3" fmla="*/ 5259823 w 5268064"/>
              <a:gd name="connsiteY3" fmla="*/ 1472312 h 1570657"/>
              <a:gd name="connsiteX4" fmla="*/ 1206390 w 5268064"/>
              <a:gd name="connsiteY4" fmla="*/ 1455841 h 1570657"/>
              <a:gd name="connsiteX0" fmla="*/ 1206390 w 5268064"/>
              <a:gd name="connsiteY0" fmla="*/ 1455841 h 1570657"/>
              <a:gd name="connsiteX1" fmla="*/ 0 w 5268064"/>
              <a:gd name="connsiteY1" fmla="*/ 152736 h 1570657"/>
              <a:gd name="connsiteX2" fmla="*/ 2337922 w 5268064"/>
              <a:gd name="connsiteY2" fmla="*/ 88287 h 1570657"/>
              <a:gd name="connsiteX3" fmla="*/ 5259823 w 5268064"/>
              <a:gd name="connsiteY3" fmla="*/ 1472312 h 1570657"/>
              <a:gd name="connsiteX4" fmla="*/ 1206390 w 5268064"/>
              <a:gd name="connsiteY4" fmla="*/ 1455841 h 1570657"/>
              <a:gd name="connsiteX0" fmla="*/ 1206390 w 5268064"/>
              <a:gd name="connsiteY0" fmla="*/ 1455841 h 1472312"/>
              <a:gd name="connsiteX1" fmla="*/ 0 w 5268064"/>
              <a:gd name="connsiteY1" fmla="*/ 152736 h 1472312"/>
              <a:gd name="connsiteX2" fmla="*/ 2337922 w 5268064"/>
              <a:gd name="connsiteY2" fmla="*/ 88287 h 1472312"/>
              <a:gd name="connsiteX3" fmla="*/ 5259823 w 5268064"/>
              <a:gd name="connsiteY3" fmla="*/ 1472312 h 1472312"/>
              <a:gd name="connsiteX4" fmla="*/ 1206390 w 5268064"/>
              <a:gd name="connsiteY4" fmla="*/ 1455841 h 1472312"/>
              <a:gd name="connsiteX0" fmla="*/ 1206390 w 5268254"/>
              <a:gd name="connsiteY0" fmla="*/ 1450899 h 1467370"/>
              <a:gd name="connsiteX1" fmla="*/ 0 w 5268254"/>
              <a:gd name="connsiteY1" fmla="*/ 147794 h 1467370"/>
              <a:gd name="connsiteX2" fmla="*/ 2410750 w 5268254"/>
              <a:gd name="connsiteY2" fmla="*/ 91437 h 1467370"/>
              <a:gd name="connsiteX3" fmla="*/ 5259823 w 5268254"/>
              <a:gd name="connsiteY3" fmla="*/ 1467370 h 1467370"/>
              <a:gd name="connsiteX4" fmla="*/ 1206390 w 5268254"/>
              <a:gd name="connsiteY4" fmla="*/ 1450899 h 1467370"/>
              <a:gd name="connsiteX0" fmla="*/ 1198298 w 5260162"/>
              <a:gd name="connsiteY0" fmla="*/ 1454197 h 1470668"/>
              <a:gd name="connsiteX1" fmla="*/ 0 w 5260162"/>
              <a:gd name="connsiteY1" fmla="*/ 143000 h 1470668"/>
              <a:gd name="connsiteX2" fmla="*/ 2402658 w 5260162"/>
              <a:gd name="connsiteY2" fmla="*/ 94735 h 1470668"/>
              <a:gd name="connsiteX3" fmla="*/ 5251731 w 5260162"/>
              <a:gd name="connsiteY3" fmla="*/ 1470668 h 1470668"/>
              <a:gd name="connsiteX4" fmla="*/ 1198298 w 5260162"/>
              <a:gd name="connsiteY4" fmla="*/ 1454197 h 1470668"/>
              <a:gd name="connsiteX0" fmla="*/ 1198298 w 5260162"/>
              <a:gd name="connsiteY0" fmla="*/ 1454197 h 1470668"/>
              <a:gd name="connsiteX1" fmla="*/ 0 w 5260162"/>
              <a:gd name="connsiteY1" fmla="*/ 143000 h 1470668"/>
              <a:gd name="connsiteX2" fmla="*/ 2402658 w 5260162"/>
              <a:gd name="connsiteY2" fmla="*/ 94735 h 1470668"/>
              <a:gd name="connsiteX3" fmla="*/ 5251731 w 5260162"/>
              <a:gd name="connsiteY3" fmla="*/ 1470668 h 1470668"/>
              <a:gd name="connsiteX4" fmla="*/ 1198298 w 5260162"/>
              <a:gd name="connsiteY4" fmla="*/ 1454197 h 1470668"/>
              <a:gd name="connsiteX0" fmla="*/ 1117377 w 5179241"/>
              <a:gd name="connsiteY0" fmla="*/ 1444744 h 1461215"/>
              <a:gd name="connsiteX1" fmla="*/ 0 w 5179241"/>
              <a:gd name="connsiteY1" fmla="*/ 157823 h 1461215"/>
              <a:gd name="connsiteX2" fmla="*/ 2321737 w 5179241"/>
              <a:gd name="connsiteY2" fmla="*/ 85282 h 1461215"/>
              <a:gd name="connsiteX3" fmla="*/ 5170810 w 5179241"/>
              <a:gd name="connsiteY3" fmla="*/ 1461215 h 1461215"/>
              <a:gd name="connsiteX4" fmla="*/ 1117377 w 5179241"/>
              <a:gd name="connsiteY4" fmla="*/ 1444744 h 1461215"/>
              <a:gd name="connsiteX0" fmla="*/ 1190206 w 5252070"/>
              <a:gd name="connsiteY0" fmla="*/ 1454197 h 1470668"/>
              <a:gd name="connsiteX1" fmla="*/ 0 w 5252070"/>
              <a:gd name="connsiteY1" fmla="*/ 143000 h 1470668"/>
              <a:gd name="connsiteX2" fmla="*/ 2394566 w 5252070"/>
              <a:gd name="connsiteY2" fmla="*/ 94735 h 1470668"/>
              <a:gd name="connsiteX3" fmla="*/ 5243639 w 5252070"/>
              <a:gd name="connsiteY3" fmla="*/ 1470668 h 1470668"/>
              <a:gd name="connsiteX4" fmla="*/ 1190206 w 5252070"/>
              <a:gd name="connsiteY4" fmla="*/ 1454197 h 1470668"/>
              <a:gd name="connsiteX0" fmla="*/ 1190206 w 5252070"/>
              <a:gd name="connsiteY0" fmla="*/ 1454197 h 1470668"/>
              <a:gd name="connsiteX1" fmla="*/ 0 w 5252070"/>
              <a:gd name="connsiteY1" fmla="*/ 143000 h 1470668"/>
              <a:gd name="connsiteX2" fmla="*/ 2394566 w 5252070"/>
              <a:gd name="connsiteY2" fmla="*/ 94735 h 1470668"/>
              <a:gd name="connsiteX3" fmla="*/ 5243639 w 5252070"/>
              <a:gd name="connsiteY3" fmla="*/ 1470668 h 1470668"/>
              <a:gd name="connsiteX4" fmla="*/ 1190206 w 5252070"/>
              <a:gd name="connsiteY4" fmla="*/ 1454197 h 1470668"/>
              <a:gd name="connsiteX0" fmla="*/ 1190206 w 5243639"/>
              <a:gd name="connsiteY0" fmla="*/ 1454197 h 1470668"/>
              <a:gd name="connsiteX1" fmla="*/ 0 w 5243639"/>
              <a:gd name="connsiteY1" fmla="*/ 143000 h 1470668"/>
              <a:gd name="connsiteX2" fmla="*/ 2394566 w 5243639"/>
              <a:gd name="connsiteY2" fmla="*/ 94735 h 1470668"/>
              <a:gd name="connsiteX3" fmla="*/ 5243639 w 5243639"/>
              <a:gd name="connsiteY3" fmla="*/ 1470668 h 1470668"/>
              <a:gd name="connsiteX4" fmla="*/ 1190206 w 5243639"/>
              <a:gd name="connsiteY4" fmla="*/ 1454197 h 1470668"/>
              <a:gd name="connsiteX0" fmla="*/ 1190206 w 5243639"/>
              <a:gd name="connsiteY0" fmla="*/ 1454197 h 1464749"/>
              <a:gd name="connsiteX1" fmla="*/ 0 w 5243639"/>
              <a:gd name="connsiteY1" fmla="*/ 143000 h 1464749"/>
              <a:gd name="connsiteX2" fmla="*/ 2394566 w 5243639"/>
              <a:gd name="connsiteY2" fmla="*/ 94735 h 1464749"/>
              <a:gd name="connsiteX3" fmla="*/ 5243639 w 5243639"/>
              <a:gd name="connsiteY3" fmla="*/ 1464749 h 1464749"/>
              <a:gd name="connsiteX4" fmla="*/ 1190206 w 5243639"/>
              <a:gd name="connsiteY4" fmla="*/ 1454197 h 1464749"/>
              <a:gd name="connsiteX0" fmla="*/ 1196124 w 5243639"/>
              <a:gd name="connsiteY0" fmla="*/ 1468994 h 1468994"/>
              <a:gd name="connsiteX1" fmla="*/ 0 w 5243639"/>
              <a:gd name="connsiteY1" fmla="*/ 143000 h 1468994"/>
              <a:gd name="connsiteX2" fmla="*/ 2394566 w 5243639"/>
              <a:gd name="connsiteY2" fmla="*/ 94735 h 1468994"/>
              <a:gd name="connsiteX3" fmla="*/ 5243639 w 5243639"/>
              <a:gd name="connsiteY3" fmla="*/ 1464749 h 1468994"/>
              <a:gd name="connsiteX4" fmla="*/ 1196124 w 5243639"/>
              <a:gd name="connsiteY4" fmla="*/ 1468994 h 1468994"/>
              <a:gd name="connsiteX0" fmla="*/ 1196124 w 5243639"/>
              <a:gd name="connsiteY0" fmla="*/ 1471954 h 1471954"/>
              <a:gd name="connsiteX1" fmla="*/ 0 w 5243639"/>
              <a:gd name="connsiteY1" fmla="*/ 143000 h 1471954"/>
              <a:gd name="connsiteX2" fmla="*/ 2394566 w 5243639"/>
              <a:gd name="connsiteY2" fmla="*/ 94735 h 1471954"/>
              <a:gd name="connsiteX3" fmla="*/ 5243639 w 5243639"/>
              <a:gd name="connsiteY3" fmla="*/ 1464749 h 1471954"/>
              <a:gd name="connsiteX4" fmla="*/ 1196124 w 5243639"/>
              <a:gd name="connsiteY4" fmla="*/ 1471954 h 1471954"/>
              <a:gd name="connsiteX0" fmla="*/ 1196124 w 5243639"/>
              <a:gd name="connsiteY0" fmla="*/ 1471954 h 1471954"/>
              <a:gd name="connsiteX1" fmla="*/ 0 w 5243639"/>
              <a:gd name="connsiteY1" fmla="*/ 143000 h 1471954"/>
              <a:gd name="connsiteX2" fmla="*/ 2394566 w 5243639"/>
              <a:gd name="connsiteY2" fmla="*/ 94735 h 1471954"/>
              <a:gd name="connsiteX3" fmla="*/ 5243639 w 5243639"/>
              <a:gd name="connsiteY3" fmla="*/ 1464749 h 1471954"/>
              <a:gd name="connsiteX4" fmla="*/ 1196124 w 5243639"/>
              <a:gd name="connsiteY4" fmla="*/ 1471954 h 1471954"/>
              <a:gd name="connsiteX0" fmla="*/ 1402602 w 5450117"/>
              <a:gd name="connsiteY0" fmla="*/ 1460637 h 1460637"/>
              <a:gd name="connsiteX1" fmla="*/ 0 w 5450117"/>
              <a:gd name="connsiteY1" fmla="*/ 161180 h 1460637"/>
              <a:gd name="connsiteX2" fmla="*/ 2601044 w 5450117"/>
              <a:gd name="connsiteY2" fmla="*/ 83418 h 1460637"/>
              <a:gd name="connsiteX3" fmla="*/ 5450117 w 5450117"/>
              <a:gd name="connsiteY3" fmla="*/ 1453432 h 1460637"/>
              <a:gd name="connsiteX4" fmla="*/ 1402602 w 5450117"/>
              <a:gd name="connsiteY4" fmla="*/ 1460637 h 1460637"/>
              <a:gd name="connsiteX0" fmla="*/ 1402602 w 5450117"/>
              <a:gd name="connsiteY0" fmla="*/ 1715226 h 1715226"/>
              <a:gd name="connsiteX1" fmla="*/ 0 w 5450117"/>
              <a:gd name="connsiteY1" fmla="*/ 415769 h 1715226"/>
              <a:gd name="connsiteX2" fmla="*/ 1617818 w 5450117"/>
              <a:gd name="connsiteY2" fmla="*/ 33207 h 1715226"/>
              <a:gd name="connsiteX3" fmla="*/ 5450117 w 5450117"/>
              <a:gd name="connsiteY3" fmla="*/ 1708021 h 1715226"/>
              <a:gd name="connsiteX4" fmla="*/ 1402602 w 5450117"/>
              <a:gd name="connsiteY4" fmla="*/ 1715226 h 1715226"/>
              <a:gd name="connsiteX0" fmla="*/ 1370042 w 5450117"/>
              <a:gd name="connsiteY0" fmla="*/ 1715226 h 1715226"/>
              <a:gd name="connsiteX1" fmla="*/ 0 w 5450117"/>
              <a:gd name="connsiteY1" fmla="*/ 415769 h 1715226"/>
              <a:gd name="connsiteX2" fmla="*/ 1617818 w 5450117"/>
              <a:gd name="connsiteY2" fmla="*/ 33207 h 1715226"/>
              <a:gd name="connsiteX3" fmla="*/ 5450117 w 5450117"/>
              <a:gd name="connsiteY3" fmla="*/ 1708021 h 1715226"/>
              <a:gd name="connsiteX4" fmla="*/ 1370042 w 5450117"/>
              <a:gd name="connsiteY4" fmla="*/ 1715226 h 1715226"/>
              <a:gd name="connsiteX0" fmla="*/ 1413456 w 5493531"/>
              <a:gd name="connsiteY0" fmla="*/ 1716198 h 1716198"/>
              <a:gd name="connsiteX1" fmla="*/ 0 w 5493531"/>
              <a:gd name="connsiteY1" fmla="*/ 403174 h 1716198"/>
              <a:gd name="connsiteX2" fmla="*/ 1661232 w 5493531"/>
              <a:gd name="connsiteY2" fmla="*/ 34179 h 1716198"/>
              <a:gd name="connsiteX3" fmla="*/ 5493531 w 5493531"/>
              <a:gd name="connsiteY3" fmla="*/ 1708993 h 1716198"/>
              <a:gd name="connsiteX4" fmla="*/ 1413456 w 5493531"/>
              <a:gd name="connsiteY4" fmla="*/ 1716198 h 1716198"/>
              <a:gd name="connsiteX0" fmla="*/ 1413456 w 5493531"/>
              <a:gd name="connsiteY0" fmla="*/ 1716198 h 1716198"/>
              <a:gd name="connsiteX1" fmla="*/ 0 w 5493531"/>
              <a:gd name="connsiteY1" fmla="*/ 403174 h 1716198"/>
              <a:gd name="connsiteX2" fmla="*/ 1661232 w 5493531"/>
              <a:gd name="connsiteY2" fmla="*/ 34179 h 1716198"/>
              <a:gd name="connsiteX3" fmla="*/ 5493531 w 5493531"/>
              <a:gd name="connsiteY3" fmla="*/ 1708993 h 1716198"/>
              <a:gd name="connsiteX4" fmla="*/ 1413456 w 5493531"/>
              <a:gd name="connsiteY4" fmla="*/ 1716198 h 1716198"/>
              <a:gd name="connsiteX0" fmla="*/ 1413456 w 5493531"/>
              <a:gd name="connsiteY0" fmla="*/ 1716198 h 1716198"/>
              <a:gd name="connsiteX1" fmla="*/ 0 w 5493531"/>
              <a:gd name="connsiteY1" fmla="*/ 403174 h 1716198"/>
              <a:gd name="connsiteX2" fmla="*/ 1661232 w 5493531"/>
              <a:gd name="connsiteY2" fmla="*/ 34179 h 1716198"/>
              <a:gd name="connsiteX3" fmla="*/ 5493531 w 5493531"/>
              <a:gd name="connsiteY3" fmla="*/ 1708993 h 1716198"/>
              <a:gd name="connsiteX4" fmla="*/ 1413456 w 5493531"/>
              <a:gd name="connsiteY4" fmla="*/ 1716198 h 1716198"/>
              <a:gd name="connsiteX0" fmla="*/ 1413456 w 5493531"/>
              <a:gd name="connsiteY0" fmla="*/ 1716198 h 1716198"/>
              <a:gd name="connsiteX1" fmla="*/ 0 w 5493531"/>
              <a:gd name="connsiteY1" fmla="*/ 403174 h 1716198"/>
              <a:gd name="connsiteX2" fmla="*/ 1661232 w 5493531"/>
              <a:gd name="connsiteY2" fmla="*/ 34179 h 1716198"/>
              <a:gd name="connsiteX3" fmla="*/ 5493531 w 5493531"/>
              <a:gd name="connsiteY3" fmla="*/ 1708993 h 1716198"/>
              <a:gd name="connsiteX4" fmla="*/ 1413456 w 5493531"/>
              <a:gd name="connsiteY4" fmla="*/ 1716198 h 1716198"/>
              <a:gd name="connsiteX0" fmla="*/ 1413456 w 5493531"/>
              <a:gd name="connsiteY0" fmla="*/ 1682019 h 1682019"/>
              <a:gd name="connsiteX1" fmla="*/ 0 w 5493531"/>
              <a:gd name="connsiteY1" fmla="*/ 368995 h 1682019"/>
              <a:gd name="connsiteX2" fmla="*/ 1661232 w 5493531"/>
              <a:gd name="connsiteY2" fmla="*/ 0 h 1682019"/>
              <a:gd name="connsiteX3" fmla="*/ 5493531 w 5493531"/>
              <a:gd name="connsiteY3" fmla="*/ 1674814 h 1682019"/>
              <a:gd name="connsiteX4" fmla="*/ 1413456 w 5493531"/>
              <a:gd name="connsiteY4" fmla="*/ 1682019 h 1682019"/>
              <a:gd name="connsiteX0" fmla="*/ 1413456 w 5493531"/>
              <a:gd name="connsiteY0" fmla="*/ 1725432 h 1725432"/>
              <a:gd name="connsiteX1" fmla="*/ 0 w 5493531"/>
              <a:gd name="connsiteY1" fmla="*/ 412408 h 1725432"/>
              <a:gd name="connsiteX2" fmla="*/ 1612392 w 5493531"/>
              <a:gd name="connsiteY2" fmla="*/ 0 h 1725432"/>
              <a:gd name="connsiteX3" fmla="*/ 5493531 w 5493531"/>
              <a:gd name="connsiteY3" fmla="*/ 1718227 h 1725432"/>
              <a:gd name="connsiteX4" fmla="*/ 1413456 w 5493531"/>
              <a:gd name="connsiteY4" fmla="*/ 1725432 h 1725432"/>
              <a:gd name="connsiteX0" fmla="*/ 1413456 w 5493531"/>
              <a:gd name="connsiteY0" fmla="*/ 1725432 h 1725432"/>
              <a:gd name="connsiteX1" fmla="*/ 0 w 5493531"/>
              <a:gd name="connsiteY1" fmla="*/ 412408 h 1725432"/>
              <a:gd name="connsiteX2" fmla="*/ 1612392 w 5493531"/>
              <a:gd name="connsiteY2" fmla="*/ 0 h 1725432"/>
              <a:gd name="connsiteX3" fmla="*/ 5493531 w 5493531"/>
              <a:gd name="connsiteY3" fmla="*/ 1718227 h 1725432"/>
              <a:gd name="connsiteX4" fmla="*/ 1413456 w 5493531"/>
              <a:gd name="connsiteY4" fmla="*/ 1725432 h 1725432"/>
              <a:gd name="connsiteX0" fmla="*/ 1413456 w 5493531"/>
              <a:gd name="connsiteY0" fmla="*/ 1725432 h 1725432"/>
              <a:gd name="connsiteX1" fmla="*/ 0 w 5493531"/>
              <a:gd name="connsiteY1" fmla="*/ 412408 h 1725432"/>
              <a:gd name="connsiteX2" fmla="*/ 1612392 w 5493531"/>
              <a:gd name="connsiteY2" fmla="*/ 0 h 1725432"/>
              <a:gd name="connsiteX3" fmla="*/ 5493531 w 5493531"/>
              <a:gd name="connsiteY3" fmla="*/ 1718227 h 1725432"/>
              <a:gd name="connsiteX4" fmla="*/ 1413456 w 5493531"/>
              <a:gd name="connsiteY4" fmla="*/ 1725432 h 1725432"/>
              <a:gd name="connsiteX0" fmla="*/ 1413456 w 5493531"/>
              <a:gd name="connsiteY0" fmla="*/ 1805865 h 1805865"/>
              <a:gd name="connsiteX1" fmla="*/ 0 w 5493531"/>
              <a:gd name="connsiteY1" fmla="*/ 492841 h 1805865"/>
              <a:gd name="connsiteX2" fmla="*/ 2234692 w 5493531"/>
              <a:gd name="connsiteY2" fmla="*/ 0 h 1805865"/>
              <a:gd name="connsiteX3" fmla="*/ 5493531 w 5493531"/>
              <a:gd name="connsiteY3" fmla="*/ 1798660 h 1805865"/>
              <a:gd name="connsiteX4" fmla="*/ 1413456 w 5493531"/>
              <a:gd name="connsiteY4" fmla="*/ 1805865 h 1805865"/>
              <a:gd name="connsiteX0" fmla="*/ 1413456 w 5493531"/>
              <a:gd name="connsiteY0" fmla="*/ 1805865 h 1805865"/>
              <a:gd name="connsiteX1" fmla="*/ 0 w 5493531"/>
              <a:gd name="connsiteY1" fmla="*/ 492841 h 1805865"/>
              <a:gd name="connsiteX2" fmla="*/ 2234692 w 5493531"/>
              <a:gd name="connsiteY2" fmla="*/ 0 h 1805865"/>
              <a:gd name="connsiteX3" fmla="*/ 5493531 w 5493531"/>
              <a:gd name="connsiteY3" fmla="*/ 1798660 h 1805865"/>
              <a:gd name="connsiteX4" fmla="*/ 1413456 w 5493531"/>
              <a:gd name="connsiteY4" fmla="*/ 1805865 h 1805865"/>
              <a:gd name="connsiteX0" fmla="*/ 1413456 w 5493531"/>
              <a:gd name="connsiteY0" fmla="*/ 1805865 h 1805865"/>
              <a:gd name="connsiteX1" fmla="*/ 0 w 5493531"/>
              <a:gd name="connsiteY1" fmla="*/ 492841 h 1805865"/>
              <a:gd name="connsiteX2" fmla="*/ 2234692 w 5493531"/>
              <a:gd name="connsiteY2" fmla="*/ 0 h 1805865"/>
              <a:gd name="connsiteX3" fmla="*/ 5493531 w 5493531"/>
              <a:gd name="connsiteY3" fmla="*/ 1798660 h 1805865"/>
              <a:gd name="connsiteX4" fmla="*/ 1413456 w 5493531"/>
              <a:gd name="connsiteY4" fmla="*/ 1805865 h 1805865"/>
              <a:gd name="connsiteX0" fmla="*/ 1464256 w 5544331"/>
              <a:gd name="connsiteY0" fmla="*/ 1805865 h 1805865"/>
              <a:gd name="connsiteX1" fmla="*/ 0 w 5544331"/>
              <a:gd name="connsiteY1" fmla="*/ 497074 h 1805865"/>
              <a:gd name="connsiteX2" fmla="*/ 2285492 w 5544331"/>
              <a:gd name="connsiteY2" fmla="*/ 0 h 1805865"/>
              <a:gd name="connsiteX3" fmla="*/ 5544331 w 5544331"/>
              <a:gd name="connsiteY3" fmla="*/ 1798660 h 1805865"/>
              <a:gd name="connsiteX4" fmla="*/ 1464256 w 5544331"/>
              <a:gd name="connsiteY4" fmla="*/ 1805865 h 1805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44331" h="1805865">
                <a:moveTo>
                  <a:pt x="1464256" y="1805865"/>
                </a:moveTo>
                <a:cubicBezTo>
                  <a:pt x="902438" y="1452459"/>
                  <a:pt x="290870" y="831417"/>
                  <a:pt x="0" y="497074"/>
                </a:cubicBezTo>
                <a:cubicBezTo>
                  <a:pt x="515956" y="302722"/>
                  <a:pt x="1205803" y="111245"/>
                  <a:pt x="2285492" y="0"/>
                </a:cubicBezTo>
                <a:lnTo>
                  <a:pt x="5544331" y="1798660"/>
                </a:lnTo>
                <a:lnTo>
                  <a:pt x="1464256" y="180586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  <p:sp>
        <p:nvSpPr>
          <p:cNvPr id="134" name="Арка 8">
            <a:extLst>
              <a:ext uri="{FF2B5EF4-FFF2-40B4-BE49-F238E27FC236}">
                <a16:creationId xmlns:a16="http://schemas.microsoft.com/office/drawing/2014/main" id="{B6FA2A9B-4EF6-4EBD-B611-421C57E608FC}"/>
              </a:ext>
            </a:extLst>
          </p:cNvPr>
          <p:cNvSpPr/>
          <p:nvPr/>
        </p:nvSpPr>
        <p:spPr>
          <a:xfrm rot="16200000">
            <a:off x="5816595" y="481141"/>
            <a:ext cx="6856546" cy="5894264"/>
          </a:xfrm>
          <a:custGeom>
            <a:avLst/>
            <a:gdLst>
              <a:gd name="connsiteX0" fmla="*/ 0 w 13248000"/>
              <a:gd name="connsiteY0" fmla="*/ 6623209 h 13249612"/>
              <a:gd name="connsiteX1" fmla="*/ 2081023 w 13248000"/>
              <a:gd name="connsiteY1" fmla="*/ 1803562 h 13249612"/>
              <a:gd name="connsiteX2" fmla="*/ 7015783 w 13248000"/>
              <a:gd name="connsiteY2" fmla="*/ 11598 h 13249612"/>
              <a:gd name="connsiteX3" fmla="*/ 6868168 w 13248000"/>
              <a:gd name="connsiteY3" fmla="*/ 2503285 h 13249612"/>
              <a:gd name="connsiteX4" fmla="*/ 3792797 w 13248000"/>
              <a:gd name="connsiteY4" fmla="*/ 3620187 h 13249612"/>
              <a:gd name="connsiteX5" fmla="*/ 2496056 w 13248000"/>
              <a:gd name="connsiteY5" fmla="*/ 6623811 h 13249612"/>
              <a:gd name="connsiteX6" fmla="*/ 0 w 13248000"/>
              <a:gd name="connsiteY6" fmla="*/ 6623209 h 13249612"/>
              <a:gd name="connsiteX0" fmla="*/ 0 w 7015783"/>
              <a:gd name="connsiteY0" fmla="*/ 6624781 h 6625383"/>
              <a:gd name="connsiteX1" fmla="*/ 1987238 w 7015783"/>
              <a:gd name="connsiteY1" fmla="*/ 1711349 h 6625383"/>
              <a:gd name="connsiteX2" fmla="*/ 7015783 w 7015783"/>
              <a:gd name="connsiteY2" fmla="*/ 13170 h 6625383"/>
              <a:gd name="connsiteX3" fmla="*/ 6868168 w 7015783"/>
              <a:gd name="connsiteY3" fmla="*/ 2504857 h 6625383"/>
              <a:gd name="connsiteX4" fmla="*/ 3792797 w 7015783"/>
              <a:gd name="connsiteY4" fmla="*/ 3621759 h 6625383"/>
              <a:gd name="connsiteX5" fmla="*/ 2496056 w 7015783"/>
              <a:gd name="connsiteY5" fmla="*/ 6625383 h 6625383"/>
              <a:gd name="connsiteX6" fmla="*/ 0 w 7015783"/>
              <a:gd name="connsiteY6" fmla="*/ 6624781 h 6625383"/>
              <a:gd name="connsiteX0" fmla="*/ 562 w 7016345"/>
              <a:gd name="connsiteY0" fmla="*/ 6624781 h 6625383"/>
              <a:gd name="connsiteX1" fmla="*/ 1987800 w 7016345"/>
              <a:gd name="connsiteY1" fmla="*/ 1711349 h 6625383"/>
              <a:gd name="connsiteX2" fmla="*/ 7016345 w 7016345"/>
              <a:gd name="connsiteY2" fmla="*/ 13170 h 6625383"/>
              <a:gd name="connsiteX3" fmla="*/ 6868730 w 7016345"/>
              <a:gd name="connsiteY3" fmla="*/ 2504857 h 6625383"/>
              <a:gd name="connsiteX4" fmla="*/ 3793359 w 7016345"/>
              <a:gd name="connsiteY4" fmla="*/ 3621759 h 6625383"/>
              <a:gd name="connsiteX5" fmla="*/ 2496618 w 7016345"/>
              <a:gd name="connsiteY5" fmla="*/ 6625383 h 6625383"/>
              <a:gd name="connsiteX6" fmla="*/ 562 w 7016345"/>
              <a:gd name="connsiteY6" fmla="*/ 6624781 h 6625383"/>
              <a:gd name="connsiteX0" fmla="*/ 762 w 7016545"/>
              <a:gd name="connsiteY0" fmla="*/ 6623222 h 6623824"/>
              <a:gd name="connsiteX1" fmla="*/ 1800431 w 7016545"/>
              <a:gd name="connsiteY1" fmla="*/ 1803574 h 6623824"/>
              <a:gd name="connsiteX2" fmla="*/ 7016545 w 7016545"/>
              <a:gd name="connsiteY2" fmla="*/ 11611 h 6623824"/>
              <a:gd name="connsiteX3" fmla="*/ 6868930 w 7016545"/>
              <a:gd name="connsiteY3" fmla="*/ 2503298 h 6623824"/>
              <a:gd name="connsiteX4" fmla="*/ 3793559 w 7016545"/>
              <a:gd name="connsiteY4" fmla="*/ 3620200 h 6623824"/>
              <a:gd name="connsiteX5" fmla="*/ 2496818 w 7016545"/>
              <a:gd name="connsiteY5" fmla="*/ 6623824 h 6623824"/>
              <a:gd name="connsiteX6" fmla="*/ 762 w 7016545"/>
              <a:gd name="connsiteY6" fmla="*/ 6623222 h 6623824"/>
              <a:gd name="connsiteX0" fmla="*/ 662 w 7016445"/>
              <a:gd name="connsiteY0" fmla="*/ 6622952 h 6623554"/>
              <a:gd name="connsiteX1" fmla="*/ 1881196 w 7016445"/>
              <a:gd name="connsiteY1" fmla="*/ 1821968 h 6623554"/>
              <a:gd name="connsiteX2" fmla="*/ 7016445 w 7016445"/>
              <a:gd name="connsiteY2" fmla="*/ 11341 h 6623554"/>
              <a:gd name="connsiteX3" fmla="*/ 6868830 w 7016445"/>
              <a:gd name="connsiteY3" fmla="*/ 2503028 h 6623554"/>
              <a:gd name="connsiteX4" fmla="*/ 3793459 w 7016445"/>
              <a:gd name="connsiteY4" fmla="*/ 3619930 h 6623554"/>
              <a:gd name="connsiteX5" fmla="*/ 2496718 w 7016445"/>
              <a:gd name="connsiteY5" fmla="*/ 6623554 h 6623554"/>
              <a:gd name="connsiteX6" fmla="*/ 662 w 7016445"/>
              <a:gd name="connsiteY6" fmla="*/ 6622952 h 6623554"/>
              <a:gd name="connsiteX0" fmla="*/ 585 w 7016368"/>
              <a:gd name="connsiteY0" fmla="*/ 6624847 h 6625449"/>
              <a:gd name="connsiteX1" fmla="*/ 1881119 w 7016368"/>
              <a:gd name="connsiteY1" fmla="*/ 1823863 h 6625449"/>
              <a:gd name="connsiteX2" fmla="*/ 7016368 w 7016368"/>
              <a:gd name="connsiteY2" fmla="*/ 13236 h 6625449"/>
              <a:gd name="connsiteX3" fmla="*/ 6868753 w 7016368"/>
              <a:gd name="connsiteY3" fmla="*/ 2504923 h 6625449"/>
              <a:gd name="connsiteX4" fmla="*/ 3793382 w 7016368"/>
              <a:gd name="connsiteY4" fmla="*/ 3621825 h 6625449"/>
              <a:gd name="connsiteX5" fmla="*/ 2496641 w 7016368"/>
              <a:gd name="connsiteY5" fmla="*/ 6625449 h 6625449"/>
              <a:gd name="connsiteX6" fmla="*/ 585 w 7016368"/>
              <a:gd name="connsiteY6" fmla="*/ 6624847 h 6625449"/>
              <a:gd name="connsiteX0" fmla="*/ 675 w 7016458"/>
              <a:gd name="connsiteY0" fmla="*/ 6621598 h 6622200"/>
              <a:gd name="connsiteX1" fmla="*/ 1881209 w 7016458"/>
              <a:gd name="connsiteY1" fmla="*/ 1820614 h 6622200"/>
              <a:gd name="connsiteX2" fmla="*/ 7016458 w 7016458"/>
              <a:gd name="connsiteY2" fmla="*/ 9987 h 6622200"/>
              <a:gd name="connsiteX3" fmla="*/ 6868843 w 7016458"/>
              <a:gd name="connsiteY3" fmla="*/ 2501674 h 6622200"/>
              <a:gd name="connsiteX4" fmla="*/ 3793472 w 7016458"/>
              <a:gd name="connsiteY4" fmla="*/ 3618576 h 6622200"/>
              <a:gd name="connsiteX5" fmla="*/ 2496731 w 7016458"/>
              <a:gd name="connsiteY5" fmla="*/ 6622200 h 6622200"/>
              <a:gd name="connsiteX6" fmla="*/ 675 w 7016458"/>
              <a:gd name="connsiteY6" fmla="*/ 6621598 h 6622200"/>
              <a:gd name="connsiteX0" fmla="*/ 526 w 7016309"/>
              <a:gd name="connsiteY0" fmla="*/ 6627424 h 6627424"/>
              <a:gd name="connsiteX1" fmla="*/ 1881060 w 7016309"/>
              <a:gd name="connsiteY1" fmla="*/ 1820220 h 6627424"/>
              <a:gd name="connsiteX2" fmla="*/ 7016309 w 7016309"/>
              <a:gd name="connsiteY2" fmla="*/ 9593 h 6627424"/>
              <a:gd name="connsiteX3" fmla="*/ 6868694 w 7016309"/>
              <a:gd name="connsiteY3" fmla="*/ 2501280 h 6627424"/>
              <a:gd name="connsiteX4" fmla="*/ 3793323 w 7016309"/>
              <a:gd name="connsiteY4" fmla="*/ 3618182 h 6627424"/>
              <a:gd name="connsiteX5" fmla="*/ 2496582 w 7016309"/>
              <a:gd name="connsiteY5" fmla="*/ 6621806 h 6627424"/>
              <a:gd name="connsiteX6" fmla="*/ 526 w 7016309"/>
              <a:gd name="connsiteY6" fmla="*/ 6627424 h 6627424"/>
              <a:gd name="connsiteX0" fmla="*/ 0 w 7015783"/>
              <a:gd name="connsiteY0" fmla="*/ 6627424 h 6627424"/>
              <a:gd name="connsiteX1" fmla="*/ 1880534 w 7015783"/>
              <a:gd name="connsiteY1" fmla="*/ 1820220 h 6627424"/>
              <a:gd name="connsiteX2" fmla="*/ 7015783 w 7015783"/>
              <a:gd name="connsiteY2" fmla="*/ 9593 h 6627424"/>
              <a:gd name="connsiteX3" fmla="*/ 6868168 w 7015783"/>
              <a:gd name="connsiteY3" fmla="*/ 2501280 h 6627424"/>
              <a:gd name="connsiteX4" fmla="*/ 3792797 w 7015783"/>
              <a:gd name="connsiteY4" fmla="*/ 3618182 h 6627424"/>
              <a:gd name="connsiteX5" fmla="*/ 2496056 w 7015783"/>
              <a:gd name="connsiteY5" fmla="*/ 6621806 h 6627424"/>
              <a:gd name="connsiteX6" fmla="*/ 0 w 7015783"/>
              <a:gd name="connsiteY6" fmla="*/ 6627424 h 6627424"/>
              <a:gd name="connsiteX0" fmla="*/ 232859 w 7248642"/>
              <a:gd name="connsiteY0" fmla="*/ 6625481 h 6625481"/>
              <a:gd name="connsiteX1" fmla="*/ 320844 w 7248642"/>
              <a:gd name="connsiteY1" fmla="*/ 5183944 h 6625481"/>
              <a:gd name="connsiteX2" fmla="*/ 2113393 w 7248642"/>
              <a:gd name="connsiteY2" fmla="*/ 1818277 h 6625481"/>
              <a:gd name="connsiteX3" fmla="*/ 7248642 w 7248642"/>
              <a:gd name="connsiteY3" fmla="*/ 7650 h 6625481"/>
              <a:gd name="connsiteX4" fmla="*/ 7101027 w 7248642"/>
              <a:gd name="connsiteY4" fmla="*/ 2499337 h 6625481"/>
              <a:gd name="connsiteX5" fmla="*/ 4025656 w 7248642"/>
              <a:gd name="connsiteY5" fmla="*/ 3616239 h 6625481"/>
              <a:gd name="connsiteX6" fmla="*/ 2728915 w 7248642"/>
              <a:gd name="connsiteY6" fmla="*/ 6619863 h 6625481"/>
              <a:gd name="connsiteX7" fmla="*/ 232859 w 7248642"/>
              <a:gd name="connsiteY7" fmla="*/ 6625481 h 6625481"/>
              <a:gd name="connsiteX0" fmla="*/ 0 w 7015783"/>
              <a:gd name="connsiteY0" fmla="*/ 6625481 h 6625481"/>
              <a:gd name="connsiteX1" fmla="*/ 87985 w 7015783"/>
              <a:gd name="connsiteY1" fmla="*/ 5183944 h 6625481"/>
              <a:gd name="connsiteX2" fmla="*/ 1880534 w 7015783"/>
              <a:gd name="connsiteY2" fmla="*/ 1818277 h 6625481"/>
              <a:gd name="connsiteX3" fmla="*/ 7015783 w 7015783"/>
              <a:gd name="connsiteY3" fmla="*/ 7650 h 6625481"/>
              <a:gd name="connsiteX4" fmla="*/ 6868168 w 7015783"/>
              <a:gd name="connsiteY4" fmla="*/ 2499337 h 6625481"/>
              <a:gd name="connsiteX5" fmla="*/ 3792797 w 7015783"/>
              <a:gd name="connsiteY5" fmla="*/ 3616239 h 6625481"/>
              <a:gd name="connsiteX6" fmla="*/ 2496056 w 7015783"/>
              <a:gd name="connsiteY6" fmla="*/ 6619863 h 6625481"/>
              <a:gd name="connsiteX7" fmla="*/ 0 w 7015783"/>
              <a:gd name="connsiteY7" fmla="*/ 6625481 h 6625481"/>
              <a:gd name="connsiteX0" fmla="*/ 0 w 7015783"/>
              <a:gd name="connsiteY0" fmla="*/ 6625507 h 6625507"/>
              <a:gd name="connsiteX1" fmla="*/ 7120 w 7015783"/>
              <a:gd name="connsiteY1" fmla="*/ 5208852 h 6625507"/>
              <a:gd name="connsiteX2" fmla="*/ 1880534 w 7015783"/>
              <a:gd name="connsiteY2" fmla="*/ 1818303 h 6625507"/>
              <a:gd name="connsiteX3" fmla="*/ 7015783 w 7015783"/>
              <a:gd name="connsiteY3" fmla="*/ 7676 h 6625507"/>
              <a:gd name="connsiteX4" fmla="*/ 6868168 w 7015783"/>
              <a:gd name="connsiteY4" fmla="*/ 2499363 h 6625507"/>
              <a:gd name="connsiteX5" fmla="*/ 3792797 w 7015783"/>
              <a:gd name="connsiteY5" fmla="*/ 3616265 h 6625507"/>
              <a:gd name="connsiteX6" fmla="*/ 2496056 w 7015783"/>
              <a:gd name="connsiteY6" fmla="*/ 6619889 h 6625507"/>
              <a:gd name="connsiteX7" fmla="*/ 0 w 7015783"/>
              <a:gd name="connsiteY7" fmla="*/ 6625507 h 6625507"/>
              <a:gd name="connsiteX0" fmla="*/ 0 w 7015783"/>
              <a:gd name="connsiteY0" fmla="*/ 6625507 h 6625507"/>
              <a:gd name="connsiteX1" fmla="*/ 7120 w 7015783"/>
              <a:gd name="connsiteY1" fmla="*/ 5208852 h 6625507"/>
              <a:gd name="connsiteX2" fmla="*/ 1880534 w 7015783"/>
              <a:gd name="connsiteY2" fmla="*/ 1818303 h 6625507"/>
              <a:gd name="connsiteX3" fmla="*/ 7015783 w 7015783"/>
              <a:gd name="connsiteY3" fmla="*/ 7676 h 6625507"/>
              <a:gd name="connsiteX4" fmla="*/ 6868168 w 7015783"/>
              <a:gd name="connsiteY4" fmla="*/ 2499363 h 6625507"/>
              <a:gd name="connsiteX5" fmla="*/ 3792797 w 7015783"/>
              <a:gd name="connsiteY5" fmla="*/ 3616265 h 6625507"/>
              <a:gd name="connsiteX6" fmla="*/ 2496056 w 7015783"/>
              <a:gd name="connsiteY6" fmla="*/ 6619889 h 6625507"/>
              <a:gd name="connsiteX7" fmla="*/ 0 w 7015783"/>
              <a:gd name="connsiteY7" fmla="*/ 6625507 h 6625507"/>
              <a:gd name="connsiteX0" fmla="*/ 0 w 7015783"/>
              <a:gd name="connsiteY0" fmla="*/ 6625507 h 6625507"/>
              <a:gd name="connsiteX1" fmla="*/ 7120 w 7015783"/>
              <a:gd name="connsiteY1" fmla="*/ 5208852 h 6625507"/>
              <a:gd name="connsiteX2" fmla="*/ 1880534 w 7015783"/>
              <a:gd name="connsiteY2" fmla="*/ 1818303 h 6625507"/>
              <a:gd name="connsiteX3" fmla="*/ 7015783 w 7015783"/>
              <a:gd name="connsiteY3" fmla="*/ 7676 h 6625507"/>
              <a:gd name="connsiteX4" fmla="*/ 6868168 w 7015783"/>
              <a:gd name="connsiteY4" fmla="*/ 2499363 h 6625507"/>
              <a:gd name="connsiteX5" fmla="*/ 3792797 w 7015783"/>
              <a:gd name="connsiteY5" fmla="*/ 3616265 h 6625507"/>
              <a:gd name="connsiteX6" fmla="*/ 2496056 w 7015783"/>
              <a:gd name="connsiteY6" fmla="*/ 6619889 h 6625507"/>
              <a:gd name="connsiteX7" fmla="*/ 0 w 7015783"/>
              <a:gd name="connsiteY7" fmla="*/ 6625507 h 6625507"/>
              <a:gd name="connsiteX0" fmla="*/ 0 w 7015783"/>
              <a:gd name="connsiteY0" fmla="*/ 6625507 h 6625507"/>
              <a:gd name="connsiteX1" fmla="*/ 7120 w 7015783"/>
              <a:gd name="connsiteY1" fmla="*/ 5208852 h 6625507"/>
              <a:gd name="connsiteX2" fmla="*/ 1874313 w 7015783"/>
              <a:gd name="connsiteY2" fmla="*/ 1818303 h 6625507"/>
              <a:gd name="connsiteX3" fmla="*/ 7015783 w 7015783"/>
              <a:gd name="connsiteY3" fmla="*/ 7676 h 6625507"/>
              <a:gd name="connsiteX4" fmla="*/ 6868168 w 7015783"/>
              <a:gd name="connsiteY4" fmla="*/ 2499363 h 6625507"/>
              <a:gd name="connsiteX5" fmla="*/ 3792797 w 7015783"/>
              <a:gd name="connsiteY5" fmla="*/ 3616265 h 6625507"/>
              <a:gd name="connsiteX6" fmla="*/ 2496056 w 7015783"/>
              <a:gd name="connsiteY6" fmla="*/ 6619889 h 6625507"/>
              <a:gd name="connsiteX7" fmla="*/ 0 w 7015783"/>
              <a:gd name="connsiteY7" fmla="*/ 6625507 h 6625507"/>
              <a:gd name="connsiteX0" fmla="*/ 0 w 7015783"/>
              <a:gd name="connsiteY0" fmla="*/ 6626094 h 6626094"/>
              <a:gd name="connsiteX1" fmla="*/ 7120 w 7015783"/>
              <a:gd name="connsiteY1" fmla="*/ 5209439 h 6626094"/>
              <a:gd name="connsiteX2" fmla="*/ 1874313 w 7015783"/>
              <a:gd name="connsiteY2" fmla="*/ 1818890 h 6626094"/>
              <a:gd name="connsiteX3" fmla="*/ 7015783 w 7015783"/>
              <a:gd name="connsiteY3" fmla="*/ 8263 h 6626094"/>
              <a:gd name="connsiteX4" fmla="*/ 6868168 w 7015783"/>
              <a:gd name="connsiteY4" fmla="*/ 2499950 h 6626094"/>
              <a:gd name="connsiteX5" fmla="*/ 3792797 w 7015783"/>
              <a:gd name="connsiteY5" fmla="*/ 3616852 h 6626094"/>
              <a:gd name="connsiteX6" fmla="*/ 2496056 w 7015783"/>
              <a:gd name="connsiteY6" fmla="*/ 6620476 h 6626094"/>
              <a:gd name="connsiteX7" fmla="*/ 0 w 7015783"/>
              <a:gd name="connsiteY7" fmla="*/ 6626094 h 6626094"/>
              <a:gd name="connsiteX0" fmla="*/ 0 w 7015783"/>
              <a:gd name="connsiteY0" fmla="*/ 6732585 h 6732585"/>
              <a:gd name="connsiteX1" fmla="*/ 7120 w 7015783"/>
              <a:gd name="connsiteY1" fmla="*/ 5315930 h 6732585"/>
              <a:gd name="connsiteX2" fmla="*/ 1874313 w 7015783"/>
              <a:gd name="connsiteY2" fmla="*/ 1925381 h 6732585"/>
              <a:gd name="connsiteX3" fmla="*/ 4299202 w 7015783"/>
              <a:gd name="connsiteY3" fmla="*/ 569759 h 6732585"/>
              <a:gd name="connsiteX4" fmla="*/ 7015783 w 7015783"/>
              <a:gd name="connsiteY4" fmla="*/ 114754 h 6732585"/>
              <a:gd name="connsiteX5" fmla="*/ 6868168 w 7015783"/>
              <a:gd name="connsiteY5" fmla="*/ 2606441 h 6732585"/>
              <a:gd name="connsiteX6" fmla="*/ 3792797 w 7015783"/>
              <a:gd name="connsiteY6" fmla="*/ 3723343 h 6732585"/>
              <a:gd name="connsiteX7" fmla="*/ 2496056 w 7015783"/>
              <a:gd name="connsiteY7" fmla="*/ 6726967 h 6732585"/>
              <a:gd name="connsiteX8" fmla="*/ 0 w 7015783"/>
              <a:gd name="connsiteY8" fmla="*/ 6732585 h 6732585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1874313 w 7015783"/>
              <a:gd name="connsiteY2" fmla="*/ 1939348 h 6746552"/>
              <a:gd name="connsiteX3" fmla="*/ 4249439 w 7015783"/>
              <a:gd name="connsiteY3" fmla="*/ 496640 h 6746552"/>
              <a:gd name="connsiteX4" fmla="*/ 7015783 w 7015783"/>
              <a:gd name="connsiteY4" fmla="*/ 128721 h 6746552"/>
              <a:gd name="connsiteX5" fmla="*/ 6868168 w 7015783"/>
              <a:gd name="connsiteY5" fmla="*/ 2620408 h 6746552"/>
              <a:gd name="connsiteX6" fmla="*/ 3792797 w 7015783"/>
              <a:gd name="connsiteY6" fmla="*/ 3737310 h 6746552"/>
              <a:gd name="connsiteX7" fmla="*/ 2496056 w 7015783"/>
              <a:gd name="connsiteY7" fmla="*/ 6740934 h 6746552"/>
              <a:gd name="connsiteX8" fmla="*/ 0 w 7015783"/>
              <a:gd name="connsiteY8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1874313 w 7015783"/>
              <a:gd name="connsiteY2" fmla="*/ 1939348 h 6746552"/>
              <a:gd name="connsiteX3" fmla="*/ 4249439 w 7015783"/>
              <a:gd name="connsiteY3" fmla="*/ 496640 h 6746552"/>
              <a:gd name="connsiteX4" fmla="*/ 7015783 w 7015783"/>
              <a:gd name="connsiteY4" fmla="*/ 128721 h 6746552"/>
              <a:gd name="connsiteX5" fmla="*/ 6868168 w 7015783"/>
              <a:gd name="connsiteY5" fmla="*/ 2620408 h 6746552"/>
              <a:gd name="connsiteX6" fmla="*/ 3792797 w 7015783"/>
              <a:gd name="connsiteY6" fmla="*/ 3737310 h 6746552"/>
              <a:gd name="connsiteX7" fmla="*/ 2496056 w 7015783"/>
              <a:gd name="connsiteY7" fmla="*/ 6740934 h 6746552"/>
              <a:gd name="connsiteX8" fmla="*/ 0 w 7015783"/>
              <a:gd name="connsiteY8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1874313 w 7015783"/>
              <a:gd name="connsiteY2" fmla="*/ 1939348 h 6746552"/>
              <a:gd name="connsiteX3" fmla="*/ 4249439 w 7015783"/>
              <a:gd name="connsiteY3" fmla="*/ 496640 h 6746552"/>
              <a:gd name="connsiteX4" fmla="*/ 7015783 w 7015783"/>
              <a:gd name="connsiteY4" fmla="*/ 128721 h 6746552"/>
              <a:gd name="connsiteX5" fmla="*/ 6868168 w 7015783"/>
              <a:gd name="connsiteY5" fmla="*/ 2620408 h 6746552"/>
              <a:gd name="connsiteX6" fmla="*/ 3792797 w 7015783"/>
              <a:gd name="connsiteY6" fmla="*/ 3737310 h 6746552"/>
              <a:gd name="connsiteX7" fmla="*/ 2496056 w 7015783"/>
              <a:gd name="connsiteY7" fmla="*/ 6740934 h 6746552"/>
              <a:gd name="connsiteX8" fmla="*/ 0 w 7015783"/>
              <a:gd name="connsiteY8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784670 w 7015783"/>
              <a:gd name="connsiteY2" fmla="*/ 3494877 h 6746552"/>
              <a:gd name="connsiteX3" fmla="*/ 1874313 w 7015783"/>
              <a:gd name="connsiteY3" fmla="*/ 1939348 h 6746552"/>
              <a:gd name="connsiteX4" fmla="*/ 4249439 w 7015783"/>
              <a:gd name="connsiteY4" fmla="*/ 496640 h 6746552"/>
              <a:gd name="connsiteX5" fmla="*/ 7015783 w 7015783"/>
              <a:gd name="connsiteY5" fmla="*/ 128721 h 6746552"/>
              <a:gd name="connsiteX6" fmla="*/ 6868168 w 7015783"/>
              <a:gd name="connsiteY6" fmla="*/ 2620408 h 6746552"/>
              <a:gd name="connsiteX7" fmla="*/ 3792797 w 7015783"/>
              <a:gd name="connsiteY7" fmla="*/ 3737310 h 6746552"/>
              <a:gd name="connsiteX8" fmla="*/ 2496056 w 7015783"/>
              <a:gd name="connsiteY8" fmla="*/ 6740934 h 6746552"/>
              <a:gd name="connsiteX9" fmla="*/ 0 w 7015783"/>
              <a:gd name="connsiteY9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48 h 6746552"/>
              <a:gd name="connsiteX4" fmla="*/ 4249439 w 7015783"/>
              <a:gd name="connsiteY4" fmla="*/ 496640 h 6746552"/>
              <a:gd name="connsiteX5" fmla="*/ 7015783 w 7015783"/>
              <a:gd name="connsiteY5" fmla="*/ 128721 h 6746552"/>
              <a:gd name="connsiteX6" fmla="*/ 6868168 w 7015783"/>
              <a:gd name="connsiteY6" fmla="*/ 2620408 h 6746552"/>
              <a:gd name="connsiteX7" fmla="*/ 3792797 w 7015783"/>
              <a:gd name="connsiteY7" fmla="*/ 3737310 h 6746552"/>
              <a:gd name="connsiteX8" fmla="*/ 2496056 w 7015783"/>
              <a:gd name="connsiteY8" fmla="*/ 6740934 h 6746552"/>
              <a:gd name="connsiteX9" fmla="*/ 0 w 7015783"/>
              <a:gd name="connsiteY9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48 h 6746552"/>
              <a:gd name="connsiteX4" fmla="*/ 4249439 w 7015783"/>
              <a:gd name="connsiteY4" fmla="*/ 496640 h 6746552"/>
              <a:gd name="connsiteX5" fmla="*/ 7015783 w 7015783"/>
              <a:gd name="connsiteY5" fmla="*/ 128721 h 6746552"/>
              <a:gd name="connsiteX6" fmla="*/ 6868168 w 7015783"/>
              <a:gd name="connsiteY6" fmla="*/ 2620408 h 6746552"/>
              <a:gd name="connsiteX7" fmla="*/ 3792797 w 7015783"/>
              <a:gd name="connsiteY7" fmla="*/ 3737310 h 6746552"/>
              <a:gd name="connsiteX8" fmla="*/ 2496056 w 7015783"/>
              <a:gd name="connsiteY8" fmla="*/ 6740934 h 6746552"/>
              <a:gd name="connsiteX9" fmla="*/ 0 w 7015783"/>
              <a:gd name="connsiteY9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48 h 6746552"/>
              <a:gd name="connsiteX4" fmla="*/ 4249439 w 7015783"/>
              <a:gd name="connsiteY4" fmla="*/ 496640 h 6746552"/>
              <a:gd name="connsiteX5" fmla="*/ 7015783 w 7015783"/>
              <a:gd name="connsiteY5" fmla="*/ 128721 h 6746552"/>
              <a:gd name="connsiteX6" fmla="*/ 6868168 w 7015783"/>
              <a:gd name="connsiteY6" fmla="*/ 2620408 h 6746552"/>
              <a:gd name="connsiteX7" fmla="*/ 3792797 w 7015783"/>
              <a:gd name="connsiteY7" fmla="*/ 3737310 h 6746552"/>
              <a:gd name="connsiteX8" fmla="*/ 2496056 w 7015783"/>
              <a:gd name="connsiteY8" fmla="*/ 6740934 h 6746552"/>
              <a:gd name="connsiteX9" fmla="*/ 0 w 7015783"/>
              <a:gd name="connsiteY9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51 h 6746552"/>
              <a:gd name="connsiteX4" fmla="*/ 4249439 w 7015783"/>
              <a:gd name="connsiteY4" fmla="*/ 496640 h 6746552"/>
              <a:gd name="connsiteX5" fmla="*/ 7015783 w 7015783"/>
              <a:gd name="connsiteY5" fmla="*/ 128721 h 6746552"/>
              <a:gd name="connsiteX6" fmla="*/ 6868168 w 7015783"/>
              <a:gd name="connsiteY6" fmla="*/ 2620408 h 6746552"/>
              <a:gd name="connsiteX7" fmla="*/ 3792797 w 7015783"/>
              <a:gd name="connsiteY7" fmla="*/ 3737310 h 6746552"/>
              <a:gd name="connsiteX8" fmla="*/ 2496056 w 7015783"/>
              <a:gd name="connsiteY8" fmla="*/ 6740934 h 6746552"/>
              <a:gd name="connsiteX9" fmla="*/ 0 w 7015783"/>
              <a:gd name="connsiteY9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51 h 6746552"/>
              <a:gd name="connsiteX4" fmla="*/ 3036458 w 7015783"/>
              <a:gd name="connsiteY4" fmla="*/ 1124902 h 6746552"/>
              <a:gd name="connsiteX5" fmla="*/ 4249439 w 7015783"/>
              <a:gd name="connsiteY5" fmla="*/ 496640 h 6746552"/>
              <a:gd name="connsiteX6" fmla="*/ 7015783 w 7015783"/>
              <a:gd name="connsiteY6" fmla="*/ 128721 h 6746552"/>
              <a:gd name="connsiteX7" fmla="*/ 6868168 w 7015783"/>
              <a:gd name="connsiteY7" fmla="*/ 2620408 h 6746552"/>
              <a:gd name="connsiteX8" fmla="*/ 3792797 w 7015783"/>
              <a:gd name="connsiteY8" fmla="*/ 3737310 h 6746552"/>
              <a:gd name="connsiteX9" fmla="*/ 2496056 w 7015783"/>
              <a:gd name="connsiteY9" fmla="*/ 6740934 h 6746552"/>
              <a:gd name="connsiteX10" fmla="*/ 0 w 7015783"/>
              <a:gd name="connsiteY10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51 h 6746552"/>
              <a:gd name="connsiteX4" fmla="*/ 2980474 w 7015783"/>
              <a:gd name="connsiteY4" fmla="*/ 1093803 h 6746552"/>
              <a:gd name="connsiteX5" fmla="*/ 4249439 w 7015783"/>
              <a:gd name="connsiteY5" fmla="*/ 496640 h 6746552"/>
              <a:gd name="connsiteX6" fmla="*/ 7015783 w 7015783"/>
              <a:gd name="connsiteY6" fmla="*/ 128721 h 6746552"/>
              <a:gd name="connsiteX7" fmla="*/ 6868168 w 7015783"/>
              <a:gd name="connsiteY7" fmla="*/ 2620408 h 6746552"/>
              <a:gd name="connsiteX8" fmla="*/ 3792797 w 7015783"/>
              <a:gd name="connsiteY8" fmla="*/ 3737310 h 6746552"/>
              <a:gd name="connsiteX9" fmla="*/ 2496056 w 7015783"/>
              <a:gd name="connsiteY9" fmla="*/ 6740934 h 6746552"/>
              <a:gd name="connsiteX10" fmla="*/ 0 w 7015783"/>
              <a:gd name="connsiteY10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51 h 6746552"/>
              <a:gd name="connsiteX4" fmla="*/ 2980474 w 7015783"/>
              <a:gd name="connsiteY4" fmla="*/ 1093803 h 6746552"/>
              <a:gd name="connsiteX5" fmla="*/ 4249439 w 7015783"/>
              <a:gd name="connsiteY5" fmla="*/ 496640 h 6746552"/>
              <a:gd name="connsiteX6" fmla="*/ 7015783 w 7015783"/>
              <a:gd name="connsiteY6" fmla="*/ 128721 h 6746552"/>
              <a:gd name="connsiteX7" fmla="*/ 6868168 w 7015783"/>
              <a:gd name="connsiteY7" fmla="*/ 2620408 h 6746552"/>
              <a:gd name="connsiteX8" fmla="*/ 3792797 w 7015783"/>
              <a:gd name="connsiteY8" fmla="*/ 3737310 h 6746552"/>
              <a:gd name="connsiteX9" fmla="*/ 2496056 w 7015783"/>
              <a:gd name="connsiteY9" fmla="*/ 6740934 h 6746552"/>
              <a:gd name="connsiteX10" fmla="*/ 0 w 7015783"/>
              <a:gd name="connsiteY10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244980 w 7015783"/>
              <a:gd name="connsiteY3" fmla="*/ 2686225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566956 w 7015783"/>
              <a:gd name="connsiteY2" fmla="*/ 3725032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529634 w 7015783"/>
              <a:gd name="connsiteY2" fmla="*/ 3749914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6885157"/>
              <a:gd name="connsiteY0" fmla="*/ 6643651 h 6643651"/>
              <a:gd name="connsiteX1" fmla="*/ 7120 w 6885157"/>
              <a:gd name="connsiteY1" fmla="*/ 5226996 h 6643651"/>
              <a:gd name="connsiteX2" fmla="*/ 529634 w 6885157"/>
              <a:gd name="connsiteY2" fmla="*/ 3647013 h 6643651"/>
              <a:gd name="connsiteX3" fmla="*/ 1207655 w 6885157"/>
              <a:gd name="connsiteY3" fmla="*/ 2583327 h 6643651"/>
              <a:gd name="connsiteX4" fmla="*/ 1874313 w 6885157"/>
              <a:gd name="connsiteY4" fmla="*/ 1836450 h 6643651"/>
              <a:gd name="connsiteX5" fmla="*/ 2980474 w 6885157"/>
              <a:gd name="connsiteY5" fmla="*/ 990902 h 6643651"/>
              <a:gd name="connsiteX6" fmla="*/ 4249439 w 6885157"/>
              <a:gd name="connsiteY6" fmla="*/ 393739 h 6643651"/>
              <a:gd name="connsiteX7" fmla="*/ 6885157 w 6885157"/>
              <a:gd name="connsiteY7" fmla="*/ 156449 h 6643651"/>
              <a:gd name="connsiteX8" fmla="*/ 6868168 w 6885157"/>
              <a:gd name="connsiteY8" fmla="*/ 2517507 h 6643651"/>
              <a:gd name="connsiteX9" fmla="*/ 3792797 w 6885157"/>
              <a:gd name="connsiteY9" fmla="*/ 3634409 h 6643651"/>
              <a:gd name="connsiteX10" fmla="*/ 2496056 w 6885157"/>
              <a:gd name="connsiteY10" fmla="*/ 6638033 h 6643651"/>
              <a:gd name="connsiteX11" fmla="*/ 0 w 6885157"/>
              <a:gd name="connsiteY11" fmla="*/ 6643651 h 6643651"/>
              <a:gd name="connsiteX0" fmla="*/ 0 w 6868168"/>
              <a:gd name="connsiteY0" fmla="*/ 6713153 h 6713153"/>
              <a:gd name="connsiteX1" fmla="*/ 7120 w 6868168"/>
              <a:gd name="connsiteY1" fmla="*/ 5296498 h 6713153"/>
              <a:gd name="connsiteX2" fmla="*/ 529634 w 6868168"/>
              <a:gd name="connsiteY2" fmla="*/ 3716515 h 6713153"/>
              <a:gd name="connsiteX3" fmla="*/ 1207655 w 6868168"/>
              <a:gd name="connsiteY3" fmla="*/ 2652829 h 6713153"/>
              <a:gd name="connsiteX4" fmla="*/ 1874313 w 6868168"/>
              <a:gd name="connsiteY4" fmla="*/ 1905952 h 6713153"/>
              <a:gd name="connsiteX5" fmla="*/ 2980474 w 6868168"/>
              <a:gd name="connsiteY5" fmla="*/ 1060404 h 6713153"/>
              <a:gd name="connsiteX6" fmla="*/ 4249439 w 6868168"/>
              <a:gd name="connsiteY6" fmla="*/ 463241 h 6713153"/>
              <a:gd name="connsiteX7" fmla="*/ 6860966 w 6868168"/>
              <a:gd name="connsiteY7" fmla="*/ 136447 h 6713153"/>
              <a:gd name="connsiteX8" fmla="*/ 6868168 w 6868168"/>
              <a:gd name="connsiteY8" fmla="*/ 2587009 h 6713153"/>
              <a:gd name="connsiteX9" fmla="*/ 3792797 w 6868168"/>
              <a:gd name="connsiteY9" fmla="*/ 3703911 h 6713153"/>
              <a:gd name="connsiteX10" fmla="*/ 2496056 w 6868168"/>
              <a:gd name="connsiteY10" fmla="*/ 6707535 h 6713153"/>
              <a:gd name="connsiteX11" fmla="*/ 0 w 6868168"/>
              <a:gd name="connsiteY11" fmla="*/ 6713153 h 6713153"/>
              <a:gd name="connsiteX0" fmla="*/ 0 w 6868168"/>
              <a:gd name="connsiteY0" fmla="*/ 6606648 h 6606648"/>
              <a:gd name="connsiteX1" fmla="*/ 7120 w 6868168"/>
              <a:gd name="connsiteY1" fmla="*/ 5189993 h 6606648"/>
              <a:gd name="connsiteX2" fmla="*/ 529634 w 6868168"/>
              <a:gd name="connsiteY2" fmla="*/ 3610010 h 6606648"/>
              <a:gd name="connsiteX3" fmla="*/ 1207655 w 6868168"/>
              <a:gd name="connsiteY3" fmla="*/ 2546324 h 6606648"/>
              <a:gd name="connsiteX4" fmla="*/ 1874313 w 6868168"/>
              <a:gd name="connsiteY4" fmla="*/ 1799447 h 6606648"/>
              <a:gd name="connsiteX5" fmla="*/ 2980474 w 6868168"/>
              <a:gd name="connsiteY5" fmla="*/ 953899 h 6606648"/>
              <a:gd name="connsiteX6" fmla="*/ 4249439 w 6868168"/>
              <a:gd name="connsiteY6" fmla="*/ 356736 h 6606648"/>
              <a:gd name="connsiteX7" fmla="*/ 6860966 w 6868168"/>
              <a:gd name="connsiteY7" fmla="*/ 29942 h 6606648"/>
              <a:gd name="connsiteX8" fmla="*/ 6868168 w 6868168"/>
              <a:gd name="connsiteY8" fmla="*/ 2480504 h 6606648"/>
              <a:gd name="connsiteX9" fmla="*/ 3792797 w 6868168"/>
              <a:gd name="connsiteY9" fmla="*/ 3597406 h 6606648"/>
              <a:gd name="connsiteX10" fmla="*/ 2496056 w 6868168"/>
              <a:gd name="connsiteY10" fmla="*/ 6601030 h 6606648"/>
              <a:gd name="connsiteX11" fmla="*/ 0 w 6868168"/>
              <a:gd name="connsiteY11" fmla="*/ 6606648 h 6606648"/>
              <a:gd name="connsiteX0" fmla="*/ 0 w 6868168"/>
              <a:gd name="connsiteY0" fmla="*/ 6606648 h 6606648"/>
              <a:gd name="connsiteX1" fmla="*/ 7120 w 6868168"/>
              <a:gd name="connsiteY1" fmla="*/ 5189993 h 6606648"/>
              <a:gd name="connsiteX2" fmla="*/ 529634 w 6868168"/>
              <a:gd name="connsiteY2" fmla="*/ 3610010 h 6606648"/>
              <a:gd name="connsiteX3" fmla="*/ 1207655 w 6868168"/>
              <a:gd name="connsiteY3" fmla="*/ 2546324 h 6606648"/>
              <a:gd name="connsiteX4" fmla="*/ 1874313 w 6868168"/>
              <a:gd name="connsiteY4" fmla="*/ 1799447 h 6606648"/>
              <a:gd name="connsiteX5" fmla="*/ 2980474 w 6868168"/>
              <a:gd name="connsiteY5" fmla="*/ 953899 h 6606648"/>
              <a:gd name="connsiteX6" fmla="*/ 4249439 w 6868168"/>
              <a:gd name="connsiteY6" fmla="*/ 356736 h 6606648"/>
              <a:gd name="connsiteX7" fmla="*/ 6860966 w 6868168"/>
              <a:gd name="connsiteY7" fmla="*/ 29942 h 6606648"/>
              <a:gd name="connsiteX8" fmla="*/ 6868168 w 6868168"/>
              <a:gd name="connsiteY8" fmla="*/ 2480504 h 6606648"/>
              <a:gd name="connsiteX9" fmla="*/ 3792797 w 6868168"/>
              <a:gd name="connsiteY9" fmla="*/ 3597406 h 6606648"/>
              <a:gd name="connsiteX10" fmla="*/ 2496056 w 6868168"/>
              <a:gd name="connsiteY10" fmla="*/ 6601030 h 6606648"/>
              <a:gd name="connsiteX11" fmla="*/ 0 w 6868168"/>
              <a:gd name="connsiteY11" fmla="*/ 6606648 h 6606648"/>
              <a:gd name="connsiteX0" fmla="*/ 0 w 6868168"/>
              <a:gd name="connsiteY0" fmla="*/ 6606648 h 6606648"/>
              <a:gd name="connsiteX1" fmla="*/ 7120 w 6868168"/>
              <a:gd name="connsiteY1" fmla="*/ 5189993 h 6606648"/>
              <a:gd name="connsiteX2" fmla="*/ 529634 w 6868168"/>
              <a:gd name="connsiteY2" fmla="*/ 3610010 h 6606648"/>
              <a:gd name="connsiteX3" fmla="*/ 1207655 w 6868168"/>
              <a:gd name="connsiteY3" fmla="*/ 2546324 h 6606648"/>
              <a:gd name="connsiteX4" fmla="*/ 1874313 w 6868168"/>
              <a:gd name="connsiteY4" fmla="*/ 1799447 h 6606648"/>
              <a:gd name="connsiteX5" fmla="*/ 2980474 w 6868168"/>
              <a:gd name="connsiteY5" fmla="*/ 953899 h 6606648"/>
              <a:gd name="connsiteX6" fmla="*/ 4249439 w 6868168"/>
              <a:gd name="connsiteY6" fmla="*/ 356736 h 6606648"/>
              <a:gd name="connsiteX7" fmla="*/ 6860966 w 6868168"/>
              <a:gd name="connsiteY7" fmla="*/ 29942 h 6606648"/>
              <a:gd name="connsiteX8" fmla="*/ 6868168 w 6868168"/>
              <a:gd name="connsiteY8" fmla="*/ 2480504 h 6606648"/>
              <a:gd name="connsiteX9" fmla="*/ 3792797 w 6868168"/>
              <a:gd name="connsiteY9" fmla="*/ 3597406 h 6606648"/>
              <a:gd name="connsiteX10" fmla="*/ 2496056 w 6868168"/>
              <a:gd name="connsiteY10" fmla="*/ 6601030 h 6606648"/>
              <a:gd name="connsiteX11" fmla="*/ 0 w 6868168"/>
              <a:gd name="connsiteY11" fmla="*/ 6606648 h 660664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3792797 w 6868168"/>
              <a:gd name="connsiteY9" fmla="*/ 3597406 h 6611078"/>
              <a:gd name="connsiteX10" fmla="*/ 2335282 w 6868168"/>
              <a:gd name="connsiteY10" fmla="*/ 6611078 h 6611078"/>
              <a:gd name="connsiteX11" fmla="*/ 0 w 6868168"/>
              <a:gd name="connsiteY11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3672217 w 6868168"/>
              <a:gd name="connsiteY9" fmla="*/ 3476825 h 6611078"/>
              <a:gd name="connsiteX10" fmla="*/ 2335282 w 6868168"/>
              <a:gd name="connsiteY10" fmla="*/ 6611078 h 6611078"/>
              <a:gd name="connsiteX11" fmla="*/ 0 w 6868168"/>
              <a:gd name="connsiteY11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6228964 w 6868168"/>
              <a:gd name="connsiteY9" fmla="*/ 2478851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756691 w 6868168"/>
              <a:gd name="connsiteY9" fmla="*/ 2468803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756691 w 6868168"/>
              <a:gd name="connsiteY9" fmla="*/ 2468803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756691 w 6868168"/>
              <a:gd name="connsiteY9" fmla="*/ 2468803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776787 w 6868168"/>
              <a:gd name="connsiteY9" fmla="*/ 2488900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776787 w 6868168"/>
              <a:gd name="connsiteY9" fmla="*/ 2488900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548955 w 6868168"/>
              <a:gd name="connsiteY11" fmla="*/ 5269537 h 6611078"/>
              <a:gd name="connsiteX12" fmla="*/ 2335282 w 6868168"/>
              <a:gd name="connsiteY12" fmla="*/ 6611078 h 6611078"/>
              <a:gd name="connsiteX13" fmla="*/ 0 w 6868168"/>
              <a:gd name="connsiteY13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335282 w 6868168"/>
              <a:gd name="connsiteY12" fmla="*/ 6611078 h 6611078"/>
              <a:gd name="connsiteX13" fmla="*/ 0 w 6868168"/>
              <a:gd name="connsiteY13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335282 w 6868168"/>
              <a:gd name="connsiteY12" fmla="*/ 6611078 h 6611078"/>
              <a:gd name="connsiteX13" fmla="*/ 0 w 6868168"/>
              <a:gd name="connsiteY13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27575 w 6868168"/>
              <a:gd name="connsiteY12" fmla="*/ 5698414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27575 w 6868168"/>
              <a:gd name="connsiteY12" fmla="*/ 5698414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68036 w 6868168"/>
              <a:gd name="connsiteY12" fmla="*/ 5463745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39849 w 6868168"/>
              <a:gd name="connsiteY10" fmla="*/ 3501101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39849 w 6868168"/>
              <a:gd name="connsiteY10" fmla="*/ 3501101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39849 w 6868168"/>
              <a:gd name="connsiteY10" fmla="*/ 3501101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971886 w 6868168"/>
              <a:gd name="connsiteY9" fmla="*/ 2526337 h 6611078"/>
              <a:gd name="connsiteX10" fmla="*/ 4733003 w 6868168"/>
              <a:gd name="connsiteY10" fmla="*/ 2783326 h 6611078"/>
              <a:gd name="connsiteX11" fmla="*/ 3639849 w 6868168"/>
              <a:gd name="connsiteY11" fmla="*/ 3501101 h 6611078"/>
              <a:gd name="connsiteX12" fmla="*/ 2896913 w 6868168"/>
              <a:gd name="connsiteY12" fmla="*/ 4411781 h 6611078"/>
              <a:gd name="connsiteX13" fmla="*/ 2435668 w 6868168"/>
              <a:gd name="connsiteY13" fmla="*/ 5471837 h 6611078"/>
              <a:gd name="connsiteX14" fmla="*/ 2335282 w 6868168"/>
              <a:gd name="connsiteY14" fmla="*/ 6611078 h 6611078"/>
              <a:gd name="connsiteX15" fmla="*/ 0 w 6868168"/>
              <a:gd name="connsiteY15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955702 w 6868168"/>
              <a:gd name="connsiteY9" fmla="*/ 2453508 h 6611078"/>
              <a:gd name="connsiteX10" fmla="*/ 4733003 w 6868168"/>
              <a:gd name="connsiteY10" fmla="*/ 2783326 h 6611078"/>
              <a:gd name="connsiteX11" fmla="*/ 3639849 w 6868168"/>
              <a:gd name="connsiteY11" fmla="*/ 3501101 h 6611078"/>
              <a:gd name="connsiteX12" fmla="*/ 2896913 w 6868168"/>
              <a:gd name="connsiteY12" fmla="*/ 4411781 h 6611078"/>
              <a:gd name="connsiteX13" fmla="*/ 2435668 w 6868168"/>
              <a:gd name="connsiteY13" fmla="*/ 5471837 h 6611078"/>
              <a:gd name="connsiteX14" fmla="*/ 2335282 w 6868168"/>
              <a:gd name="connsiteY14" fmla="*/ 6611078 h 6611078"/>
              <a:gd name="connsiteX15" fmla="*/ 0 w 6868168"/>
              <a:gd name="connsiteY15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955702 w 6868168"/>
              <a:gd name="connsiteY9" fmla="*/ 2453508 h 6611078"/>
              <a:gd name="connsiteX10" fmla="*/ 4733003 w 6868168"/>
              <a:gd name="connsiteY10" fmla="*/ 2783326 h 6611078"/>
              <a:gd name="connsiteX11" fmla="*/ 3639849 w 6868168"/>
              <a:gd name="connsiteY11" fmla="*/ 3501101 h 6611078"/>
              <a:gd name="connsiteX12" fmla="*/ 2896913 w 6868168"/>
              <a:gd name="connsiteY12" fmla="*/ 4411781 h 6611078"/>
              <a:gd name="connsiteX13" fmla="*/ 2435668 w 6868168"/>
              <a:gd name="connsiteY13" fmla="*/ 5471837 h 6611078"/>
              <a:gd name="connsiteX14" fmla="*/ 2335282 w 6868168"/>
              <a:gd name="connsiteY14" fmla="*/ 6611078 h 6611078"/>
              <a:gd name="connsiteX15" fmla="*/ 0 w 6868168"/>
              <a:gd name="connsiteY15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955702 w 6868168"/>
              <a:gd name="connsiteY9" fmla="*/ 2469692 h 6611078"/>
              <a:gd name="connsiteX10" fmla="*/ 4733003 w 6868168"/>
              <a:gd name="connsiteY10" fmla="*/ 2783326 h 6611078"/>
              <a:gd name="connsiteX11" fmla="*/ 3639849 w 6868168"/>
              <a:gd name="connsiteY11" fmla="*/ 3501101 h 6611078"/>
              <a:gd name="connsiteX12" fmla="*/ 2896913 w 6868168"/>
              <a:gd name="connsiteY12" fmla="*/ 4411781 h 6611078"/>
              <a:gd name="connsiteX13" fmla="*/ 2435668 w 6868168"/>
              <a:gd name="connsiteY13" fmla="*/ 5471837 h 6611078"/>
              <a:gd name="connsiteX14" fmla="*/ 2335282 w 6868168"/>
              <a:gd name="connsiteY14" fmla="*/ 6611078 h 6611078"/>
              <a:gd name="connsiteX15" fmla="*/ 0 w 6868168"/>
              <a:gd name="connsiteY15" fmla="*/ 6606648 h 6611078"/>
              <a:gd name="connsiteX0" fmla="*/ 1562 w 6861638"/>
              <a:gd name="connsiteY0" fmla="*/ 6606648 h 6611078"/>
              <a:gd name="connsiteX1" fmla="*/ 590 w 6861638"/>
              <a:gd name="connsiteY1" fmla="*/ 5189993 h 6611078"/>
              <a:gd name="connsiteX2" fmla="*/ 523104 w 6861638"/>
              <a:gd name="connsiteY2" fmla="*/ 3610010 h 6611078"/>
              <a:gd name="connsiteX3" fmla="*/ 1201125 w 6861638"/>
              <a:gd name="connsiteY3" fmla="*/ 2546324 h 6611078"/>
              <a:gd name="connsiteX4" fmla="*/ 1867783 w 6861638"/>
              <a:gd name="connsiteY4" fmla="*/ 1799447 h 6611078"/>
              <a:gd name="connsiteX5" fmla="*/ 2973944 w 6861638"/>
              <a:gd name="connsiteY5" fmla="*/ 953899 h 6611078"/>
              <a:gd name="connsiteX6" fmla="*/ 4242909 w 6861638"/>
              <a:gd name="connsiteY6" fmla="*/ 356736 h 6611078"/>
              <a:gd name="connsiteX7" fmla="*/ 6854436 w 6861638"/>
              <a:gd name="connsiteY7" fmla="*/ 29942 h 6611078"/>
              <a:gd name="connsiteX8" fmla="*/ 6861638 w 6861638"/>
              <a:gd name="connsiteY8" fmla="*/ 2480504 h 6611078"/>
              <a:gd name="connsiteX9" fmla="*/ 5949172 w 6861638"/>
              <a:gd name="connsiteY9" fmla="*/ 2469692 h 6611078"/>
              <a:gd name="connsiteX10" fmla="*/ 4726473 w 6861638"/>
              <a:gd name="connsiteY10" fmla="*/ 2783326 h 6611078"/>
              <a:gd name="connsiteX11" fmla="*/ 3633319 w 6861638"/>
              <a:gd name="connsiteY11" fmla="*/ 3501101 h 6611078"/>
              <a:gd name="connsiteX12" fmla="*/ 2890383 w 6861638"/>
              <a:gd name="connsiteY12" fmla="*/ 4411781 h 6611078"/>
              <a:gd name="connsiteX13" fmla="*/ 2429138 w 6861638"/>
              <a:gd name="connsiteY13" fmla="*/ 5471837 h 6611078"/>
              <a:gd name="connsiteX14" fmla="*/ 2328752 w 6861638"/>
              <a:gd name="connsiteY14" fmla="*/ 6611078 h 6611078"/>
              <a:gd name="connsiteX15" fmla="*/ 1562 w 6861638"/>
              <a:gd name="connsiteY15" fmla="*/ 6606648 h 6611078"/>
              <a:gd name="connsiteX0" fmla="*/ 1562 w 6861638"/>
              <a:gd name="connsiteY0" fmla="*/ 6606648 h 6611078"/>
              <a:gd name="connsiteX1" fmla="*/ 590 w 6861638"/>
              <a:gd name="connsiteY1" fmla="*/ 5189993 h 6611078"/>
              <a:gd name="connsiteX2" fmla="*/ 523104 w 6861638"/>
              <a:gd name="connsiteY2" fmla="*/ 3610010 h 6611078"/>
              <a:gd name="connsiteX3" fmla="*/ 1201125 w 6861638"/>
              <a:gd name="connsiteY3" fmla="*/ 2546324 h 6611078"/>
              <a:gd name="connsiteX4" fmla="*/ 1867783 w 6861638"/>
              <a:gd name="connsiteY4" fmla="*/ 1799447 h 6611078"/>
              <a:gd name="connsiteX5" fmla="*/ 2973944 w 6861638"/>
              <a:gd name="connsiteY5" fmla="*/ 953899 h 6611078"/>
              <a:gd name="connsiteX6" fmla="*/ 4242909 w 6861638"/>
              <a:gd name="connsiteY6" fmla="*/ 356736 h 6611078"/>
              <a:gd name="connsiteX7" fmla="*/ 6854436 w 6861638"/>
              <a:gd name="connsiteY7" fmla="*/ 29942 h 6611078"/>
              <a:gd name="connsiteX8" fmla="*/ 6861638 w 6861638"/>
              <a:gd name="connsiteY8" fmla="*/ 2480504 h 6611078"/>
              <a:gd name="connsiteX9" fmla="*/ 5949172 w 6861638"/>
              <a:gd name="connsiteY9" fmla="*/ 2469692 h 6611078"/>
              <a:gd name="connsiteX10" fmla="*/ 4726473 w 6861638"/>
              <a:gd name="connsiteY10" fmla="*/ 2783326 h 6611078"/>
              <a:gd name="connsiteX11" fmla="*/ 3633319 w 6861638"/>
              <a:gd name="connsiteY11" fmla="*/ 3501101 h 6611078"/>
              <a:gd name="connsiteX12" fmla="*/ 2890383 w 6861638"/>
              <a:gd name="connsiteY12" fmla="*/ 4411781 h 6611078"/>
              <a:gd name="connsiteX13" fmla="*/ 2429138 w 6861638"/>
              <a:gd name="connsiteY13" fmla="*/ 5471837 h 6611078"/>
              <a:gd name="connsiteX14" fmla="*/ 2328752 w 6861638"/>
              <a:gd name="connsiteY14" fmla="*/ 6611078 h 6611078"/>
              <a:gd name="connsiteX15" fmla="*/ 1562 w 6861638"/>
              <a:gd name="connsiteY15" fmla="*/ 6606648 h 6611078"/>
              <a:gd name="connsiteX0" fmla="*/ 1562 w 6861638"/>
              <a:gd name="connsiteY0" fmla="*/ 6606648 h 6611078"/>
              <a:gd name="connsiteX1" fmla="*/ 590 w 6861638"/>
              <a:gd name="connsiteY1" fmla="*/ 5189993 h 6611078"/>
              <a:gd name="connsiteX2" fmla="*/ 523104 w 6861638"/>
              <a:gd name="connsiteY2" fmla="*/ 3610010 h 6611078"/>
              <a:gd name="connsiteX3" fmla="*/ 1201125 w 6861638"/>
              <a:gd name="connsiteY3" fmla="*/ 2546324 h 6611078"/>
              <a:gd name="connsiteX4" fmla="*/ 1867783 w 6861638"/>
              <a:gd name="connsiteY4" fmla="*/ 1799447 h 6611078"/>
              <a:gd name="connsiteX5" fmla="*/ 2973944 w 6861638"/>
              <a:gd name="connsiteY5" fmla="*/ 953899 h 6611078"/>
              <a:gd name="connsiteX6" fmla="*/ 4242909 w 6861638"/>
              <a:gd name="connsiteY6" fmla="*/ 356736 h 6611078"/>
              <a:gd name="connsiteX7" fmla="*/ 6854436 w 6861638"/>
              <a:gd name="connsiteY7" fmla="*/ 29942 h 6611078"/>
              <a:gd name="connsiteX8" fmla="*/ 6861638 w 6861638"/>
              <a:gd name="connsiteY8" fmla="*/ 2480504 h 6611078"/>
              <a:gd name="connsiteX9" fmla="*/ 5949172 w 6861638"/>
              <a:gd name="connsiteY9" fmla="*/ 2469692 h 6611078"/>
              <a:gd name="connsiteX10" fmla="*/ 4726473 w 6861638"/>
              <a:gd name="connsiteY10" fmla="*/ 2783326 h 6611078"/>
              <a:gd name="connsiteX11" fmla="*/ 3633319 w 6861638"/>
              <a:gd name="connsiteY11" fmla="*/ 3501101 h 6611078"/>
              <a:gd name="connsiteX12" fmla="*/ 2890383 w 6861638"/>
              <a:gd name="connsiteY12" fmla="*/ 4411781 h 6611078"/>
              <a:gd name="connsiteX13" fmla="*/ 2429138 w 6861638"/>
              <a:gd name="connsiteY13" fmla="*/ 5471837 h 6611078"/>
              <a:gd name="connsiteX14" fmla="*/ 2328752 w 6861638"/>
              <a:gd name="connsiteY14" fmla="*/ 6611078 h 6611078"/>
              <a:gd name="connsiteX15" fmla="*/ 1562 w 6861638"/>
              <a:gd name="connsiteY15" fmla="*/ 6606648 h 6611078"/>
              <a:gd name="connsiteX0" fmla="*/ 1562 w 6861638"/>
              <a:gd name="connsiteY0" fmla="*/ 6606648 h 6606648"/>
              <a:gd name="connsiteX1" fmla="*/ 590 w 6861638"/>
              <a:gd name="connsiteY1" fmla="*/ 5189993 h 6606648"/>
              <a:gd name="connsiteX2" fmla="*/ 523104 w 6861638"/>
              <a:gd name="connsiteY2" fmla="*/ 3610010 h 6606648"/>
              <a:gd name="connsiteX3" fmla="*/ 1201125 w 6861638"/>
              <a:gd name="connsiteY3" fmla="*/ 2546324 h 6606648"/>
              <a:gd name="connsiteX4" fmla="*/ 1867783 w 6861638"/>
              <a:gd name="connsiteY4" fmla="*/ 1799447 h 6606648"/>
              <a:gd name="connsiteX5" fmla="*/ 2973944 w 6861638"/>
              <a:gd name="connsiteY5" fmla="*/ 953899 h 6606648"/>
              <a:gd name="connsiteX6" fmla="*/ 4242909 w 6861638"/>
              <a:gd name="connsiteY6" fmla="*/ 356736 h 6606648"/>
              <a:gd name="connsiteX7" fmla="*/ 6854436 w 6861638"/>
              <a:gd name="connsiteY7" fmla="*/ 29942 h 6606648"/>
              <a:gd name="connsiteX8" fmla="*/ 6861638 w 6861638"/>
              <a:gd name="connsiteY8" fmla="*/ 2480504 h 6606648"/>
              <a:gd name="connsiteX9" fmla="*/ 5949172 w 6861638"/>
              <a:gd name="connsiteY9" fmla="*/ 2469692 h 6606648"/>
              <a:gd name="connsiteX10" fmla="*/ 4726473 w 6861638"/>
              <a:gd name="connsiteY10" fmla="*/ 2783326 h 6606648"/>
              <a:gd name="connsiteX11" fmla="*/ 3633319 w 6861638"/>
              <a:gd name="connsiteY11" fmla="*/ 3501101 h 6606648"/>
              <a:gd name="connsiteX12" fmla="*/ 2890383 w 6861638"/>
              <a:gd name="connsiteY12" fmla="*/ 4411781 h 6606648"/>
              <a:gd name="connsiteX13" fmla="*/ 2429138 w 6861638"/>
              <a:gd name="connsiteY13" fmla="*/ 5471837 h 6606648"/>
              <a:gd name="connsiteX14" fmla="*/ 2328752 w 6861638"/>
              <a:gd name="connsiteY14" fmla="*/ 6602200 h 6606648"/>
              <a:gd name="connsiteX15" fmla="*/ 1562 w 6861638"/>
              <a:gd name="connsiteY15" fmla="*/ 6606648 h 6606648"/>
              <a:gd name="connsiteX0" fmla="*/ 0 w 6865995"/>
              <a:gd name="connsiteY0" fmla="*/ 6606648 h 6606648"/>
              <a:gd name="connsiteX1" fmla="*/ 4947 w 6865995"/>
              <a:gd name="connsiteY1" fmla="*/ 5189993 h 6606648"/>
              <a:gd name="connsiteX2" fmla="*/ 527461 w 6865995"/>
              <a:gd name="connsiteY2" fmla="*/ 3610010 h 6606648"/>
              <a:gd name="connsiteX3" fmla="*/ 1205482 w 6865995"/>
              <a:gd name="connsiteY3" fmla="*/ 2546324 h 6606648"/>
              <a:gd name="connsiteX4" fmla="*/ 1872140 w 6865995"/>
              <a:gd name="connsiteY4" fmla="*/ 1799447 h 6606648"/>
              <a:gd name="connsiteX5" fmla="*/ 2978301 w 6865995"/>
              <a:gd name="connsiteY5" fmla="*/ 953899 h 6606648"/>
              <a:gd name="connsiteX6" fmla="*/ 4247266 w 6865995"/>
              <a:gd name="connsiteY6" fmla="*/ 356736 h 6606648"/>
              <a:gd name="connsiteX7" fmla="*/ 6858793 w 6865995"/>
              <a:gd name="connsiteY7" fmla="*/ 29942 h 6606648"/>
              <a:gd name="connsiteX8" fmla="*/ 6865995 w 6865995"/>
              <a:gd name="connsiteY8" fmla="*/ 2480504 h 6606648"/>
              <a:gd name="connsiteX9" fmla="*/ 5953529 w 6865995"/>
              <a:gd name="connsiteY9" fmla="*/ 2469692 h 6606648"/>
              <a:gd name="connsiteX10" fmla="*/ 4730830 w 6865995"/>
              <a:gd name="connsiteY10" fmla="*/ 2783326 h 6606648"/>
              <a:gd name="connsiteX11" fmla="*/ 3637676 w 6865995"/>
              <a:gd name="connsiteY11" fmla="*/ 3501101 h 6606648"/>
              <a:gd name="connsiteX12" fmla="*/ 2894740 w 6865995"/>
              <a:gd name="connsiteY12" fmla="*/ 4411781 h 6606648"/>
              <a:gd name="connsiteX13" fmla="*/ 2433495 w 6865995"/>
              <a:gd name="connsiteY13" fmla="*/ 5471837 h 6606648"/>
              <a:gd name="connsiteX14" fmla="*/ 2333109 w 6865995"/>
              <a:gd name="connsiteY14" fmla="*/ 6602200 h 6606648"/>
              <a:gd name="connsiteX15" fmla="*/ 0 w 6865995"/>
              <a:gd name="connsiteY15" fmla="*/ 6606648 h 6606648"/>
              <a:gd name="connsiteX0" fmla="*/ 1560 w 6867555"/>
              <a:gd name="connsiteY0" fmla="*/ 6606648 h 6606648"/>
              <a:gd name="connsiteX1" fmla="*/ 589 w 6867555"/>
              <a:gd name="connsiteY1" fmla="*/ 5195912 h 6606648"/>
              <a:gd name="connsiteX2" fmla="*/ 529021 w 6867555"/>
              <a:gd name="connsiteY2" fmla="*/ 3610010 h 6606648"/>
              <a:gd name="connsiteX3" fmla="*/ 1207042 w 6867555"/>
              <a:gd name="connsiteY3" fmla="*/ 2546324 h 6606648"/>
              <a:gd name="connsiteX4" fmla="*/ 1873700 w 6867555"/>
              <a:gd name="connsiteY4" fmla="*/ 1799447 h 6606648"/>
              <a:gd name="connsiteX5" fmla="*/ 2979861 w 6867555"/>
              <a:gd name="connsiteY5" fmla="*/ 953899 h 6606648"/>
              <a:gd name="connsiteX6" fmla="*/ 4248826 w 6867555"/>
              <a:gd name="connsiteY6" fmla="*/ 356736 h 6606648"/>
              <a:gd name="connsiteX7" fmla="*/ 6860353 w 6867555"/>
              <a:gd name="connsiteY7" fmla="*/ 29942 h 6606648"/>
              <a:gd name="connsiteX8" fmla="*/ 6867555 w 6867555"/>
              <a:gd name="connsiteY8" fmla="*/ 2480504 h 6606648"/>
              <a:gd name="connsiteX9" fmla="*/ 5955089 w 6867555"/>
              <a:gd name="connsiteY9" fmla="*/ 2469692 h 6606648"/>
              <a:gd name="connsiteX10" fmla="*/ 4732390 w 6867555"/>
              <a:gd name="connsiteY10" fmla="*/ 2783326 h 6606648"/>
              <a:gd name="connsiteX11" fmla="*/ 3639236 w 6867555"/>
              <a:gd name="connsiteY11" fmla="*/ 3501101 h 6606648"/>
              <a:gd name="connsiteX12" fmla="*/ 2896300 w 6867555"/>
              <a:gd name="connsiteY12" fmla="*/ 4411781 h 6606648"/>
              <a:gd name="connsiteX13" fmla="*/ 2435055 w 6867555"/>
              <a:gd name="connsiteY13" fmla="*/ 5471837 h 6606648"/>
              <a:gd name="connsiteX14" fmla="*/ 2334669 w 6867555"/>
              <a:gd name="connsiteY14" fmla="*/ 6602200 h 6606648"/>
              <a:gd name="connsiteX15" fmla="*/ 1560 w 6867555"/>
              <a:gd name="connsiteY15" fmla="*/ 6606648 h 6606648"/>
              <a:gd name="connsiteX0" fmla="*/ 1560 w 6860569"/>
              <a:gd name="connsiteY0" fmla="*/ 6606648 h 6606648"/>
              <a:gd name="connsiteX1" fmla="*/ 589 w 6860569"/>
              <a:gd name="connsiteY1" fmla="*/ 5195912 h 6606648"/>
              <a:gd name="connsiteX2" fmla="*/ 529021 w 6860569"/>
              <a:gd name="connsiteY2" fmla="*/ 3610010 h 6606648"/>
              <a:gd name="connsiteX3" fmla="*/ 1207042 w 6860569"/>
              <a:gd name="connsiteY3" fmla="*/ 2546324 h 6606648"/>
              <a:gd name="connsiteX4" fmla="*/ 1873700 w 6860569"/>
              <a:gd name="connsiteY4" fmla="*/ 1799447 h 6606648"/>
              <a:gd name="connsiteX5" fmla="*/ 2979861 w 6860569"/>
              <a:gd name="connsiteY5" fmla="*/ 953899 h 6606648"/>
              <a:gd name="connsiteX6" fmla="*/ 4248826 w 6860569"/>
              <a:gd name="connsiteY6" fmla="*/ 356736 h 6606648"/>
              <a:gd name="connsiteX7" fmla="*/ 6860353 w 6860569"/>
              <a:gd name="connsiteY7" fmla="*/ 29942 h 6606648"/>
              <a:gd name="connsiteX8" fmla="*/ 6846775 w 6860569"/>
              <a:gd name="connsiteY8" fmla="*/ 3727414 h 6606648"/>
              <a:gd name="connsiteX9" fmla="*/ 5955089 w 6860569"/>
              <a:gd name="connsiteY9" fmla="*/ 2469692 h 6606648"/>
              <a:gd name="connsiteX10" fmla="*/ 4732390 w 6860569"/>
              <a:gd name="connsiteY10" fmla="*/ 2783326 h 6606648"/>
              <a:gd name="connsiteX11" fmla="*/ 3639236 w 6860569"/>
              <a:gd name="connsiteY11" fmla="*/ 3501101 h 6606648"/>
              <a:gd name="connsiteX12" fmla="*/ 2896300 w 6860569"/>
              <a:gd name="connsiteY12" fmla="*/ 4411781 h 6606648"/>
              <a:gd name="connsiteX13" fmla="*/ 2435055 w 6860569"/>
              <a:gd name="connsiteY13" fmla="*/ 5471837 h 6606648"/>
              <a:gd name="connsiteX14" fmla="*/ 2334669 w 6860569"/>
              <a:gd name="connsiteY14" fmla="*/ 6602200 h 6606648"/>
              <a:gd name="connsiteX15" fmla="*/ 1560 w 6860569"/>
              <a:gd name="connsiteY15" fmla="*/ 6606648 h 6606648"/>
              <a:gd name="connsiteX0" fmla="*/ 1560 w 6860569"/>
              <a:gd name="connsiteY0" fmla="*/ 6606648 h 6606648"/>
              <a:gd name="connsiteX1" fmla="*/ 589 w 6860569"/>
              <a:gd name="connsiteY1" fmla="*/ 5195912 h 6606648"/>
              <a:gd name="connsiteX2" fmla="*/ 529021 w 6860569"/>
              <a:gd name="connsiteY2" fmla="*/ 3610010 h 6606648"/>
              <a:gd name="connsiteX3" fmla="*/ 1207042 w 6860569"/>
              <a:gd name="connsiteY3" fmla="*/ 2546324 h 6606648"/>
              <a:gd name="connsiteX4" fmla="*/ 1873700 w 6860569"/>
              <a:gd name="connsiteY4" fmla="*/ 1799447 h 6606648"/>
              <a:gd name="connsiteX5" fmla="*/ 2979861 w 6860569"/>
              <a:gd name="connsiteY5" fmla="*/ 953899 h 6606648"/>
              <a:gd name="connsiteX6" fmla="*/ 4248826 w 6860569"/>
              <a:gd name="connsiteY6" fmla="*/ 356736 h 6606648"/>
              <a:gd name="connsiteX7" fmla="*/ 6860353 w 6860569"/>
              <a:gd name="connsiteY7" fmla="*/ 29942 h 6606648"/>
              <a:gd name="connsiteX8" fmla="*/ 6846775 w 6860569"/>
              <a:gd name="connsiteY8" fmla="*/ 3727414 h 6606648"/>
              <a:gd name="connsiteX9" fmla="*/ 5955089 w 6860569"/>
              <a:gd name="connsiteY9" fmla="*/ 2469692 h 6606648"/>
              <a:gd name="connsiteX10" fmla="*/ 4732390 w 6860569"/>
              <a:gd name="connsiteY10" fmla="*/ 2783326 h 6606648"/>
              <a:gd name="connsiteX11" fmla="*/ 3639236 w 6860569"/>
              <a:gd name="connsiteY11" fmla="*/ 3501101 h 6606648"/>
              <a:gd name="connsiteX12" fmla="*/ 2896300 w 6860569"/>
              <a:gd name="connsiteY12" fmla="*/ 4411781 h 6606648"/>
              <a:gd name="connsiteX13" fmla="*/ 2435055 w 6860569"/>
              <a:gd name="connsiteY13" fmla="*/ 5471837 h 6606648"/>
              <a:gd name="connsiteX14" fmla="*/ 3477669 w 6860569"/>
              <a:gd name="connsiteY14" fmla="*/ 5916403 h 6606648"/>
              <a:gd name="connsiteX15" fmla="*/ 1560 w 6860569"/>
              <a:gd name="connsiteY15" fmla="*/ 6606648 h 6606648"/>
              <a:gd name="connsiteX0" fmla="*/ 0 w 6879791"/>
              <a:gd name="connsiteY0" fmla="*/ 5962412 h 5962412"/>
              <a:gd name="connsiteX1" fmla="*/ 19811 w 6879791"/>
              <a:gd name="connsiteY1" fmla="*/ 5195912 h 5962412"/>
              <a:gd name="connsiteX2" fmla="*/ 548243 w 6879791"/>
              <a:gd name="connsiteY2" fmla="*/ 3610010 h 5962412"/>
              <a:gd name="connsiteX3" fmla="*/ 1226264 w 6879791"/>
              <a:gd name="connsiteY3" fmla="*/ 2546324 h 5962412"/>
              <a:gd name="connsiteX4" fmla="*/ 1892922 w 6879791"/>
              <a:gd name="connsiteY4" fmla="*/ 1799447 h 5962412"/>
              <a:gd name="connsiteX5" fmla="*/ 2999083 w 6879791"/>
              <a:gd name="connsiteY5" fmla="*/ 953899 h 5962412"/>
              <a:gd name="connsiteX6" fmla="*/ 4268048 w 6879791"/>
              <a:gd name="connsiteY6" fmla="*/ 356736 h 5962412"/>
              <a:gd name="connsiteX7" fmla="*/ 6879575 w 6879791"/>
              <a:gd name="connsiteY7" fmla="*/ 29942 h 5962412"/>
              <a:gd name="connsiteX8" fmla="*/ 6865997 w 6879791"/>
              <a:gd name="connsiteY8" fmla="*/ 3727414 h 5962412"/>
              <a:gd name="connsiteX9" fmla="*/ 5974311 w 6879791"/>
              <a:gd name="connsiteY9" fmla="*/ 2469692 h 5962412"/>
              <a:gd name="connsiteX10" fmla="*/ 4751612 w 6879791"/>
              <a:gd name="connsiteY10" fmla="*/ 2783326 h 5962412"/>
              <a:gd name="connsiteX11" fmla="*/ 3658458 w 6879791"/>
              <a:gd name="connsiteY11" fmla="*/ 3501101 h 5962412"/>
              <a:gd name="connsiteX12" fmla="*/ 2915522 w 6879791"/>
              <a:gd name="connsiteY12" fmla="*/ 4411781 h 5962412"/>
              <a:gd name="connsiteX13" fmla="*/ 2454277 w 6879791"/>
              <a:gd name="connsiteY13" fmla="*/ 5471837 h 5962412"/>
              <a:gd name="connsiteX14" fmla="*/ 3496891 w 6879791"/>
              <a:gd name="connsiteY14" fmla="*/ 5916403 h 5962412"/>
              <a:gd name="connsiteX15" fmla="*/ 0 w 687979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49803 w 6881351"/>
              <a:gd name="connsiteY2" fmla="*/ 3610010 h 5962412"/>
              <a:gd name="connsiteX3" fmla="*/ 1227824 w 6881351"/>
              <a:gd name="connsiteY3" fmla="*/ 2546324 h 5962412"/>
              <a:gd name="connsiteX4" fmla="*/ 1894482 w 6881351"/>
              <a:gd name="connsiteY4" fmla="*/ 179944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49803 w 6881351"/>
              <a:gd name="connsiteY2" fmla="*/ 3610010 h 5962412"/>
              <a:gd name="connsiteX3" fmla="*/ 1227824 w 6881351"/>
              <a:gd name="connsiteY3" fmla="*/ 2546324 h 5962412"/>
              <a:gd name="connsiteX4" fmla="*/ 1894482 w 6881351"/>
              <a:gd name="connsiteY4" fmla="*/ 179944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29419 w 6881351"/>
              <a:gd name="connsiteY2" fmla="*/ 3595450 h 5962412"/>
              <a:gd name="connsiteX3" fmla="*/ 1227824 w 6881351"/>
              <a:gd name="connsiteY3" fmla="*/ 2546324 h 5962412"/>
              <a:gd name="connsiteX4" fmla="*/ 1894482 w 6881351"/>
              <a:gd name="connsiteY4" fmla="*/ 179944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29419 w 6881351"/>
              <a:gd name="connsiteY2" fmla="*/ 3595450 h 5962412"/>
              <a:gd name="connsiteX3" fmla="*/ 1268591 w 6881351"/>
              <a:gd name="connsiteY3" fmla="*/ 2575445 h 5962412"/>
              <a:gd name="connsiteX4" fmla="*/ 1894482 w 6881351"/>
              <a:gd name="connsiteY4" fmla="*/ 179944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29419 w 6881351"/>
              <a:gd name="connsiteY2" fmla="*/ 3595450 h 5962412"/>
              <a:gd name="connsiteX3" fmla="*/ 1268591 w 6881351"/>
              <a:gd name="connsiteY3" fmla="*/ 2575445 h 5962412"/>
              <a:gd name="connsiteX4" fmla="*/ 1894482 w 6881351"/>
              <a:gd name="connsiteY4" fmla="*/ 179944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29419 w 6881351"/>
              <a:gd name="connsiteY2" fmla="*/ 3595450 h 5962412"/>
              <a:gd name="connsiteX3" fmla="*/ 1268591 w 6881351"/>
              <a:gd name="connsiteY3" fmla="*/ 2575445 h 5962412"/>
              <a:gd name="connsiteX4" fmla="*/ 1961457 w 6881351"/>
              <a:gd name="connsiteY4" fmla="*/ 187807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51950 h 5951950"/>
              <a:gd name="connsiteX1" fmla="*/ 589 w 6881351"/>
              <a:gd name="connsiteY1" fmla="*/ 4665905 h 5951950"/>
              <a:gd name="connsiteX2" fmla="*/ 529419 w 6881351"/>
              <a:gd name="connsiteY2" fmla="*/ 3584988 h 5951950"/>
              <a:gd name="connsiteX3" fmla="*/ 1268591 w 6881351"/>
              <a:gd name="connsiteY3" fmla="*/ 2564983 h 5951950"/>
              <a:gd name="connsiteX4" fmla="*/ 1961457 w 6881351"/>
              <a:gd name="connsiteY4" fmla="*/ 1867615 h 5951950"/>
              <a:gd name="connsiteX5" fmla="*/ 3067620 w 6881351"/>
              <a:gd name="connsiteY5" fmla="*/ 1062836 h 5951950"/>
              <a:gd name="connsiteX6" fmla="*/ 4269608 w 6881351"/>
              <a:gd name="connsiteY6" fmla="*/ 346274 h 5951950"/>
              <a:gd name="connsiteX7" fmla="*/ 6881135 w 6881351"/>
              <a:gd name="connsiteY7" fmla="*/ 19480 h 5951950"/>
              <a:gd name="connsiteX8" fmla="*/ 6867557 w 6881351"/>
              <a:gd name="connsiteY8" fmla="*/ 3716952 h 5951950"/>
              <a:gd name="connsiteX9" fmla="*/ 5975871 w 6881351"/>
              <a:gd name="connsiteY9" fmla="*/ 2459230 h 5951950"/>
              <a:gd name="connsiteX10" fmla="*/ 4753172 w 6881351"/>
              <a:gd name="connsiteY10" fmla="*/ 2772864 h 5951950"/>
              <a:gd name="connsiteX11" fmla="*/ 3660018 w 6881351"/>
              <a:gd name="connsiteY11" fmla="*/ 3490639 h 5951950"/>
              <a:gd name="connsiteX12" fmla="*/ 2917082 w 6881351"/>
              <a:gd name="connsiteY12" fmla="*/ 4401319 h 5951950"/>
              <a:gd name="connsiteX13" fmla="*/ 2455837 w 6881351"/>
              <a:gd name="connsiteY13" fmla="*/ 5461375 h 5951950"/>
              <a:gd name="connsiteX14" fmla="*/ 3498451 w 6881351"/>
              <a:gd name="connsiteY14" fmla="*/ 5905941 h 5951950"/>
              <a:gd name="connsiteX15" fmla="*/ 1560 w 6881351"/>
              <a:gd name="connsiteY15" fmla="*/ 5951950 h 5951950"/>
              <a:gd name="connsiteX0" fmla="*/ 1560 w 6881351"/>
              <a:gd name="connsiteY0" fmla="*/ 5951950 h 5951950"/>
              <a:gd name="connsiteX1" fmla="*/ 589 w 6881351"/>
              <a:gd name="connsiteY1" fmla="*/ 4665905 h 5951950"/>
              <a:gd name="connsiteX2" fmla="*/ 529419 w 6881351"/>
              <a:gd name="connsiteY2" fmla="*/ 3584988 h 5951950"/>
              <a:gd name="connsiteX3" fmla="*/ 1268591 w 6881351"/>
              <a:gd name="connsiteY3" fmla="*/ 2564983 h 5951950"/>
              <a:gd name="connsiteX4" fmla="*/ 1961457 w 6881351"/>
              <a:gd name="connsiteY4" fmla="*/ 1867615 h 5951950"/>
              <a:gd name="connsiteX5" fmla="*/ 3067620 w 6881351"/>
              <a:gd name="connsiteY5" fmla="*/ 1062836 h 5951950"/>
              <a:gd name="connsiteX6" fmla="*/ 4269608 w 6881351"/>
              <a:gd name="connsiteY6" fmla="*/ 346274 h 5951950"/>
              <a:gd name="connsiteX7" fmla="*/ 6881135 w 6881351"/>
              <a:gd name="connsiteY7" fmla="*/ 19480 h 5951950"/>
              <a:gd name="connsiteX8" fmla="*/ 6867557 w 6881351"/>
              <a:gd name="connsiteY8" fmla="*/ 3716952 h 5951950"/>
              <a:gd name="connsiteX9" fmla="*/ 5975871 w 6881351"/>
              <a:gd name="connsiteY9" fmla="*/ 2459230 h 5951950"/>
              <a:gd name="connsiteX10" fmla="*/ 4753172 w 6881351"/>
              <a:gd name="connsiteY10" fmla="*/ 2772864 h 5951950"/>
              <a:gd name="connsiteX11" fmla="*/ 3660018 w 6881351"/>
              <a:gd name="connsiteY11" fmla="*/ 3490639 h 5951950"/>
              <a:gd name="connsiteX12" fmla="*/ 2917082 w 6881351"/>
              <a:gd name="connsiteY12" fmla="*/ 4401319 h 5951950"/>
              <a:gd name="connsiteX13" fmla="*/ 2455837 w 6881351"/>
              <a:gd name="connsiteY13" fmla="*/ 5461375 h 5951950"/>
              <a:gd name="connsiteX14" fmla="*/ 3498451 w 6881351"/>
              <a:gd name="connsiteY14" fmla="*/ 5905941 h 5951950"/>
              <a:gd name="connsiteX15" fmla="*/ 1560 w 6881351"/>
              <a:gd name="connsiteY15" fmla="*/ 5951950 h 5951950"/>
              <a:gd name="connsiteX0" fmla="*/ 1560 w 6881351"/>
              <a:gd name="connsiteY0" fmla="*/ 5947172 h 5947172"/>
              <a:gd name="connsiteX1" fmla="*/ 589 w 6881351"/>
              <a:gd name="connsiteY1" fmla="*/ 4661127 h 5947172"/>
              <a:gd name="connsiteX2" fmla="*/ 529419 w 6881351"/>
              <a:gd name="connsiteY2" fmla="*/ 3580210 h 5947172"/>
              <a:gd name="connsiteX3" fmla="*/ 1268591 w 6881351"/>
              <a:gd name="connsiteY3" fmla="*/ 2560205 h 5947172"/>
              <a:gd name="connsiteX4" fmla="*/ 1961457 w 6881351"/>
              <a:gd name="connsiteY4" fmla="*/ 1862837 h 5947172"/>
              <a:gd name="connsiteX5" fmla="*/ 3067620 w 6881351"/>
              <a:gd name="connsiteY5" fmla="*/ 1058058 h 5947172"/>
              <a:gd name="connsiteX6" fmla="*/ 4362795 w 6881351"/>
              <a:gd name="connsiteY6" fmla="*/ 446332 h 5947172"/>
              <a:gd name="connsiteX7" fmla="*/ 6881135 w 6881351"/>
              <a:gd name="connsiteY7" fmla="*/ 14702 h 5947172"/>
              <a:gd name="connsiteX8" fmla="*/ 6867557 w 6881351"/>
              <a:gd name="connsiteY8" fmla="*/ 3712174 h 5947172"/>
              <a:gd name="connsiteX9" fmla="*/ 5975871 w 6881351"/>
              <a:gd name="connsiteY9" fmla="*/ 2454452 h 5947172"/>
              <a:gd name="connsiteX10" fmla="*/ 4753172 w 6881351"/>
              <a:gd name="connsiteY10" fmla="*/ 2768086 h 5947172"/>
              <a:gd name="connsiteX11" fmla="*/ 3660018 w 6881351"/>
              <a:gd name="connsiteY11" fmla="*/ 3485861 h 5947172"/>
              <a:gd name="connsiteX12" fmla="*/ 2917082 w 6881351"/>
              <a:gd name="connsiteY12" fmla="*/ 4396541 h 5947172"/>
              <a:gd name="connsiteX13" fmla="*/ 2455837 w 6881351"/>
              <a:gd name="connsiteY13" fmla="*/ 5456597 h 5947172"/>
              <a:gd name="connsiteX14" fmla="*/ 3498451 w 6881351"/>
              <a:gd name="connsiteY14" fmla="*/ 5901163 h 5947172"/>
              <a:gd name="connsiteX15" fmla="*/ 1560 w 6881351"/>
              <a:gd name="connsiteY15" fmla="*/ 5947172 h 5947172"/>
              <a:gd name="connsiteX0" fmla="*/ 1560 w 6881351"/>
              <a:gd name="connsiteY0" fmla="*/ 5948654 h 5948654"/>
              <a:gd name="connsiteX1" fmla="*/ 589 w 6881351"/>
              <a:gd name="connsiteY1" fmla="*/ 4662609 h 5948654"/>
              <a:gd name="connsiteX2" fmla="*/ 529419 w 6881351"/>
              <a:gd name="connsiteY2" fmla="*/ 3581692 h 5948654"/>
              <a:gd name="connsiteX3" fmla="*/ 1268591 w 6881351"/>
              <a:gd name="connsiteY3" fmla="*/ 2561687 h 5948654"/>
              <a:gd name="connsiteX4" fmla="*/ 1961457 w 6881351"/>
              <a:gd name="connsiteY4" fmla="*/ 1864319 h 5948654"/>
              <a:gd name="connsiteX5" fmla="*/ 3067620 w 6881351"/>
              <a:gd name="connsiteY5" fmla="*/ 1059540 h 5948654"/>
              <a:gd name="connsiteX6" fmla="*/ 4362795 w 6881351"/>
              <a:gd name="connsiteY6" fmla="*/ 447814 h 5948654"/>
              <a:gd name="connsiteX7" fmla="*/ 6881135 w 6881351"/>
              <a:gd name="connsiteY7" fmla="*/ 16184 h 5948654"/>
              <a:gd name="connsiteX8" fmla="*/ 6867557 w 6881351"/>
              <a:gd name="connsiteY8" fmla="*/ 3713656 h 5948654"/>
              <a:gd name="connsiteX9" fmla="*/ 5975871 w 6881351"/>
              <a:gd name="connsiteY9" fmla="*/ 2455934 h 5948654"/>
              <a:gd name="connsiteX10" fmla="*/ 4753172 w 6881351"/>
              <a:gd name="connsiteY10" fmla="*/ 2769568 h 5948654"/>
              <a:gd name="connsiteX11" fmla="*/ 3660018 w 6881351"/>
              <a:gd name="connsiteY11" fmla="*/ 3487343 h 5948654"/>
              <a:gd name="connsiteX12" fmla="*/ 2917082 w 6881351"/>
              <a:gd name="connsiteY12" fmla="*/ 4398023 h 5948654"/>
              <a:gd name="connsiteX13" fmla="*/ 2455837 w 6881351"/>
              <a:gd name="connsiteY13" fmla="*/ 5458079 h 5948654"/>
              <a:gd name="connsiteX14" fmla="*/ 3498451 w 6881351"/>
              <a:gd name="connsiteY14" fmla="*/ 5902645 h 5948654"/>
              <a:gd name="connsiteX15" fmla="*/ 1560 w 6881351"/>
              <a:gd name="connsiteY15" fmla="*/ 5948654 h 5948654"/>
              <a:gd name="connsiteX0" fmla="*/ 1560 w 6881351"/>
              <a:gd name="connsiteY0" fmla="*/ 5949502 h 5949502"/>
              <a:gd name="connsiteX1" fmla="*/ 589 w 6881351"/>
              <a:gd name="connsiteY1" fmla="*/ 4663457 h 5949502"/>
              <a:gd name="connsiteX2" fmla="*/ 529419 w 6881351"/>
              <a:gd name="connsiteY2" fmla="*/ 3582540 h 5949502"/>
              <a:gd name="connsiteX3" fmla="*/ 1268591 w 6881351"/>
              <a:gd name="connsiteY3" fmla="*/ 2562535 h 5949502"/>
              <a:gd name="connsiteX4" fmla="*/ 1961457 w 6881351"/>
              <a:gd name="connsiteY4" fmla="*/ 1865167 h 5949502"/>
              <a:gd name="connsiteX5" fmla="*/ 3067620 w 6881351"/>
              <a:gd name="connsiteY5" fmla="*/ 1060388 h 5949502"/>
              <a:gd name="connsiteX6" fmla="*/ 4362795 w 6881351"/>
              <a:gd name="connsiteY6" fmla="*/ 448662 h 5949502"/>
              <a:gd name="connsiteX7" fmla="*/ 6881135 w 6881351"/>
              <a:gd name="connsiteY7" fmla="*/ 17032 h 5949502"/>
              <a:gd name="connsiteX8" fmla="*/ 6867557 w 6881351"/>
              <a:gd name="connsiteY8" fmla="*/ 3714504 h 5949502"/>
              <a:gd name="connsiteX9" fmla="*/ 5975871 w 6881351"/>
              <a:gd name="connsiteY9" fmla="*/ 2456782 h 5949502"/>
              <a:gd name="connsiteX10" fmla="*/ 4753172 w 6881351"/>
              <a:gd name="connsiteY10" fmla="*/ 2770416 h 5949502"/>
              <a:gd name="connsiteX11" fmla="*/ 3660018 w 6881351"/>
              <a:gd name="connsiteY11" fmla="*/ 3488191 h 5949502"/>
              <a:gd name="connsiteX12" fmla="*/ 2917082 w 6881351"/>
              <a:gd name="connsiteY12" fmla="*/ 4398871 h 5949502"/>
              <a:gd name="connsiteX13" fmla="*/ 2455837 w 6881351"/>
              <a:gd name="connsiteY13" fmla="*/ 5458927 h 5949502"/>
              <a:gd name="connsiteX14" fmla="*/ 3498451 w 6881351"/>
              <a:gd name="connsiteY14" fmla="*/ 5903493 h 5949502"/>
              <a:gd name="connsiteX15" fmla="*/ 1560 w 6881351"/>
              <a:gd name="connsiteY15" fmla="*/ 5949502 h 5949502"/>
              <a:gd name="connsiteX0" fmla="*/ 1560 w 6867557"/>
              <a:gd name="connsiteY0" fmla="*/ 5947172 h 5947172"/>
              <a:gd name="connsiteX1" fmla="*/ 589 w 6867557"/>
              <a:gd name="connsiteY1" fmla="*/ 4661127 h 5947172"/>
              <a:gd name="connsiteX2" fmla="*/ 529419 w 6867557"/>
              <a:gd name="connsiteY2" fmla="*/ 3580210 h 5947172"/>
              <a:gd name="connsiteX3" fmla="*/ 1268591 w 6867557"/>
              <a:gd name="connsiteY3" fmla="*/ 2560205 h 5947172"/>
              <a:gd name="connsiteX4" fmla="*/ 1961457 w 6867557"/>
              <a:gd name="connsiteY4" fmla="*/ 1862837 h 5947172"/>
              <a:gd name="connsiteX5" fmla="*/ 3067620 w 6867557"/>
              <a:gd name="connsiteY5" fmla="*/ 1058058 h 5947172"/>
              <a:gd name="connsiteX6" fmla="*/ 4362795 w 6867557"/>
              <a:gd name="connsiteY6" fmla="*/ 446332 h 5947172"/>
              <a:gd name="connsiteX7" fmla="*/ 6854926 w 6867557"/>
              <a:gd name="connsiteY7" fmla="*/ 14702 h 5947172"/>
              <a:gd name="connsiteX8" fmla="*/ 6867557 w 6867557"/>
              <a:gd name="connsiteY8" fmla="*/ 3712174 h 5947172"/>
              <a:gd name="connsiteX9" fmla="*/ 5975871 w 6867557"/>
              <a:gd name="connsiteY9" fmla="*/ 2454452 h 5947172"/>
              <a:gd name="connsiteX10" fmla="*/ 4753172 w 6867557"/>
              <a:gd name="connsiteY10" fmla="*/ 2768086 h 5947172"/>
              <a:gd name="connsiteX11" fmla="*/ 3660018 w 6867557"/>
              <a:gd name="connsiteY11" fmla="*/ 3485861 h 5947172"/>
              <a:gd name="connsiteX12" fmla="*/ 2917082 w 6867557"/>
              <a:gd name="connsiteY12" fmla="*/ 4396541 h 5947172"/>
              <a:gd name="connsiteX13" fmla="*/ 2455837 w 6867557"/>
              <a:gd name="connsiteY13" fmla="*/ 5456597 h 5947172"/>
              <a:gd name="connsiteX14" fmla="*/ 3498451 w 6867557"/>
              <a:gd name="connsiteY14" fmla="*/ 5901163 h 5947172"/>
              <a:gd name="connsiteX15" fmla="*/ 1560 w 6867557"/>
              <a:gd name="connsiteY15" fmla="*/ 5947172 h 5947172"/>
              <a:gd name="connsiteX0" fmla="*/ 1560 w 6867557"/>
              <a:gd name="connsiteY0" fmla="*/ 5938939 h 5938939"/>
              <a:gd name="connsiteX1" fmla="*/ 589 w 6867557"/>
              <a:gd name="connsiteY1" fmla="*/ 4652894 h 5938939"/>
              <a:gd name="connsiteX2" fmla="*/ 529419 w 6867557"/>
              <a:gd name="connsiteY2" fmla="*/ 3571977 h 5938939"/>
              <a:gd name="connsiteX3" fmla="*/ 1268591 w 6867557"/>
              <a:gd name="connsiteY3" fmla="*/ 2551972 h 5938939"/>
              <a:gd name="connsiteX4" fmla="*/ 1961457 w 6867557"/>
              <a:gd name="connsiteY4" fmla="*/ 1854604 h 5938939"/>
              <a:gd name="connsiteX5" fmla="*/ 3067620 w 6867557"/>
              <a:gd name="connsiteY5" fmla="*/ 1049825 h 5938939"/>
              <a:gd name="connsiteX6" fmla="*/ 4362795 w 6867557"/>
              <a:gd name="connsiteY6" fmla="*/ 438099 h 5938939"/>
              <a:gd name="connsiteX7" fmla="*/ 6854926 w 6867557"/>
              <a:gd name="connsiteY7" fmla="*/ 6469 h 5938939"/>
              <a:gd name="connsiteX8" fmla="*/ 6867557 w 6867557"/>
              <a:gd name="connsiteY8" fmla="*/ 3703941 h 5938939"/>
              <a:gd name="connsiteX9" fmla="*/ 5975871 w 6867557"/>
              <a:gd name="connsiteY9" fmla="*/ 2446219 h 5938939"/>
              <a:gd name="connsiteX10" fmla="*/ 4753172 w 6867557"/>
              <a:gd name="connsiteY10" fmla="*/ 2759853 h 5938939"/>
              <a:gd name="connsiteX11" fmla="*/ 3660018 w 6867557"/>
              <a:gd name="connsiteY11" fmla="*/ 3477628 h 5938939"/>
              <a:gd name="connsiteX12" fmla="*/ 2917082 w 6867557"/>
              <a:gd name="connsiteY12" fmla="*/ 4388308 h 5938939"/>
              <a:gd name="connsiteX13" fmla="*/ 2455837 w 6867557"/>
              <a:gd name="connsiteY13" fmla="*/ 5448364 h 5938939"/>
              <a:gd name="connsiteX14" fmla="*/ 3498451 w 6867557"/>
              <a:gd name="connsiteY14" fmla="*/ 5892930 h 5938939"/>
              <a:gd name="connsiteX15" fmla="*/ 1560 w 6867557"/>
              <a:gd name="connsiteY15" fmla="*/ 5938939 h 5938939"/>
              <a:gd name="connsiteX0" fmla="*/ 1560 w 6867557"/>
              <a:gd name="connsiteY0" fmla="*/ 5940650 h 5940650"/>
              <a:gd name="connsiteX1" fmla="*/ 589 w 6867557"/>
              <a:gd name="connsiteY1" fmla="*/ 4654605 h 5940650"/>
              <a:gd name="connsiteX2" fmla="*/ 529419 w 6867557"/>
              <a:gd name="connsiteY2" fmla="*/ 3573688 h 5940650"/>
              <a:gd name="connsiteX3" fmla="*/ 1268591 w 6867557"/>
              <a:gd name="connsiteY3" fmla="*/ 2553683 h 5940650"/>
              <a:gd name="connsiteX4" fmla="*/ 1961457 w 6867557"/>
              <a:gd name="connsiteY4" fmla="*/ 1856315 h 5940650"/>
              <a:gd name="connsiteX5" fmla="*/ 3067620 w 6867557"/>
              <a:gd name="connsiteY5" fmla="*/ 1051536 h 5940650"/>
              <a:gd name="connsiteX6" fmla="*/ 4362795 w 6867557"/>
              <a:gd name="connsiteY6" fmla="*/ 439810 h 5940650"/>
              <a:gd name="connsiteX7" fmla="*/ 6854926 w 6867557"/>
              <a:gd name="connsiteY7" fmla="*/ 8180 h 5940650"/>
              <a:gd name="connsiteX8" fmla="*/ 6867557 w 6867557"/>
              <a:gd name="connsiteY8" fmla="*/ 3705652 h 5940650"/>
              <a:gd name="connsiteX9" fmla="*/ 5975871 w 6867557"/>
              <a:gd name="connsiteY9" fmla="*/ 2447930 h 5940650"/>
              <a:gd name="connsiteX10" fmla="*/ 4753172 w 6867557"/>
              <a:gd name="connsiteY10" fmla="*/ 2761564 h 5940650"/>
              <a:gd name="connsiteX11" fmla="*/ 3660018 w 6867557"/>
              <a:gd name="connsiteY11" fmla="*/ 3479339 h 5940650"/>
              <a:gd name="connsiteX12" fmla="*/ 2917082 w 6867557"/>
              <a:gd name="connsiteY12" fmla="*/ 4390019 h 5940650"/>
              <a:gd name="connsiteX13" fmla="*/ 2455837 w 6867557"/>
              <a:gd name="connsiteY13" fmla="*/ 5450075 h 5940650"/>
              <a:gd name="connsiteX14" fmla="*/ 3498451 w 6867557"/>
              <a:gd name="connsiteY14" fmla="*/ 5894641 h 5940650"/>
              <a:gd name="connsiteX15" fmla="*/ 1560 w 6867557"/>
              <a:gd name="connsiteY15" fmla="*/ 5940650 h 5940650"/>
              <a:gd name="connsiteX0" fmla="*/ 1560 w 6867557"/>
              <a:gd name="connsiteY0" fmla="*/ 5940650 h 5940650"/>
              <a:gd name="connsiteX1" fmla="*/ 589 w 6867557"/>
              <a:gd name="connsiteY1" fmla="*/ 4654605 h 5940650"/>
              <a:gd name="connsiteX2" fmla="*/ 529419 w 6867557"/>
              <a:gd name="connsiteY2" fmla="*/ 3573688 h 5940650"/>
              <a:gd name="connsiteX3" fmla="*/ 1268591 w 6867557"/>
              <a:gd name="connsiteY3" fmla="*/ 2553683 h 5940650"/>
              <a:gd name="connsiteX4" fmla="*/ 1961457 w 6867557"/>
              <a:gd name="connsiteY4" fmla="*/ 1856315 h 5940650"/>
              <a:gd name="connsiteX5" fmla="*/ 3067620 w 6867557"/>
              <a:gd name="connsiteY5" fmla="*/ 1051536 h 5940650"/>
              <a:gd name="connsiteX6" fmla="*/ 4362795 w 6867557"/>
              <a:gd name="connsiteY6" fmla="*/ 439810 h 5940650"/>
              <a:gd name="connsiteX7" fmla="*/ 6854926 w 6867557"/>
              <a:gd name="connsiteY7" fmla="*/ 8180 h 5940650"/>
              <a:gd name="connsiteX8" fmla="*/ 6867557 w 6867557"/>
              <a:gd name="connsiteY8" fmla="*/ 3705652 h 5940650"/>
              <a:gd name="connsiteX9" fmla="*/ 5975871 w 6867557"/>
              <a:gd name="connsiteY9" fmla="*/ 2447930 h 5940650"/>
              <a:gd name="connsiteX10" fmla="*/ 4753172 w 6867557"/>
              <a:gd name="connsiteY10" fmla="*/ 2761564 h 5940650"/>
              <a:gd name="connsiteX11" fmla="*/ 3660018 w 6867557"/>
              <a:gd name="connsiteY11" fmla="*/ 3479339 h 5940650"/>
              <a:gd name="connsiteX12" fmla="*/ 2917082 w 6867557"/>
              <a:gd name="connsiteY12" fmla="*/ 4390019 h 5940650"/>
              <a:gd name="connsiteX13" fmla="*/ 2455837 w 6867557"/>
              <a:gd name="connsiteY13" fmla="*/ 5450075 h 5940650"/>
              <a:gd name="connsiteX14" fmla="*/ 3498451 w 6867557"/>
              <a:gd name="connsiteY14" fmla="*/ 5894641 h 5940650"/>
              <a:gd name="connsiteX15" fmla="*/ 1560 w 6867557"/>
              <a:gd name="connsiteY15" fmla="*/ 5940650 h 5940650"/>
              <a:gd name="connsiteX0" fmla="*/ 1560 w 6867557"/>
              <a:gd name="connsiteY0" fmla="*/ 5940650 h 5940650"/>
              <a:gd name="connsiteX1" fmla="*/ 589 w 6867557"/>
              <a:gd name="connsiteY1" fmla="*/ 4654605 h 5940650"/>
              <a:gd name="connsiteX2" fmla="*/ 529419 w 6867557"/>
              <a:gd name="connsiteY2" fmla="*/ 3573688 h 5940650"/>
              <a:gd name="connsiteX3" fmla="*/ 1268591 w 6867557"/>
              <a:gd name="connsiteY3" fmla="*/ 2553683 h 5940650"/>
              <a:gd name="connsiteX4" fmla="*/ 1961457 w 6867557"/>
              <a:gd name="connsiteY4" fmla="*/ 1856315 h 5940650"/>
              <a:gd name="connsiteX5" fmla="*/ 3067620 w 6867557"/>
              <a:gd name="connsiteY5" fmla="*/ 1051536 h 5940650"/>
              <a:gd name="connsiteX6" fmla="*/ 4362795 w 6867557"/>
              <a:gd name="connsiteY6" fmla="*/ 439810 h 5940650"/>
              <a:gd name="connsiteX7" fmla="*/ 6854926 w 6867557"/>
              <a:gd name="connsiteY7" fmla="*/ 8180 h 5940650"/>
              <a:gd name="connsiteX8" fmla="*/ 6867557 w 6867557"/>
              <a:gd name="connsiteY8" fmla="*/ 3705652 h 5940650"/>
              <a:gd name="connsiteX9" fmla="*/ 5975871 w 6867557"/>
              <a:gd name="connsiteY9" fmla="*/ 2447930 h 5940650"/>
              <a:gd name="connsiteX10" fmla="*/ 4753172 w 6867557"/>
              <a:gd name="connsiteY10" fmla="*/ 2761564 h 5940650"/>
              <a:gd name="connsiteX11" fmla="*/ 3660018 w 6867557"/>
              <a:gd name="connsiteY11" fmla="*/ 3479339 h 5940650"/>
              <a:gd name="connsiteX12" fmla="*/ 2917082 w 6867557"/>
              <a:gd name="connsiteY12" fmla="*/ 4390019 h 5940650"/>
              <a:gd name="connsiteX13" fmla="*/ 2455837 w 6867557"/>
              <a:gd name="connsiteY13" fmla="*/ 5450075 h 5940650"/>
              <a:gd name="connsiteX14" fmla="*/ 3498451 w 6867557"/>
              <a:gd name="connsiteY14" fmla="*/ 5894641 h 5940650"/>
              <a:gd name="connsiteX15" fmla="*/ 1560 w 6867557"/>
              <a:gd name="connsiteY15" fmla="*/ 5940650 h 5940650"/>
              <a:gd name="connsiteX0" fmla="*/ 1560 w 6867557"/>
              <a:gd name="connsiteY0" fmla="*/ 5940273 h 5940273"/>
              <a:gd name="connsiteX1" fmla="*/ 589 w 6867557"/>
              <a:gd name="connsiteY1" fmla="*/ 4654228 h 5940273"/>
              <a:gd name="connsiteX2" fmla="*/ 529419 w 6867557"/>
              <a:gd name="connsiteY2" fmla="*/ 3573311 h 5940273"/>
              <a:gd name="connsiteX3" fmla="*/ 1268591 w 6867557"/>
              <a:gd name="connsiteY3" fmla="*/ 2553306 h 5940273"/>
              <a:gd name="connsiteX4" fmla="*/ 1961457 w 6867557"/>
              <a:gd name="connsiteY4" fmla="*/ 1855938 h 5940273"/>
              <a:gd name="connsiteX5" fmla="*/ 3067620 w 6867557"/>
              <a:gd name="connsiteY5" fmla="*/ 1051159 h 5940273"/>
              <a:gd name="connsiteX6" fmla="*/ 4362795 w 6867557"/>
              <a:gd name="connsiteY6" fmla="*/ 439433 h 5940273"/>
              <a:gd name="connsiteX7" fmla="*/ 6854926 w 6867557"/>
              <a:gd name="connsiteY7" fmla="*/ 7803 h 5940273"/>
              <a:gd name="connsiteX8" fmla="*/ 6867557 w 6867557"/>
              <a:gd name="connsiteY8" fmla="*/ 3705275 h 5940273"/>
              <a:gd name="connsiteX9" fmla="*/ 5975871 w 6867557"/>
              <a:gd name="connsiteY9" fmla="*/ 2447553 h 5940273"/>
              <a:gd name="connsiteX10" fmla="*/ 4753172 w 6867557"/>
              <a:gd name="connsiteY10" fmla="*/ 2761187 h 5940273"/>
              <a:gd name="connsiteX11" fmla="*/ 3660018 w 6867557"/>
              <a:gd name="connsiteY11" fmla="*/ 3478962 h 5940273"/>
              <a:gd name="connsiteX12" fmla="*/ 2917082 w 6867557"/>
              <a:gd name="connsiteY12" fmla="*/ 4389642 h 5940273"/>
              <a:gd name="connsiteX13" fmla="*/ 2455837 w 6867557"/>
              <a:gd name="connsiteY13" fmla="*/ 5449698 h 5940273"/>
              <a:gd name="connsiteX14" fmla="*/ 3498451 w 6867557"/>
              <a:gd name="connsiteY14" fmla="*/ 5894264 h 5940273"/>
              <a:gd name="connsiteX15" fmla="*/ 1560 w 686755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5975871 w 6855687"/>
              <a:gd name="connsiteY9" fmla="*/ 2447553 h 5940273"/>
              <a:gd name="connsiteX10" fmla="*/ 4753172 w 6855687"/>
              <a:gd name="connsiteY10" fmla="*/ 2761187 h 5940273"/>
              <a:gd name="connsiteX11" fmla="*/ 3660018 w 6855687"/>
              <a:gd name="connsiteY11" fmla="*/ 3478962 h 5940273"/>
              <a:gd name="connsiteX12" fmla="*/ 2917082 w 6855687"/>
              <a:gd name="connsiteY12" fmla="*/ 4389642 h 5940273"/>
              <a:gd name="connsiteX13" fmla="*/ 2455837 w 6855687"/>
              <a:gd name="connsiteY13" fmla="*/ 5449698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4753172 w 6855687"/>
              <a:gd name="connsiteY10" fmla="*/ 2761187 h 5940273"/>
              <a:gd name="connsiteX11" fmla="*/ 3660018 w 6855687"/>
              <a:gd name="connsiteY11" fmla="*/ 3478962 h 5940273"/>
              <a:gd name="connsiteX12" fmla="*/ 2917082 w 6855687"/>
              <a:gd name="connsiteY12" fmla="*/ 4389642 h 5940273"/>
              <a:gd name="connsiteX13" fmla="*/ 2455837 w 6855687"/>
              <a:gd name="connsiteY13" fmla="*/ 5449698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3660018 w 6855687"/>
              <a:gd name="connsiteY11" fmla="*/ 3478962 h 5940273"/>
              <a:gd name="connsiteX12" fmla="*/ 2917082 w 6855687"/>
              <a:gd name="connsiteY12" fmla="*/ 4389642 h 5940273"/>
              <a:gd name="connsiteX13" fmla="*/ 2455837 w 6855687"/>
              <a:gd name="connsiteY13" fmla="*/ 5449698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2917082 w 6855687"/>
              <a:gd name="connsiteY12" fmla="*/ 4389642 h 5940273"/>
              <a:gd name="connsiteX13" fmla="*/ 2455837 w 6855687"/>
              <a:gd name="connsiteY13" fmla="*/ 5449698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3758910 w 6855687"/>
              <a:gd name="connsiteY12" fmla="*/ 5354842 h 5940273"/>
              <a:gd name="connsiteX13" fmla="*/ 2455837 w 6855687"/>
              <a:gd name="connsiteY13" fmla="*/ 5449698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3758910 w 6855687"/>
              <a:gd name="connsiteY12" fmla="*/ 5354842 h 5940273"/>
              <a:gd name="connsiteX13" fmla="*/ 3595209 w 6855687"/>
              <a:gd name="connsiteY13" fmla="*/ 5638384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3758910 w 6855687"/>
              <a:gd name="connsiteY12" fmla="*/ 5354842 h 5940273"/>
              <a:gd name="connsiteX13" fmla="*/ 3498451 w 6855687"/>
              <a:gd name="connsiteY13" fmla="*/ 5894264 h 5940273"/>
              <a:gd name="connsiteX14" fmla="*/ 1560 w 6855687"/>
              <a:gd name="connsiteY14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3768586 w 6855687"/>
              <a:gd name="connsiteY12" fmla="*/ 5354842 h 5940273"/>
              <a:gd name="connsiteX13" fmla="*/ 3498451 w 6855687"/>
              <a:gd name="connsiteY13" fmla="*/ 5894264 h 5940273"/>
              <a:gd name="connsiteX14" fmla="*/ 1560 w 6855687"/>
              <a:gd name="connsiteY14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3768586 w 6855687"/>
              <a:gd name="connsiteY12" fmla="*/ 5354842 h 5940273"/>
              <a:gd name="connsiteX13" fmla="*/ 3498451 w 6855687"/>
              <a:gd name="connsiteY13" fmla="*/ 5894264 h 5940273"/>
              <a:gd name="connsiteX14" fmla="*/ 1560 w 6855687"/>
              <a:gd name="connsiteY14" fmla="*/ 5940273 h 5940273"/>
              <a:gd name="connsiteX0" fmla="*/ 0 w 6856546"/>
              <a:gd name="connsiteY0" fmla="*/ 5891892 h 5894264"/>
              <a:gd name="connsiteX1" fmla="*/ 1448 w 6856546"/>
              <a:gd name="connsiteY1" fmla="*/ 4654228 h 5894264"/>
              <a:gd name="connsiteX2" fmla="*/ 530278 w 6856546"/>
              <a:gd name="connsiteY2" fmla="*/ 3573311 h 5894264"/>
              <a:gd name="connsiteX3" fmla="*/ 1269450 w 6856546"/>
              <a:gd name="connsiteY3" fmla="*/ 2553306 h 5894264"/>
              <a:gd name="connsiteX4" fmla="*/ 1962316 w 6856546"/>
              <a:gd name="connsiteY4" fmla="*/ 1855938 h 5894264"/>
              <a:gd name="connsiteX5" fmla="*/ 3068479 w 6856546"/>
              <a:gd name="connsiteY5" fmla="*/ 1051159 h 5894264"/>
              <a:gd name="connsiteX6" fmla="*/ 4363654 w 6856546"/>
              <a:gd name="connsiteY6" fmla="*/ 439433 h 5894264"/>
              <a:gd name="connsiteX7" fmla="*/ 6855785 w 6856546"/>
              <a:gd name="connsiteY7" fmla="*/ 7803 h 5894264"/>
              <a:gd name="connsiteX8" fmla="*/ 6856321 w 6856546"/>
              <a:gd name="connsiteY8" fmla="*/ 3656894 h 5894264"/>
              <a:gd name="connsiteX9" fmla="*/ 6066234 w 6856546"/>
              <a:gd name="connsiteY9" fmla="*/ 3736906 h 5894264"/>
              <a:gd name="connsiteX10" fmla="*/ 5199135 w 6856546"/>
              <a:gd name="connsiteY10" fmla="*/ 4045701 h 5894264"/>
              <a:gd name="connsiteX11" fmla="*/ 4398687 w 6856546"/>
              <a:gd name="connsiteY11" fmla="*/ 4615914 h 5894264"/>
              <a:gd name="connsiteX12" fmla="*/ 3769445 w 6856546"/>
              <a:gd name="connsiteY12" fmla="*/ 5354842 h 5894264"/>
              <a:gd name="connsiteX13" fmla="*/ 3499310 w 6856546"/>
              <a:gd name="connsiteY13" fmla="*/ 5894264 h 5894264"/>
              <a:gd name="connsiteX14" fmla="*/ 0 w 6856546"/>
              <a:gd name="connsiteY14" fmla="*/ 5891892 h 5894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856546" h="5894264">
                <a:moveTo>
                  <a:pt x="0" y="5891892"/>
                </a:moveTo>
                <a:cubicBezTo>
                  <a:pt x="2373" y="5419674"/>
                  <a:pt x="-925" y="5126446"/>
                  <a:pt x="1448" y="4654228"/>
                </a:cubicBezTo>
                <a:cubicBezTo>
                  <a:pt x="166121" y="4208897"/>
                  <a:pt x="318944" y="3923465"/>
                  <a:pt x="530278" y="3573311"/>
                </a:cubicBezTo>
                <a:cubicBezTo>
                  <a:pt x="741612" y="3223157"/>
                  <a:pt x="1030777" y="2839535"/>
                  <a:pt x="1269450" y="2553306"/>
                </a:cubicBezTo>
                <a:cubicBezTo>
                  <a:pt x="1508123" y="2267077"/>
                  <a:pt x="1662478" y="2106296"/>
                  <a:pt x="1962316" y="1855938"/>
                </a:cubicBezTo>
                <a:cubicBezTo>
                  <a:pt x="2262154" y="1605580"/>
                  <a:pt x="2662434" y="1295979"/>
                  <a:pt x="3068479" y="1051159"/>
                </a:cubicBezTo>
                <a:cubicBezTo>
                  <a:pt x="3474524" y="806339"/>
                  <a:pt x="3744084" y="677393"/>
                  <a:pt x="4363654" y="439433"/>
                </a:cubicBezTo>
                <a:cubicBezTo>
                  <a:pt x="4983224" y="201473"/>
                  <a:pt x="6259230" y="-47537"/>
                  <a:pt x="6855785" y="7803"/>
                </a:cubicBezTo>
                <a:cubicBezTo>
                  <a:pt x="6858186" y="824657"/>
                  <a:pt x="6853920" y="2840040"/>
                  <a:pt x="6856321" y="3656894"/>
                </a:cubicBezTo>
                <a:cubicBezTo>
                  <a:pt x="6602945" y="3627898"/>
                  <a:pt x="6342432" y="3672105"/>
                  <a:pt x="6066234" y="3736906"/>
                </a:cubicBezTo>
                <a:cubicBezTo>
                  <a:pt x="5790036" y="3801707"/>
                  <a:pt x="5477060" y="3899200"/>
                  <a:pt x="5199135" y="4045701"/>
                </a:cubicBezTo>
                <a:cubicBezTo>
                  <a:pt x="4921210" y="4192202"/>
                  <a:pt x="4800458" y="4281117"/>
                  <a:pt x="4398687" y="4615914"/>
                </a:cubicBezTo>
                <a:cubicBezTo>
                  <a:pt x="3964548" y="5055907"/>
                  <a:pt x="3919341" y="5141784"/>
                  <a:pt x="3769445" y="5354842"/>
                </a:cubicBezTo>
                <a:cubicBezTo>
                  <a:pt x="3619549" y="5567900"/>
                  <a:pt x="3598183" y="5656388"/>
                  <a:pt x="3499310" y="5894264"/>
                </a:cubicBezTo>
                <a:lnTo>
                  <a:pt x="0" y="589189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 dirty="0">
              <a:solidFill>
                <a:schemeClr val="tx1"/>
              </a:solidFill>
            </a:endParaRPr>
          </a:p>
        </p:txBody>
      </p:sp>
      <p:sp>
        <p:nvSpPr>
          <p:cNvPr id="138" name="Заголовок 1">
            <a:extLst>
              <a:ext uri="{FF2B5EF4-FFF2-40B4-BE49-F238E27FC236}">
                <a16:creationId xmlns:a16="http://schemas.microsoft.com/office/drawing/2014/main" id="{BEE12289-AA66-4021-99CC-04E7993C27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0" y="2515831"/>
            <a:ext cx="5894264" cy="1661993"/>
          </a:xfr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третья строчка</a:t>
            </a:r>
            <a:endParaRPr lang="en-US" dirty="0"/>
          </a:p>
        </p:txBody>
      </p:sp>
      <p:sp>
        <p:nvSpPr>
          <p:cNvPr id="139" name="Подзаголовок 2">
            <a:extLst>
              <a:ext uri="{FF2B5EF4-FFF2-40B4-BE49-F238E27FC236}">
                <a16:creationId xmlns:a16="http://schemas.microsoft.com/office/drawing/2014/main" id="{A0D0FF46-A06C-471C-931D-6E01FA776C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1500" y="4384176"/>
            <a:ext cx="5894264" cy="251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3048000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Дата</a:t>
            </a:r>
            <a:endParaRPr lang="en-US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00" y="655200"/>
            <a:ext cx="3527999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052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Разделитель с паттерно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0290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29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00446F5D-51EF-4CCB-A0AF-BDAB71A8F3B5}"/>
              </a:ext>
            </a:extLst>
          </p:cNvPr>
          <p:cNvSpPr/>
          <p:nvPr/>
        </p:nvSpPr>
        <p:spPr>
          <a:xfrm>
            <a:off x="9750424" y="-1"/>
            <a:ext cx="2441575" cy="3429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latin typeface="+mj-lt"/>
            </a:endParaRPr>
          </a:p>
        </p:txBody>
      </p:sp>
      <p:sp>
        <p:nvSpPr>
          <p:cNvPr id="133" name="Овал 10">
            <a:extLst>
              <a:ext uri="{FF2B5EF4-FFF2-40B4-BE49-F238E27FC236}">
                <a16:creationId xmlns:a16="http://schemas.microsoft.com/office/drawing/2014/main" id="{CBF4C74C-A227-43B1-B801-A987A45022A5}"/>
              </a:ext>
            </a:extLst>
          </p:cNvPr>
          <p:cNvSpPr/>
          <p:nvPr/>
        </p:nvSpPr>
        <p:spPr>
          <a:xfrm>
            <a:off x="6025451" y="5060469"/>
            <a:ext cx="5544331" cy="1805865"/>
          </a:xfrm>
          <a:custGeom>
            <a:avLst/>
            <a:gdLst>
              <a:gd name="connsiteX0" fmla="*/ 0 w 403249"/>
              <a:gd name="connsiteY0" fmla="*/ 259232 h 518463"/>
              <a:gd name="connsiteX1" fmla="*/ 201625 w 403249"/>
              <a:gd name="connsiteY1" fmla="*/ 0 h 518463"/>
              <a:gd name="connsiteX2" fmla="*/ 403250 w 403249"/>
              <a:gd name="connsiteY2" fmla="*/ 259232 h 518463"/>
              <a:gd name="connsiteX3" fmla="*/ 201625 w 403249"/>
              <a:gd name="connsiteY3" fmla="*/ 518464 h 518463"/>
              <a:gd name="connsiteX4" fmla="*/ 0 w 403249"/>
              <a:gd name="connsiteY4" fmla="*/ 259232 h 518463"/>
              <a:gd name="connsiteX0" fmla="*/ 0 w 403250"/>
              <a:gd name="connsiteY0" fmla="*/ 259232 h 518464"/>
              <a:gd name="connsiteX1" fmla="*/ 201625 w 403250"/>
              <a:gd name="connsiteY1" fmla="*/ 0 h 518464"/>
              <a:gd name="connsiteX2" fmla="*/ 403250 w 403250"/>
              <a:gd name="connsiteY2" fmla="*/ 259232 h 518464"/>
              <a:gd name="connsiteX3" fmla="*/ 201625 w 403250"/>
              <a:gd name="connsiteY3" fmla="*/ 518464 h 518464"/>
              <a:gd name="connsiteX4" fmla="*/ 0 w 403250"/>
              <a:gd name="connsiteY4" fmla="*/ 259232 h 518464"/>
              <a:gd name="connsiteX0" fmla="*/ 0 w 403250"/>
              <a:gd name="connsiteY0" fmla="*/ 259232 h 518464"/>
              <a:gd name="connsiteX1" fmla="*/ 201625 w 403250"/>
              <a:gd name="connsiteY1" fmla="*/ 0 h 518464"/>
              <a:gd name="connsiteX2" fmla="*/ 403250 w 403250"/>
              <a:gd name="connsiteY2" fmla="*/ 259232 h 518464"/>
              <a:gd name="connsiteX3" fmla="*/ 201625 w 403250"/>
              <a:gd name="connsiteY3" fmla="*/ 518464 h 518464"/>
              <a:gd name="connsiteX4" fmla="*/ 0 w 403250"/>
              <a:gd name="connsiteY4" fmla="*/ 259232 h 518464"/>
              <a:gd name="connsiteX0" fmla="*/ 35892 w 970905"/>
              <a:gd name="connsiteY0" fmla="*/ 189914 h 3725846"/>
              <a:gd name="connsiteX1" fmla="*/ 957708 w 970905"/>
              <a:gd name="connsiteY1" fmla="*/ 3725846 h 3725846"/>
              <a:gd name="connsiteX2" fmla="*/ 439142 w 970905"/>
              <a:gd name="connsiteY2" fmla="*/ 189914 h 3725846"/>
              <a:gd name="connsiteX3" fmla="*/ 237517 w 970905"/>
              <a:gd name="connsiteY3" fmla="*/ 449146 h 3725846"/>
              <a:gd name="connsiteX4" fmla="*/ 35892 w 970905"/>
              <a:gd name="connsiteY4" fmla="*/ 189914 h 3725846"/>
              <a:gd name="connsiteX0" fmla="*/ 145940 w 3373310"/>
              <a:gd name="connsiteY0" fmla="*/ 309422 h 3845354"/>
              <a:gd name="connsiteX1" fmla="*/ 1067756 w 3373310"/>
              <a:gd name="connsiteY1" fmla="*/ 3845354 h 3845354"/>
              <a:gd name="connsiteX2" fmla="*/ 3373310 w 3373310"/>
              <a:gd name="connsiteY2" fmla="*/ 3740445 h 3845354"/>
              <a:gd name="connsiteX3" fmla="*/ 347565 w 3373310"/>
              <a:gd name="connsiteY3" fmla="*/ 568654 h 3845354"/>
              <a:gd name="connsiteX4" fmla="*/ 145940 w 3373310"/>
              <a:gd name="connsiteY4" fmla="*/ 309422 h 3845354"/>
              <a:gd name="connsiteX0" fmla="*/ 1930604 w 3037860"/>
              <a:gd name="connsiteY0" fmla="*/ 4615596 h 4715382"/>
              <a:gd name="connsiteX1" fmla="*/ 732306 w 3037860"/>
              <a:gd name="connsiteY1" fmla="*/ 3288215 h 4715382"/>
              <a:gd name="connsiteX2" fmla="*/ 3037860 w 3037860"/>
              <a:gd name="connsiteY2" fmla="*/ 3183306 h 4715382"/>
              <a:gd name="connsiteX3" fmla="*/ 12115 w 3037860"/>
              <a:gd name="connsiteY3" fmla="*/ 11515 h 4715382"/>
              <a:gd name="connsiteX4" fmla="*/ 1930604 w 3037860"/>
              <a:gd name="connsiteY4" fmla="*/ 4615596 h 4715382"/>
              <a:gd name="connsiteX0" fmla="*/ 1215414 w 5268623"/>
              <a:gd name="connsiteY0" fmla="*/ 1476792 h 1640357"/>
              <a:gd name="connsiteX1" fmla="*/ 17116 w 5268623"/>
              <a:gd name="connsiteY1" fmla="*/ 149411 h 1640357"/>
              <a:gd name="connsiteX2" fmla="*/ 2322670 w 5268623"/>
              <a:gd name="connsiteY2" fmla="*/ 44502 h 1640357"/>
              <a:gd name="connsiteX3" fmla="*/ 5260755 w 5268623"/>
              <a:gd name="connsiteY3" fmla="*/ 1460895 h 1640357"/>
              <a:gd name="connsiteX4" fmla="*/ 1215414 w 5268623"/>
              <a:gd name="connsiteY4" fmla="*/ 1476792 h 1640357"/>
              <a:gd name="connsiteX0" fmla="*/ 1215414 w 5268623"/>
              <a:gd name="connsiteY0" fmla="*/ 1476792 h 1476792"/>
              <a:gd name="connsiteX1" fmla="*/ 17116 w 5268623"/>
              <a:gd name="connsiteY1" fmla="*/ 149411 h 1476792"/>
              <a:gd name="connsiteX2" fmla="*/ 2322670 w 5268623"/>
              <a:gd name="connsiteY2" fmla="*/ 44502 h 1476792"/>
              <a:gd name="connsiteX3" fmla="*/ 5260755 w 5268623"/>
              <a:gd name="connsiteY3" fmla="*/ 1460895 h 1476792"/>
              <a:gd name="connsiteX4" fmla="*/ 1215414 w 5268623"/>
              <a:gd name="connsiteY4" fmla="*/ 1476792 h 1476792"/>
              <a:gd name="connsiteX0" fmla="*/ 1215414 w 5268623"/>
              <a:gd name="connsiteY0" fmla="*/ 1504913 h 1504913"/>
              <a:gd name="connsiteX1" fmla="*/ 17116 w 5268623"/>
              <a:gd name="connsiteY1" fmla="*/ 177532 h 1504913"/>
              <a:gd name="connsiteX2" fmla="*/ 2322670 w 5268623"/>
              <a:gd name="connsiteY2" fmla="*/ 72623 h 1504913"/>
              <a:gd name="connsiteX3" fmla="*/ 5260755 w 5268623"/>
              <a:gd name="connsiteY3" fmla="*/ 1489016 h 1504913"/>
              <a:gd name="connsiteX4" fmla="*/ 1215414 w 5268623"/>
              <a:gd name="connsiteY4" fmla="*/ 1504913 h 1504913"/>
              <a:gd name="connsiteX0" fmla="*/ 1219566 w 5272775"/>
              <a:gd name="connsiteY0" fmla="*/ 1504913 h 1504913"/>
              <a:gd name="connsiteX1" fmla="*/ 21268 w 5272775"/>
              <a:gd name="connsiteY1" fmla="*/ 177532 h 1504913"/>
              <a:gd name="connsiteX2" fmla="*/ 2326822 w 5272775"/>
              <a:gd name="connsiteY2" fmla="*/ 72623 h 1504913"/>
              <a:gd name="connsiteX3" fmla="*/ 5264907 w 5272775"/>
              <a:gd name="connsiteY3" fmla="*/ 1489016 h 1504913"/>
              <a:gd name="connsiteX4" fmla="*/ 1219566 w 5272775"/>
              <a:gd name="connsiteY4" fmla="*/ 1504913 h 1504913"/>
              <a:gd name="connsiteX0" fmla="*/ 1198298 w 5251507"/>
              <a:gd name="connsiteY0" fmla="*/ 1504913 h 1504913"/>
              <a:gd name="connsiteX1" fmla="*/ 0 w 5251507"/>
              <a:gd name="connsiteY1" fmla="*/ 177532 h 1504913"/>
              <a:gd name="connsiteX2" fmla="*/ 2305554 w 5251507"/>
              <a:gd name="connsiteY2" fmla="*/ 72623 h 1504913"/>
              <a:gd name="connsiteX3" fmla="*/ 5243639 w 5251507"/>
              <a:gd name="connsiteY3" fmla="*/ 1489016 h 1504913"/>
              <a:gd name="connsiteX4" fmla="*/ 1198298 w 5251507"/>
              <a:gd name="connsiteY4" fmla="*/ 1504913 h 1504913"/>
              <a:gd name="connsiteX0" fmla="*/ 1198298 w 5251507"/>
              <a:gd name="connsiteY0" fmla="*/ 1504913 h 1678290"/>
              <a:gd name="connsiteX1" fmla="*/ 0 w 5251507"/>
              <a:gd name="connsiteY1" fmla="*/ 177532 h 1678290"/>
              <a:gd name="connsiteX2" fmla="*/ 2305554 w 5251507"/>
              <a:gd name="connsiteY2" fmla="*/ 72623 h 1678290"/>
              <a:gd name="connsiteX3" fmla="*/ 5243639 w 5251507"/>
              <a:gd name="connsiteY3" fmla="*/ 1489016 h 1678290"/>
              <a:gd name="connsiteX4" fmla="*/ 1198298 w 5251507"/>
              <a:gd name="connsiteY4" fmla="*/ 1504913 h 1678290"/>
              <a:gd name="connsiteX0" fmla="*/ 1190206 w 5251617"/>
              <a:gd name="connsiteY0" fmla="*/ 1472545 h 1719471"/>
              <a:gd name="connsiteX1" fmla="*/ 0 w 5251617"/>
              <a:gd name="connsiteY1" fmla="*/ 177532 h 1719471"/>
              <a:gd name="connsiteX2" fmla="*/ 2305554 w 5251617"/>
              <a:gd name="connsiteY2" fmla="*/ 72623 h 1719471"/>
              <a:gd name="connsiteX3" fmla="*/ 5243639 w 5251617"/>
              <a:gd name="connsiteY3" fmla="*/ 1489016 h 1719471"/>
              <a:gd name="connsiteX4" fmla="*/ 1190206 w 5251617"/>
              <a:gd name="connsiteY4" fmla="*/ 1472545 h 1719471"/>
              <a:gd name="connsiteX0" fmla="*/ 1190206 w 5251617"/>
              <a:gd name="connsiteY0" fmla="*/ 1472545 h 1719471"/>
              <a:gd name="connsiteX1" fmla="*/ 0 w 5251617"/>
              <a:gd name="connsiteY1" fmla="*/ 177532 h 1719471"/>
              <a:gd name="connsiteX2" fmla="*/ 2305554 w 5251617"/>
              <a:gd name="connsiteY2" fmla="*/ 72623 h 1719471"/>
              <a:gd name="connsiteX3" fmla="*/ 5243639 w 5251617"/>
              <a:gd name="connsiteY3" fmla="*/ 1489016 h 1719471"/>
              <a:gd name="connsiteX4" fmla="*/ 1190206 w 5251617"/>
              <a:gd name="connsiteY4" fmla="*/ 1472545 h 1719471"/>
              <a:gd name="connsiteX0" fmla="*/ 1190206 w 5251617"/>
              <a:gd name="connsiteY0" fmla="*/ 1472545 h 1489016"/>
              <a:gd name="connsiteX1" fmla="*/ 0 w 5251617"/>
              <a:gd name="connsiteY1" fmla="*/ 177532 h 1489016"/>
              <a:gd name="connsiteX2" fmla="*/ 2305554 w 5251617"/>
              <a:gd name="connsiteY2" fmla="*/ 72623 h 1489016"/>
              <a:gd name="connsiteX3" fmla="*/ 5243639 w 5251617"/>
              <a:gd name="connsiteY3" fmla="*/ 1489016 h 1489016"/>
              <a:gd name="connsiteX4" fmla="*/ 1190206 w 5251617"/>
              <a:gd name="connsiteY4" fmla="*/ 1472545 h 1489016"/>
              <a:gd name="connsiteX0" fmla="*/ 1190206 w 5251617"/>
              <a:gd name="connsiteY0" fmla="*/ 1472545 h 1489016"/>
              <a:gd name="connsiteX1" fmla="*/ 0 w 5251617"/>
              <a:gd name="connsiteY1" fmla="*/ 177532 h 1489016"/>
              <a:gd name="connsiteX2" fmla="*/ 2305554 w 5251617"/>
              <a:gd name="connsiteY2" fmla="*/ 72623 h 1489016"/>
              <a:gd name="connsiteX3" fmla="*/ 5243639 w 5251617"/>
              <a:gd name="connsiteY3" fmla="*/ 1489016 h 1489016"/>
              <a:gd name="connsiteX4" fmla="*/ 1190206 w 5251617"/>
              <a:gd name="connsiteY4" fmla="*/ 1472545 h 1489016"/>
              <a:gd name="connsiteX0" fmla="*/ 1190206 w 5251617"/>
              <a:gd name="connsiteY0" fmla="*/ 1460284 h 1476755"/>
              <a:gd name="connsiteX1" fmla="*/ 0 w 5251617"/>
              <a:gd name="connsiteY1" fmla="*/ 165271 h 1476755"/>
              <a:gd name="connsiteX2" fmla="*/ 2305554 w 5251617"/>
              <a:gd name="connsiteY2" fmla="*/ 60362 h 1476755"/>
              <a:gd name="connsiteX3" fmla="*/ 5243639 w 5251617"/>
              <a:gd name="connsiteY3" fmla="*/ 1476755 h 1476755"/>
              <a:gd name="connsiteX4" fmla="*/ 1190206 w 5251617"/>
              <a:gd name="connsiteY4" fmla="*/ 1460284 h 1476755"/>
              <a:gd name="connsiteX0" fmla="*/ 1190206 w 5251617"/>
              <a:gd name="connsiteY0" fmla="*/ 1474542 h 1491013"/>
              <a:gd name="connsiteX1" fmla="*/ 0 w 5251617"/>
              <a:gd name="connsiteY1" fmla="*/ 179529 h 1491013"/>
              <a:gd name="connsiteX2" fmla="*/ 2305554 w 5251617"/>
              <a:gd name="connsiteY2" fmla="*/ 74620 h 1491013"/>
              <a:gd name="connsiteX3" fmla="*/ 5243639 w 5251617"/>
              <a:gd name="connsiteY3" fmla="*/ 1491013 h 1491013"/>
              <a:gd name="connsiteX4" fmla="*/ 1190206 w 5251617"/>
              <a:gd name="connsiteY4" fmla="*/ 1474542 h 1491013"/>
              <a:gd name="connsiteX0" fmla="*/ 1190206 w 5251617"/>
              <a:gd name="connsiteY0" fmla="*/ 1474542 h 1491013"/>
              <a:gd name="connsiteX1" fmla="*/ 0 w 5251617"/>
              <a:gd name="connsiteY1" fmla="*/ 179529 h 1491013"/>
              <a:gd name="connsiteX2" fmla="*/ 2305554 w 5251617"/>
              <a:gd name="connsiteY2" fmla="*/ 74620 h 1491013"/>
              <a:gd name="connsiteX3" fmla="*/ 5243639 w 5251617"/>
              <a:gd name="connsiteY3" fmla="*/ 1491013 h 1491013"/>
              <a:gd name="connsiteX4" fmla="*/ 1190206 w 5251617"/>
              <a:gd name="connsiteY4" fmla="*/ 1474542 h 1491013"/>
              <a:gd name="connsiteX0" fmla="*/ 1206390 w 5267801"/>
              <a:gd name="connsiteY0" fmla="*/ 1477014 h 1493485"/>
              <a:gd name="connsiteX1" fmla="*/ 0 w 5267801"/>
              <a:gd name="connsiteY1" fmla="*/ 173909 h 1493485"/>
              <a:gd name="connsiteX2" fmla="*/ 2321738 w 5267801"/>
              <a:gd name="connsiteY2" fmla="*/ 77092 h 1493485"/>
              <a:gd name="connsiteX3" fmla="*/ 5259823 w 5267801"/>
              <a:gd name="connsiteY3" fmla="*/ 1493485 h 1493485"/>
              <a:gd name="connsiteX4" fmla="*/ 1206390 w 5267801"/>
              <a:gd name="connsiteY4" fmla="*/ 1477014 h 1493485"/>
              <a:gd name="connsiteX0" fmla="*/ 1206390 w 5267801"/>
              <a:gd name="connsiteY0" fmla="*/ 1477014 h 1493485"/>
              <a:gd name="connsiteX1" fmla="*/ 0 w 5267801"/>
              <a:gd name="connsiteY1" fmla="*/ 173909 h 1493485"/>
              <a:gd name="connsiteX2" fmla="*/ 2321738 w 5267801"/>
              <a:gd name="connsiteY2" fmla="*/ 77092 h 1493485"/>
              <a:gd name="connsiteX3" fmla="*/ 5259823 w 5267801"/>
              <a:gd name="connsiteY3" fmla="*/ 1493485 h 1493485"/>
              <a:gd name="connsiteX4" fmla="*/ 1206390 w 5267801"/>
              <a:gd name="connsiteY4" fmla="*/ 1477014 h 1493485"/>
              <a:gd name="connsiteX0" fmla="*/ 1206390 w 5267801"/>
              <a:gd name="connsiteY0" fmla="*/ 1477014 h 1493485"/>
              <a:gd name="connsiteX1" fmla="*/ 0 w 5267801"/>
              <a:gd name="connsiteY1" fmla="*/ 173909 h 1493485"/>
              <a:gd name="connsiteX2" fmla="*/ 2321738 w 5267801"/>
              <a:gd name="connsiteY2" fmla="*/ 77092 h 1493485"/>
              <a:gd name="connsiteX3" fmla="*/ 5259823 w 5267801"/>
              <a:gd name="connsiteY3" fmla="*/ 1493485 h 1493485"/>
              <a:gd name="connsiteX4" fmla="*/ 1206390 w 5267801"/>
              <a:gd name="connsiteY4" fmla="*/ 1477014 h 1493485"/>
              <a:gd name="connsiteX0" fmla="*/ 1206390 w 5268064"/>
              <a:gd name="connsiteY0" fmla="*/ 1455841 h 1570657"/>
              <a:gd name="connsiteX1" fmla="*/ 0 w 5268064"/>
              <a:gd name="connsiteY1" fmla="*/ 152736 h 1570657"/>
              <a:gd name="connsiteX2" fmla="*/ 2337922 w 5268064"/>
              <a:gd name="connsiteY2" fmla="*/ 88287 h 1570657"/>
              <a:gd name="connsiteX3" fmla="*/ 5259823 w 5268064"/>
              <a:gd name="connsiteY3" fmla="*/ 1472312 h 1570657"/>
              <a:gd name="connsiteX4" fmla="*/ 1206390 w 5268064"/>
              <a:gd name="connsiteY4" fmla="*/ 1455841 h 1570657"/>
              <a:gd name="connsiteX0" fmla="*/ 1206390 w 5268064"/>
              <a:gd name="connsiteY0" fmla="*/ 1455841 h 1570657"/>
              <a:gd name="connsiteX1" fmla="*/ 0 w 5268064"/>
              <a:gd name="connsiteY1" fmla="*/ 152736 h 1570657"/>
              <a:gd name="connsiteX2" fmla="*/ 2337922 w 5268064"/>
              <a:gd name="connsiteY2" fmla="*/ 88287 h 1570657"/>
              <a:gd name="connsiteX3" fmla="*/ 5259823 w 5268064"/>
              <a:gd name="connsiteY3" fmla="*/ 1472312 h 1570657"/>
              <a:gd name="connsiteX4" fmla="*/ 1206390 w 5268064"/>
              <a:gd name="connsiteY4" fmla="*/ 1455841 h 1570657"/>
              <a:gd name="connsiteX0" fmla="*/ 1206390 w 5268064"/>
              <a:gd name="connsiteY0" fmla="*/ 1455841 h 1472312"/>
              <a:gd name="connsiteX1" fmla="*/ 0 w 5268064"/>
              <a:gd name="connsiteY1" fmla="*/ 152736 h 1472312"/>
              <a:gd name="connsiteX2" fmla="*/ 2337922 w 5268064"/>
              <a:gd name="connsiteY2" fmla="*/ 88287 h 1472312"/>
              <a:gd name="connsiteX3" fmla="*/ 5259823 w 5268064"/>
              <a:gd name="connsiteY3" fmla="*/ 1472312 h 1472312"/>
              <a:gd name="connsiteX4" fmla="*/ 1206390 w 5268064"/>
              <a:gd name="connsiteY4" fmla="*/ 1455841 h 1472312"/>
              <a:gd name="connsiteX0" fmla="*/ 1206390 w 5268254"/>
              <a:gd name="connsiteY0" fmla="*/ 1450899 h 1467370"/>
              <a:gd name="connsiteX1" fmla="*/ 0 w 5268254"/>
              <a:gd name="connsiteY1" fmla="*/ 147794 h 1467370"/>
              <a:gd name="connsiteX2" fmla="*/ 2410750 w 5268254"/>
              <a:gd name="connsiteY2" fmla="*/ 91437 h 1467370"/>
              <a:gd name="connsiteX3" fmla="*/ 5259823 w 5268254"/>
              <a:gd name="connsiteY3" fmla="*/ 1467370 h 1467370"/>
              <a:gd name="connsiteX4" fmla="*/ 1206390 w 5268254"/>
              <a:gd name="connsiteY4" fmla="*/ 1450899 h 1467370"/>
              <a:gd name="connsiteX0" fmla="*/ 1198298 w 5260162"/>
              <a:gd name="connsiteY0" fmla="*/ 1454197 h 1470668"/>
              <a:gd name="connsiteX1" fmla="*/ 0 w 5260162"/>
              <a:gd name="connsiteY1" fmla="*/ 143000 h 1470668"/>
              <a:gd name="connsiteX2" fmla="*/ 2402658 w 5260162"/>
              <a:gd name="connsiteY2" fmla="*/ 94735 h 1470668"/>
              <a:gd name="connsiteX3" fmla="*/ 5251731 w 5260162"/>
              <a:gd name="connsiteY3" fmla="*/ 1470668 h 1470668"/>
              <a:gd name="connsiteX4" fmla="*/ 1198298 w 5260162"/>
              <a:gd name="connsiteY4" fmla="*/ 1454197 h 1470668"/>
              <a:gd name="connsiteX0" fmla="*/ 1198298 w 5260162"/>
              <a:gd name="connsiteY0" fmla="*/ 1454197 h 1470668"/>
              <a:gd name="connsiteX1" fmla="*/ 0 w 5260162"/>
              <a:gd name="connsiteY1" fmla="*/ 143000 h 1470668"/>
              <a:gd name="connsiteX2" fmla="*/ 2402658 w 5260162"/>
              <a:gd name="connsiteY2" fmla="*/ 94735 h 1470668"/>
              <a:gd name="connsiteX3" fmla="*/ 5251731 w 5260162"/>
              <a:gd name="connsiteY3" fmla="*/ 1470668 h 1470668"/>
              <a:gd name="connsiteX4" fmla="*/ 1198298 w 5260162"/>
              <a:gd name="connsiteY4" fmla="*/ 1454197 h 1470668"/>
              <a:gd name="connsiteX0" fmla="*/ 1117377 w 5179241"/>
              <a:gd name="connsiteY0" fmla="*/ 1444744 h 1461215"/>
              <a:gd name="connsiteX1" fmla="*/ 0 w 5179241"/>
              <a:gd name="connsiteY1" fmla="*/ 157823 h 1461215"/>
              <a:gd name="connsiteX2" fmla="*/ 2321737 w 5179241"/>
              <a:gd name="connsiteY2" fmla="*/ 85282 h 1461215"/>
              <a:gd name="connsiteX3" fmla="*/ 5170810 w 5179241"/>
              <a:gd name="connsiteY3" fmla="*/ 1461215 h 1461215"/>
              <a:gd name="connsiteX4" fmla="*/ 1117377 w 5179241"/>
              <a:gd name="connsiteY4" fmla="*/ 1444744 h 1461215"/>
              <a:gd name="connsiteX0" fmla="*/ 1190206 w 5252070"/>
              <a:gd name="connsiteY0" fmla="*/ 1454197 h 1470668"/>
              <a:gd name="connsiteX1" fmla="*/ 0 w 5252070"/>
              <a:gd name="connsiteY1" fmla="*/ 143000 h 1470668"/>
              <a:gd name="connsiteX2" fmla="*/ 2394566 w 5252070"/>
              <a:gd name="connsiteY2" fmla="*/ 94735 h 1470668"/>
              <a:gd name="connsiteX3" fmla="*/ 5243639 w 5252070"/>
              <a:gd name="connsiteY3" fmla="*/ 1470668 h 1470668"/>
              <a:gd name="connsiteX4" fmla="*/ 1190206 w 5252070"/>
              <a:gd name="connsiteY4" fmla="*/ 1454197 h 1470668"/>
              <a:gd name="connsiteX0" fmla="*/ 1190206 w 5252070"/>
              <a:gd name="connsiteY0" fmla="*/ 1454197 h 1470668"/>
              <a:gd name="connsiteX1" fmla="*/ 0 w 5252070"/>
              <a:gd name="connsiteY1" fmla="*/ 143000 h 1470668"/>
              <a:gd name="connsiteX2" fmla="*/ 2394566 w 5252070"/>
              <a:gd name="connsiteY2" fmla="*/ 94735 h 1470668"/>
              <a:gd name="connsiteX3" fmla="*/ 5243639 w 5252070"/>
              <a:gd name="connsiteY3" fmla="*/ 1470668 h 1470668"/>
              <a:gd name="connsiteX4" fmla="*/ 1190206 w 5252070"/>
              <a:gd name="connsiteY4" fmla="*/ 1454197 h 1470668"/>
              <a:gd name="connsiteX0" fmla="*/ 1190206 w 5243639"/>
              <a:gd name="connsiteY0" fmla="*/ 1454197 h 1470668"/>
              <a:gd name="connsiteX1" fmla="*/ 0 w 5243639"/>
              <a:gd name="connsiteY1" fmla="*/ 143000 h 1470668"/>
              <a:gd name="connsiteX2" fmla="*/ 2394566 w 5243639"/>
              <a:gd name="connsiteY2" fmla="*/ 94735 h 1470668"/>
              <a:gd name="connsiteX3" fmla="*/ 5243639 w 5243639"/>
              <a:gd name="connsiteY3" fmla="*/ 1470668 h 1470668"/>
              <a:gd name="connsiteX4" fmla="*/ 1190206 w 5243639"/>
              <a:gd name="connsiteY4" fmla="*/ 1454197 h 1470668"/>
              <a:gd name="connsiteX0" fmla="*/ 1190206 w 5243639"/>
              <a:gd name="connsiteY0" fmla="*/ 1454197 h 1464749"/>
              <a:gd name="connsiteX1" fmla="*/ 0 w 5243639"/>
              <a:gd name="connsiteY1" fmla="*/ 143000 h 1464749"/>
              <a:gd name="connsiteX2" fmla="*/ 2394566 w 5243639"/>
              <a:gd name="connsiteY2" fmla="*/ 94735 h 1464749"/>
              <a:gd name="connsiteX3" fmla="*/ 5243639 w 5243639"/>
              <a:gd name="connsiteY3" fmla="*/ 1464749 h 1464749"/>
              <a:gd name="connsiteX4" fmla="*/ 1190206 w 5243639"/>
              <a:gd name="connsiteY4" fmla="*/ 1454197 h 1464749"/>
              <a:gd name="connsiteX0" fmla="*/ 1196124 w 5243639"/>
              <a:gd name="connsiteY0" fmla="*/ 1468994 h 1468994"/>
              <a:gd name="connsiteX1" fmla="*/ 0 w 5243639"/>
              <a:gd name="connsiteY1" fmla="*/ 143000 h 1468994"/>
              <a:gd name="connsiteX2" fmla="*/ 2394566 w 5243639"/>
              <a:gd name="connsiteY2" fmla="*/ 94735 h 1468994"/>
              <a:gd name="connsiteX3" fmla="*/ 5243639 w 5243639"/>
              <a:gd name="connsiteY3" fmla="*/ 1464749 h 1468994"/>
              <a:gd name="connsiteX4" fmla="*/ 1196124 w 5243639"/>
              <a:gd name="connsiteY4" fmla="*/ 1468994 h 1468994"/>
              <a:gd name="connsiteX0" fmla="*/ 1196124 w 5243639"/>
              <a:gd name="connsiteY0" fmla="*/ 1471954 h 1471954"/>
              <a:gd name="connsiteX1" fmla="*/ 0 w 5243639"/>
              <a:gd name="connsiteY1" fmla="*/ 143000 h 1471954"/>
              <a:gd name="connsiteX2" fmla="*/ 2394566 w 5243639"/>
              <a:gd name="connsiteY2" fmla="*/ 94735 h 1471954"/>
              <a:gd name="connsiteX3" fmla="*/ 5243639 w 5243639"/>
              <a:gd name="connsiteY3" fmla="*/ 1464749 h 1471954"/>
              <a:gd name="connsiteX4" fmla="*/ 1196124 w 5243639"/>
              <a:gd name="connsiteY4" fmla="*/ 1471954 h 1471954"/>
              <a:gd name="connsiteX0" fmla="*/ 1196124 w 5243639"/>
              <a:gd name="connsiteY0" fmla="*/ 1471954 h 1471954"/>
              <a:gd name="connsiteX1" fmla="*/ 0 w 5243639"/>
              <a:gd name="connsiteY1" fmla="*/ 143000 h 1471954"/>
              <a:gd name="connsiteX2" fmla="*/ 2394566 w 5243639"/>
              <a:gd name="connsiteY2" fmla="*/ 94735 h 1471954"/>
              <a:gd name="connsiteX3" fmla="*/ 5243639 w 5243639"/>
              <a:gd name="connsiteY3" fmla="*/ 1464749 h 1471954"/>
              <a:gd name="connsiteX4" fmla="*/ 1196124 w 5243639"/>
              <a:gd name="connsiteY4" fmla="*/ 1471954 h 1471954"/>
              <a:gd name="connsiteX0" fmla="*/ 1402602 w 5450117"/>
              <a:gd name="connsiteY0" fmla="*/ 1460637 h 1460637"/>
              <a:gd name="connsiteX1" fmla="*/ 0 w 5450117"/>
              <a:gd name="connsiteY1" fmla="*/ 161180 h 1460637"/>
              <a:gd name="connsiteX2" fmla="*/ 2601044 w 5450117"/>
              <a:gd name="connsiteY2" fmla="*/ 83418 h 1460637"/>
              <a:gd name="connsiteX3" fmla="*/ 5450117 w 5450117"/>
              <a:gd name="connsiteY3" fmla="*/ 1453432 h 1460637"/>
              <a:gd name="connsiteX4" fmla="*/ 1402602 w 5450117"/>
              <a:gd name="connsiteY4" fmla="*/ 1460637 h 1460637"/>
              <a:gd name="connsiteX0" fmla="*/ 1402602 w 5450117"/>
              <a:gd name="connsiteY0" fmla="*/ 1715226 h 1715226"/>
              <a:gd name="connsiteX1" fmla="*/ 0 w 5450117"/>
              <a:gd name="connsiteY1" fmla="*/ 415769 h 1715226"/>
              <a:gd name="connsiteX2" fmla="*/ 1617818 w 5450117"/>
              <a:gd name="connsiteY2" fmla="*/ 33207 h 1715226"/>
              <a:gd name="connsiteX3" fmla="*/ 5450117 w 5450117"/>
              <a:gd name="connsiteY3" fmla="*/ 1708021 h 1715226"/>
              <a:gd name="connsiteX4" fmla="*/ 1402602 w 5450117"/>
              <a:gd name="connsiteY4" fmla="*/ 1715226 h 1715226"/>
              <a:gd name="connsiteX0" fmla="*/ 1370042 w 5450117"/>
              <a:gd name="connsiteY0" fmla="*/ 1715226 h 1715226"/>
              <a:gd name="connsiteX1" fmla="*/ 0 w 5450117"/>
              <a:gd name="connsiteY1" fmla="*/ 415769 h 1715226"/>
              <a:gd name="connsiteX2" fmla="*/ 1617818 w 5450117"/>
              <a:gd name="connsiteY2" fmla="*/ 33207 h 1715226"/>
              <a:gd name="connsiteX3" fmla="*/ 5450117 w 5450117"/>
              <a:gd name="connsiteY3" fmla="*/ 1708021 h 1715226"/>
              <a:gd name="connsiteX4" fmla="*/ 1370042 w 5450117"/>
              <a:gd name="connsiteY4" fmla="*/ 1715226 h 1715226"/>
              <a:gd name="connsiteX0" fmla="*/ 1413456 w 5493531"/>
              <a:gd name="connsiteY0" fmla="*/ 1716198 h 1716198"/>
              <a:gd name="connsiteX1" fmla="*/ 0 w 5493531"/>
              <a:gd name="connsiteY1" fmla="*/ 403174 h 1716198"/>
              <a:gd name="connsiteX2" fmla="*/ 1661232 w 5493531"/>
              <a:gd name="connsiteY2" fmla="*/ 34179 h 1716198"/>
              <a:gd name="connsiteX3" fmla="*/ 5493531 w 5493531"/>
              <a:gd name="connsiteY3" fmla="*/ 1708993 h 1716198"/>
              <a:gd name="connsiteX4" fmla="*/ 1413456 w 5493531"/>
              <a:gd name="connsiteY4" fmla="*/ 1716198 h 1716198"/>
              <a:gd name="connsiteX0" fmla="*/ 1413456 w 5493531"/>
              <a:gd name="connsiteY0" fmla="*/ 1716198 h 1716198"/>
              <a:gd name="connsiteX1" fmla="*/ 0 w 5493531"/>
              <a:gd name="connsiteY1" fmla="*/ 403174 h 1716198"/>
              <a:gd name="connsiteX2" fmla="*/ 1661232 w 5493531"/>
              <a:gd name="connsiteY2" fmla="*/ 34179 h 1716198"/>
              <a:gd name="connsiteX3" fmla="*/ 5493531 w 5493531"/>
              <a:gd name="connsiteY3" fmla="*/ 1708993 h 1716198"/>
              <a:gd name="connsiteX4" fmla="*/ 1413456 w 5493531"/>
              <a:gd name="connsiteY4" fmla="*/ 1716198 h 1716198"/>
              <a:gd name="connsiteX0" fmla="*/ 1413456 w 5493531"/>
              <a:gd name="connsiteY0" fmla="*/ 1716198 h 1716198"/>
              <a:gd name="connsiteX1" fmla="*/ 0 w 5493531"/>
              <a:gd name="connsiteY1" fmla="*/ 403174 h 1716198"/>
              <a:gd name="connsiteX2" fmla="*/ 1661232 w 5493531"/>
              <a:gd name="connsiteY2" fmla="*/ 34179 h 1716198"/>
              <a:gd name="connsiteX3" fmla="*/ 5493531 w 5493531"/>
              <a:gd name="connsiteY3" fmla="*/ 1708993 h 1716198"/>
              <a:gd name="connsiteX4" fmla="*/ 1413456 w 5493531"/>
              <a:gd name="connsiteY4" fmla="*/ 1716198 h 1716198"/>
              <a:gd name="connsiteX0" fmla="*/ 1413456 w 5493531"/>
              <a:gd name="connsiteY0" fmla="*/ 1716198 h 1716198"/>
              <a:gd name="connsiteX1" fmla="*/ 0 w 5493531"/>
              <a:gd name="connsiteY1" fmla="*/ 403174 h 1716198"/>
              <a:gd name="connsiteX2" fmla="*/ 1661232 w 5493531"/>
              <a:gd name="connsiteY2" fmla="*/ 34179 h 1716198"/>
              <a:gd name="connsiteX3" fmla="*/ 5493531 w 5493531"/>
              <a:gd name="connsiteY3" fmla="*/ 1708993 h 1716198"/>
              <a:gd name="connsiteX4" fmla="*/ 1413456 w 5493531"/>
              <a:gd name="connsiteY4" fmla="*/ 1716198 h 1716198"/>
              <a:gd name="connsiteX0" fmla="*/ 1413456 w 5493531"/>
              <a:gd name="connsiteY0" fmla="*/ 1682019 h 1682019"/>
              <a:gd name="connsiteX1" fmla="*/ 0 w 5493531"/>
              <a:gd name="connsiteY1" fmla="*/ 368995 h 1682019"/>
              <a:gd name="connsiteX2" fmla="*/ 1661232 w 5493531"/>
              <a:gd name="connsiteY2" fmla="*/ 0 h 1682019"/>
              <a:gd name="connsiteX3" fmla="*/ 5493531 w 5493531"/>
              <a:gd name="connsiteY3" fmla="*/ 1674814 h 1682019"/>
              <a:gd name="connsiteX4" fmla="*/ 1413456 w 5493531"/>
              <a:gd name="connsiteY4" fmla="*/ 1682019 h 1682019"/>
              <a:gd name="connsiteX0" fmla="*/ 1413456 w 5493531"/>
              <a:gd name="connsiteY0" fmla="*/ 1725432 h 1725432"/>
              <a:gd name="connsiteX1" fmla="*/ 0 w 5493531"/>
              <a:gd name="connsiteY1" fmla="*/ 412408 h 1725432"/>
              <a:gd name="connsiteX2" fmla="*/ 1612392 w 5493531"/>
              <a:gd name="connsiteY2" fmla="*/ 0 h 1725432"/>
              <a:gd name="connsiteX3" fmla="*/ 5493531 w 5493531"/>
              <a:gd name="connsiteY3" fmla="*/ 1718227 h 1725432"/>
              <a:gd name="connsiteX4" fmla="*/ 1413456 w 5493531"/>
              <a:gd name="connsiteY4" fmla="*/ 1725432 h 1725432"/>
              <a:gd name="connsiteX0" fmla="*/ 1413456 w 5493531"/>
              <a:gd name="connsiteY0" fmla="*/ 1725432 h 1725432"/>
              <a:gd name="connsiteX1" fmla="*/ 0 w 5493531"/>
              <a:gd name="connsiteY1" fmla="*/ 412408 h 1725432"/>
              <a:gd name="connsiteX2" fmla="*/ 1612392 w 5493531"/>
              <a:gd name="connsiteY2" fmla="*/ 0 h 1725432"/>
              <a:gd name="connsiteX3" fmla="*/ 5493531 w 5493531"/>
              <a:gd name="connsiteY3" fmla="*/ 1718227 h 1725432"/>
              <a:gd name="connsiteX4" fmla="*/ 1413456 w 5493531"/>
              <a:gd name="connsiteY4" fmla="*/ 1725432 h 1725432"/>
              <a:gd name="connsiteX0" fmla="*/ 1413456 w 5493531"/>
              <a:gd name="connsiteY0" fmla="*/ 1725432 h 1725432"/>
              <a:gd name="connsiteX1" fmla="*/ 0 w 5493531"/>
              <a:gd name="connsiteY1" fmla="*/ 412408 h 1725432"/>
              <a:gd name="connsiteX2" fmla="*/ 1612392 w 5493531"/>
              <a:gd name="connsiteY2" fmla="*/ 0 h 1725432"/>
              <a:gd name="connsiteX3" fmla="*/ 5493531 w 5493531"/>
              <a:gd name="connsiteY3" fmla="*/ 1718227 h 1725432"/>
              <a:gd name="connsiteX4" fmla="*/ 1413456 w 5493531"/>
              <a:gd name="connsiteY4" fmla="*/ 1725432 h 1725432"/>
              <a:gd name="connsiteX0" fmla="*/ 1413456 w 5493531"/>
              <a:gd name="connsiteY0" fmla="*/ 1805865 h 1805865"/>
              <a:gd name="connsiteX1" fmla="*/ 0 w 5493531"/>
              <a:gd name="connsiteY1" fmla="*/ 492841 h 1805865"/>
              <a:gd name="connsiteX2" fmla="*/ 2234692 w 5493531"/>
              <a:gd name="connsiteY2" fmla="*/ 0 h 1805865"/>
              <a:gd name="connsiteX3" fmla="*/ 5493531 w 5493531"/>
              <a:gd name="connsiteY3" fmla="*/ 1798660 h 1805865"/>
              <a:gd name="connsiteX4" fmla="*/ 1413456 w 5493531"/>
              <a:gd name="connsiteY4" fmla="*/ 1805865 h 1805865"/>
              <a:gd name="connsiteX0" fmla="*/ 1413456 w 5493531"/>
              <a:gd name="connsiteY0" fmla="*/ 1805865 h 1805865"/>
              <a:gd name="connsiteX1" fmla="*/ 0 w 5493531"/>
              <a:gd name="connsiteY1" fmla="*/ 492841 h 1805865"/>
              <a:gd name="connsiteX2" fmla="*/ 2234692 w 5493531"/>
              <a:gd name="connsiteY2" fmla="*/ 0 h 1805865"/>
              <a:gd name="connsiteX3" fmla="*/ 5493531 w 5493531"/>
              <a:gd name="connsiteY3" fmla="*/ 1798660 h 1805865"/>
              <a:gd name="connsiteX4" fmla="*/ 1413456 w 5493531"/>
              <a:gd name="connsiteY4" fmla="*/ 1805865 h 1805865"/>
              <a:gd name="connsiteX0" fmla="*/ 1413456 w 5493531"/>
              <a:gd name="connsiteY0" fmla="*/ 1805865 h 1805865"/>
              <a:gd name="connsiteX1" fmla="*/ 0 w 5493531"/>
              <a:gd name="connsiteY1" fmla="*/ 492841 h 1805865"/>
              <a:gd name="connsiteX2" fmla="*/ 2234692 w 5493531"/>
              <a:gd name="connsiteY2" fmla="*/ 0 h 1805865"/>
              <a:gd name="connsiteX3" fmla="*/ 5493531 w 5493531"/>
              <a:gd name="connsiteY3" fmla="*/ 1798660 h 1805865"/>
              <a:gd name="connsiteX4" fmla="*/ 1413456 w 5493531"/>
              <a:gd name="connsiteY4" fmla="*/ 1805865 h 1805865"/>
              <a:gd name="connsiteX0" fmla="*/ 1464256 w 5544331"/>
              <a:gd name="connsiteY0" fmla="*/ 1805865 h 1805865"/>
              <a:gd name="connsiteX1" fmla="*/ 0 w 5544331"/>
              <a:gd name="connsiteY1" fmla="*/ 497074 h 1805865"/>
              <a:gd name="connsiteX2" fmla="*/ 2285492 w 5544331"/>
              <a:gd name="connsiteY2" fmla="*/ 0 h 1805865"/>
              <a:gd name="connsiteX3" fmla="*/ 5544331 w 5544331"/>
              <a:gd name="connsiteY3" fmla="*/ 1798660 h 1805865"/>
              <a:gd name="connsiteX4" fmla="*/ 1464256 w 5544331"/>
              <a:gd name="connsiteY4" fmla="*/ 1805865 h 1805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44331" h="1805865">
                <a:moveTo>
                  <a:pt x="1464256" y="1805865"/>
                </a:moveTo>
                <a:cubicBezTo>
                  <a:pt x="902438" y="1452459"/>
                  <a:pt x="290870" y="831417"/>
                  <a:pt x="0" y="497074"/>
                </a:cubicBezTo>
                <a:cubicBezTo>
                  <a:pt x="515956" y="302722"/>
                  <a:pt x="1205803" y="111245"/>
                  <a:pt x="2285492" y="0"/>
                </a:cubicBezTo>
                <a:lnTo>
                  <a:pt x="5544331" y="1798660"/>
                </a:lnTo>
                <a:lnTo>
                  <a:pt x="1464256" y="180586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  <p:sp>
        <p:nvSpPr>
          <p:cNvPr id="134" name="Арка 8">
            <a:extLst>
              <a:ext uri="{FF2B5EF4-FFF2-40B4-BE49-F238E27FC236}">
                <a16:creationId xmlns:a16="http://schemas.microsoft.com/office/drawing/2014/main" id="{B6FA2A9B-4EF6-4EBD-B611-421C57E608FC}"/>
              </a:ext>
            </a:extLst>
          </p:cNvPr>
          <p:cNvSpPr/>
          <p:nvPr/>
        </p:nvSpPr>
        <p:spPr>
          <a:xfrm rot="16200000">
            <a:off x="5816595" y="481141"/>
            <a:ext cx="6856546" cy="5894264"/>
          </a:xfrm>
          <a:custGeom>
            <a:avLst/>
            <a:gdLst>
              <a:gd name="connsiteX0" fmla="*/ 0 w 13248000"/>
              <a:gd name="connsiteY0" fmla="*/ 6623209 h 13249612"/>
              <a:gd name="connsiteX1" fmla="*/ 2081023 w 13248000"/>
              <a:gd name="connsiteY1" fmla="*/ 1803562 h 13249612"/>
              <a:gd name="connsiteX2" fmla="*/ 7015783 w 13248000"/>
              <a:gd name="connsiteY2" fmla="*/ 11598 h 13249612"/>
              <a:gd name="connsiteX3" fmla="*/ 6868168 w 13248000"/>
              <a:gd name="connsiteY3" fmla="*/ 2503285 h 13249612"/>
              <a:gd name="connsiteX4" fmla="*/ 3792797 w 13248000"/>
              <a:gd name="connsiteY4" fmla="*/ 3620187 h 13249612"/>
              <a:gd name="connsiteX5" fmla="*/ 2496056 w 13248000"/>
              <a:gd name="connsiteY5" fmla="*/ 6623811 h 13249612"/>
              <a:gd name="connsiteX6" fmla="*/ 0 w 13248000"/>
              <a:gd name="connsiteY6" fmla="*/ 6623209 h 13249612"/>
              <a:gd name="connsiteX0" fmla="*/ 0 w 7015783"/>
              <a:gd name="connsiteY0" fmla="*/ 6624781 h 6625383"/>
              <a:gd name="connsiteX1" fmla="*/ 1987238 w 7015783"/>
              <a:gd name="connsiteY1" fmla="*/ 1711349 h 6625383"/>
              <a:gd name="connsiteX2" fmla="*/ 7015783 w 7015783"/>
              <a:gd name="connsiteY2" fmla="*/ 13170 h 6625383"/>
              <a:gd name="connsiteX3" fmla="*/ 6868168 w 7015783"/>
              <a:gd name="connsiteY3" fmla="*/ 2504857 h 6625383"/>
              <a:gd name="connsiteX4" fmla="*/ 3792797 w 7015783"/>
              <a:gd name="connsiteY4" fmla="*/ 3621759 h 6625383"/>
              <a:gd name="connsiteX5" fmla="*/ 2496056 w 7015783"/>
              <a:gd name="connsiteY5" fmla="*/ 6625383 h 6625383"/>
              <a:gd name="connsiteX6" fmla="*/ 0 w 7015783"/>
              <a:gd name="connsiteY6" fmla="*/ 6624781 h 6625383"/>
              <a:gd name="connsiteX0" fmla="*/ 562 w 7016345"/>
              <a:gd name="connsiteY0" fmla="*/ 6624781 h 6625383"/>
              <a:gd name="connsiteX1" fmla="*/ 1987800 w 7016345"/>
              <a:gd name="connsiteY1" fmla="*/ 1711349 h 6625383"/>
              <a:gd name="connsiteX2" fmla="*/ 7016345 w 7016345"/>
              <a:gd name="connsiteY2" fmla="*/ 13170 h 6625383"/>
              <a:gd name="connsiteX3" fmla="*/ 6868730 w 7016345"/>
              <a:gd name="connsiteY3" fmla="*/ 2504857 h 6625383"/>
              <a:gd name="connsiteX4" fmla="*/ 3793359 w 7016345"/>
              <a:gd name="connsiteY4" fmla="*/ 3621759 h 6625383"/>
              <a:gd name="connsiteX5" fmla="*/ 2496618 w 7016345"/>
              <a:gd name="connsiteY5" fmla="*/ 6625383 h 6625383"/>
              <a:gd name="connsiteX6" fmla="*/ 562 w 7016345"/>
              <a:gd name="connsiteY6" fmla="*/ 6624781 h 6625383"/>
              <a:gd name="connsiteX0" fmla="*/ 762 w 7016545"/>
              <a:gd name="connsiteY0" fmla="*/ 6623222 h 6623824"/>
              <a:gd name="connsiteX1" fmla="*/ 1800431 w 7016545"/>
              <a:gd name="connsiteY1" fmla="*/ 1803574 h 6623824"/>
              <a:gd name="connsiteX2" fmla="*/ 7016545 w 7016545"/>
              <a:gd name="connsiteY2" fmla="*/ 11611 h 6623824"/>
              <a:gd name="connsiteX3" fmla="*/ 6868930 w 7016545"/>
              <a:gd name="connsiteY3" fmla="*/ 2503298 h 6623824"/>
              <a:gd name="connsiteX4" fmla="*/ 3793559 w 7016545"/>
              <a:gd name="connsiteY4" fmla="*/ 3620200 h 6623824"/>
              <a:gd name="connsiteX5" fmla="*/ 2496818 w 7016545"/>
              <a:gd name="connsiteY5" fmla="*/ 6623824 h 6623824"/>
              <a:gd name="connsiteX6" fmla="*/ 762 w 7016545"/>
              <a:gd name="connsiteY6" fmla="*/ 6623222 h 6623824"/>
              <a:gd name="connsiteX0" fmla="*/ 662 w 7016445"/>
              <a:gd name="connsiteY0" fmla="*/ 6622952 h 6623554"/>
              <a:gd name="connsiteX1" fmla="*/ 1881196 w 7016445"/>
              <a:gd name="connsiteY1" fmla="*/ 1821968 h 6623554"/>
              <a:gd name="connsiteX2" fmla="*/ 7016445 w 7016445"/>
              <a:gd name="connsiteY2" fmla="*/ 11341 h 6623554"/>
              <a:gd name="connsiteX3" fmla="*/ 6868830 w 7016445"/>
              <a:gd name="connsiteY3" fmla="*/ 2503028 h 6623554"/>
              <a:gd name="connsiteX4" fmla="*/ 3793459 w 7016445"/>
              <a:gd name="connsiteY4" fmla="*/ 3619930 h 6623554"/>
              <a:gd name="connsiteX5" fmla="*/ 2496718 w 7016445"/>
              <a:gd name="connsiteY5" fmla="*/ 6623554 h 6623554"/>
              <a:gd name="connsiteX6" fmla="*/ 662 w 7016445"/>
              <a:gd name="connsiteY6" fmla="*/ 6622952 h 6623554"/>
              <a:gd name="connsiteX0" fmla="*/ 585 w 7016368"/>
              <a:gd name="connsiteY0" fmla="*/ 6624847 h 6625449"/>
              <a:gd name="connsiteX1" fmla="*/ 1881119 w 7016368"/>
              <a:gd name="connsiteY1" fmla="*/ 1823863 h 6625449"/>
              <a:gd name="connsiteX2" fmla="*/ 7016368 w 7016368"/>
              <a:gd name="connsiteY2" fmla="*/ 13236 h 6625449"/>
              <a:gd name="connsiteX3" fmla="*/ 6868753 w 7016368"/>
              <a:gd name="connsiteY3" fmla="*/ 2504923 h 6625449"/>
              <a:gd name="connsiteX4" fmla="*/ 3793382 w 7016368"/>
              <a:gd name="connsiteY4" fmla="*/ 3621825 h 6625449"/>
              <a:gd name="connsiteX5" fmla="*/ 2496641 w 7016368"/>
              <a:gd name="connsiteY5" fmla="*/ 6625449 h 6625449"/>
              <a:gd name="connsiteX6" fmla="*/ 585 w 7016368"/>
              <a:gd name="connsiteY6" fmla="*/ 6624847 h 6625449"/>
              <a:gd name="connsiteX0" fmla="*/ 675 w 7016458"/>
              <a:gd name="connsiteY0" fmla="*/ 6621598 h 6622200"/>
              <a:gd name="connsiteX1" fmla="*/ 1881209 w 7016458"/>
              <a:gd name="connsiteY1" fmla="*/ 1820614 h 6622200"/>
              <a:gd name="connsiteX2" fmla="*/ 7016458 w 7016458"/>
              <a:gd name="connsiteY2" fmla="*/ 9987 h 6622200"/>
              <a:gd name="connsiteX3" fmla="*/ 6868843 w 7016458"/>
              <a:gd name="connsiteY3" fmla="*/ 2501674 h 6622200"/>
              <a:gd name="connsiteX4" fmla="*/ 3793472 w 7016458"/>
              <a:gd name="connsiteY4" fmla="*/ 3618576 h 6622200"/>
              <a:gd name="connsiteX5" fmla="*/ 2496731 w 7016458"/>
              <a:gd name="connsiteY5" fmla="*/ 6622200 h 6622200"/>
              <a:gd name="connsiteX6" fmla="*/ 675 w 7016458"/>
              <a:gd name="connsiteY6" fmla="*/ 6621598 h 6622200"/>
              <a:gd name="connsiteX0" fmla="*/ 526 w 7016309"/>
              <a:gd name="connsiteY0" fmla="*/ 6627424 h 6627424"/>
              <a:gd name="connsiteX1" fmla="*/ 1881060 w 7016309"/>
              <a:gd name="connsiteY1" fmla="*/ 1820220 h 6627424"/>
              <a:gd name="connsiteX2" fmla="*/ 7016309 w 7016309"/>
              <a:gd name="connsiteY2" fmla="*/ 9593 h 6627424"/>
              <a:gd name="connsiteX3" fmla="*/ 6868694 w 7016309"/>
              <a:gd name="connsiteY3" fmla="*/ 2501280 h 6627424"/>
              <a:gd name="connsiteX4" fmla="*/ 3793323 w 7016309"/>
              <a:gd name="connsiteY4" fmla="*/ 3618182 h 6627424"/>
              <a:gd name="connsiteX5" fmla="*/ 2496582 w 7016309"/>
              <a:gd name="connsiteY5" fmla="*/ 6621806 h 6627424"/>
              <a:gd name="connsiteX6" fmla="*/ 526 w 7016309"/>
              <a:gd name="connsiteY6" fmla="*/ 6627424 h 6627424"/>
              <a:gd name="connsiteX0" fmla="*/ 0 w 7015783"/>
              <a:gd name="connsiteY0" fmla="*/ 6627424 h 6627424"/>
              <a:gd name="connsiteX1" fmla="*/ 1880534 w 7015783"/>
              <a:gd name="connsiteY1" fmla="*/ 1820220 h 6627424"/>
              <a:gd name="connsiteX2" fmla="*/ 7015783 w 7015783"/>
              <a:gd name="connsiteY2" fmla="*/ 9593 h 6627424"/>
              <a:gd name="connsiteX3" fmla="*/ 6868168 w 7015783"/>
              <a:gd name="connsiteY3" fmla="*/ 2501280 h 6627424"/>
              <a:gd name="connsiteX4" fmla="*/ 3792797 w 7015783"/>
              <a:gd name="connsiteY4" fmla="*/ 3618182 h 6627424"/>
              <a:gd name="connsiteX5" fmla="*/ 2496056 w 7015783"/>
              <a:gd name="connsiteY5" fmla="*/ 6621806 h 6627424"/>
              <a:gd name="connsiteX6" fmla="*/ 0 w 7015783"/>
              <a:gd name="connsiteY6" fmla="*/ 6627424 h 6627424"/>
              <a:gd name="connsiteX0" fmla="*/ 232859 w 7248642"/>
              <a:gd name="connsiteY0" fmla="*/ 6625481 h 6625481"/>
              <a:gd name="connsiteX1" fmla="*/ 320844 w 7248642"/>
              <a:gd name="connsiteY1" fmla="*/ 5183944 h 6625481"/>
              <a:gd name="connsiteX2" fmla="*/ 2113393 w 7248642"/>
              <a:gd name="connsiteY2" fmla="*/ 1818277 h 6625481"/>
              <a:gd name="connsiteX3" fmla="*/ 7248642 w 7248642"/>
              <a:gd name="connsiteY3" fmla="*/ 7650 h 6625481"/>
              <a:gd name="connsiteX4" fmla="*/ 7101027 w 7248642"/>
              <a:gd name="connsiteY4" fmla="*/ 2499337 h 6625481"/>
              <a:gd name="connsiteX5" fmla="*/ 4025656 w 7248642"/>
              <a:gd name="connsiteY5" fmla="*/ 3616239 h 6625481"/>
              <a:gd name="connsiteX6" fmla="*/ 2728915 w 7248642"/>
              <a:gd name="connsiteY6" fmla="*/ 6619863 h 6625481"/>
              <a:gd name="connsiteX7" fmla="*/ 232859 w 7248642"/>
              <a:gd name="connsiteY7" fmla="*/ 6625481 h 6625481"/>
              <a:gd name="connsiteX0" fmla="*/ 0 w 7015783"/>
              <a:gd name="connsiteY0" fmla="*/ 6625481 h 6625481"/>
              <a:gd name="connsiteX1" fmla="*/ 87985 w 7015783"/>
              <a:gd name="connsiteY1" fmla="*/ 5183944 h 6625481"/>
              <a:gd name="connsiteX2" fmla="*/ 1880534 w 7015783"/>
              <a:gd name="connsiteY2" fmla="*/ 1818277 h 6625481"/>
              <a:gd name="connsiteX3" fmla="*/ 7015783 w 7015783"/>
              <a:gd name="connsiteY3" fmla="*/ 7650 h 6625481"/>
              <a:gd name="connsiteX4" fmla="*/ 6868168 w 7015783"/>
              <a:gd name="connsiteY4" fmla="*/ 2499337 h 6625481"/>
              <a:gd name="connsiteX5" fmla="*/ 3792797 w 7015783"/>
              <a:gd name="connsiteY5" fmla="*/ 3616239 h 6625481"/>
              <a:gd name="connsiteX6" fmla="*/ 2496056 w 7015783"/>
              <a:gd name="connsiteY6" fmla="*/ 6619863 h 6625481"/>
              <a:gd name="connsiteX7" fmla="*/ 0 w 7015783"/>
              <a:gd name="connsiteY7" fmla="*/ 6625481 h 6625481"/>
              <a:gd name="connsiteX0" fmla="*/ 0 w 7015783"/>
              <a:gd name="connsiteY0" fmla="*/ 6625507 h 6625507"/>
              <a:gd name="connsiteX1" fmla="*/ 7120 w 7015783"/>
              <a:gd name="connsiteY1" fmla="*/ 5208852 h 6625507"/>
              <a:gd name="connsiteX2" fmla="*/ 1880534 w 7015783"/>
              <a:gd name="connsiteY2" fmla="*/ 1818303 h 6625507"/>
              <a:gd name="connsiteX3" fmla="*/ 7015783 w 7015783"/>
              <a:gd name="connsiteY3" fmla="*/ 7676 h 6625507"/>
              <a:gd name="connsiteX4" fmla="*/ 6868168 w 7015783"/>
              <a:gd name="connsiteY4" fmla="*/ 2499363 h 6625507"/>
              <a:gd name="connsiteX5" fmla="*/ 3792797 w 7015783"/>
              <a:gd name="connsiteY5" fmla="*/ 3616265 h 6625507"/>
              <a:gd name="connsiteX6" fmla="*/ 2496056 w 7015783"/>
              <a:gd name="connsiteY6" fmla="*/ 6619889 h 6625507"/>
              <a:gd name="connsiteX7" fmla="*/ 0 w 7015783"/>
              <a:gd name="connsiteY7" fmla="*/ 6625507 h 6625507"/>
              <a:gd name="connsiteX0" fmla="*/ 0 w 7015783"/>
              <a:gd name="connsiteY0" fmla="*/ 6625507 h 6625507"/>
              <a:gd name="connsiteX1" fmla="*/ 7120 w 7015783"/>
              <a:gd name="connsiteY1" fmla="*/ 5208852 h 6625507"/>
              <a:gd name="connsiteX2" fmla="*/ 1880534 w 7015783"/>
              <a:gd name="connsiteY2" fmla="*/ 1818303 h 6625507"/>
              <a:gd name="connsiteX3" fmla="*/ 7015783 w 7015783"/>
              <a:gd name="connsiteY3" fmla="*/ 7676 h 6625507"/>
              <a:gd name="connsiteX4" fmla="*/ 6868168 w 7015783"/>
              <a:gd name="connsiteY4" fmla="*/ 2499363 h 6625507"/>
              <a:gd name="connsiteX5" fmla="*/ 3792797 w 7015783"/>
              <a:gd name="connsiteY5" fmla="*/ 3616265 h 6625507"/>
              <a:gd name="connsiteX6" fmla="*/ 2496056 w 7015783"/>
              <a:gd name="connsiteY6" fmla="*/ 6619889 h 6625507"/>
              <a:gd name="connsiteX7" fmla="*/ 0 w 7015783"/>
              <a:gd name="connsiteY7" fmla="*/ 6625507 h 6625507"/>
              <a:gd name="connsiteX0" fmla="*/ 0 w 7015783"/>
              <a:gd name="connsiteY0" fmla="*/ 6625507 h 6625507"/>
              <a:gd name="connsiteX1" fmla="*/ 7120 w 7015783"/>
              <a:gd name="connsiteY1" fmla="*/ 5208852 h 6625507"/>
              <a:gd name="connsiteX2" fmla="*/ 1880534 w 7015783"/>
              <a:gd name="connsiteY2" fmla="*/ 1818303 h 6625507"/>
              <a:gd name="connsiteX3" fmla="*/ 7015783 w 7015783"/>
              <a:gd name="connsiteY3" fmla="*/ 7676 h 6625507"/>
              <a:gd name="connsiteX4" fmla="*/ 6868168 w 7015783"/>
              <a:gd name="connsiteY4" fmla="*/ 2499363 h 6625507"/>
              <a:gd name="connsiteX5" fmla="*/ 3792797 w 7015783"/>
              <a:gd name="connsiteY5" fmla="*/ 3616265 h 6625507"/>
              <a:gd name="connsiteX6" fmla="*/ 2496056 w 7015783"/>
              <a:gd name="connsiteY6" fmla="*/ 6619889 h 6625507"/>
              <a:gd name="connsiteX7" fmla="*/ 0 w 7015783"/>
              <a:gd name="connsiteY7" fmla="*/ 6625507 h 6625507"/>
              <a:gd name="connsiteX0" fmla="*/ 0 w 7015783"/>
              <a:gd name="connsiteY0" fmla="*/ 6625507 h 6625507"/>
              <a:gd name="connsiteX1" fmla="*/ 7120 w 7015783"/>
              <a:gd name="connsiteY1" fmla="*/ 5208852 h 6625507"/>
              <a:gd name="connsiteX2" fmla="*/ 1874313 w 7015783"/>
              <a:gd name="connsiteY2" fmla="*/ 1818303 h 6625507"/>
              <a:gd name="connsiteX3" fmla="*/ 7015783 w 7015783"/>
              <a:gd name="connsiteY3" fmla="*/ 7676 h 6625507"/>
              <a:gd name="connsiteX4" fmla="*/ 6868168 w 7015783"/>
              <a:gd name="connsiteY4" fmla="*/ 2499363 h 6625507"/>
              <a:gd name="connsiteX5" fmla="*/ 3792797 w 7015783"/>
              <a:gd name="connsiteY5" fmla="*/ 3616265 h 6625507"/>
              <a:gd name="connsiteX6" fmla="*/ 2496056 w 7015783"/>
              <a:gd name="connsiteY6" fmla="*/ 6619889 h 6625507"/>
              <a:gd name="connsiteX7" fmla="*/ 0 w 7015783"/>
              <a:gd name="connsiteY7" fmla="*/ 6625507 h 6625507"/>
              <a:gd name="connsiteX0" fmla="*/ 0 w 7015783"/>
              <a:gd name="connsiteY0" fmla="*/ 6626094 h 6626094"/>
              <a:gd name="connsiteX1" fmla="*/ 7120 w 7015783"/>
              <a:gd name="connsiteY1" fmla="*/ 5209439 h 6626094"/>
              <a:gd name="connsiteX2" fmla="*/ 1874313 w 7015783"/>
              <a:gd name="connsiteY2" fmla="*/ 1818890 h 6626094"/>
              <a:gd name="connsiteX3" fmla="*/ 7015783 w 7015783"/>
              <a:gd name="connsiteY3" fmla="*/ 8263 h 6626094"/>
              <a:gd name="connsiteX4" fmla="*/ 6868168 w 7015783"/>
              <a:gd name="connsiteY4" fmla="*/ 2499950 h 6626094"/>
              <a:gd name="connsiteX5" fmla="*/ 3792797 w 7015783"/>
              <a:gd name="connsiteY5" fmla="*/ 3616852 h 6626094"/>
              <a:gd name="connsiteX6" fmla="*/ 2496056 w 7015783"/>
              <a:gd name="connsiteY6" fmla="*/ 6620476 h 6626094"/>
              <a:gd name="connsiteX7" fmla="*/ 0 w 7015783"/>
              <a:gd name="connsiteY7" fmla="*/ 6626094 h 6626094"/>
              <a:gd name="connsiteX0" fmla="*/ 0 w 7015783"/>
              <a:gd name="connsiteY0" fmla="*/ 6732585 h 6732585"/>
              <a:gd name="connsiteX1" fmla="*/ 7120 w 7015783"/>
              <a:gd name="connsiteY1" fmla="*/ 5315930 h 6732585"/>
              <a:gd name="connsiteX2" fmla="*/ 1874313 w 7015783"/>
              <a:gd name="connsiteY2" fmla="*/ 1925381 h 6732585"/>
              <a:gd name="connsiteX3" fmla="*/ 4299202 w 7015783"/>
              <a:gd name="connsiteY3" fmla="*/ 569759 h 6732585"/>
              <a:gd name="connsiteX4" fmla="*/ 7015783 w 7015783"/>
              <a:gd name="connsiteY4" fmla="*/ 114754 h 6732585"/>
              <a:gd name="connsiteX5" fmla="*/ 6868168 w 7015783"/>
              <a:gd name="connsiteY5" fmla="*/ 2606441 h 6732585"/>
              <a:gd name="connsiteX6" fmla="*/ 3792797 w 7015783"/>
              <a:gd name="connsiteY6" fmla="*/ 3723343 h 6732585"/>
              <a:gd name="connsiteX7" fmla="*/ 2496056 w 7015783"/>
              <a:gd name="connsiteY7" fmla="*/ 6726967 h 6732585"/>
              <a:gd name="connsiteX8" fmla="*/ 0 w 7015783"/>
              <a:gd name="connsiteY8" fmla="*/ 6732585 h 6732585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1874313 w 7015783"/>
              <a:gd name="connsiteY2" fmla="*/ 1939348 h 6746552"/>
              <a:gd name="connsiteX3" fmla="*/ 4249439 w 7015783"/>
              <a:gd name="connsiteY3" fmla="*/ 496640 h 6746552"/>
              <a:gd name="connsiteX4" fmla="*/ 7015783 w 7015783"/>
              <a:gd name="connsiteY4" fmla="*/ 128721 h 6746552"/>
              <a:gd name="connsiteX5" fmla="*/ 6868168 w 7015783"/>
              <a:gd name="connsiteY5" fmla="*/ 2620408 h 6746552"/>
              <a:gd name="connsiteX6" fmla="*/ 3792797 w 7015783"/>
              <a:gd name="connsiteY6" fmla="*/ 3737310 h 6746552"/>
              <a:gd name="connsiteX7" fmla="*/ 2496056 w 7015783"/>
              <a:gd name="connsiteY7" fmla="*/ 6740934 h 6746552"/>
              <a:gd name="connsiteX8" fmla="*/ 0 w 7015783"/>
              <a:gd name="connsiteY8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1874313 w 7015783"/>
              <a:gd name="connsiteY2" fmla="*/ 1939348 h 6746552"/>
              <a:gd name="connsiteX3" fmla="*/ 4249439 w 7015783"/>
              <a:gd name="connsiteY3" fmla="*/ 496640 h 6746552"/>
              <a:gd name="connsiteX4" fmla="*/ 7015783 w 7015783"/>
              <a:gd name="connsiteY4" fmla="*/ 128721 h 6746552"/>
              <a:gd name="connsiteX5" fmla="*/ 6868168 w 7015783"/>
              <a:gd name="connsiteY5" fmla="*/ 2620408 h 6746552"/>
              <a:gd name="connsiteX6" fmla="*/ 3792797 w 7015783"/>
              <a:gd name="connsiteY6" fmla="*/ 3737310 h 6746552"/>
              <a:gd name="connsiteX7" fmla="*/ 2496056 w 7015783"/>
              <a:gd name="connsiteY7" fmla="*/ 6740934 h 6746552"/>
              <a:gd name="connsiteX8" fmla="*/ 0 w 7015783"/>
              <a:gd name="connsiteY8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1874313 w 7015783"/>
              <a:gd name="connsiteY2" fmla="*/ 1939348 h 6746552"/>
              <a:gd name="connsiteX3" fmla="*/ 4249439 w 7015783"/>
              <a:gd name="connsiteY3" fmla="*/ 496640 h 6746552"/>
              <a:gd name="connsiteX4" fmla="*/ 7015783 w 7015783"/>
              <a:gd name="connsiteY4" fmla="*/ 128721 h 6746552"/>
              <a:gd name="connsiteX5" fmla="*/ 6868168 w 7015783"/>
              <a:gd name="connsiteY5" fmla="*/ 2620408 h 6746552"/>
              <a:gd name="connsiteX6" fmla="*/ 3792797 w 7015783"/>
              <a:gd name="connsiteY6" fmla="*/ 3737310 h 6746552"/>
              <a:gd name="connsiteX7" fmla="*/ 2496056 w 7015783"/>
              <a:gd name="connsiteY7" fmla="*/ 6740934 h 6746552"/>
              <a:gd name="connsiteX8" fmla="*/ 0 w 7015783"/>
              <a:gd name="connsiteY8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784670 w 7015783"/>
              <a:gd name="connsiteY2" fmla="*/ 3494877 h 6746552"/>
              <a:gd name="connsiteX3" fmla="*/ 1874313 w 7015783"/>
              <a:gd name="connsiteY3" fmla="*/ 1939348 h 6746552"/>
              <a:gd name="connsiteX4" fmla="*/ 4249439 w 7015783"/>
              <a:gd name="connsiteY4" fmla="*/ 496640 h 6746552"/>
              <a:gd name="connsiteX5" fmla="*/ 7015783 w 7015783"/>
              <a:gd name="connsiteY5" fmla="*/ 128721 h 6746552"/>
              <a:gd name="connsiteX6" fmla="*/ 6868168 w 7015783"/>
              <a:gd name="connsiteY6" fmla="*/ 2620408 h 6746552"/>
              <a:gd name="connsiteX7" fmla="*/ 3792797 w 7015783"/>
              <a:gd name="connsiteY7" fmla="*/ 3737310 h 6746552"/>
              <a:gd name="connsiteX8" fmla="*/ 2496056 w 7015783"/>
              <a:gd name="connsiteY8" fmla="*/ 6740934 h 6746552"/>
              <a:gd name="connsiteX9" fmla="*/ 0 w 7015783"/>
              <a:gd name="connsiteY9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48 h 6746552"/>
              <a:gd name="connsiteX4" fmla="*/ 4249439 w 7015783"/>
              <a:gd name="connsiteY4" fmla="*/ 496640 h 6746552"/>
              <a:gd name="connsiteX5" fmla="*/ 7015783 w 7015783"/>
              <a:gd name="connsiteY5" fmla="*/ 128721 h 6746552"/>
              <a:gd name="connsiteX6" fmla="*/ 6868168 w 7015783"/>
              <a:gd name="connsiteY6" fmla="*/ 2620408 h 6746552"/>
              <a:gd name="connsiteX7" fmla="*/ 3792797 w 7015783"/>
              <a:gd name="connsiteY7" fmla="*/ 3737310 h 6746552"/>
              <a:gd name="connsiteX8" fmla="*/ 2496056 w 7015783"/>
              <a:gd name="connsiteY8" fmla="*/ 6740934 h 6746552"/>
              <a:gd name="connsiteX9" fmla="*/ 0 w 7015783"/>
              <a:gd name="connsiteY9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48 h 6746552"/>
              <a:gd name="connsiteX4" fmla="*/ 4249439 w 7015783"/>
              <a:gd name="connsiteY4" fmla="*/ 496640 h 6746552"/>
              <a:gd name="connsiteX5" fmla="*/ 7015783 w 7015783"/>
              <a:gd name="connsiteY5" fmla="*/ 128721 h 6746552"/>
              <a:gd name="connsiteX6" fmla="*/ 6868168 w 7015783"/>
              <a:gd name="connsiteY6" fmla="*/ 2620408 h 6746552"/>
              <a:gd name="connsiteX7" fmla="*/ 3792797 w 7015783"/>
              <a:gd name="connsiteY7" fmla="*/ 3737310 h 6746552"/>
              <a:gd name="connsiteX8" fmla="*/ 2496056 w 7015783"/>
              <a:gd name="connsiteY8" fmla="*/ 6740934 h 6746552"/>
              <a:gd name="connsiteX9" fmla="*/ 0 w 7015783"/>
              <a:gd name="connsiteY9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48 h 6746552"/>
              <a:gd name="connsiteX4" fmla="*/ 4249439 w 7015783"/>
              <a:gd name="connsiteY4" fmla="*/ 496640 h 6746552"/>
              <a:gd name="connsiteX5" fmla="*/ 7015783 w 7015783"/>
              <a:gd name="connsiteY5" fmla="*/ 128721 h 6746552"/>
              <a:gd name="connsiteX6" fmla="*/ 6868168 w 7015783"/>
              <a:gd name="connsiteY6" fmla="*/ 2620408 h 6746552"/>
              <a:gd name="connsiteX7" fmla="*/ 3792797 w 7015783"/>
              <a:gd name="connsiteY7" fmla="*/ 3737310 h 6746552"/>
              <a:gd name="connsiteX8" fmla="*/ 2496056 w 7015783"/>
              <a:gd name="connsiteY8" fmla="*/ 6740934 h 6746552"/>
              <a:gd name="connsiteX9" fmla="*/ 0 w 7015783"/>
              <a:gd name="connsiteY9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51 h 6746552"/>
              <a:gd name="connsiteX4" fmla="*/ 4249439 w 7015783"/>
              <a:gd name="connsiteY4" fmla="*/ 496640 h 6746552"/>
              <a:gd name="connsiteX5" fmla="*/ 7015783 w 7015783"/>
              <a:gd name="connsiteY5" fmla="*/ 128721 h 6746552"/>
              <a:gd name="connsiteX6" fmla="*/ 6868168 w 7015783"/>
              <a:gd name="connsiteY6" fmla="*/ 2620408 h 6746552"/>
              <a:gd name="connsiteX7" fmla="*/ 3792797 w 7015783"/>
              <a:gd name="connsiteY7" fmla="*/ 3737310 h 6746552"/>
              <a:gd name="connsiteX8" fmla="*/ 2496056 w 7015783"/>
              <a:gd name="connsiteY8" fmla="*/ 6740934 h 6746552"/>
              <a:gd name="connsiteX9" fmla="*/ 0 w 7015783"/>
              <a:gd name="connsiteY9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51 h 6746552"/>
              <a:gd name="connsiteX4" fmla="*/ 3036458 w 7015783"/>
              <a:gd name="connsiteY4" fmla="*/ 1124902 h 6746552"/>
              <a:gd name="connsiteX5" fmla="*/ 4249439 w 7015783"/>
              <a:gd name="connsiteY5" fmla="*/ 496640 h 6746552"/>
              <a:gd name="connsiteX6" fmla="*/ 7015783 w 7015783"/>
              <a:gd name="connsiteY6" fmla="*/ 128721 h 6746552"/>
              <a:gd name="connsiteX7" fmla="*/ 6868168 w 7015783"/>
              <a:gd name="connsiteY7" fmla="*/ 2620408 h 6746552"/>
              <a:gd name="connsiteX8" fmla="*/ 3792797 w 7015783"/>
              <a:gd name="connsiteY8" fmla="*/ 3737310 h 6746552"/>
              <a:gd name="connsiteX9" fmla="*/ 2496056 w 7015783"/>
              <a:gd name="connsiteY9" fmla="*/ 6740934 h 6746552"/>
              <a:gd name="connsiteX10" fmla="*/ 0 w 7015783"/>
              <a:gd name="connsiteY10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51 h 6746552"/>
              <a:gd name="connsiteX4" fmla="*/ 2980474 w 7015783"/>
              <a:gd name="connsiteY4" fmla="*/ 1093803 h 6746552"/>
              <a:gd name="connsiteX5" fmla="*/ 4249439 w 7015783"/>
              <a:gd name="connsiteY5" fmla="*/ 496640 h 6746552"/>
              <a:gd name="connsiteX6" fmla="*/ 7015783 w 7015783"/>
              <a:gd name="connsiteY6" fmla="*/ 128721 h 6746552"/>
              <a:gd name="connsiteX7" fmla="*/ 6868168 w 7015783"/>
              <a:gd name="connsiteY7" fmla="*/ 2620408 h 6746552"/>
              <a:gd name="connsiteX8" fmla="*/ 3792797 w 7015783"/>
              <a:gd name="connsiteY8" fmla="*/ 3737310 h 6746552"/>
              <a:gd name="connsiteX9" fmla="*/ 2496056 w 7015783"/>
              <a:gd name="connsiteY9" fmla="*/ 6740934 h 6746552"/>
              <a:gd name="connsiteX10" fmla="*/ 0 w 7015783"/>
              <a:gd name="connsiteY10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874313 w 7015783"/>
              <a:gd name="connsiteY3" fmla="*/ 1939351 h 6746552"/>
              <a:gd name="connsiteX4" fmla="*/ 2980474 w 7015783"/>
              <a:gd name="connsiteY4" fmla="*/ 1093803 h 6746552"/>
              <a:gd name="connsiteX5" fmla="*/ 4249439 w 7015783"/>
              <a:gd name="connsiteY5" fmla="*/ 496640 h 6746552"/>
              <a:gd name="connsiteX6" fmla="*/ 7015783 w 7015783"/>
              <a:gd name="connsiteY6" fmla="*/ 128721 h 6746552"/>
              <a:gd name="connsiteX7" fmla="*/ 6868168 w 7015783"/>
              <a:gd name="connsiteY7" fmla="*/ 2620408 h 6746552"/>
              <a:gd name="connsiteX8" fmla="*/ 3792797 w 7015783"/>
              <a:gd name="connsiteY8" fmla="*/ 3737310 h 6746552"/>
              <a:gd name="connsiteX9" fmla="*/ 2496056 w 7015783"/>
              <a:gd name="connsiteY9" fmla="*/ 6740934 h 6746552"/>
              <a:gd name="connsiteX10" fmla="*/ 0 w 7015783"/>
              <a:gd name="connsiteY10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244980 w 7015783"/>
              <a:gd name="connsiteY3" fmla="*/ 2686225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672703 w 7015783"/>
              <a:gd name="connsiteY2" fmla="*/ 3494877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566956 w 7015783"/>
              <a:gd name="connsiteY2" fmla="*/ 3725032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7015783"/>
              <a:gd name="connsiteY0" fmla="*/ 6746552 h 6746552"/>
              <a:gd name="connsiteX1" fmla="*/ 7120 w 7015783"/>
              <a:gd name="connsiteY1" fmla="*/ 5329897 h 6746552"/>
              <a:gd name="connsiteX2" fmla="*/ 529634 w 7015783"/>
              <a:gd name="connsiteY2" fmla="*/ 3749914 h 6746552"/>
              <a:gd name="connsiteX3" fmla="*/ 1207655 w 7015783"/>
              <a:gd name="connsiteY3" fmla="*/ 2686228 h 6746552"/>
              <a:gd name="connsiteX4" fmla="*/ 1874313 w 7015783"/>
              <a:gd name="connsiteY4" fmla="*/ 1939351 h 6746552"/>
              <a:gd name="connsiteX5" fmla="*/ 2980474 w 7015783"/>
              <a:gd name="connsiteY5" fmla="*/ 1093803 h 6746552"/>
              <a:gd name="connsiteX6" fmla="*/ 4249439 w 7015783"/>
              <a:gd name="connsiteY6" fmla="*/ 496640 h 6746552"/>
              <a:gd name="connsiteX7" fmla="*/ 7015783 w 7015783"/>
              <a:gd name="connsiteY7" fmla="*/ 128721 h 6746552"/>
              <a:gd name="connsiteX8" fmla="*/ 6868168 w 7015783"/>
              <a:gd name="connsiteY8" fmla="*/ 2620408 h 6746552"/>
              <a:gd name="connsiteX9" fmla="*/ 3792797 w 7015783"/>
              <a:gd name="connsiteY9" fmla="*/ 3737310 h 6746552"/>
              <a:gd name="connsiteX10" fmla="*/ 2496056 w 7015783"/>
              <a:gd name="connsiteY10" fmla="*/ 6740934 h 6746552"/>
              <a:gd name="connsiteX11" fmla="*/ 0 w 7015783"/>
              <a:gd name="connsiteY11" fmla="*/ 6746552 h 6746552"/>
              <a:gd name="connsiteX0" fmla="*/ 0 w 6885157"/>
              <a:gd name="connsiteY0" fmla="*/ 6643651 h 6643651"/>
              <a:gd name="connsiteX1" fmla="*/ 7120 w 6885157"/>
              <a:gd name="connsiteY1" fmla="*/ 5226996 h 6643651"/>
              <a:gd name="connsiteX2" fmla="*/ 529634 w 6885157"/>
              <a:gd name="connsiteY2" fmla="*/ 3647013 h 6643651"/>
              <a:gd name="connsiteX3" fmla="*/ 1207655 w 6885157"/>
              <a:gd name="connsiteY3" fmla="*/ 2583327 h 6643651"/>
              <a:gd name="connsiteX4" fmla="*/ 1874313 w 6885157"/>
              <a:gd name="connsiteY4" fmla="*/ 1836450 h 6643651"/>
              <a:gd name="connsiteX5" fmla="*/ 2980474 w 6885157"/>
              <a:gd name="connsiteY5" fmla="*/ 990902 h 6643651"/>
              <a:gd name="connsiteX6" fmla="*/ 4249439 w 6885157"/>
              <a:gd name="connsiteY6" fmla="*/ 393739 h 6643651"/>
              <a:gd name="connsiteX7" fmla="*/ 6885157 w 6885157"/>
              <a:gd name="connsiteY7" fmla="*/ 156449 h 6643651"/>
              <a:gd name="connsiteX8" fmla="*/ 6868168 w 6885157"/>
              <a:gd name="connsiteY8" fmla="*/ 2517507 h 6643651"/>
              <a:gd name="connsiteX9" fmla="*/ 3792797 w 6885157"/>
              <a:gd name="connsiteY9" fmla="*/ 3634409 h 6643651"/>
              <a:gd name="connsiteX10" fmla="*/ 2496056 w 6885157"/>
              <a:gd name="connsiteY10" fmla="*/ 6638033 h 6643651"/>
              <a:gd name="connsiteX11" fmla="*/ 0 w 6885157"/>
              <a:gd name="connsiteY11" fmla="*/ 6643651 h 6643651"/>
              <a:gd name="connsiteX0" fmla="*/ 0 w 6868168"/>
              <a:gd name="connsiteY0" fmla="*/ 6713153 h 6713153"/>
              <a:gd name="connsiteX1" fmla="*/ 7120 w 6868168"/>
              <a:gd name="connsiteY1" fmla="*/ 5296498 h 6713153"/>
              <a:gd name="connsiteX2" fmla="*/ 529634 w 6868168"/>
              <a:gd name="connsiteY2" fmla="*/ 3716515 h 6713153"/>
              <a:gd name="connsiteX3" fmla="*/ 1207655 w 6868168"/>
              <a:gd name="connsiteY3" fmla="*/ 2652829 h 6713153"/>
              <a:gd name="connsiteX4" fmla="*/ 1874313 w 6868168"/>
              <a:gd name="connsiteY4" fmla="*/ 1905952 h 6713153"/>
              <a:gd name="connsiteX5" fmla="*/ 2980474 w 6868168"/>
              <a:gd name="connsiteY5" fmla="*/ 1060404 h 6713153"/>
              <a:gd name="connsiteX6" fmla="*/ 4249439 w 6868168"/>
              <a:gd name="connsiteY6" fmla="*/ 463241 h 6713153"/>
              <a:gd name="connsiteX7" fmla="*/ 6860966 w 6868168"/>
              <a:gd name="connsiteY7" fmla="*/ 136447 h 6713153"/>
              <a:gd name="connsiteX8" fmla="*/ 6868168 w 6868168"/>
              <a:gd name="connsiteY8" fmla="*/ 2587009 h 6713153"/>
              <a:gd name="connsiteX9" fmla="*/ 3792797 w 6868168"/>
              <a:gd name="connsiteY9" fmla="*/ 3703911 h 6713153"/>
              <a:gd name="connsiteX10" fmla="*/ 2496056 w 6868168"/>
              <a:gd name="connsiteY10" fmla="*/ 6707535 h 6713153"/>
              <a:gd name="connsiteX11" fmla="*/ 0 w 6868168"/>
              <a:gd name="connsiteY11" fmla="*/ 6713153 h 6713153"/>
              <a:gd name="connsiteX0" fmla="*/ 0 w 6868168"/>
              <a:gd name="connsiteY0" fmla="*/ 6606648 h 6606648"/>
              <a:gd name="connsiteX1" fmla="*/ 7120 w 6868168"/>
              <a:gd name="connsiteY1" fmla="*/ 5189993 h 6606648"/>
              <a:gd name="connsiteX2" fmla="*/ 529634 w 6868168"/>
              <a:gd name="connsiteY2" fmla="*/ 3610010 h 6606648"/>
              <a:gd name="connsiteX3" fmla="*/ 1207655 w 6868168"/>
              <a:gd name="connsiteY3" fmla="*/ 2546324 h 6606648"/>
              <a:gd name="connsiteX4" fmla="*/ 1874313 w 6868168"/>
              <a:gd name="connsiteY4" fmla="*/ 1799447 h 6606648"/>
              <a:gd name="connsiteX5" fmla="*/ 2980474 w 6868168"/>
              <a:gd name="connsiteY5" fmla="*/ 953899 h 6606648"/>
              <a:gd name="connsiteX6" fmla="*/ 4249439 w 6868168"/>
              <a:gd name="connsiteY6" fmla="*/ 356736 h 6606648"/>
              <a:gd name="connsiteX7" fmla="*/ 6860966 w 6868168"/>
              <a:gd name="connsiteY7" fmla="*/ 29942 h 6606648"/>
              <a:gd name="connsiteX8" fmla="*/ 6868168 w 6868168"/>
              <a:gd name="connsiteY8" fmla="*/ 2480504 h 6606648"/>
              <a:gd name="connsiteX9" fmla="*/ 3792797 w 6868168"/>
              <a:gd name="connsiteY9" fmla="*/ 3597406 h 6606648"/>
              <a:gd name="connsiteX10" fmla="*/ 2496056 w 6868168"/>
              <a:gd name="connsiteY10" fmla="*/ 6601030 h 6606648"/>
              <a:gd name="connsiteX11" fmla="*/ 0 w 6868168"/>
              <a:gd name="connsiteY11" fmla="*/ 6606648 h 6606648"/>
              <a:gd name="connsiteX0" fmla="*/ 0 w 6868168"/>
              <a:gd name="connsiteY0" fmla="*/ 6606648 h 6606648"/>
              <a:gd name="connsiteX1" fmla="*/ 7120 w 6868168"/>
              <a:gd name="connsiteY1" fmla="*/ 5189993 h 6606648"/>
              <a:gd name="connsiteX2" fmla="*/ 529634 w 6868168"/>
              <a:gd name="connsiteY2" fmla="*/ 3610010 h 6606648"/>
              <a:gd name="connsiteX3" fmla="*/ 1207655 w 6868168"/>
              <a:gd name="connsiteY3" fmla="*/ 2546324 h 6606648"/>
              <a:gd name="connsiteX4" fmla="*/ 1874313 w 6868168"/>
              <a:gd name="connsiteY4" fmla="*/ 1799447 h 6606648"/>
              <a:gd name="connsiteX5" fmla="*/ 2980474 w 6868168"/>
              <a:gd name="connsiteY5" fmla="*/ 953899 h 6606648"/>
              <a:gd name="connsiteX6" fmla="*/ 4249439 w 6868168"/>
              <a:gd name="connsiteY6" fmla="*/ 356736 h 6606648"/>
              <a:gd name="connsiteX7" fmla="*/ 6860966 w 6868168"/>
              <a:gd name="connsiteY7" fmla="*/ 29942 h 6606648"/>
              <a:gd name="connsiteX8" fmla="*/ 6868168 w 6868168"/>
              <a:gd name="connsiteY8" fmla="*/ 2480504 h 6606648"/>
              <a:gd name="connsiteX9" fmla="*/ 3792797 w 6868168"/>
              <a:gd name="connsiteY9" fmla="*/ 3597406 h 6606648"/>
              <a:gd name="connsiteX10" fmla="*/ 2496056 w 6868168"/>
              <a:gd name="connsiteY10" fmla="*/ 6601030 h 6606648"/>
              <a:gd name="connsiteX11" fmla="*/ 0 w 6868168"/>
              <a:gd name="connsiteY11" fmla="*/ 6606648 h 6606648"/>
              <a:gd name="connsiteX0" fmla="*/ 0 w 6868168"/>
              <a:gd name="connsiteY0" fmla="*/ 6606648 h 6606648"/>
              <a:gd name="connsiteX1" fmla="*/ 7120 w 6868168"/>
              <a:gd name="connsiteY1" fmla="*/ 5189993 h 6606648"/>
              <a:gd name="connsiteX2" fmla="*/ 529634 w 6868168"/>
              <a:gd name="connsiteY2" fmla="*/ 3610010 h 6606648"/>
              <a:gd name="connsiteX3" fmla="*/ 1207655 w 6868168"/>
              <a:gd name="connsiteY3" fmla="*/ 2546324 h 6606648"/>
              <a:gd name="connsiteX4" fmla="*/ 1874313 w 6868168"/>
              <a:gd name="connsiteY4" fmla="*/ 1799447 h 6606648"/>
              <a:gd name="connsiteX5" fmla="*/ 2980474 w 6868168"/>
              <a:gd name="connsiteY5" fmla="*/ 953899 h 6606648"/>
              <a:gd name="connsiteX6" fmla="*/ 4249439 w 6868168"/>
              <a:gd name="connsiteY6" fmla="*/ 356736 h 6606648"/>
              <a:gd name="connsiteX7" fmla="*/ 6860966 w 6868168"/>
              <a:gd name="connsiteY7" fmla="*/ 29942 h 6606648"/>
              <a:gd name="connsiteX8" fmla="*/ 6868168 w 6868168"/>
              <a:gd name="connsiteY8" fmla="*/ 2480504 h 6606648"/>
              <a:gd name="connsiteX9" fmla="*/ 3792797 w 6868168"/>
              <a:gd name="connsiteY9" fmla="*/ 3597406 h 6606648"/>
              <a:gd name="connsiteX10" fmla="*/ 2496056 w 6868168"/>
              <a:gd name="connsiteY10" fmla="*/ 6601030 h 6606648"/>
              <a:gd name="connsiteX11" fmla="*/ 0 w 6868168"/>
              <a:gd name="connsiteY11" fmla="*/ 6606648 h 660664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3792797 w 6868168"/>
              <a:gd name="connsiteY9" fmla="*/ 3597406 h 6611078"/>
              <a:gd name="connsiteX10" fmla="*/ 2335282 w 6868168"/>
              <a:gd name="connsiteY10" fmla="*/ 6611078 h 6611078"/>
              <a:gd name="connsiteX11" fmla="*/ 0 w 6868168"/>
              <a:gd name="connsiteY11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3672217 w 6868168"/>
              <a:gd name="connsiteY9" fmla="*/ 3476825 h 6611078"/>
              <a:gd name="connsiteX10" fmla="*/ 2335282 w 6868168"/>
              <a:gd name="connsiteY10" fmla="*/ 6611078 h 6611078"/>
              <a:gd name="connsiteX11" fmla="*/ 0 w 6868168"/>
              <a:gd name="connsiteY11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6228964 w 6868168"/>
              <a:gd name="connsiteY9" fmla="*/ 2478851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756691 w 6868168"/>
              <a:gd name="connsiteY9" fmla="*/ 2468803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756691 w 6868168"/>
              <a:gd name="connsiteY9" fmla="*/ 2468803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756691 w 6868168"/>
              <a:gd name="connsiteY9" fmla="*/ 2468803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776787 w 6868168"/>
              <a:gd name="connsiteY9" fmla="*/ 2488900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776787 w 6868168"/>
              <a:gd name="connsiteY9" fmla="*/ 2488900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335282 w 6868168"/>
              <a:gd name="connsiteY11" fmla="*/ 6611078 h 6611078"/>
              <a:gd name="connsiteX12" fmla="*/ 0 w 6868168"/>
              <a:gd name="connsiteY12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548955 w 6868168"/>
              <a:gd name="connsiteY11" fmla="*/ 5269537 h 6611078"/>
              <a:gd name="connsiteX12" fmla="*/ 2335282 w 6868168"/>
              <a:gd name="connsiteY12" fmla="*/ 6611078 h 6611078"/>
              <a:gd name="connsiteX13" fmla="*/ 0 w 6868168"/>
              <a:gd name="connsiteY13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335282 w 6868168"/>
              <a:gd name="connsiteY12" fmla="*/ 6611078 h 6611078"/>
              <a:gd name="connsiteX13" fmla="*/ 0 w 6868168"/>
              <a:gd name="connsiteY13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335282 w 6868168"/>
              <a:gd name="connsiteY12" fmla="*/ 6611078 h 6611078"/>
              <a:gd name="connsiteX13" fmla="*/ 0 w 6868168"/>
              <a:gd name="connsiteY13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27575 w 6868168"/>
              <a:gd name="connsiteY12" fmla="*/ 5698414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27575 w 6868168"/>
              <a:gd name="connsiteY12" fmla="*/ 5698414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694612 w 6868168"/>
              <a:gd name="connsiteY11" fmla="*/ 4792107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11391 w 6868168"/>
              <a:gd name="connsiteY12" fmla="*/ 5690322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68036 w 6868168"/>
              <a:gd name="connsiteY12" fmla="*/ 5463745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153789 w 6868168"/>
              <a:gd name="connsiteY9" fmla="*/ 2629577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72217 w 6868168"/>
              <a:gd name="connsiteY10" fmla="*/ 3476825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39849 w 6868168"/>
              <a:gd name="connsiteY10" fmla="*/ 3501101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39849 w 6868168"/>
              <a:gd name="connsiteY10" fmla="*/ 3501101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4733003 w 6868168"/>
              <a:gd name="connsiteY9" fmla="*/ 2783326 h 6611078"/>
              <a:gd name="connsiteX10" fmla="*/ 3639849 w 6868168"/>
              <a:gd name="connsiteY10" fmla="*/ 3501101 h 6611078"/>
              <a:gd name="connsiteX11" fmla="*/ 2896913 w 6868168"/>
              <a:gd name="connsiteY11" fmla="*/ 4411781 h 6611078"/>
              <a:gd name="connsiteX12" fmla="*/ 2435668 w 6868168"/>
              <a:gd name="connsiteY12" fmla="*/ 5471837 h 6611078"/>
              <a:gd name="connsiteX13" fmla="*/ 2335282 w 6868168"/>
              <a:gd name="connsiteY13" fmla="*/ 6611078 h 6611078"/>
              <a:gd name="connsiteX14" fmla="*/ 0 w 6868168"/>
              <a:gd name="connsiteY14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971886 w 6868168"/>
              <a:gd name="connsiteY9" fmla="*/ 2526337 h 6611078"/>
              <a:gd name="connsiteX10" fmla="*/ 4733003 w 6868168"/>
              <a:gd name="connsiteY10" fmla="*/ 2783326 h 6611078"/>
              <a:gd name="connsiteX11" fmla="*/ 3639849 w 6868168"/>
              <a:gd name="connsiteY11" fmla="*/ 3501101 h 6611078"/>
              <a:gd name="connsiteX12" fmla="*/ 2896913 w 6868168"/>
              <a:gd name="connsiteY12" fmla="*/ 4411781 h 6611078"/>
              <a:gd name="connsiteX13" fmla="*/ 2435668 w 6868168"/>
              <a:gd name="connsiteY13" fmla="*/ 5471837 h 6611078"/>
              <a:gd name="connsiteX14" fmla="*/ 2335282 w 6868168"/>
              <a:gd name="connsiteY14" fmla="*/ 6611078 h 6611078"/>
              <a:gd name="connsiteX15" fmla="*/ 0 w 6868168"/>
              <a:gd name="connsiteY15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955702 w 6868168"/>
              <a:gd name="connsiteY9" fmla="*/ 2453508 h 6611078"/>
              <a:gd name="connsiteX10" fmla="*/ 4733003 w 6868168"/>
              <a:gd name="connsiteY10" fmla="*/ 2783326 h 6611078"/>
              <a:gd name="connsiteX11" fmla="*/ 3639849 w 6868168"/>
              <a:gd name="connsiteY11" fmla="*/ 3501101 h 6611078"/>
              <a:gd name="connsiteX12" fmla="*/ 2896913 w 6868168"/>
              <a:gd name="connsiteY12" fmla="*/ 4411781 h 6611078"/>
              <a:gd name="connsiteX13" fmla="*/ 2435668 w 6868168"/>
              <a:gd name="connsiteY13" fmla="*/ 5471837 h 6611078"/>
              <a:gd name="connsiteX14" fmla="*/ 2335282 w 6868168"/>
              <a:gd name="connsiteY14" fmla="*/ 6611078 h 6611078"/>
              <a:gd name="connsiteX15" fmla="*/ 0 w 6868168"/>
              <a:gd name="connsiteY15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955702 w 6868168"/>
              <a:gd name="connsiteY9" fmla="*/ 2453508 h 6611078"/>
              <a:gd name="connsiteX10" fmla="*/ 4733003 w 6868168"/>
              <a:gd name="connsiteY10" fmla="*/ 2783326 h 6611078"/>
              <a:gd name="connsiteX11" fmla="*/ 3639849 w 6868168"/>
              <a:gd name="connsiteY11" fmla="*/ 3501101 h 6611078"/>
              <a:gd name="connsiteX12" fmla="*/ 2896913 w 6868168"/>
              <a:gd name="connsiteY12" fmla="*/ 4411781 h 6611078"/>
              <a:gd name="connsiteX13" fmla="*/ 2435668 w 6868168"/>
              <a:gd name="connsiteY13" fmla="*/ 5471837 h 6611078"/>
              <a:gd name="connsiteX14" fmla="*/ 2335282 w 6868168"/>
              <a:gd name="connsiteY14" fmla="*/ 6611078 h 6611078"/>
              <a:gd name="connsiteX15" fmla="*/ 0 w 6868168"/>
              <a:gd name="connsiteY15" fmla="*/ 6606648 h 6611078"/>
              <a:gd name="connsiteX0" fmla="*/ 0 w 6868168"/>
              <a:gd name="connsiteY0" fmla="*/ 6606648 h 6611078"/>
              <a:gd name="connsiteX1" fmla="*/ 7120 w 6868168"/>
              <a:gd name="connsiteY1" fmla="*/ 5189993 h 6611078"/>
              <a:gd name="connsiteX2" fmla="*/ 529634 w 6868168"/>
              <a:gd name="connsiteY2" fmla="*/ 3610010 h 6611078"/>
              <a:gd name="connsiteX3" fmla="*/ 1207655 w 6868168"/>
              <a:gd name="connsiteY3" fmla="*/ 2546324 h 6611078"/>
              <a:gd name="connsiteX4" fmla="*/ 1874313 w 6868168"/>
              <a:gd name="connsiteY4" fmla="*/ 1799447 h 6611078"/>
              <a:gd name="connsiteX5" fmla="*/ 2980474 w 6868168"/>
              <a:gd name="connsiteY5" fmla="*/ 953899 h 6611078"/>
              <a:gd name="connsiteX6" fmla="*/ 4249439 w 6868168"/>
              <a:gd name="connsiteY6" fmla="*/ 356736 h 6611078"/>
              <a:gd name="connsiteX7" fmla="*/ 6860966 w 6868168"/>
              <a:gd name="connsiteY7" fmla="*/ 29942 h 6611078"/>
              <a:gd name="connsiteX8" fmla="*/ 6868168 w 6868168"/>
              <a:gd name="connsiteY8" fmla="*/ 2480504 h 6611078"/>
              <a:gd name="connsiteX9" fmla="*/ 5955702 w 6868168"/>
              <a:gd name="connsiteY9" fmla="*/ 2469692 h 6611078"/>
              <a:gd name="connsiteX10" fmla="*/ 4733003 w 6868168"/>
              <a:gd name="connsiteY10" fmla="*/ 2783326 h 6611078"/>
              <a:gd name="connsiteX11" fmla="*/ 3639849 w 6868168"/>
              <a:gd name="connsiteY11" fmla="*/ 3501101 h 6611078"/>
              <a:gd name="connsiteX12" fmla="*/ 2896913 w 6868168"/>
              <a:gd name="connsiteY12" fmla="*/ 4411781 h 6611078"/>
              <a:gd name="connsiteX13" fmla="*/ 2435668 w 6868168"/>
              <a:gd name="connsiteY13" fmla="*/ 5471837 h 6611078"/>
              <a:gd name="connsiteX14" fmla="*/ 2335282 w 6868168"/>
              <a:gd name="connsiteY14" fmla="*/ 6611078 h 6611078"/>
              <a:gd name="connsiteX15" fmla="*/ 0 w 6868168"/>
              <a:gd name="connsiteY15" fmla="*/ 6606648 h 6611078"/>
              <a:gd name="connsiteX0" fmla="*/ 1562 w 6861638"/>
              <a:gd name="connsiteY0" fmla="*/ 6606648 h 6611078"/>
              <a:gd name="connsiteX1" fmla="*/ 590 w 6861638"/>
              <a:gd name="connsiteY1" fmla="*/ 5189993 h 6611078"/>
              <a:gd name="connsiteX2" fmla="*/ 523104 w 6861638"/>
              <a:gd name="connsiteY2" fmla="*/ 3610010 h 6611078"/>
              <a:gd name="connsiteX3" fmla="*/ 1201125 w 6861638"/>
              <a:gd name="connsiteY3" fmla="*/ 2546324 h 6611078"/>
              <a:gd name="connsiteX4" fmla="*/ 1867783 w 6861638"/>
              <a:gd name="connsiteY4" fmla="*/ 1799447 h 6611078"/>
              <a:gd name="connsiteX5" fmla="*/ 2973944 w 6861638"/>
              <a:gd name="connsiteY5" fmla="*/ 953899 h 6611078"/>
              <a:gd name="connsiteX6" fmla="*/ 4242909 w 6861638"/>
              <a:gd name="connsiteY6" fmla="*/ 356736 h 6611078"/>
              <a:gd name="connsiteX7" fmla="*/ 6854436 w 6861638"/>
              <a:gd name="connsiteY7" fmla="*/ 29942 h 6611078"/>
              <a:gd name="connsiteX8" fmla="*/ 6861638 w 6861638"/>
              <a:gd name="connsiteY8" fmla="*/ 2480504 h 6611078"/>
              <a:gd name="connsiteX9" fmla="*/ 5949172 w 6861638"/>
              <a:gd name="connsiteY9" fmla="*/ 2469692 h 6611078"/>
              <a:gd name="connsiteX10" fmla="*/ 4726473 w 6861638"/>
              <a:gd name="connsiteY10" fmla="*/ 2783326 h 6611078"/>
              <a:gd name="connsiteX11" fmla="*/ 3633319 w 6861638"/>
              <a:gd name="connsiteY11" fmla="*/ 3501101 h 6611078"/>
              <a:gd name="connsiteX12" fmla="*/ 2890383 w 6861638"/>
              <a:gd name="connsiteY12" fmla="*/ 4411781 h 6611078"/>
              <a:gd name="connsiteX13" fmla="*/ 2429138 w 6861638"/>
              <a:gd name="connsiteY13" fmla="*/ 5471837 h 6611078"/>
              <a:gd name="connsiteX14" fmla="*/ 2328752 w 6861638"/>
              <a:gd name="connsiteY14" fmla="*/ 6611078 h 6611078"/>
              <a:gd name="connsiteX15" fmla="*/ 1562 w 6861638"/>
              <a:gd name="connsiteY15" fmla="*/ 6606648 h 6611078"/>
              <a:gd name="connsiteX0" fmla="*/ 1562 w 6861638"/>
              <a:gd name="connsiteY0" fmla="*/ 6606648 h 6611078"/>
              <a:gd name="connsiteX1" fmla="*/ 590 w 6861638"/>
              <a:gd name="connsiteY1" fmla="*/ 5189993 h 6611078"/>
              <a:gd name="connsiteX2" fmla="*/ 523104 w 6861638"/>
              <a:gd name="connsiteY2" fmla="*/ 3610010 h 6611078"/>
              <a:gd name="connsiteX3" fmla="*/ 1201125 w 6861638"/>
              <a:gd name="connsiteY3" fmla="*/ 2546324 h 6611078"/>
              <a:gd name="connsiteX4" fmla="*/ 1867783 w 6861638"/>
              <a:gd name="connsiteY4" fmla="*/ 1799447 h 6611078"/>
              <a:gd name="connsiteX5" fmla="*/ 2973944 w 6861638"/>
              <a:gd name="connsiteY5" fmla="*/ 953899 h 6611078"/>
              <a:gd name="connsiteX6" fmla="*/ 4242909 w 6861638"/>
              <a:gd name="connsiteY6" fmla="*/ 356736 h 6611078"/>
              <a:gd name="connsiteX7" fmla="*/ 6854436 w 6861638"/>
              <a:gd name="connsiteY7" fmla="*/ 29942 h 6611078"/>
              <a:gd name="connsiteX8" fmla="*/ 6861638 w 6861638"/>
              <a:gd name="connsiteY8" fmla="*/ 2480504 h 6611078"/>
              <a:gd name="connsiteX9" fmla="*/ 5949172 w 6861638"/>
              <a:gd name="connsiteY9" fmla="*/ 2469692 h 6611078"/>
              <a:gd name="connsiteX10" fmla="*/ 4726473 w 6861638"/>
              <a:gd name="connsiteY10" fmla="*/ 2783326 h 6611078"/>
              <a:gd name="connsiteX11" fmla="*/ 3633319 w 6861638"/>
              <a:gd name="connsiteY11" fmla="*/ 3501101 h 6611078"/>
              <a:gd name="connsiteX12" fmla="*/ 2890383 w 6861638"/>
              <a:gd name="connsiteY12" fmla="*/ 4411781 h 6611078"/>
              <a:gd name="connsiteX13" fmla="*/ 2429138 w 6861638"/>
              <a:gd name="connsiteY13" fmla="*/ 5471837 h 6611078"/>
              <a:gd name="connsiteX14" fmla="*/ 2328752 w 6861638"/>
              <a:gd name="connsiteY14" fmla="*/ 6611078 h 6611078"/>
              <a:gd name="connsiteX15" fmla="*/ 1562 w 6861638"/>
              <a:gd name="connsiteY15" fmla="*/ 6606648 h 6611078"/>
              <a:gd name="connsiteX0" fmla="*/ 1562 w 6861638"/>
              <a:gd name="connsiteY0" fmla="*/ 6606648 h 6611078"/>
              <a:gd name="connsiteX1" fmla="*/ 590 w 6861638"/>
              <a:gd name="connsiteY1" fmla="*/ 5189993 h 6611078"/>
              <a:gd name="connsiteX2" fmla="*/ 523104 w 6861638"/>
              <a:gd name="connsiteY2" fmla="*/ 3610010 h 6611078"/>
              <a:gd name="connsiteX3" fmla="*/ 1201125 w 6861638"/>
              <a:gd name="connsiteY3" fmla="*/ 2546324 h 6611078"/>
              <a:gd name="connsiteX4" fmla="*/ 1867783 w 6861638"/>
              <a:gd name="connsiteY4" fmla="*/ 1799447 h 6611078"/>
              <a:gd name="connsiteX5" fmla="*/ 2973944 w 6861638"/>
              <a:gd name="connsiteY5" fmla="*/ 953899 h 6611078"/>
              <a:gd name="connsiteX6" fmla="*/ 4242909 w 6861638"/>
              <a:gd name="connsiteY6" fmla="*/ 356736 h 6611078"/>
              <a:gd name="connsiteX7" fmla="*/ 6854436 w 6861638"/>
              <a:gd name="connsiteY7" fmla="*/ 29942 h 6611078"/>
              <a:gd name="connsiteX8" fmla="*/ 6861638 w 6861638"/>
              <a:gd name="connsiteY8" fmla="*/ 2480504 h 6611078"/>
              <a:gd name="connsiteX9" fmla="*/ 5949172 w 6861638"/>
              <a:gd name="connsiteY9" fmla="*/ 2469692 h 6611078"/>
              <a:gd name="connsiteX10" fmla="*/ 4726473 w 6861638"/>
              <a:gd name="connsiteY10" fmla="*/ 2783326 h 6611078"/>
              <a:gd name="connsiteX11" fmla="*/ 3633319 w 6861638"/>
              <a:gd name="connsiteY11" fmla="*/ 3501101 h 6611078"/>
              <a:gd name="connsiteX12" fmla="*/ 2890383 w 6861638"/>
              <a:gd name="connsiteY12" fmla="*/ 4411781 h 6611078"/>
              <a:gd name="connsiteX13" fmla="*/ 2429138 w 6861638"/>
              <a:gd name="connsiteY13" fmla="*/ 5471837 h 6611078"/>
              <a:gd name="connsiteX14" fmla="*/ 2328752 w 6861638"/>
              <a:gd name="connsiteY14" fmla="*/ 6611078 h 6611078"/>
              <a:gd name="connsiteX15" fmla="*/ 1562 w 6861638"/>
              <a:gd name="connsiteY15" fmla="*/ 6606648 h 6611078"/>
              <a:gd name="connsiteX0" fmla="*/ 1562 w 6861638"/>
              <a:gd name="connsiteY0" fmla="*/ 6606648 h 6606648"/>
              <a:gd name="connsiteX1" fmla="*/ 590 w 6861638"/>
              <a:gd name="connsiteY1" fmla="*/ 5189993 h 6606648"/>
              <a:gd name="connsiteX2" fmla="*/ 523104 w 6861638"/>
              <a:gd name="connsiteY2" fmla="*/ 3610010 h 6606648"/>
              <a:gd name="connsiteX3" fmla="*/ 1201125 w 6861638"/>
              <a:gd name="connsiteY3" fmla="*/ 2546324 h 6606648"/>
              <a:gd name="connsiteX4" fmla="*/ 1867783 w 6861638"/>
              <a:gd name="connsiteY4" fmla="*/ 1799447 h 6606648"/>
              <a:gd name="connsiteX5" fmla="*/ 2973944 w 6861638"/>
              <a:gd name="connsiteY5" fmla="*/ 953899 h 6606648"/>
              <a:gd name="connsiteX6" fmla="*/ 4242909 w 6861638"/>
              <a:gd name="connsiteY6" fmla="*/ 356736 h 6606648"/>
              <a:gd name="connsiteX7" fmla="*/ 6854436 w 6861638"/>
              <a:gd name="connsiteY7" fmla="*/ 29942 h 6606648"/>
              <a:gd name="connsiteX8" fmla="*/ 6861638 w 6861638"/>
              <a:gd name="connsiteY8" fmla="*/ 2480504 h 6606648"/>
              <a:gd name="connsiteX9" fmla="*/ 5949172 w 6861638"/>
              <a:gd name="connsiteY9" fmla="*/ 2469692 h 6606648"/>
              <a:gd name="connsiteX10" fmla="*/ 4726473 w 6861638"/>
              <a:gd name="connsiteY10" fmla="*/ 2783326 h 6606648"/>
              <a:gd name="connsiteX11" fmla="*/ 3633319 w 6861638"/>
              <a:gd name="connsiteY11" fmla="*/ 3501101 h 6606648"/>
              <a:gd name="connsiteX12" fmla="*/ 2890383 w 6861638"/>
              <a:gd name="connsiteY12" fmla="*/ 4411781 h 6606648"/>
              <a:gd name="connsiteX13" fmla="*/ 2429138 w 6861638"/>
              <a:gd name="connsiteY13" fmla="*/ 5471837 h 6606648"/>
              <a:gd name="connsiteX14" fmla="*/ 2328752 w 6861638"/>
              <a:gd name="connsiteY14" fmla="*/ 6602200 h 6606648"/>
              <a:gd name="connsiteX15" fmla="*/ 1562 w 6861638"/>
              <a:gd name="connsiteY15" fmla="*/ 6606648 h 6606648"/>
              <a:gd name="connsiteX0" fmla="*/ 0 w 6865995"/>
              <a:gd name="connsiteY0" fmla="*/ 6606648 h 6606648"/>
              <a:gd name="connsiteX1" fmla="*/ 4947 w 6865995"/>
              <a:gd name="connsiteY1" fmla="*/ 5189993 h 6606648"/>
              <a:gd name="connsiteX2" fmla="*/ 527461 w 6865995"/>
              <a:gd name="connsiteY2" fmla="*/ 3610010 h 6606648"/>
              <a:gd name="connsiteX3" fmla="*/ 1205482 w 6865995"/>
              <a:gd name="connsiteY3" fmla="*/ 2546324 h 6606648"/>
              <a:gd name="connsiteX4" fmla="*/ 1872140 w 6865995"/>
              <a:gd name="connsiteY4" fmla="*/ 1799447 h 6606648"/>
              <a:gd name="connsiteX5" fmla="*/ 2978301 w 6865995"/>
              <a:gd name="connsiteY5" fmla="*/ 953899 h 6606648"/>
              <a:gd name="connsiteX6" fmla="*/ 4247266 w 6865995"/>
              <a:gd name="connsiteY6" fmla="*/ 356736 h 6606648"/>
              <a:gd name="connsiteX7" fmla="*/ 6858793 w 6865995"/>
              <a:gd name="connsiteY7" fmla="*/ 29942 h 6606648"/>
              <a:gd name="connsiteX8" fmla="*/ 6865995 w 6865995"/>
              <a:gd name="connsiteY8" fmla="*/ 2480504 h 6606648"/>
              <a:gd name="connsiteX9" fmla="*/ 5953529 w 6865995"/>
              <a:gd name="connsiteY9" fmla="*/ 2469692 h 6606648"/>
              <a:gd name="connsiteX10" fmla="*/ 4730830 w 6865995"/>
              <a:gd name="connsiteY10" fmla="*/ 2783326 h 6606648"/>
              <a:gd name="connsiteX11" fmla="*/ 3637676 w 6865995"/>
              <a:gd name="connsiteY11" fmla="*/ 3501101 h 6606648"/>
              <a:gd name="connsiteX12" fmla="*/ 2894740 w 6865995"/>
              <a:gd name="connsiteY12" fmla="*/ 4411781 h 6606648"/>
              <a:gd name="connsiteX13" fmla="*/ 2433495 w 6865995"/>
              <a:gd name="connsiteY13" fmla="*/ 5471837 h 6606648"/>
              <a:gd name="connsiteX14" fmla="*/ 2333109 w 6865995"/>
              <a:gd name="connsiteY14" fmla="*/ 6602200 h 6606648"/>
              <a:gd name="connsiteX15" fmla="*/ 0 w 6865995"/>
              <a:gd name="connsiteY15" fmla="*/ 6606648 h 6606648"/>
              <a:gd name="connsiteX0" fmla="*/ 1560 w 6867555"/>
              <a:gd name="connsiteY0" fmla="*/ 6606648 h 6606648"/>
              <a:gd name="connsiteX1" fmla="*/ 589 w 6867555"/>
              <a:gd name="connsiteY1" fmla="*/ 5195912 h 6606648"/>
              <a:gd name="connsiteX2" fmla="*/ 529021 w 6867555"/>
              <a:gd name="connsiteY2" fmla="*/ 3610010 h 6606648"/>
              <a:gd name="connsiteX3" fmla="*/ 1207042 w 6867555"/>
              <a:gd name="connsiteY3" fmla="*/ 2546324 h 6606648"/>
              <a:gd name="connsiteX4" fmla="*/ 1873700 w 6867555"/>
              <a:gd name="connsiteY4" fmla="*/ 1799447 h 6606648"/>
              <a:gd name="connsiteX5" fmla="*/ 2979861 w 6867555"/>
              <a:gd name="connsiteY5" fmla="*/ 953899 h 6606648"/>
              <a:gd name="connsiteX6" fmla="*/ 4248826 w 6867555"/>
              <a:gd name="connsiteY6" fmla="*/ 356736 h 6606648"/>
              <a:gd name="connsiteX7" fmla="*/ 6860353 w 6867555"/>
              <a:gd name="connsiteY7" fmla="*/ 29942 h 6606648"/>
              <a:gd name="connsiteX8" fmla="*/ 6867555 w 6867555"/>
              <a:gd name="connsiteY8" fmla="*/ 2480504 h 6606648"/>
              <a:gd name="connsiteX9" fmla="*/ 5955089 w 6867555"/>
              <a:gd name="connsiteY9" fmla="*/ 2469692 h 6606648"/>
              <a:gd name="connsiteX10" fmla="*/ 4732390 w 6867555"/>
              <a:gd name="connsiteY10" fmla="*/ 2783326 h 6606648"/>
              <a:gd name="connsiteX11" fmla="*/ 3639236 w 6867555"/>
              <a:gd name="connsiteY11" fmla="*/ 3501101 h 6606648"/>
              <a:gd name="connsiteX12" fmla="*/ 2896300 w 6867555"/>
              <a:gd name="connsiteY12" fmla="*/ 4411781 h 6606648"/>
              <a:gd name="connsiteX13" fmla="*/ 2435055 w 6867555"/>
              <a:gd name="connsiteY13" fmla="*/ 5471837 h 6606648"/>
              <a:gd name="connsiteX14" fmla="*/ 2334669 w 6867555"/>
              <a:gd name="connsiteY14" fmla="*/ 6602200 h 6606648"/>
              <a:gd name="connsiteX15" fmla="*/ 1560 w 6867555"/>
              <a:gd name="connsiteY15" fmla="*/ 6606648 h 6606648"/>
              <a:gd name="connsiteX0" fmla="*/ 1560 w 6860569"/>
              <a:gd name="connsiteY0" fmla="*/ 6606648 h 6606648"/>
              <a:gd name="connsiteX1" fmla="*/ 589 w 6860569"/>
              <a:gd name="connsiteY1" fmla="*/ 5195912 h 6606648"/>
              <a:gd name="connsiteX2" fmla="*/ 529021 w 6860569"/>
              <a:gd name="connsiteY2" fmla="*/ 3610010 h 6606648"/>
              <a:gd name="connsiteX3" fmla="*/ 1207042 w 6860569"/>
              <a:gd name="connsiteY3" fmla="*/ 2546324 h 6606648"/>
              <a:gd name="connsiteX4" fmla="*/ 1873700 w 6860569"/>
              <a:gd name="connsiteY4" fmla="*/ 1799447 h 6606648"/>
              <a:gd name="connsiteX5" fmla="*/ 2979861 w 6860569"/>
              <a:gd name="connsiteY5" fmla="*/ 953899 h 6606648"/>
              <a:gd name="connsiteX6" fmla="*/ 4248826 w 6860569"/>
              <a:gd name="connsiteY6" fmla="*/ 356736 h 6606648"/>
              <a:gd name="connsiteX7" fmla="*/ 6860353 w 6860569"/>
              <a:gd name="connsiteY7" fmla="*/ 29942 h 6606648"/>
              <a:gd name="connsiteX8" fmla="*/ 6846775 w 6860569"/>
              <a:gd name="connsiteY8" fmla="*/ 3727414 h 6606648"/>
              <a:gd name="connsiteX9" fmla="*/ 5955089 w 6860569"/>
              <a:gd name="connsiteY9" fmla="*/ 2469692 h 6606648"/>
              <a:gd name="connsiteX10" fmla="*/ 4732390 w 6860569"/>
              <a:gd name="connsiteY10" fmla="*/ 2783326 h 6606648"/>
              <a:gd name="connsiteX11" fmla="*/ 3639236 w 6860569"/>
              <a:gd name="connsiteY11" fmla="*/ 3501101 h 6606648"/>
              <a:gd name="connsiteX12" fmla="*/ 2896300 w 6860569"/>
              <a:gd name="connsiteY12" fmla="*/ 4411781 h 6606648"/>
              <a:gd name="connsiteX13" fmla="*/ 2435055 w 6860569"/>
              <a:gd name="connsiteY13" fmla="*/ 5471837 h 6606648"/>
              <a:gd name="connsiteX14" fmla="*/ 2334669 w 6860569"/>
              <a:gd name="connsiteY14" fmla="*/ 6602200 h 6606648"/>
              <a:gd name="connsiteX15" fmla="*/ 1560 w 6860569"/>
              <a:gd name="connsiteY15" fmla="*/ 6606648 h 6606648"/>
              <a:gd name="connsiteX0" fmla="*/ 1560 w 6860569"/>
              <a:gd name="connsiteY0" fmla="*/ 6606648 h 6606648"/>
              <a:gd name="connsiteX1" fmla="*/ 589 w 6860569"/>
              <a:gd name="connsiteY1" fmla="*/ 5195912 h 6606648"/>
              <a:gd name="connsiteX2" fmla="*/ 529021 w 6860569"/>
              <a:gd name="connsiteY2" fmla="*/ 3610010 h 6606648"/>
              <a:gd name="connsiteX3" fmla="*/ 1207042 w 6860569"/>
              <a:gd name="connsiteY3" fmla="*/ 2546324 h 6606648"/>
              <a:gd name="connsiteX4" fmla="*/ 1873700 w 6860569"/>
              <a:gd name="connsiteY4" fmla="*/ 1799447 h 6606648"/>
              <a:gd name="connsiteX5" fmla="*/ 2979861 w 6860569"/>
              <a:gd name="connsiteY5" fmla="*/ 953899 h 6606648"/>
              <a:gd name="connsiteX6" fmla="*/ 4248826 w 6860569"/>
              <a:gd name="connsiteY6" fmla="*/ 356736 h 6606648"/>
              <a:gd name="connsiteX7" fmla="*/ 6860353 w 6860569"/>
              <a:gd name="connsiteY7" fmla="*/ 29942 h 6606648"/>
              <a:gd name="connsiteX8" fmla="*/ 6846775 w 6860569"/>
              <a:gd name="connsiteY8" fmla="*/ 3727414 h 6606648"/>
              <a:gd name="connsiteX9" fmla="*/ 5955089 w 6860569"/>
              <a:gd name="connsiteY9" fmla="*/ 2469692 h 6606648"/>
              <a:gd name="connsiteX10" fmla="*/ 4732390 w 6860569"/>
              <a:gd name="connsiteY10" fmla="*/ 2783326 h 6606648"/>
              <a:gd name="connsiteX11" fmla="*/ 3639236 w 6860569"/>
              <a:gd name="connsiteY11" fmla="*/ 3501101 h 6606648"/>
              <a:gd name="connsiteX12" fmla="*/ 2896300 w 6860569"/>
              <a:gd name="connsiteY12" fmla="*/ 4411781 h 6606648"/>
              <a:gd name="connsiteX13" fmla="*/ 2435055 w 6860569"/>
              <a:gd name="connsiteY13" fmla="*/ 5471837 h 6606648"/>
              <a:gd name="connsiteX14" fmla="*/ 3477669 w 6860569"/>
              <a:gd name="connsiteY14" fmla="*/ 5916403 h 6606648"/>
              <a:gd name="connsiteX15" fmla="*/ 1560 w 6860569"/>
              <a:gd name="connsiteY15" fmla="*/ 6606648 h 6606648"/>
              <a:gd name="connsiteX0" fmla="*/ 0 w 6879791"/>
              <a:gd name="connsiteY0" fmla="*/ 5962412 h 5962412"/>
              <a:gd name="connsiteX1" fmla="*/ 19811 w 6879791"/>
              <a:gd name="connsiteY1" fmla="*/ 5195912 h 5962412"/>
              <a:gd name="connsiteX2" fmla="*/ 548243 w 6879791"/>
              <a:gd name="connsiteY2" fmla="*/ 3610010 h 5962412"/>
              <a:gd name="connsiteX3" fmla="*/ 1226264 w 6879791"/>
              <a:gd name="connsiteY3" fmla="*/ 2546324 h 5962412"/>
              <a:gd name="connsiteX4" fmla="*/ 1892922 w 6879791"/>
              <a:gd name="connsiteY4" fmla="*/ 1799447 h 5962412"/>
              <a:gd name="connsiteX5" fmla="*/ 2999083 w 6879791"/>
              <a:gd name="connsiteY5" fmla="*/ 953899 h 5962412"/>
              <a:gd name="connsiteX6" fmla="*/ 4268048 w 6879791"/>
              <a:gd name="connsiteY6" fmla="*/ 356736 h 5962412"/>
              <a:gd name="connsiteX7" fmla="*/ 6879575 w 6879791"/>
              <a:gd name="connsiteY7" fmla="*/ 29942 h 5962412"/>
              <a:gd name="connsiteX8" fmla="*/ 6865997 w 6879791"/>
              <a:gd name="connsiteY8" fmla="*/ 3727414 h 5962412"/>
              <a:gd name="connsiteX9" fmla="*/ 5974311 w 6879791"/>
              <a:gd name="connsiteY9" fmla="*/ 2469692 h 5962412"/>
              <a:gd name="connsiteX10" fmla="*/ 4751612 w 6879791"/>
              <a:gd name="connsiteY10" fmla="*/ 2783326 h 5962412"/>
              <a:gd name="connsiteX11" fmla="*/ 3658458 w 6879791"/>
              <a:gd name="connsiteY11" fmla="*/ 3501101 h 5962412"/>
              <a:gd name="connsiteX12" fmla="*/ 2915522 w 6879791"/>
              <a:gd name="connsiteY12" fmla="*/ 4411781 h 5962412"/>
              <a:gd name="connsiteX13" fmla="*/ 2454277 w 6879791"/>
              <a:gd name="connsiteY13" fmla="*/ 5471837 h 5962412"/>
              <a:gd name="connsiteX14" fmla="*/ 3496891 w 6879791"/>
              <a:gd name="connsiteY14" fmla="*/ 5916403 h 5962412"/>
              <a:gd name="connsiteX15" fmla="*/ 0 w 687979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49803 w 6881351"/>
              <a:gd name="connsiteY2" fmla="*/ 3610010 h 5962412"/>
              <a:gd name="connsiteX3" fmla="*/ 1227824 w 6881351"/>
              <a:gd name="connsiteY3" fmla="*/ 2546324 h 5962412"/>
              <a:gd name="connsiteX4" fmla="*/ 1894482 w 6881351"/>
              <a:gd name="connsiteY4" fmla="*/ 179944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49803 w 6881351"/>
              <a:gd name="connsiteY2" fmla="*/ 3610010 h 5962412"/>
              <a:gd name="connsiteX3" fmla="*/ 1227824 w 6881351"/>
              <a:gd name="connsiteY3" fmla="*/ 2546324 h 5962412"/>
              <a:gd name="connsiteX4" fmla="*/ 1894482 w 6881351"/>
              <a:gd name="connsiteY4" fmla="*/ 179944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29419 w 6881351"/>
              <a:gd name="connsiteY2" fmla="*/ 3595450 h 5962412"/>
              <a:gd name="connsiteX3" fmla="*/ 1227824 w 6881351"/>
              <a:gd name="connsiteY3" fmla="*/ 2546324 h 5962412"/>
              <a:gd name="connsiteX4" fmla="*/ 1894482 w 6881351"/>
              <a:gd name="connsiteY4" fmla="*/ 179944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29419 w 6881351"/>
              <a:gd name="connsiteY2" fmla="*/ 3595450 h 5962412"/>
              <a:gd name="connsiteX3" fmla="*/ 1268591 w 6881351"/>
              <a:gd name="connsiteY3" fmla="*/ 2575445 h 5962412"/>
              <a:gd name="connsiteX4" fmla="*/ 1894482 w 6881351"/>
              <a:gd name="connsiteY4" fmla="*/ 179944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29419 w 6881351"/>
              <a:gd name="connsiteY2" fmla="*/ 3595450 h 5962412"/>
              <a:gd name="connsiteX3" fmla="*/ 1268591 w 6881351"/>
              <a:gd name="connsiteY3" fmla="*/ 2575445 h 5962412"/>
              <a:gd name="connsiteX4" fmla="*/ 1894482 w 6881351"/>
              <a:gd name="connsiteY4" fmla="*/ 179944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62412 h 5962412"/>
              <a:gd name="connsiteX1" fmla="*/ 589 w 6881351"/>
              <a:gd name="connsiteY1" fmla="*/ 4676367 h 5962412"/>
              <a:gd name="connsiteX2" fmla="*/ 529419 w 6881351"/>
              <a:gd name="connsiteY2" fmla="*/ 3595450 h 5962412"/>
              <a:gd name="connsiteX3" fmla="*/ 1268591 w 6881351"/>
              <a:gd name="connsiteY3" fmla="*/ 2575445 h 5962412"/>
              <a:gd name="connsiteX4" fmla="*/ 1961457 w 6881351"/>
              <a:gd name="connsiteY4" fmla="*/ 1878077 h 5962412"/>
              <a:gd name="connsiteX5" fmla="*/ 3000643 w 6881351"/>
              <a:gd name="connsiteY5" fmla="*/ 953899 h 5962412"/>
              <a:gd name="connsiteX6" fmla="*/ 4269608 w 6881351"/>
              <a:gd name="connsiteY6" fmla="*/ 356736 h 5962412"/>
              <a:gd name="connsiteX7" fmla="*/ 6881135 w 6881351"/>
              <a:gd name="connsiteY7" fmla="*/ 29942 h 5962412"/>
              <a:gd name="connsiteX8" fmla="*/ 6867557 w 6881351"/>
              <a:gd name="connsiteY8" fmla="*/ 3727414 h 5962412"/>
              <a:gd name="connsiteX9" fmla="*/ 5975871 w 6881351"/>
              <a:gd name="connsiteY9" fmla="*/ 2469692 h 5962412"/>
              <a:gd name="connsiteX10" fmla="*/ 4753172 w 6881351"/>
              <a:gd name="connsiteY10" fmla="*/ 2783326 h 5962412"/>
              <a:gd name="connsiteX11" fmla="*/ 3660018 w 6881351"/>
              <a:gd name="connsiteY11" fmla="*/ 3501101 h 5962412"/>
              <a:gd name="connsiteX12" fmla="*/ 2917082 w 6881351"/>
              <a:gd name="connsiteY12" fmla="*/ 4411781 h 5962412"/>
              <a:gd name="connsiteX13" fmla="*/ 2455837 w 6881351"/>
              <a:gd name="connsiteY13" fmla="*/ 5471837 h 5962412"/>
              <a:gd name="connsiteX14" fmla="*/ 3498451 w 6881351"/>
              <a:gd name="connsiteY14" fmla="*/ 5916403 h 5962412"/>
              <a:gd name="connsiteX15" fmla="*/ 1560 w 6881351"/>
              <a:gd name="connsiteY15" fmla="*/ 5962412 h 5962412"/>
              <a:gd name="connsiteX0" fmla="*/ 1560 w 6881351"/>
              <a:gd name="connsiteY0" fmla="*/ 5951950 h 5951950"/>
              <a:gd name="connsiteX1" fmla="*/ 589 w 6881351"/>
              <a:gd name="connsiteY1" fmla="*/ 4665905 h 5951950"/>
              <a:gd name="connsiteX2" fmla="*/ 529419 w 6881351"/>
              <a:gd name="connsiteY2" fmla="*/ 3584988 h 5951950"/>
              <a:gd name="connsiteX3" fmla="*/ 1268591 w 6881351"/>
              <a:gd name="connsiteY3" fmla="*/ 2564983 h 5951950"/>
              <a:gd name="connsiteX4" fmla="*/ 1961457 w 6881351"/>
              <a:gd name="connsiteY4" fmla="*/ 1867615 h 5951950"/>
              <a:gd name="connsiteX5" fmla="*/ 3067620 w 6881351"/>
              <a:gd name="connsiteY5" fmla="*/ 1062836 h 5951950"/>
              <a:gd name="connsiteX6" fmla="*/ 4269608 w 6881351"/>
              <a:gd name="connsiteY6" fmla="*/ 346274 h 5951950"/>
              <a:gd name="connsiteX7" fmla="*/ 6881135 w 6881351"/>
              <a:gd name="connsiteY7" fmla="*/ 19480 h 5951950"/>
              <a:gd name="connsiteX8" fmla="*/ 6867557 w 6881351"/>
              <a:gd name="connsiteY8" fmla="*/ 3716952 h 5951950"/>
              <a:gd name="connsiteX9" fmla="*/ 5975871 w 6881351"/>
              <a:gd name="connsiteY9" fmla="*/ 2459230 h 5951950"/>
              <a:gd name="connsiteX10" fmla="*/ 4753172 w 6881351"/>
              <a:gd name="connsiteY10" fmla="*/ 2772864 h 5951950"/>
              <a:gd name="connsiteX11" fmla="*/ 3660018 w 6881351"/>
              <a:gd name="connsiteY11" fmla="*/ 3490639 h 5951950"/>
              <a:gd name="connsiteX12" fmla="*/ 2917082 w 6881351"/>
              <a:gd name="connsiteY12" fmla="*/ 4401319 h 5951950"/>
              <a:gd name="connsiteX13" fmla="*/ 2455837 w 6881351"/>
              <a:gd name="connsiteY13" fmla="*/ 5461375 h 5951950"/>
              <a:gd name="connsiteX14" fmla="*/ 3498451 w 6881351"/>
              <a:gd name="connsiteY14" fmla="*/ 5905941 h 5951950"/>
              <a:gd name="connsiteX15" fmla="*/ 1560 w 6881351"/>
              <a:gd name="connsiteY15" fmla="*/ 5951950 h 5951950"/>
              <a:gd name="connsiteX0" fmla="*/ 1560 w 6881351"/>
              <a:gd name="connsiteY0" fmla="*/ 5951950 h 5951950"/>
              <a:gd name="connsiteX1" fmla="*/ 589 w 6881351"/>
              <a:gd name="connsiteY1" fmla="*/ 4665905 h 5951950"/>
              <a:gd name="connsiteX2" fmla="*/ 529419 w 6881351"/>
              <a:gd name="connsiteY2" fmla="*/ 3584988 h 5951950"/>
              <a:gd name="connsiteX3" fmla="*/ 1268591 w 6881351"/>
              <a:gd name="connsiteY3" fmla="*/ 2564983 h 5951950"/>
              <a:gd name="connsiteX4" fmla="*/ 1961457 w 6881351"/>
              <a:gd name="connsiteY4" fmla="*/ 1867615 h 5951950"/>
              <a:gd name="connsiteX5" fmla="*/ 3067620 w 6881351"/>
              <a:gd name="connsiteY5" fmla="*/ 1062836 h 5951950"/>
              <a:gd name="connsiteX6" fmla="*/ 4269608 w 6881351"/>
              <a:gd name="connsiteY6" fmla="*/ 346274 h 5951950"/>
              <a:gd name="connsiteX7" fmla="*/ 6881135 w 6881351"/>
              <a:gd name="connsiteY7" fmla="*/ 19480 h 5951950"/>
              <a:gd name="connsiteX8" fmla="*/ 6867557 w 6881351"/>
              <a:gd name="connsiteY8" fmla="*/ 3716952 h 5951950"/>
              <a:gd name="connsiteX9" fmla="*/ 5975871 w 6881351"/>
              <a:gd name="connsiteY9" fmla="*/ 2459230 h 5951950"/>
              <a:gd name="connsiteX10" fmla="*/ 4753172 w 6881351"/>
              <a:gd name="connsiteY10" fmla="*/ 2772864 h 5951950"/>
              <a:gd name="connsiteX11" fmla="*/ 3660018 w 6881351"/>
              <a:gd name="connsiteY11" fmla="*/ 3490639 h 5951950"/>
              <a:gd name="connsiteX12" fmla="*/ 2917082 w 6881351"/>
              <a:gd name="connsiteY12" fmla="*/ 4401319 h 5951950"/>
              <a:gd name="connsiteX13" fmla="*/ 2455837 w 6881351"/>
              <a:gd name="connsiteY13" fmla="*/ 5461375 h 5951950"/>
              <a:gd name="connsiteX14" fmla="*/ 3498451 w 6881351"/>
              <a:gd name="connsiteY14" fmla="*/ 5905941 h 5951950"/>
              <a:gd name="connsiteX15" fmla="*/ 1560 w 6881351"/>
              <a:gd name="connsiteY15" fmla="*/ 5951950 h 5951950"/>
              <a:gd name="connsiteX0" fmla="*/ 1560 w 6881351"/>
              <a:gd name="connsiteY0" fmla="*/ 5947172 h 5947172"/>
              <a:gd name="connsiteX1" fmla="*/ 589 w 6881351"/>
              <a:gd name="connsiteY1" fmla="*/ 4661127 h 5947172"/>
              <a:gd name="connsiteX2" fmla="*/ 529419 w 6881351"/>
              <a:gd name="connsiteY2" fmla="*/ 3580210 h 5947172"/>
              <a:gd name="connsiteX3" fmla="*/ 1268591 w 6881351"/>
              <a:gd name="connsiteY3" fmla="*/ 2560205 h 5947172"/>
              <a:gd name="connsiteX4" fmla="*/ 1961457 w 6881351"/>
              <a:gd name="connsiteY4" fmla="*/ 1862837 h 5947172"/>
              <a:gd name="connsiteX5" fmla="*/ 3067620 w 6881351"/>
              <a:gd name="connsiteY5" fmla="*/ 1058058 h 5947172"/>
              <a:gd name="connsiteX6" fmla="*/ 4362795 w 6881351"/>
              <a:gd name="connsiteY6" fmla="*/ 446332 h 5947172"/>
              <a:gd name="connsiteX7" fmla="*/ 6881135 w 6881351"/>
              <a:gd name="connsiteY7" fmla="*/ 14702 h 5947172"/>
              <a:gd name="connsiteX8" fmla="*/ 6867557 w 6881351"/>
              <a:gd name="connsiteY8" fmla="*/ 3712174 h 5947172"/>
              <a:gd name="connsiteX9" fmla="*/ 5975871 w 6881351"/>
              <a:gd name="connsiteY9" fmla="*/ 2454452 h 5947172"/>
              <a:gd name="connsiteX10" fmla="*/ 4753172 w 6881351"/>
              <a:gd name="connsiteY10" fmla="*/ 2768086 h 5947172"/>
              <a:gd name="connsiteX11" fmla="*/ 3660018 w 6881351"/>
              <a:gd name="connsiteY11" fmla="*/ 3485861 h 5947172"/>
              <a:gd name="connsiteX12" fmla="*/ 2917082 w 6881351"/>
              <a:gd name="connsiteY12" fmla="*/ 4396541 h 5947172"/>
              <a:gd name="connsiteX13" fmla="*/ 2455837 w 6881351"/>
              <a:gd name="connsiteY13" fmla="*/ 5456597 h 5947172"/>
              <a:gd name="connsiteX14" fmla="*/ 3498451 w 6881351"/>
              <a:gd name="connsiteY14" fmla="*/ 5901163 h 5947172"/>
              <a:gd name="connsiteX15" fmla="*/ 1560 w 6881351"/>
              <a:gd name="connsiteY15" fmla="*/ 5947172 h 5947172"/>
              <a:gd name="connsiteX0" fmla="*/ 1560 w 6881351"/>
              <a:gd name="connsiteY0" fmla="*/ 5948654 h 5948654"/>
              <a:gd name="connsiteX1" fmla="*/ 589 w 6881351"/>
              <a:gd name="connsiteY1" fmla="*/ 4662609 h 5948654"/>
              <a:gd name="connsiteX2" fmla="*/ 529419 w 6881351"/>
              <a:gd name="connsiteY2" fmla="*/ 3581692 h 5948654"/>
              <a:gd name="connsiteX3" fmla="*/ 1268591 w 6881351"/>
              <a:gd name="connsiteY3" fmla="*/ 2561687 h 5948654"/>
              <a:gd name="connsiteX4" fmla="*/ 1961457 w 6881351"/>
              <a:gd name="connsiteY4" fmla="*/ 1864319 h 5948654"/>
              <a:gd name="connsiteX5" fmla="*/ 3067620 w 6881351"/>
              <a:gd name="connsiteY5" fmla="*/ 1059540 h 5948654"/>
              <a:gd name="connsiteX6" fmla="*/ 4362795 w 6881351"/>
              <a:gd name="connsiteY6" fmla="*/ 447814 h 5948654"/>
              <a:gd name="connsiteX7" fmla="*/ 6881135 w 6881351"/>
              <a:gd name="connsiteY7" fmla="*/ 16184 h 5948654"/>
              <a:gd name="connsiteX8" fmla="*/ 6867557 w 6881351"/>
              <a:gd name="connsiteY8" fmla="*/ 3713656 h 5948654"/>
              <a:gd name="connsiteX9" fmla="*/ 5975871 w 6881351"/>
              <a:gd name="connsiteY9" fmla="*/ 2455934 h 5948654"/>
              <a:gd name="connsiteX10" fmla="*/ 4753172 w 6881351"/>
              <a:gd name="connsiteY10" fmla="*/ 2769568 h 5948654"/>
              <a:gd name="connsiteX11" fmla="*/ 3660018 w 6881351"/>
              <a:gd name="connsiteY11" fmla="*/ 3487343 h 5948654"/>
              <a:gd name="connsiteX12" fmla="*/ 2917082 w 6881351"/>
              <a:gd name="connsiteY12" fmla="*/ 4398023 h 5948654"/>
              <a:gd name="connsiteX13" fmla="*/ 2455837 w 6881351"/>
              <a:gd name="connsiteY13" fmla="*/ 5458079 h 5948654"/>
              <a:gd name="connsiteX14" fmla="*/ 3498451 w 6881351"/>
              <a:gd name="connsiteY14" fmla="*/ 5902645 h 5948654"/>
              <a:gd name="connsiteX15" fmla="*/ 1560 w 6881351"/>
              <a:gd name="connsiteY15" fmla="*/ 5948654 h 5948654"/>
              <a:gd name="connsiteX0" fmla="*/ 1560 w 6881351"/>
              <a:gd name="connsiteY0" fmla="*/ 5949502 h 5949502"/>
              <a:gd name="connsiteX1" fmla="*/ 589 w 6881351"/>
              <a:gd name="connsiteY1" fmla="*/ 4663457 h 5949502"/>
              <a:gd name="connsiteX2" fmla="*/ 529419 w 6881351"/>
              <a:gd name="connsiteY2" fmla="*/ 3582540 h 5949502"/>
              <a:gd name="connsiteX3" fmla="*/ 1268591 w 6881351"/>
              <a:gd name="connsiteY3" fmla="*/ 2562535 h 5949502"/>
              <a:gd name="connsiteX4" fmla="*/ 1961457 w 6881351"/>
              <a:gd name="connsiteY4" fmla="*/ 1865167 h 5949502"/>
              <a:gd name="connsiteX5" fmla="*/ 3067620 w 6881351"/>
              <a:gd name="connsiteY5" fmla="*/ 1060388 h 5949502"/>
              <a:gd name="connsiteX6" fmla="*/ 4362795 w 6881351"/>
              <a:gd name="connsiteY6" fmla="*/ 448662 h 5949502"/>
              <a:gd name="connsiteX7" fmla="*/ 6881135 w 6881351"/>
              <a:gd name="connsiteY7" fmla="*/ 17032 h 5949502"/>
              <a:gd name="connsiteX8" fmla="*/ 6867557 w 6881351"/>
              <a:gd name="connsiteY8" fmla="*/ 3714504 h 5949502"/>
              <a:gd name="connsiteX9" fmla="*/ 5975871 w 6881351"/>
              <a:gd name="connsiteY9" fmla="*/ 2456782 h 5949502"/>
              <a:gd name="connsiteX10" fmla="*/ 4753172 w 6881351"/>
              <a:gd name="connsiteY10" fmla="*/ 2770416 h 5949502"/>
              <a:gd name="connsiteX11" fmla="*/ 3660018 w 6881351"/>
              <a:gd name="connsiteY11" fmla="*/ 3488191 h 5949502"/>
              <a:gd name="connsiteX12" fmla="*/ 2917082 w 6881351"/>
              <a:gd name="connsiteY12" fmla="*/ 4398871 h 5949502"/>
              <a:gd name="connsiteX13" fmla="*/ 2455837 w 6881351"/>
              <a:gd name="connsiteY13" fmla="*/ 5458927 h 5949502"/>
              <a:gd name="connsiteX14" fmla="*/ 3498451 w 6881351"/>
              <a:gd name="connsiteY14" fmla="*/ 5903493 h 5949502"/>
              <a:gd name="connsiteX15" fmla="*/ 1560 w 6881351"/>
              <a:gd name="connsiteY15" fmla="*/ 5949502 h 5949502"/>
              <a:gd name="connsiteX0" fmla="*/ 1560 w 6867557"/>
              <a:gd name="connsiteY0" fmla="*/ 5947172 h 5947172"/>
              <a:gd name="connsiteX1" fmla="*/ 589 w 6867557"/>
              <a:gd name="connsiteY1" fmla="*/ 4661127 h 5947172"/>
              <a:gd name="connsiteX2" fmla="*/ 529419 w 6867557"/>
              <a:gd name="connsiteY2" fmla="*/ 3580210 h 5947172"/>
              <a:gd name="connsiteX3" fmla="*/ 1268591 w 6867557"/>
              <a:gd name="connsiteY3" fmla="*/ 2560205 h 5947172"/>
              <a:gd name="connsiteX4" fmla="*/ 1961457 w 6867557"/>
              <a:gd name="connsiteY4" fmla="*/ 1862837 h 5947172"/>
              <a:gd name="connsiteX5" fmla="*/ 3067620 w 6867557"/>
              <a:gd name="connsiteY5" fmla="*/ 1058058 h 5947172"/>
              <a:gd name="connsiteX6" fmla="*/ 4362795 w 6867557"/>
              <a:gd name="connsiteY6" fmla="*/ 446332 h 5947172"/>
              <a:gd name="connsiteX7" fmla="*/ 6854926 w 6867557"/>
              <a:gd name="connsiteY7" fmla="*/ 14702 h 5947172"/>
              <a:gd name="connsiteX8" fmla="*/ 6867557 w 6867557"/>
              <a:gd name="connsiteY8" fmla="*/ 3712174 h 5947172"/>
              <a:gd name="connsiteX9" fmla="*/ 5975871 w 6867557"/>
              <a:gd name="connsiteY9" fmla="*/ 2454452 h 5947172"/>
              <a:gd name="connsiteX10" fmla="*/ 4753172 w 6867557"/>
              <a:gd name="connsiteY10" fmla="*/ 2768086 h 5947172"/>
              <a:gd name="connsiteX11" fmla="*/ 3660018 w 6867557"/>
              <a:gd name="connsiteY11" fmla="*/ 3485861 h 5947172"/>
              <a:gd name="connsiteX12" fmla="*/ 2917082 w 6867557"/>
              <a:gd name="connsiteY12" fmla="*/ 4396541 h 5947172"/>
              <a:gd name="connsiteX13" fmla="*/ 2455837 w 6867557"/>
              <a:gd name="connsiteY13" fmla="*/ 5456597 h 5947172"/>
              <a:gd name="connsiteX14" fmla="*/ 3498451 w 6867557"/>
              <a:gd name="connsiteY14" fmla="*/ 5901163 h 5947172"/>
              <a:gd name="connsiteX15" fmla="*/ 1560 w 6867557"/>
              <a:gd name="connsiteY15" fmla="*/ 5947172 h 5947172"/>
              <a:gd name="connsiteX0" fmla="*/ 1560 w 6867557"/>
              <a:gd name="connsiteY0" fmla="*/ 5938939 h 5938939"/>
              <a:gd name="connsiteX1" fmla="*/ 589 w 6867557"/>
              <a:gd name="connsiteY1" fmla="*/ 4652894 h 5938939"/>
              <a:gd name="connsiteX2" fmla="*/ 529419 w 6867557"/>
              <a:gd name="connsiteY2" fmla="*/ 3571977 h 5938939"/>
              <a:gd name="connsiteX3" fmla="*/ 1268591 w 6867557"/>
              <a:gd name="connsiteY3" fmla="*/ 2551972 h 5938939"/>
              <a:gd name="connsiteX4" fmla="*/ 1961457 w 6867557"/>
              <a:gd name="connsiteY4" fmla="*/ 1854604 h 5938939"/>
              <a:gd name="connsiteX5" fmla="*/ 3067620 w 6867557"/>
              <a:gd name="connsiteY5" fmla="*/ 1049825 h 5938939"/>
              <a:gd name="connsiteX6" fmla="*/ 4362795 w 6867557"/>
              <a:gd name="connsiteY6" fmla="*/ 438099 h 5938939"/>
              <a:gd name="connsiteX7" fmla="*/ 6854926 w 6867557"/>
              <a:gd name="connsiteY7" fmla="*/ 6469 h 5938939"/>
              <a:gd name="connsiteX8" fmla="*/ 6867557 w 6867557"/>
              <a:gd name="connsiteY8" fmla="*/ 3703941 h 5938939"/>
              <a:gd name="connsiteX9" fmla="*/ 5975871 w 6867557"/>
              <a:gd name="connsiteY9" fmla="*/ 2446219 h 5938939"/>
              <a:gd name="connsiteX10" fmla="*/ 4753172 w 6867557"/>
              <a:gd name="connsiteY10" fmla="*/ 2759853 h 5938939"/>
              <a:gd name="connsiteX11" fmla="*/ 3660018 w 6867557"/>
              <a:gd name="connsiteY11" fmla="*/ 3477628 h 5938939"/>
              <a:gd name="connsiteX12" fmla="*/ 2917082 w 6867557"/>
              <a:gd name="connsiteY12" fmla="*/ 4388308 h 5938939"/>
              <a:gd name="connsiteX13" fmla="*/ 2455837 w 6867557"/>
              <a:gd name="connsiteY13" fmla="*/ 5448364 h 5938939"/>
              <a:gd name="connsiteX14" fmla="*/ 3498451 w 6867557"/>
              <a:gd name="connsiteY14" fmla="*/ 5892930 h 5938939"/>
              <a:gd name="connsiteX15" fmla="*/ 1560 w 6867557"/>
              <a:gd name="connsiteY15" fmla="*/ 5938939 h 5938939"/>
              <a:gd name="connsiteX0" fmla="*/ 1560 w 6867557"/>
              <a:gd name="connsiteY0" fmla="*/ 5940650 h 5940650"/>
              <a:gd name="connsiteX1" fmla="*/ 589 w 6867557"/>
              <a:gd name="connsiteY1" fmla="*/ 4654605 h 5940650"/>
              <a:gd name="connsiteX2" fmla="*/ 529419 w 6867557"/>
              <a:gd name="connsiteY2" fmla="*/ 3573688 h 5940650"/>
              <a:gd name="connsiteX3" fmla="*/ 1268591 w 6867557"/>
              <a:gd name="connsiteY3" fmla="*/ 2553683 h 5940650"/>
              <a:gd name="connsiteX4" fmla="*/ 1961457 w 6867557"/>
              <a:gd name="connsiteY4" fmla="*/ 1856315 h 5940650"/>
              <a:gd name="connsiteX5" fmla="*/ 3067620 w 6867557"/>
              <a:gd name="connsiteY5" fmla="*/ 1051536 h 5940650"/>
              <a:gd name="connsiteX6" fmla="*/ 4362795 w 6867557"/>
              <a:gd name="connsiteY6" fmla="*/ 439810 h 5940650"/>
              <a:gd name="connsiteX7" fmla="*/ 6854926 w 6867557"/>
              <a:gd name="connsiteY7" fmla="*/ 8180 h 5940650"/>
              <a:gd name="connsiteX8" fmla="*/ 6867557 w 6867557"/>
              <a:gd name="connsiteY8" fmla="*/ 3705652 h 5940650"/>
              <a:gd name="connsiteX9" fmla="*/ 5975871 w 6867557"/>
              <a:gd name="connsiteY9" fmla="*/ 2447930 h 5940650"/>
              <a:gd name="connsiteX10" fmla="*/ 4753172 w 6867557"/>
              <a:gd name="connsiteY10" fmla="*/ 2761564 h 5940650"/>
              <a:gd name="connsiteX11" fmla="*/ 3660018 w 6867557"/>
              <a:gd name="connsiteY11" fmla="*/ 3479339 h 5940650"/>
              <a:gd name="connsiteX12" fmla="*/ 2917082 w 6867557"/>
              <a:gd name="connsiteY12" fmla="*/ 4390019 h 5940650"/>
              <a:gd name="connsiteX13" fmla="*/ 2455837 w 6867557"/>
              <a:gd name="connsiteY13" fmla="*/ 5450075 h 5940650"/>
              <a:gd name="connsiteX14" fmla="*/ 3498451 w 6867557"/>
              <a:gd name="connsiteY14" fmla="*/ 5894641 h 5940650"/>
              <a:gd name="connsiteX15" fmla="*/ 1560 w 6867557"/>
              <a:gd name="connsiteY15" fmla="*/ 5940650 h 5940650"/>
              <a:gd name="connsiteX0" fmla="*/ 1560 w 6867557"/>
              <a:gd name="connsiteY0" fmla="*/ 5940650 h 5940650"/>
              <a:gd name="connsiteX1" fmla="*/ 589 w 6867557"/>
              <a:gd name="connsiteY1" fmla="*/ 4654605 h 5940650"/>
              <a:gd name="connsiteX2" fmla="*/ 529419 w 6867557"/>
              <a:gd name="connsiteY2" fmla="*/ 3573688 h 5940650"/>
              <a:gd name="connsiteX3" fmla="*/ 1268591 w 6867557"/>
              <a:gd name="connsiteY3" fmla="*/ 2553683 h 5940650"/>
              <a:gd name="connsiteX4" fmla="*/ 1961457 w 6867557"/>
              <a:gd name="connsiteY4" fmla="*/ 1856315 h 5940650"/>
              <a:gd name="connsiteX5" fmla="*/ 3067620 w 6867557"/>
              <a:gd name="connsiteY5" fmla="*/ 1051536 h 5940650"/>
              <a:gd name="connsiteX6" fmla="*/ 4362795 w 6867557"/>
              <a:gd name="connsiteY6" fmla="*/ 439810 h 5940650"/>
              <a:gd name="connsiteX7" fmla="*/ 6854926 w 6867557"/>
              <a:gd name="connsiteY7" fmla="*/ 8180 h 5940650"/>
              <a:gd name="connsiteX8" fmla="*/ 6867557 w 6867557"/>
              <a:gd name="connsiteY8" fmla="*/ 3705652 h 5940650"/>
              <a:gd name="connsiteX9" fmla="*/ 5975871 w 6867557"/>
              <a:gd name="connsiteY9" fmla="*/ 2447930 h 5940650"/>
              <a:gd name="connsiteX10" fmla="*/ 4753172 w 6867557"/>
              <a:gd name="connsiteY10" fmla="*/ 2761564 h 5940650"/>
              <a:gd name="connsiteX11" fmla="*/ 3660018 w 6867557"/>
              <a:gd name="connsiteY11" fmla="*/ 3479339 h 5940650"/>
              <a:gd name="connsiteX12" fmla="*/ 2917082 w 6867557"/>
              <a:gd name="connsiteY12" fmla="*/ 4390019 h 5940650"/>
              <a:gd name="connsiteX13" fmla="*/ 2455837 w 6867557"/>
              <a:gd name="connsiteY13" fmla="*/ 5450075 h 5940650"/>
              <a:gd name="connsiteX14" fmla="*/ 3498451 w 6867557"/>
              <a:gd name="connsiteY14" fmla="*/ 5894641 h 5940650"/>
              <a:gd name="connsiteX15" fmla="*/ 1560 w 6867557"/>
              <a:gd name="connsiteY15" fmla="*/ 5940650 h 5940650"/>
              <a:gd name="connsiteX0" fmla="*/ 1560 w 6867557"/>
              <a:gd name="connsiteY0" fmla="*/ 5940650 h 5940650"/>
              <a:gd name="connsiteX1" fmla="*/ 589 w 6867557"/>
              <a:gd name="connsiteY1" fmla="*/ 4654605 h 5940650"/>
              <a:gd name="connsiteX2" fmla="*/ 529419 w 6867557"/>
              <a:gd name="connsiteY2" fmla="*/ 3573688 h 5940650"/>
              <a:gd name="connsiteX3" fmla="*/ 1268591 w 6867557"/>
              <a:gd name="connsiteY3" fmla="*/ 2553683 h 5940650"/>
              <a:gd name="connsiteX4" fmla="*/ 1961457 w 6867557"/>
              <a:gd name="connsiteY4" fmla="*/ 1856315 h 5940650"/>
              <a:gd name="connsiteX5" fmla="*/ 3067620 w 6867557"/>
              <a:gd name="connsiteY5" fmla="*/ 1051536 h 5940650"/>
              <a:gd name="connsiteX6" fmla="*/ 4362795 w 6867557"/>
              <a:gd name="connsiteY6" fmla="*/ 439810 h 5940650"/>
              <a:gd name="connsiteX7" fmla="*/ 6854926 w 6867557"/>
              <a:gd name="connsiteY7" fmla="*/ 8180 h 5940650"/>
              <a:gd name="connsiteX8" fmla="*/ 6867557 w 6867557"/>
              <a:gd name="connsiteY8" fmla="*/ 3705652 h 5940650"/>
              <a:gd name="connsiteX9" fmla="*/ 5975871 w 6867557"/>
              <a:gd name="connsiteY9" fmla="*/ 2447930 h 5940650"/>
              <a:gd name="connsiteX10" fmla="*/ 4753172 w 6867557"/>
              <a:gd name="connsiteY10" fmla="*/ 2761564 h 5940650"/>
              <a:gd name="connsiteX11" fmla="*/ 3660018 w 6867557"/>
              <a:gd name="connsiteY11" fmla="*/ 3479339 h 5940650"/>
              <a:gd name="connsiteX12" fmla="*/ 2917082 w 6867557"/>
              <a:gd name="connsiteY12" fmla="*/ 4390019 h 5940650"/>
              <a:gd name="connsiteX13" fmla="*/ 2455837 w 6867557"/>
              <a:gd name="connsiteY13" fmla="*/ 5450075 h 5940650"/>
              <a:gd name="connsiteX14" fmla="*/ 3498451 w 6867557"/>
              <a:gd name="connsiteY14" fmla="*/ 5894641 h 5940650"/>
              <a:gd name="connsiteX15" fmla="*/ 1560 w 6867557"/>
              <a:gd name="connsiteY15" fmla="*/ 5940650 h 5940650"/>
              <a:gd name="connsiteX0" fmla="*/ 1560 w 6867557"/>
              <a:gd name="connsiteY0" fmla="*/ 5940273 h 5940273"/>
              <a:gd name="connsiteX1" fmla="*/ 589 w 6867557"/>
              <a:gd name="connsiteY1" fmla="*/ 4654228 h 5940273"/>
              <a:gd name="connsiteX2" fmla="*/ 529419 w 6867557"/>
              <a:gd name="connsiteY2" fmla="*/ 3573311 h 5940273"/>
              <a:gd name="connsiteX3" fmla="*/ 1268591 w 6867557"/>
              <a:gd name="connsiteY3" fmla="*/ 2553306 h 5940273"/>
              <a:gd name="connsiteX4" fmla="*/ 1961457 w 6867557"/>
              <a:gd name="connsiteY4" fmla="*/ 1855938 h 5940273"/>
              <a:gd name="connsiteX5" fmla="*/ 3067620 w 6867557"/>
              <a:gd name="connsiteY5" fmla="*/ 1051159 h 5940273"/>
              <a:gd name="connsiteX6" fmla="*/ 4362795 w 6867557"/>
              <a:gd name="connsiteY6" fmla="*/ 439433 h 5940273"/>
              <a:gd name="connsiteX7" fmla="*/ 6854926 w 6867557"/>
              <a:gd name="connsiteY7" fmla="*/ 7803 h 5940273"/>
              <a:gd name="connsiteX8" fmla="*/ 6867557 w 6867557"/>
              <a:gd name="connsiteY8" fmla="*/ 3705275 h 5940273"/>
              <a:gd name="connsiteX9" fmla="*/ 5975871 w 6867557"/>
              <a:gd name="connsiteY9" fmla="*/ 2447553 h 5940273"/>
              <a:gd name="connsiteX10" fmla="*/ 4753172 w 6867557"/>
              <a:gd name="connsiteY10" fmla="*/ 2761187 h 5940273"/>
              <a:gd name="connsiteX11" fmla="*/ 3660018 w 6867557"/>
              <a:gd name="connsiteY11" fmla="*/ 3478962 h 5940273"/>
              <a:gd name="connsiteX12" fmla="*/ 2917082 w 6867557"/>
              <a:gd name="connsiteY12" fmla="*/ 4389642 h 5940273"/>
              <a:gd name="connsiteX13" fmla="*/ 2455837 w 6867557"/>
              <a:gd name="connsiteY13" fmla="*/ 5449698 h 5940273"/>
              <a:gd name="connsiteX14" fmla="*/ 3498451 w 6867557"/>
              <a:gd name="connsiteY14" fmla="*/ 5894264 h 5940273"/>
              <a:gd name="connsiteX15" fmla="*/ 1560 w 686755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5975871 w 6855687"/>
              <a:gd name="connsiteY9" fmla="*/ 2447553 h 5940273"/>
              <a:gd name="connsiteX10" fmla="*/ 4753172 w 6855687"/>
              <a:gd name="connsiteY10" fmla="*/ 2761187 h 5940273"/>
              <a:gd name="connsiteX11" fmla="*/ 3660018 w 6855687"/>
              <a:gd name="connsiteY11" fmla="*/ 3478962 h 5940273"/>
              <a:gd name="connsiteX12" fmla="*/ 2917082 w 6855687"/>
              <a:gd name="connsiteY12" fmla="*/ 4389642 h 5940273"/>
              <a:gd name="connsiteX13" fmla="*/ 2455837 w 6855687"/>
              <a:gd name="connsiteY13" fmla="*/ 5449698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4753172 w 6855687"/>
              <a:gd name="connsiteY10" fmla="*/ 2761187 h 5940273"/>
              <a:gd name="connsiteX11" fmla="*/ 3660018 w 6855687"/>
              <a:gd name="connsiteY11" fmla="*/ 3478962 h 5940273"/>
              <a:gd name="connsiteX12" fmla="*/ 2917082 w 6855687"/>
              <a:gd name="connsiteY12" fmla="*/ 4389642 h 5940273"/>
              <a:gd name="connsiteX13" fmla="*/ 2455837 w 6855687"/>
              <a:gd name="connsiteY13" fmla="*/ 5449698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3660018 w 6855687"/>
              <a:gd name="connsiteY11" fmla="*/ 3478962 h 5940273"/>
              <a:gd name="connsiteX12" fmla="*/ 2917082 w 6855687"/>
              <a:gd name="connsiteY12" fmla="*/ 4389642 h 5940273"/>
              <a:gd name="connsiteX13" fmla="*/ 2455837 w 6855687"/>
              <a:gd name="connsiteY13" fmla="*/ 5449698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2917082 w 6855687"/>
              <a:gd name="connsiteY12" fmla="*/ 4389642 h 5940273"/>
              <a:gd name="connsiteX13" fmla="*/ 2455837 w 6855687"/>
              <a:gd name="connsiteY13" fmla="*/ 5449698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3758910 w 6855687"/>
              <a:gd name="connsiteY12" fmla="*/ 5354842 h 5940273"/>
              <a:gd name="connsiteX13" fmla="*/ 2455837 w 6855687"/>
              <a:gd name="connsiteY13" fmla="*/ 5449698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3758910 w 6855687"/>
              <a:gd name="connsiteY12" fmla="*/ 5354842 h 5940273"/>
              <a:gd name="connsiteX13" fmla="*/ 3595209 w 6855687"/>
              <a:gd name="connsiteY13" fmla="*/ 5638384 h 5940273"/>
              <a:gd name="connsiteX14" fmla="*/ 3498451 w 6855687"/>
              <a:gd name="connsiteY14" fmla="*/ 5894264 h 5940273"/>
              <a:gd name="connsiteX15" fmla="*/ 1560 w 6855687"/>
              <a:gd name="connsiteY15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3758910 w 6855687"/>
              <a:gd name="connsiteY12" fmla="*/ 5354842 h 5940273"/>
              <a:gd name="connsiteX13" fmla="*/ 3498451 w 6855687"/>
              <a:gd name="connsiteY13" fmla="*/ 5894264 h 5940273"/>
              <a:gd name="connsiteX14" fmla="*/ 1560 w 6855687"/>
              <a:gd name="connsiteY14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3768586 w 6855687"/>
              <a:gd name="connsiteY12" fmla="*/ 5354842 h 5940273"/>
              <a:gd name="connsiteX13" fmla="*/ 3498451 w 6855687"/>
              <a:gd name="connsiteY13" fmla="*/ 5894264 h 5940273"/>
              <a:gd name="connsiteX14" fmla="*/ 1560 w 6855687"/>
              <a:gd name="connsiteY14" fmla="*/ 5940273 h 5940273"/>
              <a:gd name="connsiteX0" fmla="*/ 1560 w 6855687"/>
              <a:gd name="connsiteY0" fmla="*/ 5940273 h 5940273"/>
              <a:gd name="connsiteX1" fmla="*/ 589 w 6855687"/>
              <a:gd name="connsiteY1" fmla="*/ 4654228 h 5940273"/>
              <a:gd name="connsiteX2" fmla="*/ 529419 w 6855687"/>
              <a:gd name="connsiteY2" fmla="*/ 3573311 h 5940273"/>
              <a:gd name="connsiteX3" fmla="*/ 1268591 w 6855687"/>
              <a:gd name="connsiteY3" fmla="*/ 2553306 h 5940273"/>
              <a:gd name="connsiteX4" fmla="*/ 1961457 w 6855687"/>
              <a:gd name="connsiteY4" fmla="*/ 1855938 h 5940273"/>
              <a:gd name="connsiteX5" fmla="*/ 3067620 w 6855687"/>
              <a:gd name="connsiteY5" fmla="*/ 1051159 h 5940273"/>
              <a:gd name="connsiteX6" fmla="*/ 4362795 w 6855687"/>
              <a:gd name="connsiteY6" fmla="*/ 439433 h 5940273"/>
              <a:gd name="connsiteX7" fmla="*/ 6854926 w 6855687"/>
              <a:gd name="connsiteY7" fmla="*/ 7803 h 5940273"/>
              <a:gd name="connsiteX8" fmla="*/ 6855462 w 6855687"/>
              <a:gd name="connsiteY8" fmla="*/ 3656894 h 5940273"/>
              <a:gd name="connsiteX9" fmla="*/ 6065375 w 6855687"/>
              <a:gd name="connsiteY9" fmla="*/ 3736906 h 5940273"/>
              <a:gd name="connsiteX10" fmla="*/ 5198276 w 6855687"/>
              <a:gd name="connsiteY10" fmla="*/ 4045701 h 5940273"/>
              <a:gd name="connsiteX11" fmla="*/ 4397828 w 6855687"/>
              <a:gd name="connsiteY11" fmla="*/ 4615914 h 5940273"/>
              <a:gd name="connsiteX12" fmla="*/ 3768586 w 6855687"/>
              <a:gd name="connsiteY12" fmla="*/ 5354842 h 5940273"/>
              <a:gd name="connsiteX13" fmla="*/ 3498451 w 6855687"/>
              <a:gd name="connsiteY13" fmla="*/ 5894264 h 5940273"/>
              <a:gd name="connsiteX14" fmla="*/ 1560 w 6855687"/>
              <a:gd name="connsiteY14" fmla="*/ 5940273 h 5940273"/>
              <a:gd name="connsiteX0" fmla="*/ 0 w 6856546"/>
              <a:gd name="connsiteY0" fmla="*/ 5891892 h 5894264"/>
              <a:gd name="connsiteX1" fmla="*/ 1448 w 6856546"/>
              <a:gd name="connsiteY1" fmla="*/ 4654228 h 5894264"/>
              <a:gd name="connsiteX2" fmla="*/ 530278 w 6856546"/>
              <a:gd name="connsiteY2" fmla="*/ 3573311 h 5894264"/>
              <a:gd name="connsiteX3" fmla="*/ 1269450 w 6856546"/>
              <a:gd name="connsiteY3" fmla="*/ 2553306 h 5894264"/>
              <a:gd name="connsiteX4" fmla="*/ 1962316 w 6856546"/>
              <a:gd name="connsiteY4" fmla="*/ 1855938 h 5894264"/>
              <a:gd name="connsiteX5" fmla="*/ 3068479 w 6856546"/>
              <a:gd name="connsiteY5" fmla="*/ 1051159 h 5894264"/>
              <a:gd name="connsiteX6" fmla="*/ 4363654 w 6856546"/>
              <a:gd name="connsiteY6" fmla="*/ 439433 h 5894264"/>
              <a:gd name="connsiteX7" fmla="*/ 6855785 w 6856546"/>
              <a:gd name="connsiteY7" fmla="*/ 7803 h 5894264"/>
              <a:gd name="connsiteX8" fmla="*/ 6856321 w 6856546"/>
              <a:gd name="connsiteY8" fmla="*/ 3656894 h 5894264"/>
              <a:gd name="connsiteX9" fmla="*/ 6066234 w 6856546"/>
              <a:gd name="connsiteY9" fmla="*/ 3736906 h 5894264"/>
              <a:gd name="connsiteX10" fmla="*/ 5199135 w 6856546"/>
              <a:gd name="connsiteY10" fmla="*/ 4045701 h 5894264"/>
              <a:gd name="connsiteX11" fmla="*/ 4398687 w 6856546"/>
              <a:gd name="connsiteY11" fmla="*/ 4615914 h 5894264"/>
              <a:gd name="connsiteX12" fmla="*/ 3769445 w 6856546"/>
              <a:gd name="connsiteY12" fmla="*/ 5354842 h 5894264"/>
              <a:gd name="connsiteX13" fmla="*/ 3499310 w 6856546"/>
              <a:gd name="connsiteY13" fmla="*/ 5894264 h 5894264"/>
              <a:gd name="connsiteX14" fmla="*/ 0 w 6856546"/>
              <a:gd name="connsiteY14" fmla="*/ 5891892 h 5894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856546" h="5894264">
                <a:moveTo>
                  <a:pt x="0" y="5891892"/>
                </a:moveTo>
                <a:cubicBezTo>
                  <a:pt x="2373" y="5419674"/>
                  <a:pt x="-925" y="5126446"/>
                  <a:pt x="1448" y="4654228"/>
                </a:cubicBezTo>
                <a:cubicBezTo>
                  <a:pt x="166121" y="4208897"/>
                  <a:pt x="318944" y="3923465"/>
                  <a:pt x="530278" y="3573311"/>
                </a:cubicBezTo>
                <a:cubicBezTo>
                  <a:pt x="741612" y="3223157"/>
                  <a:pt x="1030777" y="2839535"/>
                  <a:pt x="1269450" y="2553306"/>
                </a:cubicBezTo>
                <a:cubicBezTo>
                  <a:pt x="1508123" y="2267077"/>
                  <a:pt x="1662478" y="2106296"/>
                  <a:pt x="1962316" y="1855938"/>
                </a:cubicBezTo>
                <a:cubicBezTo>
                  <a:pt x="2262154" y="1605580"/>
                  <a:pt x="2662434" y="1295979"/>
                  <a:pt x="3068479" y="1051159"/>
                </a:cubicBezTo>
                <a:cubicBezTo>
                  <a:pt x="3474524" y="806339"/>
                  <a:pt x="3744084" y="677393"/>
                  <a:pt x="4363654" y="439433"/>
                </a:cubicBezTo>
                <a:cubicBezTo>
                  <a:pt x="4983224" y="201473"/>
                  <a:pt x="6259230" y="-47537"/>
                  <a:pt x="6855785" y="7803"/>
                </a:cubicBezTo>
                <a:cubicBezTo>
                  <a:pt x="6858186" y="824657"/>
                  <a:pt x="6853920" y="2840040"/>
                  <a:pt x="6856321" y="3656894"/>
                </a:cubicBezTo>
                <a:cubicBezTo>
                  <a:pt x="6602945" y="3627898"/>
                  <a:pt x="6342432" y="3672105"/>
                  <a:pt x="6066234" y="3736906"/>
                </a:cubicBezTo>
                <a:cubicBezTo>
                  <a:pt x="5790036" y="3801707"/>
                  <a:pt x="5477060" y="3899200"/>
                  <a:pt x="5199135" y="4045701"/>
                </a:cubicBezTo>
                <a:cubicBezTo>
                  <a:pt x="4921210" y="4192202"/>
                  <a:pt x="4800458" y="4281117"/>
                  <a:pt x="4398687" y="4615914"/>
                </a:cubicBezTo>
                <a:cubicBezTo>
                  <a:pt x="3964548" y="5055907"/>
                  <a:pt x="3919341" y="5141784"/>
                  <a:pt x="3769445" y="5354842"/>
                </a:cubicBezTo>
                <a:cubicBezTo>
                  <a:pt x="3619549" y="5567900"/>
                  <a:pt x="3598183" y="5656388"/>
                  <a:pt x="3499310" y="5894264"/>
                </a:cubicBezTo>
                <a:lnTo>
                  <a:pt x="0" y="589189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 dirty="0">
              <a:solidFill>
                <a:schemeClr val="tx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00" y="655200"/>
            <a:ext cx="3527999" cy="396000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AA2E929-5B00-47BA-848F-4A659E3F54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2400" y="2936558"/>
            <a:ext cx="6172201" cy="984885"/>
          </a:xfrm>
        </p:spPr>
        <p:txBody>
          <a:bodyPr vert="horz" wrap="square" lIns="0" tIns="0" rIns="0" bIns="0" anchor="ctr">
            <a:spAutoFit/>
          </a:bodyPr>
          <a:lstStyle>
            <a:lvl1pPr algn="l"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Разделитель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в 2 строк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109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Контент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2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69332"/>
          </a:xfr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>
          <a:xfrm>
            <a:off x="571499" y="6548344"/>
            <a:ext cx="10260000" cy="15773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4000" y="316801"/>
            <a:ext cx="946800" cy="261881"/>
          </a:xfrm>
          <a:prstGeom prst="rect">
            <a:avLst/>
          </a:prstGeom>
        </p:spPr>
      </p:pic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 txBox="1">
            <a:spLocks/>
          </p:cNvSpPr>
          <p:nvPr userDrawn="1"/>
        </p:nvSpPr>
        <p:spPr>
          <a:xfrm>
            <a:off x="101385" y="61336"/>
            <a:ext cx="10500455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750" dirty="0" smtClean="0"/>
              <a:t>Любое</a:t>
            </a:r>
            <a:r>
              <a:rPr lang="ru-RU" sz="750" baseline="0" dirty="0" smtClean="0"/>
              <a:t> несанкционированное копирование, раскрытие или распространение материалов, содержащихся в документе и приложениях к нему, строго запрещено</a:t>
            </a:r>
            <a:endParaRPr lang="en-US" sz="750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BC42604-54E5-4060-84D1-99B8E87413CC}"/>
              </a:ext>
            </a:extLst>
          </p:cNvPr>
          <p:cNvSpPr/>
          <p:nvPr userDrawn="1"/>
        </p:nvSpPr>
        <p:spPr>
          <a:xfrm>
            <a:off x="0" y="6812281"/>
            <a:ext cx="12192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</p:spTree>
    <p:extLst>
      <p:ext uri="{BB962C8B-B14F-4D97-AF65-F5344CB8AC3E}">
        <p14:creationId xmlns:p14="http://schemas.microsoft.com/office/powerpoint/2010/main" val="2245040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 с паттерном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488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4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ECD95AE3-6917-4E0E-8326-D97F3A438889}"/>
              </a:ext>
            </a:extLst>
          </p:cNvPr>
          <p:cNvGrpSpPr/>
          <p:nvPr userDrawn="1"/>
        </p:nvGrpSpPr>
        <p:grpSpPr>
          <a:xfrm>
            <a:off x="11212286" y="3918810"/>
            <a:ext cx="979714" cy="979714"/>
            <a:chOff x="435428" y="11408228"/>
            <a:chExt cx="979714" cy="979714"/>
          </a:xfrm>
        </p:grpSpPr>
        <p:sp>
          <p:nvSpPr>
            <p:cNvPr id="12" name="Полилиния: фигура 135">
              <a:extLst>
                <a:ext uri="{FF2B5EF4-FFF2-40B4-BE49-F238E27FC236}">
                  <a16:creationId xmlns:a16="http://schemas.microsoft.com/office/drawing/2014/main" id="{BADA7BB2-A5AA-4246-A31D-BFA6B6077014}"/>
                </a:ext>
              </a:extLst>
            </p:cNvPr>
            <p:cNvSpPr/>
            <p:nvPr/>
          </p:nvSpPr>
          <p:spPr>
            <a:xfrm>
              <a:off x="925285" y="1189808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09" y="489617"/>
                    <a:pt x="489547" y="489617"/>
                  </a:cubicBez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Полилиния: фигура 136">
              <a:extLst>
                <a:ext uri="{FF2B5EF4-FFF2-40B4-BE49-F238E27FC236}">
                  <a16:creationId xmlns:a16="http://schemas.microsoft.com/office/drawing/2014/main" id="{3DF9420A-6F44-474C-A9DC-A08235BB2501}"/>
                </a:ext>
              </a:extLst>
            </p:cNvPr>
            <p:cNvSpPr/>
            <p:nvPr/>
          </p:nvSpPr>
          <p:spPr>
            <a:xfrm>
              <a:off x="435428" y="1140822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09" y="489617"/>
                    <a:pt x="489547" y="489617"/>
                  </a:cubicBez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Полилиния: фигура 137">
              <a:extLst>
                <a:ext uri="{FF2B5EF4-FFF2-40B4-BE49-F238E27FC236}">
                  <a16:creationId xmlns:a16="http://schemas.microsoft.com/office/drawing/2014/main" id="{6D2DA61A-7383-47F5-A402-24DAAF5CB999}"/>
                </a:ext>
              </a:extLst>
            </p:cNvPr>
            <p:cNvSpPr/>
            <p:nvPr/>
          </p:nvSpPr>
          <p:spPr>
            <a:xfrm>
              <a:off x="925285" y="1140822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228" y="489617"/>
                    <a:pt x="489547" y="270298"/>
                    <a:pt x="489547" y="-240"/>
                  </a:cubicBezTo>
                  <a:cubicBezTo>
                    <a:pt x="219009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Полилиния: фигура 138">
              <a:extLst>
                <a:ext uri="{FF2B5EF4-FFF2-40B4-BE49-F238E27FC236}">
                  <a16:creationId xmlns:a16="http://schemas.microsoft.com/office/drawing/2014/main" id="{5BE789FF-92AB-430F-9597-D960B393B880}"/>
                </a:ext>
              </a:extLst>
            </p:cNvPr>
            <p:cNvSpPr/>
            <p:nvPr/>
          </p:nvSpPr>
          <p:spPr>
            <a:xfrm>
              <a:off x="435428" y="1189808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228" y="489617"/>
                    <a:pt x="489547" y="270298"/>
                    <a:pt x="489547" y="-240"/>
                  </a:cubicBezTo>
                  <a:cubicBezTo>
                    <a:pt x="219009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CCD2995-E956-417F-B21B-35664D8F3E4D}"/>
              </a:ext>
            </a:extLst>
          </p:cNvPr>
          <p:cNvGrpSpPr/>
          <p:nvPr userDrawn="1"/>
        </p:nvGrpSpPr>
        <p:grpSpPr>
          <a:xfrm>
            <a:off x="9252833" y="25"/>
            <a:ext cx="979714" cy="979714"/>
            <a:chOff x="9252833" y="25"/>
            <a:chExt cx="979714" cy="979714"/>
          </a:xfrm>
        </p:grpSpPr>
        <p:sp>
          <p:nvSpPr>
            <p:cNvPr id="18" name="Полилиния: фигура 8">
              <a:extLst>
                <a:ext uri="{FF2B5EF4-FFF2-40B4-BE49-F238E27FC236}">
                  <a16:creationId xmlns:a16="http://schemas.microsoft.com/office/drawing/2014/main" id="{EC7D329E-BF65-41FB-A97F-7BF94125C18F}"/>
                </a:ext>
              </a:extLst>
            </p:cNvPr>
            <p:cNvSpPr/>
            <p:nvPr/>
          </p:nvSpPr>
          <p:spPr>
            <a:xfrm>
              <a:off x="9252833" y="25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Полилиния: фигура 35">
              <a:extLst>
                <a:ext uri="{FF2B5EF4-FFF2-40B4-BE49-F238E27FC236}">
                  <a16:creationId xmlns:a16="http://schemas.microsoft.com/office/drawing/2014/main" id="{0861E1E5-24E2-40A2-BB3B-2C5AFA60C5A0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F5917ACC-88D1-41C0-B4F6-4D0F67FA81EF}"/>
              </a:ext>
            </a:extLst>
          </p:cNvPr>
          <p:cNvGrpSpPr/>
          <p:nvPr userDrawn="1"/>
        </p:nvGrpSpPr>
        <p:grpSpPr>
          <a:xfrm>
            <a:off x="11212261" y="1959453"/>
            <a:ext cx="979714" cy="979714"/>
            <a:chOff x="11212261" y="1959453"/>
            <a:chExt cx="979714" cy="979714"/>
          </a:xfrm>
        </p:grpSpPr>
        <p:sp>
          <p:nvSpPr>
            <p:cNvPr id="28" name="Полилиния: фигура 40">
              <a:extLst>
                <a:ext uri="{FF2B5EF4-FFF2-40B4-BE49-F238E27FC236}">
                  <a16:creationId xmlns:a16="http://schemas.microsoft.com/office/drawing/2014/main" id="{CD509DBA-B533-44DF-B1F6-18461B35F6CC}"/>
                </a:ext>
              </a:extLst>
            </p:cNvPr>
            <p:cNvSpPr/>
            <p:nvPr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Полилиния: фигура 41">
              <a:extLst>
                <a:ext uri="{FF2B5EF4-FFF2-40B4-BE49-F238E27FC236}">
                  <a16:creationId xmlns:a16="http://schemas.microsoft.com/office/drawing/2014/main" id="{A163077D-7E27-4D8F-992E-C78D3C4E490C}"/>
                </a:ext>
              </a:extLst>
            </p:cNvPr>
            <p:cNvSpPr/>
            <p:nvPr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Полилиния: фигура 42">
              <a:extLst>
                <a:ext uri="{FF2B5EF4-FFF2-40B4-BE49-F238E27FC236}">
                  <a16:creationId xmlns:a16="http://schemas.microsoft.com/office/drawing/2014/main" id="{319A51EB-78B3-4C96-9E82-D326BE953997}"/>
                </a:ext>
              </a:extLst>
            </p:cNvPr>
            <p:cNvSpPr/>
            <p:nvPr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Полилиния: фигура 43">
              <a:extLst>
                <a:ext uri="{FF2B5EF4-FFF2-40B4-BE49-F238E27FC236}">
                  <a16:creationId xmlns:a16="http://schemas.microsoft.com/office/drawing/2014/main" id="{1F51EE05-0046-4107-92DF-57F04912B538}"/>
                </a:ext>
              </a:extLst>
            </p:cNvPr>
            <p:cNvSpPr/>
            <p:nvPr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2" name="Полилиния: фигура 59">
            <a:extLst>
              <a:ext uri="{FF2B5EF4-FFF2-40B4-BE49-F238E27FC236}">
                <a16:creationId xmlns:a16="http://schemas.microsoft.com/office/drawing/2014/main" id="{C6FBF05D-48B1-4E7F-9948-223B323020B7}"/>
              </a:ext>
            </a:extLst>
          </p:cNvPr>
          <p:cNvSpPr/>
          <p:nvPr userDrawn="1"/>
        </p:nvSpPr>
        <p:spPr>
          <a:xfrm>
            <a:off x="10477475" y="1224667"/>
            <a:ext cx="489857" cy="489857"/>
          </a:xfrm>
          <a:custGeom>
            <a:avLst/>
            <a:gdLst>
              <a:gd name="connsiteX0" fmla="*/ 489857 w 489857"/>
              <a:gd name="connsiteY0" fmla="*/ 244929 h 489857"/>
              <a:gd name="connsiteX1" fmla="*/ 244929 w 489857"/>
              <a:gd name="connsiteY1" fmla="*/ 489857 h 489857"/>
              <a:gd name="connsiteX2" fmla="*/ 0 w 489857"/>
              <a:gd name="connsiteY2" fmla="*/ 244929 h 489857"/>
              <a:gd name="connsiteX3" fmla="*/ 244929 w 489857"/>
              <a:gd name="connsiteY3" fmla="*/ 0 h 489857"/>
              <a:gd name="connsiteX4" fmla="*/ 489857 w 489857"/>
              <a:gd name="connsiteY4" fmla="*/ 24492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489857" y="244929"/>
                </a:moveTo>
                <a:cubicBezTo>
                  <a:pt x="489857" y="380199"/>
                  <a:pt x="380199" y="489857"/>
                  <a:pt x="244929" y="489857"/>
                </a:cubicBezTo>
                <a:cubicBezTo>
                  <a:pt x="109658" y="489857"/>
                  <a:pt x="0" y="380199"/>
                  <a:pt x="0" y="244929"/>
                </a:cubicBezTo>
                <a:cubicBezTo>
                  <a:pt x="0" y="109658"/>
                  <a:pt x="109658" y="0"/>
                  <a:pt x="244929" y="0"/>
                </a:cubicBezTo>
                <a:cubicBezTo>
                  <a:pt x="380199" y="0"/>
                  <a:pt x="489857" y="109658"/>
                  <a:pt x="489857" y="244929"/>
                </a:cubicBezTo>
                <a:close/>
              </a:path>
            </a:pathLst>
          </a:custGeom>
          <a:solidFill>
            <a:schemeClr val="bg2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F42128F7-4C9F-45AF-AAFB-AE3CD4A4E90B}"/>
              </a:ext>
            </a:extLst>
          </p:cNvPr>
          <p:cNvGrpSpPr/>
          <p:nvPr userDrawn="1"/>
        </p:nvGrpSpPr>
        <p:grpSpPr>
          <a:xfrm>
            <a:off x="10232547" y="1959453"/>
            <a:ext cx="979714" cy="979714"/>
            <a:chOff x="10232547" y="1959453"/>
            <a:chExt cx="979714" cy="979714"/>
          </a:xfrm>
        </p:grpSpPr>
        <p:sp>
          <p:nvSpPr>
            <p:cNvPr id="34" name="Полилиния: фигура 13">
              <a:extLst>
                <a:ext uri="{FF2B5EF4-FFF2-40B4-BE49-F238E27FC236}">
                  <a16:creationId xmlns:a16="http://schemas.microsoft.com/office/drawing/2014/main" id="{CAEFCC71-06E7-4967-A41A-88ACD0A902EB}"/>
                </a:ext>
              </a:extLst>
            </p:cNvPr>
            <p:cNvSpPr/>
            <p:nvPr/>
          </p:nvSpPr>
          <p:spPr>
            <a:xfrm rot="16200000">
              <a:off x="10232547" y="1959453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Полилиния: фигура 60">
              <a:extLst>
                <a:ext uri="{FF2B5EF4-FFF2-40B4-BE49-F238E27FC236}">
                  <a16:creationId xmlns:a16="http://schemas.microsoft.com/office/drawing/2014/main" id="{46038D64-C84F-4E9C-A992-D48C10224D2A}"/>
                </a:ext>
              </a:extLst>
            </p:cNvPr>
            <p:cNvSpPr/>
            <p:nvPr/>
          </p:nvSpPr>
          <p:spPr>
            <a:xfrm>
              <a:off x="10232547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Полилиния: фигура 61">
              <a:extLst>
                <a:ext uri="{FF2B5EF4-FFF2-40B4-BE49-F238E27FC236}">
                  <a16:creationId xmlns:a16="http://schemas.microsoft.com/office/drawing/2014/main" id="{FFE5DEB1-524D-430C-9CE3-5FA4E7A02126}"/>
                </a:ext>
              </a:extLst>
            </p:cNvPr>
            <p:cNvSpPr/>
            <p:nvPr/>
          </p:nvSpPr>
          <p:spPr>
            <a:xfrm>
              <a:off x="10232547" y="1959453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Полилиния: фигура 62">
              <a:extLst>
                <a:ext uri="{FF2B5EF4-FFF2-40B4-BE49-F238E27FC236}">
                  <a16:creationId xmlns:a16="http://schemas.microsoft.com/office/drawing/2014/main" id="{9A64166C-AEE7-4BCA-804F-3BC24E54D733}"/>
                </a:ext>
              </a:extLst>
            </p:cNvPr>
            <p:cNvSpPr/>
            <p:nvPr/>
          </p:nvSpPr>
          <p:spPr>
            <a:xfrm>
              <a:off x="10722404" y="1959453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Полилиния: фигура 63">
              <a:extLst>
                <a:ext uri="{FF2B5EF4-FFF2-40B4-BE49-F238E27FC236}">
                  <a16:creationId xmlns:a16="http://schemas.microsoft.com/office/drawing/2014/main" id="{8C5A8605-9ECD-4EF1-8E60-AFCFD6B3D51D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4AA1D64C-CF37-4B2D-99A5-2E1F80762337}"/>
              </a:ext>
            </a:extLst>
          </p:cNvPr>
          <p:cNvGrpSpPr/>
          <p:nvPr userDrawn="1"/>
        </p:nvGrpSpPr>
        <p:grpSpPr>
          <a:xfrm>
            <a:off x="10232547" y="25"/>
            <a:ext cx="979714" cy="979714"/>
            <a:chOff x="10232547" y="25"/>
            <a:chExt cx="979714" cy="979714"/>
          </a:xfrm>
        </p:grpSpPr>
        <p:sp>
          <p:nvSpPr>
            <p:cNvPr id="40" name="Полилиния: фигура 14">
              <a:extLst>
                <a:ext uri="{FF2B5EF4-FFF2-40B4-BE49-F238E27FC236}">
                  <a16:creationId xmlns:a16="http://schemas.microsoft.com/office/drawing/2014/main" id="{3459CD28-4DA2-4516-8226-82ED9A7C52A6}"/>
                </a:ext>
              </a:extLst>
            </p:cNvPr>
            <p:cNvSpPr/>
            <p:nvPr/>
          </p:nvSpPr>
          <p:spPr>
            <a:xfrm rot="16200000">
              <a:off x="10232547" y="25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Полилиния: фигура 64">
              <a:extLst>
                <a:ext uri="{FF2B5EF4-FFF2-40B4-BE49-F238E27FC236}">
                  <a16:creationId xmlns:a16="http://schemas.microsoft.com/office/drawing/2014/main" id="{CDC5EC26-A53D-46A8-ACB5-50DA15A7A1E2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Полилиния: фигура 65">
              <a:extLst>
                <a:ext uri="{FF2B5EF4-FFF2-40B4-BE49-F238E27FC236}">
                  <a16:creationId xmlns:a16="http://schemas.microsoft.com/office/drawing/2014/main" id="{F1946BA5-9A24-48D6-9405-492A4DB9E79B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Полилиния: фигура 66">
              <a:extLst>
                <a:ext uri="{FF2B5EF4-FFF2-40B4-BE49-F238E27FC236}">
                  <a16:creationId xmlns:a16="http://schemas.microsoft.com/office/drawing/2014/main" id="{8446FB5C-1877-4196-9B17-10C460241CA9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Полилиния: фигура 67">
              <a:extLst>
                <a:ext uri="{FF2B5EF4-FFF2-40B4-BE49-F238E27FC236}">
                  <a16:creationId xmlns:a16="http://schemas.microsoft.com/office/drawing/2014/main" id="{5938DBD3-1649-48AC-AAA0-D64EE1201C3F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C930C507-5C34-43A7-AEC7-EE9D769D5B55}"/>
              </a:ext>
            </a:extLst>
          </p:cNvPr>
          <p:cNvGrpSpPr/>
          <p:nvPr userDrawn="1"/>
        </p:nvGrpSpPr>
        <p:grpSpPr>
          <a:xfrm>
            <a:off x="11401541" y="1143057"/>
            <a:ext cx="545506" cy="653078"/>
            <a:chOff x="11401541" y="1143057"/>
            <a:chExt cx="545506" cy="653078"/>
          </a:xfrm>
        </p:grpSpPr>
        <p:sp>
          <p:nvSpPr>
            <p:cNvPr id="50" name="Полилиния: фигура 102">
              <a:extLst>
                <a:ext uri="{FF2B5EF4-FFF2-40B4-BE49-F238E27FC236}">
                  <a16:creationId xmlns:a16="http://schemas.microsoft.com/office/drawing/2014/main" id="{C50ED4C5-82FE-427E-87BE-1FC56AE9674C}"/>
                </a:ext>
              </a:extLst>
            </p:cNvPr>
            <p:cNvSpPr/>
            <p:nvPr userDrawn="1"/>
          </p:nvSpPr>
          <p:spPr>
            <a:xfrm>
              <a:off x="11401541" y="1597449"/>
              <a:ext cx="300576" cy="198686"/>
            </a:xfrm>
            <a:custGeom>
              <a:avLst/>
              <a:gdLst>
                <a:gd name="connsiteX0" fmla="*/ -310 w 300576"/>
                <a:gd name="connsiteY0" fmla="*/ -240 h 198686"/>
                <a:gd name="connsiteX1" fmla="*/ 300267 w 300576"/>
                <a:gd name="connsiteY1" fmla="*/ 198446 h 198686"/>
                <a:gd name="connsiteX2" fmla="*/ -310 w 300576"/>
                <a:gd name="connsiteY2" fmla="*/ -240 h 198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576" h="198686">
                  <a:moveTo>
                    <a:pt x="-310" y="-240"/>
                  </a:moveTo>
                  <a:cubicBezTo>
                    <a:pt x="51028" y="120255"/>
                    <a:pt x="169279" y="198466"/>
                    <a:pt x="300267" y="198446"/>
                  </a:cubicBezTo>
                  <a:cubicBezTo>
                    <a:pt x="248930" y="77951"/>
                    <a:pt x="130678" y="-259"/>
                    <a:pt x="-310" y="-240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Полилиния: фигура 103">
              <a:extLst>
                <a:ext uri="{FF2B5EF4-FFF2-40B4-BE49-F238E27FC236}">
                  <a16:creationId xmlns:a16="http://schemas.microsoft.com/office/drawing/2014/main" id="{4C8E45E4-8744-44C6-AB08-4764879AF1D2}"/>
                </a:ext>
              </a:extLst>
            </p:cNvPr>
            <p:cNvSpPr/>
            <p:nvPr/>
          </p:nvSpPr>
          <p:spPr>
            <a:xfrm>
              <a:off x="1145719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Полилиния: фигура 104">
              <a:extLst>
                <a:ext uri="{FF2B5EF4-FFF2-40B4-BE49-F238E27FC236}">
                  <a16:creationId xmlns:a16="http://schemas.microsoft.com/office/drawing/2014/main" id="{F42A29E0-C857-4255-9E3C-64E7824FE21C}"/>
                </a:ext>
              </a:extLst>
            </p:cNvPr>
            <p:cNvSpPr/>
            <p:nvPr userDrawn="1"/>
          </p:nvSpPr>
          <p:spPr>
            <a:xfrm>
              <a:off x="11702118" y="1652509"/>
              <a:ext cx="223081" cy="143625"/>
            </a:xfrm>
            <a:custGeom>
              <a:avLst/>
              <a:gdLst>
                <a:gd name="connsiteX0" fmla="*/ -310 w 223081"/>
                <a:gd name="connsiteY0" fmla="*/ 143386 h 143625"/>
                <a:gd name="connsiteX1" fmla="*/ 222771 w 223081"/>
                <a:gd name="connsiteY1" fmla="*/ -240 h 143625"/>
                <a:gd name="connsiteX2" fmla="*/ -310 w 223081"/>
                <a:gd name="connsiteY2" fmla="*/ 143386 h 143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081" h="143625">
                  <a:moveTo>
                    <a:pt x="-310" y="143386"/>
                  </a:moveTo>
                  <a:cubicBezTo>
                    <a:pt x="95801" y="143415"/>
                    <a:pt x="182994" y="87248"/>
                    <a:pt x="222771" y="-240"/>
                  </a:cubicBezTo>
                  <a:cubicBezTo>
                    <a:pt x="126661" y="-270"/>
                    <a:pt x="39467" y="55897"/>
                    <a:pt x="-310" y="143386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Полилиния: фигура 105">
              <a:extLst>
                <a:ext uri="{FF2B5EF4-FFF2-40B4-BE49-F238E27FC236}">
                  <a16:creationId xmlns:a16="http://schemas.microsoft.com/office/drawing/2014/main" id="{E211E195-B6C9-436B-8E35-D1876A5A8E0A}"/>
                </a:ext>
              </a:extLst>
            </p:cNvPr>
            <p:cNvSpPr/>
            <p:nvPr/>
          </p:nvSpPr>
          <p:spPr>
            <a:xfrm>
              <a:off x="1157965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066FB9AB-2CD5-4AB7-82DC-A90CEA40C467}"/>
              </a:ext>
            </a:extLst>
          </p:cNvPr>
          <p:cNvGrpSpPr/>
          <p:nvPr userDrawn="1"/>
        </p:nvGrpSpPr>
        <p:grpSpPr>
          <a:xfrm>
            <a:off x="9252833" y="979714"/>
            <a:ext cx="979714" cy="979763"/>
            <a:chOff x="9252833" y="979714"/>
            <a:chExt cx="979714" cy="979763"/>
          </a:xfrm>
        </p:grpSpPr>
        <p:sp>
          <p:nvSpPr>
            <p:cNvPr id="55" name="Полилиния: фигура 27">
              <a:extLst>
                <a:ext uri="{FF2B5EF4-FFF2-40B4-BE49-F238E27FC236}">
                  <a16:creationId xmlns:a16="http://schemas.microsoft.com/office/drawing/2014/main" id="{B9C21BF7-60A9-4015-A905-63CD92318A9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Полилиния: фигура 157">
              <a:extLst>
                <a:ext uri="{FF2B5EF4-FFF2-40B4-BE49-F238E27FC236}">
                  <a16:creationId xmlns:a16="http://schemas.microsoft.com/office/drawing/2014/main" id="{43601776-0B2E-41F1-9543-02B1116A0ADF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Полилиния: фигура 158">
              <a:extLst>
                <a:ext uri="{FF2B5EF4-FFF2-40B4-BE49-F238E27FC236}">
                  <a16:creationId xmlns:a16="http://schemas.microsoft.com/office/drawing/2014/main" id="{8423E724-4902-42ED-984A-C1864466591B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Полилиния: фигура 159">
              <a:extLst>
                <a:ext uri="{FF2B5EF4-FFF2-40B4-BE49-F238E27FC236}">
                  <a16:creationId xmlns:a16="http://schemas.microsoft.com/office/drawing/2014/main" id="{741AFE2C-13EA-47C0-98EF-BDAD5085E5A2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761668E6-E8F2-4824-B98B-D4E0741E0543}"/>
              </a:ext>
            </a:extLst>
          </p:cNvPr>
          <p:cNvGrpSpPr/>
          <p:nvPr userDrawn="1"/>
        </p:nvGrpSpPr>
        <p:grpSpPr>
          <a:xfrm>
            <a:off x="8460243" y="187150"/>
            <a:ext cx="605463" cy="605463"/>
            <a:chOff x="8460243" y="187150"/>
            <a:chExt cx="605463" cy="605463"/>
          </a:xfrm>
          <a:solidFill>
            <a:schemeClr val="bg2"/>
          </a:solidFill>
        </p:grpSpPr>
        <p:sp>
          <p:nvSpPr>
            <p:cNvPr id="60" name="Полилиния: фигура 162">
              <a:extLst>
                <a:ext uri="{FF2B5EF4-FFF2-40B4-BE49-F238E27FC236}">
                  <a16:creationId xmlns:a16="http://schemas.microsoft.com/office/drawing/2014/main" id="{B291E06A-AC6C-458E-9720-F4ACA5C91108}"/>
                </a:ext>
              </a:extLst>
            </p:cNvPr>
            <p:cNvSpPr/>
            <p:nvPr/>
          </p:nvSpPr>
          <p:spPr>
            <a:xfrm>
              <a:off x="8592015" y="318922"/>
              <a:ext cx="341920" cy="341920"/>
            </a:xfrm>
            <a:custGeom>
              <a:avLst/>
              <a:gdLst>
                <a:gd name="connsiteX0" fmla="*/ 341920 w 341920"/>
                <a:gd name="connsiteY0" fmla="*/ 170960 h 341920"/>
                <a:gd name="connsiteX1" fmla="*/ 170960 w 341920"/>
                <a:gd name="connsiteY1" fmla="*/ 341920 h 341920"/>
                <a:gd name="connsiteX2" fmla="*/ 0 w 341920"/>
                <a:gd name="connsiteY2" fmla="*/ 170960 h 341920"/>
                <a:gd name="connsiteX3" fmla="*/ 170960 w 341920"/>
                <a:gd name="connsiteY3" fmla="*/ 0 h 341920"/>
                <a:gd name="connsiteX4" fmla="*/ 341920 w 341920"/>
                <a:gd name="connsiteY4" fmla="*/ 170960 h 34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1920" h="341920">
                  <a:moveTo>
                    <a:pt x="341920" y="170960"/>
                  </a:moveTo>
                  <a:cubicBezTo>
                    <a:pt x="341920" y="265379"/>
                    <a:pt x="265379" y="341920"/>
                    <a:pt x="170960" y="341920"/>
                  </a:cubicBezTo>
                  <a:cubicBezTo>
                    <a:pt x="76541" y="341920"/>
                    <a:pt x="0" y="265379"/>
                    <a:pt x="0" y="170960"/>
                  </a:cubicBezTo>
                  <a:cubicBezTo>
                    <a:pt x="0" y="76541"/>
                    <a:pt x="76541" y="0"/>
                    <a:pt x="170960" y="0"/>
                  </a:cubicBezTo>
                  <a:cubicBezTo>
                    <a:pt x="265379" y="0"/>
                    <a:pt x="341920" y="76541"/>
                    <a:pt x="341920" y="17096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Полилиния: фигура 163">
              <a:extLst>
                <a:ext uri="{FF2B5EF4-FFF2-40B4-BE49-F238E27FC236}">
                  <a16:creationId xmlns:a16="http://schemas.microsoft.com/office/drawing/2014/main" id="{48C9C058-E527-42EF-B18F-880607EC6F42}"/>
                </a:ext>
              </a:extLst>
            </p:cNvPr>
            <p:cNvSpPr/>
            <p:nvPr/>
          </p:nvSpPr>
          <p:spPr>
            <a:xfrm>
              <a:off x="8460243" y="187150"/>
              <a:ext cx="605463" cy="605463"/>
            </a:xfrm>
            <a:custGeom>
              <a:avLst/>
              <a:gdLst>
                <a:gd name="connsiteX0" fmla="*/ 302422 w 605463"/>
                <a:gd name="connsiteY0" fmla="*/ -240 h 605463"/>
                <a:gd name="connsiteX1" fmla="*/ 273031 w 605463"/>
                <a:gd name="connsiteY1" fmla="*/ 29151 h 605463"/>
                <a:gd name="connsiteX2" fmla="*/ 273031 w 605463"/>
                <a:gd name="connsiteY2" fmla="*/ 72847 h 605463"/>
                <a:gd name="connsiteX3" fmla="*/ 302422 w 605463"/>
                <a:gd name="connsiteY3" fmla="*/ 102238 h 605463"/>
                <a:gd name="connsiteX4" fmla="*/ 331813 w 605463"/>
                <a:gd name="connsiteY4" fmla="*/ 72847 h 605463"/>
                <a:gd name="connsiteX5" fmla="*/ 331813 w 605463"/>
                <a:gd name="connsiteY5" fmla="*/ 29151 h 605463"/>
                <a:gd name="connsiteX6" fmla="*/ 302422 w 605463"/>
                <a:gd name="connsiteY6" fmla="*/ -240 h 605463"/>
                <a:gd name="connsiteX7" fmla="*/ 302422 w 605463"/>
                <a:gd name="connsiteY7" fmla="*/ 502745 h 605463"/>
                <a:gd name="connsiteX8" fmla="*/ 273031 w 605463"/>
                <a:gd name="connsiteY8" fmla="*/ 532137 h 605463"/>
                <a:gd name="connsiteX9" fmla="*/ 273031 w 605463"/>
                <a:gd name="connsiteY9" fmla="*/ 575832 h 605463"/>
                <a:gd name="connsiteX10" fmla="*/ 302422 w 605463"/>
                <a:gd name="connsiteY10" fmla="*/ 605223 h 605463"/>
                <a:gd name="connsiteX11" fmla="*/ 331813 w 605463"/>
                <a:gd name="connsiteY11" fmla="*/ 575832 h 605463"/>
                <a:gd name="connsiteX12" fmla="*/ 331813 w 605463"/>
                <a:gd name="connsiteY12" fmla="*/ 532137 h 605463"/>
                <a:gd name="connsiteX13" fmla="*/ 302422 w 605463"/>
                <a:gd name="connsiteY13" fmla="*/ 502745 h 605463"/>
                <a:gd name="connsiteX14" fmla="*/ 102169 w 605463"/>
                <a:gd name="connsiteY14" fmla="*/ 302492 h 605463"/>
                <a:gd name="connsiteX15" fmla="*/ 72778 w 605463"/>
                <a:gd name="connsiteY15" fmla="*/ 273100 h 605463"/>
                <a:gd name="connsiteX16" fmla="*/ 29081 w 605463"/>
                <a:gd name="connsiteY16" fmla="*/ 273100 h 605463"/>
                <a:gd name="connsiteX17" fmla="*/ -310 w 605463"/>
                <a:gd name="connsiteY17" fmla="*/ 302492 h 605463"/>
                <a:gd name="connsiteX18" fmla="*/ 29081 w 605463"/>
                <a:gd name="connsiteY18" fmla="*/ 331883 h 605463"/>
                <a:gd name="connsiteX19" fmla="*/ 72778 w 605463"/>
                <a:gd name="connsiteY19" fmla="*/ 331883 h 605463"/>
                <a:gd name="connsiteX20" fmla="*/ 102169 w 605463"/>
                <a:gd name="connsiteY20" fmla="*/ 302492 h 605463"/>
                <a:gd name="connsiteX21" fmla="*/ 575763 w 605463"/>
                <a:gd name="connsiteY21" fmla="*/ 273100 h 605463"/>
                <a:gd name="connsiteX22" fmla="*/ 532066 w 605463"/>
                <a:gd name="connsiteY22" fmla="*/ 273100 h 605463"/>
                <a:gd name="connsiteX23" fmla="*/ 502675 w 605463"/>
                <a:gd name="connsiteY23" fmla="*/ 302492 h 605463"/>
                <a:gd name="connsiteX24" fmla="*/ 532066 w 605463"/>
                <a:gd name="connsiteY24" fmla="*/ 331883 h 605463"/>
                <a:gd name="connsiteX25" fmla="*/ 575763 w 605463"/>
                <a:gd name="connsiteY25" fmla="*/ 331883 h 605463"/>
                <a:gd name="connsiteX26" fmla="*/ 605154 w 605463"/>
                <a:gd name="connsiteY26" fmla="*/ 302492 h 605463"/>
                <a:gd name="connsiteX27" fmla="*/ 575763 w 605463"/>
                <a:gd name="connsiteY27" fmla="*/ 273100 h 605463"/>
                <a:gd name="connsiteX28" fmla="*/ 129894 w 605463"/>
                <a:gd name="connsiteY28" fmla="*/ 88424 h 605463"/>
                <a:gd name="connsiteX29" fmla="*/ 88355 w 605463"/>
                <a:gd name="connsiteY29" fmla="*/ 86955 h 605463"/>
                <a:gd name="connsiteX30" fmla="*/ 86885 w 605463"/>
                <a:gd name="connsiteY30" fmla="*/ 128494 h 605463"/>
                <a:gd name="connsiteX31" fmla="*/ 88355 w 605463"/>
                <a:gd name="connsiteY31" fmla="*/ 129964 h 605463"/>
                <a:gd name="connsiteX32" fmla="*/ 119216 w 605463"/>
                <a:gd name="connsiteY32" fmla="*/ 160923 h 605463"/>
                <a:gd name="connsiteX33" fmla="*/ 160854 w 605463"/>
                <a:gd name="connsiteY33" fmla="*/ 160923 h 605463"/>
                <a:gd name="connsiteX34" fmla="*/ 160854 w 605463"/>
                <a:gd name="connsiteY34" fmla="*/ 119285 h 605463"/>
                <a:gd name="connsiteX35" fmla="*/ 485628 w 605463"/>
                <a:gd name="connsiteY35" fmla="*/ 444061 h 605463"/>
                <a:gd name="connsiteX36" fmla="*/ 443990 w 605463"/>
                <a:gd name="connsiteY36" fmla="*/ 444061 h 605463"/>
                <a:gd name="connsiteX37" fmla="*/ 443990 w 605463"/>
                <a:gd name="connsiteY37" fmla="*/ 485698 h 605463"/>
                <a:gd name="connsiteX38" fmla="*/ 474950 w 605463"/>
                <a:gd name="connsiteY38" fmla="*/ 516559 h 605463"/>
                <a:gd name="connsiteX39" fmla="*/ 516489 w 605463"/>
                <a:gd name="connsiteY39" fmla="*/ 516559 h 605463"/>
                <a:gd name="connsiteX40" fmla="*/ 516489 w 605463"/>
                <a:gd name="connsiteY40" fmla="*/ 475019 h 605463"/>
                <a:gd name="connsiteX41" fmla="*/ 119216 w 605463"/>
                <a:gd name="connsiteY41" fmla="*/ 444061 h 605463"/>
                <a:gd name="connsiteX42" fmla="*/ 88355 w 605463"/>
                <a:gd name="connsiteY42" fmla="*/ 475019 h 605463"/>
                <a:gd name="connsiteX43" fmla="*/ 88355 w 605463"/>
                <a:gd name="connsiteY43" fmla="*/ 516589 h 605463"/>
                <a:gd name="connsiteX44" fmla="*/ 109125 w 605463"/>
                <a:gd name="connsiteY44" fmla="*/ 525181 h 605463"/>
                <a:gd name="connsiteX45" fmla="*/ 129894 w 605463"/>
                <a:gd name="connsiteY45" fmla="*/ 516559 h 605463"/>
                <a:gd name="connsiteX46" fmla="*/ 160854 w 605463"/>
                <a:gd name="connsiteY46" fmla="*/ 485698 h 605463"/>
                <a:gd name="connsiteX47" fmla="*/ 160854 w 605463"/>
                <a:gd name="connsiteY47" fmla="*/ 444061 h 605463"/>
                <a:gd name="connsiteX48" fmla="*/ 119216 w 605463"/>
                <a:gd name="connsiteY48" fmla="*/ 444061 h 605463"/>
                <a:gd name="connsiteX49" fmla="*/ 464858 w 605463"/>
                <a:gd name="connsiteY49" fmla="*/ 169740 h 605463"/>
                <a:gd name="connsiteX50" fmla="*/ 485628 w 605463"/>
                <a:gd name="connsiteY50" fmla="*/ 161217 h 605463"/>
                <a:gd name="connsiteX51" fmla="*/ 516489 w 605463"/>
                <a:gd name="connsiteY51" fmla="*/ 130258 h 605463"/>
                <a:gd name="connsiteX52" fmla="*/ 517959 w 605463"/>
                <a:gd name="connsiteY52" fmla="*/ 88718 h 605463"/>
                <a:gd name="connsiteX53" fmla="*/ 476419 w 605463"/>
                <a:gd name="connsiteY53" fmla="*/ 87248 h 605463"/>
                <a:gd name="connsiteX54" fmla="*/ 474950 w 605463"/>
                <a:gd name="connsiteY54" fmla="*/ 88718 h 605463"/>
                <a:gd name="connsiteX55" fmla="*/ 443990 w 605463"/>
                <a:gd name="connsiteY55" fmla="*/ 119579 h 605463"/>
                <a:gd name="connsiteX56" fmla="*/ 443990 w 605463"/>
                <a:gd name="connsiteY56" fmla="*/ 161148 h 605463"/>
                <a:gd name="connsiteX57" fmla="*/ 464858 w 605463"/>
                <a:gd name="connsiteY57" fmla="*/ 169740 h 60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5463" h="605463">
                  <a:moveTo>
                    <a:pt x="302422" y="-240"/>
                  </a:moveTo>
                  <a:cubicBezTo>
                    <a:pt x="286158" y="-240"/>
                    <a:pt x="273031" y="12917"/>
                    <a:pt x="273031" y="29151"/>
                  </a:cubicBezTo>
                  <a:lnTo>
                    <a:pt x="273031" y="72847"/>
                  </a:lnTo>
                  <a:cubicBezTo>
                    <a:pt x="273031" y="89081"/>
                    <a:pt x="286158" y="102238"/>
                    <a:pt x="302422" y="102238"/>
                  </a:cubicBezTo>
                  <a:cubicBezTo>
                    <a:pt x="318686" y="102238"/>
                    <a:pt x="331813" y="89081"/>
                    <a:pt x="331813" y="72847"/>
                  </a:cubicBezTo>
                  <a:lnTo>
                    <a:pt x="331813" y="29151"/>
                  </a:lnTo>
                  <a:cubicBezTo>
                    <a:pt x="331813" y="12917"/>
                    <a:pt x="318686" y="-240"/>
                    <a:pt x="302422" y="-240"/>
                  </a:cubicBezTo>
                  <a:close/>
                  <a:moveTo>
                    <a:pt x="302422" y="502745"/>
                  </a:moveTo>
                  <a:cubicBezTo>
                    <a:pt x="286158" y="502745"/>
                    <a:pt x="273031" y="515903"/>
                    <a:pt x="273031" y="532137"/>
                  </a:cubicBezTo>
                  <a:lnTo>
                    <a:pt x="273031" y="575832"/>
                  </a:lnTo>
                  <a:cubicBezTo>
                    <a:pt x="273031" y="592066"/>
                    <a:pt x="286158" y="605223"/>
                    <a:pt x="302422" y="605223"/>
                  </a:cubicBezTo>
                  <a:cubicBezTo>
                    <a:pt x="318686" y="605223"/>
                    <a:pt x="331813" y="592066"/>
                    <a:pt x="331813" y="575832"/>
                  </a:cubicBezTo>
                  <a:lnTo>
                    <a:pt x="331813" y="532137"/>
                  </a:lnTo>
                  <a:cubicBezTo>
                    <a:pt x="331813" y="515903"/>
                    <a:pt x="318686" y="502745"/>
                    <a:pt x="302422" y="502745"/>
                  </a:cubicBezTo>
                  <a:close/>
                  <a:moveTo>
                    <a:pt x="102169" y="302492"/>
                  </a:moveTo>
                  <a:cubicBezTo>
                    <a:pt x="102169" y="286258"/>
                    <a:pt x="89040" y="273100"/>
                    <a:pt x="72778" y="273100"/>
                  </a:cubicBezTo>
                  <a:lnTo>
                    <a:pt x="29081" y="273100"/>
                  </a:lnTo>
                  <a:cubicBezTo>
                    <a:pt x="12818" y="273100"/>
                    <a:pt x="-310" y="286258"/>
                    <a:pt x="-310" y="302492"/>
                  </a:cubicBezTo>
                  <a:cubicBezTo>
                    <a:pt x="-310" y="318726"/>
                    <a:pt x="12818" y="331883"/>
                    <a:pt x="29081" y="331883"/>
                  </a:cubicBezTo>
                  <a:lnTo>
                    <a:pt x="72778" y="331883"/>
                  </a:lnTo>
                  <a:cubicBezTo>
                    <a:pt x="89040" y="331883"/>
                    <a:pt x="102169" y="318726"/>
                    <a:pt x="102169" y="302492"/>
                  </a:cubicBezTo>
                  <a:close/>
                  <a:moveTo>
                    <a:pt x="575763" y="273100"/>
                  </a:moveTo>
                  <a:lnTo>
                    <a:pt x="532066" y="273100"/>
                  </a:lnTo>
                  <a:cubicBezTo>
                    <a:pt x="515804" y="273100"/>
                    <a:pt x="502675" y="286258"/>
                    <a:pt x="502675" y="302492"/>
                  </a:cubicBezTo>
                  <a:cubicBezTo>
                    <a:pt x="502675" y="318726"/>
                    <a:pt x="515804" y="331883"/>
                    <a:pt x="532066" y="331883"/>
                  </a:cubicBezTo>
                  <a:lnTo>
                    <a:pt x="575763" y="331883"/>
                  </a:lnTo>
                  <a:cubicBezTo>
                    <a:pt x="592026" y="331883"/>
                    <a:pt x="605154" y="318726"/>
                    <a:pt x="605154" y="302492"/>
                  </a:cubicBezTo>
                  <a:cubicBezTo>
                    <a:pt x="605154" y="286258"/>
                    <a:pt x="592026" y="273100"/>
                    <a:pt x="575763" y="273100"/>
                  </a:cubicBezTo>
                  <a:close/>
                  <a:moveTo>
                    <a:pt x="129894" y="88424"/>
                  </a:moveTo>
                  <a:cubicBezTo>
                    <a:pt x="118824" y="76550"/>
                    <a:pt x="100209" y="75894"/>
                    <a:pt x="88355" y="86955"/>
                  </a:cubicBezTo>
                  <a:cubicBezTo>
                    <a:pt x="76499" y="98025"/>
                    <a:pt x="75814" y="116620"/>
                    <a:pt x="86885" y="128494"/>
                  </a:cubicBezTo>
                  <a:cubicBezTo>
                    <a:pt x="87375" y="129004"/>
                    <a:pt x="87864" y="129494"/>
                    <a:pt x="88355" y="129964"/>
                  </a:cubicBezTo>
                  <a:lnTo>
                    <a:pt x="119216" y="160923"/>
                  </a:lnTo>
                  <a:cubicBezTo>
                    <a:pt x="130678" y="172425"/>
                    <a:pt x="149391" y="172425"/>
                    <a:pt x="160854" y="160923"/>
                  </a:cubicBezTo>
                  <a:cubicBezTo>
                    <a:pt x="172316" y="149421"/>
                    <a:pt x="172316" y="130787"/>
                    <a:pt x="160854" y="119285"/>
                  </a:cubicBezTo>
                  <a:close/>
                  <a:moveTo>
                    <a:pt x="485628" y="444061"/>
                  </a:moveTo>
                  <a:cubicBezTo>
                    <a:pt x="474166" y="432559"/>
                    <a:pt x="455453" y="432559"/>
                    <a:pt x="443990" y="444061"/>
                  </a:cubicBezTo>
                  <a:cubicBezTo>
                    <a:pt x="432528" y="455562"/>
                    <a:pt x="432528" y="474196"/>
                    <a:pt x="443990" y="485698"/>
                  </a:cubicBezTo>
                  <a:lnTo>
                    <a:pt x="474950" y="516559"/>
                  </a:lnTo>
                  <a:cubicBezTo>
                    <a:pt x="486413" y="528022"/>
                    <a:pt x="505027" y="528022"/>
                    <a:pt x="516489" y="516559"/>
                  </a:cubicBezTo>
                  <a:cubicBezTo>
                    <a:pt x="527952" y="505087"/>
                    <a:pt x="527952" y="486492"/>
                    <a:pt x="516489" y="475019"/>
                  </a:cubicBezTo>
                  <a:close/>
                  <a:moveTo>
                    <a:pt x="119216" y="444061"/>
                  </a:moveTo>
                  <a:lnTo>
                    <a:pt x="88355" y="475019"/>
                  </a:lnTo>
                  <a:cubicBezTo>
                    <a:pt x="76892" y="486502"/>
                    <a:pt x="76892" y="505116"/>
                    <a:pt x="88355" y="516589"/>
                  </a:cubicBezTo>
                  <a:cubicBezTo>
                    <a:pt x="93840" y="522085"/>
                    <a:pt x="101384" y="525171"/>
                    <a:pt x="109125" y="525181"/>
                  </a:cubicBezTo>
                  <a:cubicBezTo>
                    <a:pt x="116962" y="525171"/>
                    <a:pt x="124407" y="522075"/>
                    <a:pt x="129894" y="516559"/>
                  </a:cubicBezTo>
                  <a:lnTo>
                    <a:pt x="160854" y="485698"/>
                  </a:lnTo>
                  <a:cubicBezTo>
                    <a:pt x="172316" y="474196"/>
                    <a:pt x="172316" y="455562"/>
                    <a:pt x="160854" y="444061"/>
                  </a:cubicBezTo>
                  <a:cubicBezTo>
                    <a:pt x="149391" y="432559"/>
                    <a:pt x="130678" y="432559"/>
                    <a:pt x="119216" y="444061"/>
                  </a:cubicBezTo>
                  <a:close/>
                  <a:moveTo>
                    <a:pt x="464858" y="169740"/>
                  </a:moveTo>
                  <a:cubicBezTo>
                    <a:pt x="472598" y="169760"/>
                    <a:pt x="480142" y="166694"/>
                    <a:pt x="485628" y="161217"/>
                  </a:cubicBezTo>
                  <a:lnTo>
                    <a:pt x="516489" y="130258"/>
                  </a:lnTo>
                  <a:cubicBezTo>
                    <a:pt x="528345" y="119187"/>
                    <a:pt x="529030" y="100592"/>
                    <a:pt x="517959" y="88718"/>
                  </a:cubicBezTo>
                  <a:cubicBezTo>
                    <a:pt x="506888" y="76844"/>
                    <a:pt x="488273" y="76187"/>
                    <a:pt x="476419" y="87248"/>
                  </a:cubicBezTo>
                  <a:cubicBezTo>
                    <a:pt x="475929" y="87719"/>
                    <a:pt x="475440" y="88208"/>
                    <a:pt x="474950" y="88718"/>
                  </a:cubicBezTo>
                  <a:lnTo>
                    <a:pt x="443990" y="119579"/>
                  </a:lnTo>
                  <a:cubicBezTo>
                    <a:pt x="432528" y="131061"/>
                    <a:pt x="432528" y="149676"/>
                    <a:pt x="443990" y="161148"/>
                  </a:cubicBezTo>
                  <a:cubicBezTo>
                    <a:pt x="449575" y="166664"/>
                    <a:pt x="457021" y="169760"/>
                    <a:pt x="464858" y="1697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5" name="Группа 74">
            <a:extLst>
              <a:ext uri="{FF2B5EF4-FFF2-40B4-BE49-F238E27FC236}">
                <a16:creationId xmlns:a16="http://schemas.microsoft.com/office/drawing/2014/main" id="{7B661A19-13F6-4A15-8484-E822B8E09FD7}"/>
              </a:ext>
            </a:extLst>
          </p:cNvPr>
          <p:cNvGrpSpPr/>
          <p:nvPr userDrawn="1"/>
        </p:nvGrpSpPr>
        <p:grpSpPr>
          <a:xfrm>
            <a:off x="11212236" y="2939167"/>
            <a:ext cx="979764" cy="979714"/>
            <a:chOff x="11212236" y="2939167"/>
            <a:chExt cx="979764" cy="979714"/>
          </a:xfrm>
        </p:grpSpPr>
        <p:sp>
          <p:nvSpPr>
            <p:cNvPr id="76" name="Полилиния: фигура 10">
              <a:extLst>
                <a:ext uri="{FF2B5EF4-FFF2-40B4-BE49-F238E27FC236}">
                  <a16:creationId xmlns:a16="http://schemas.microsoft.com/office/drawing/2014/main" id="{515EC5F0-A401-459E-B485-69A93C1DA1A3}"/>
                </a:ext>
              </a:extLst>
            </p:cNvPr>
            <p:cNvSpPr/>
            <p:nvPr/>
          </p:nvSpPr>
          <p:spPr>
            <a:xfrm rot="10800000">
              <a:off x="11212261" y="2939167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Полилиния: фигура 195">
              <a:extLst>
                <a:ext uri="{FF2B5EF4-FFF2-40B4-BE49-F238E27FC236}">
                  <a16:creationId xmlns:a16="http://schemas.microsoft.com/office/drawing/2014/main" id="{E5F25B68-2EC6-4D56-919C-98E630A6DE9A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Полилиния: фигура 196">
              <a:extLst>
                <a:ext uri="{FF2B5EF4-FFF2-40B4-BE49-F238E27FC236}">
                  <a16:creationId xmlns:a16="http://schemas.microsoft.com/office/drawing/2014/main" id="{E2275AFD-CFE4-422C-BB41-D6CA5299F960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Полилиния: фигура 197">
              <a:extLst>
                <a:ext uri="{FF2B5EF4-FFF2-40B4-BE49-F238E27FC236}">
                  <a16:creationId xmlns:a16="http://schemas.microsoft.com/office/drawing/2014/main" id="{9CE9A69C-C451-490F-9383-BED64E8D0441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0" name="Группа 79">
            <a:extLst>
              <a:ext uri="{FF2B5EF4-FFF2-40B4-BE49-F238E27FC236}">
                <a16:creationId xmlns:a16="http://schemas.microsoft.com/office/drawing/2014/main" id="{AD98B825-AF18-43B1-B0FF-F03309B1070B}"/>
              </a:ext>
            </a:extLst>
          </p:cNvPr>
          <p:cNvGrpSpPr/>
          <p:nvPr userDrawn="1"/>
        </p:nvGrpSpPr>
        <p:grpSpPr>
          <a:xfrm>
            <a:off x="11212261" y="0"/>
            <a:ext cx="979714" cy="979763"/>
            <a:chOff x="11212261" y="0"/>
            <a:chExt cx="979714" cy="979763"/>
          </a:xfrm>
        </p:grpSpPr>
        <p:sp>
          <p:nvSpPr>
            <p:cNvPr id="81" name="Полилиния: фигура 198">
              <a:extLst>
                <a:ext uri="{FF2B5EF4-FFF2-40B4-BE49-F238E27FC236}">
                  <a16:creationId xmlns:a16="http://schemas.microsoft.com/office/drawing/2014/main" id="{ECF8DDA7-F0CB-40E8-A032-F548960EDEC9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Полилиния: фигура 199">
              <a:extLst>
                <a:ext uri="{FF2B5EF4-FFF2-40B4-BE49-F238E27FC236}">
                  <a16:creationId xmlns:a16="http://schemas.microsoft.com/office/drawing/2014/main" id="{4BA92410-FB0B-40AA-95AB-2B4A2B7CC382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Полилиния: фигура 200">
              <a:extLst>
                <a:ext uri="{FF2B5EF4-FFF2-40B4-BE49-F238E27FC236}">
                  <a16:creationId xmlns:a16="http://schemas.microsoft.com/office/drawing/2014/main" id="{733293B6-26B3-485A-90DD-CAFC051C69BA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8" name="Группа 87">
            <a:extLst>
              <a:ext uri="{FF2B5EF4-FFF2-40B4-BE49-F238E27FC236}">
                <a16:creationId xmlns:a16="http://schemas.microsoft.com/office/drawing/2014/main" id="{B50044AD-9A7E-4E1A-8C89-3BAEB2121FDD}"/>
              </a:ext>
            </a:extLst>
          </p:cNvPr>
          <p:cNvGrpSpPr/>
          <p:nvPr userDrawn="1"/>
        </p:nvGrpSpPr>
        <p:grpSpPr>
          <a:xfrm>
            <a:off x="9250947" y="5879124"/>
            <a:ext cx="978876" cy="978876"/>
            <a:chOff x="8516790" y="10745439"/>
            <a:chExt cx="978876" cy="978876"/>
          </a:xfrm>
        </p:grpSpPr>
        <p:sp>
          <p:nvSpPr>
            <p:cNvPr id="89" name="Полилиния: фигура 451">
              <a:extLst>
                <a:ext uri="{FF2B5EF4-FFF2-40B4-BE49-F238E27FC236}">
                  <a16:creationId xmlns:a16="http://schemas.microsoft.com/office/drawing/2014/main" id="{84B44415-C758-40C8-8314-484D15E4CE57}"/>
                </a:ext>
              </a:extLst>
            </p:cNvPr>
            <p:cNvSpPr/>
            <p:nvPr/>
          </p:nvSpPr>
          <p:spPr>
            <a:xfrm>
              <a:off x="8516790" y="10745439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chemeClr val="bg2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Полилиния: фигура 452">
              <a:extLst>
                <a:ext uri="{FF2B5EF4-FFF2-40B4-BE49-F238E27FC236}">
                  <a16:creationId xmlns:a16="http://schemas.microsoft.com/office/drawing/2014/main" id="{BECE4CAB-50FA-4873-9A0C-3C2F4A598A1A}"/>
                </a:ext>
              </a:extLst>
            </p:cNvPr>
            <p:cNvSpPr/>
            <p:nvPr/>
          </p:nvSpPr>
          <p:spPr>
            <a:xfrm>
              <a:off x="9006228" y="10745439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chemeClr val="tx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1" name="Полилиния: фигура 512">
            <a:extLst>
              <a:ext uri="{FF2B5EF4-FFF2-40B4-BE49-F238E27FC236}">
                <a16:creationId xmlns:a16="http://schemas.microsoft.com/office/drawing/2014/main" id="{A0B69E39-F345-4C47-AEE4-2BFA4439EDED}"/>
              </a:ext>
            </a:extLst>
          </p:cNvPr>
          <p:cNvSpPr/>
          <p:nvPr userDrawn="1"/>
        </p:nvSpPr>
        <p:spPr>
          <a:xfrm>
            <a:off x="10478966" y="6123843"/>
            <a:ext cx="489438" cy="489438"/>
          </a:xfrm>
          <a:custGeom>
            <a:avLst/>
            <a:gdLst>
              <a:gd name="connsiteX0" fmla="*/ 489438 w 489438"/>
              <a:gd name="connsiteY0" fmla="*/ 244719 h 489438"/>
              <a:gd name="connsiteX1" fmla="*/ 244719 w 489438"/>
              <a:gd name="connsiteY1" fmla="*/ 489438 h 489438"/>
              <a:gd name="connsiteX2" fmla="*/ 0 w 489438"/>
              <a:gd name="connsiteY2" fmla="*/ 244719 h 489438"/>
              <a:gd name="connsiteX3" fmla="*/ 244719 w 489438"/>
              <a:gd name="connsiteY3" fmla="*/ 0 h 489438"/>
              <a:gd name="connsiteX4" fmla="*/ 489438 w 489438"/>
              <a:gd name="connsiteY4" fmla="*/ 244719 h 48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438" h="489438">
                <a:moveTo>
                  <a:pt x="489438" y="244719"/>
                </a:moveTo>
                <a:cubicBezTo>
                  <a:pt x="489438" y="379874"/>
                  <a:pt x="379874" y="489438"/>
                  <a:pt x="244719" y="489438"/>
                </a:cubicBezTo>
                <a:cubicBezTo>
                  <a:pt x="109564" y="489438"/>
                  <a:pt x="0" y="379874"/>
                  <a:pt x="0" y="244719"/>
                </a:cubicBezTo>
                <a:cubicBezTo>
                  <a:pt x="0" y="109564"/>
                  <a:pt x="109564" y="0"/>
                  <a:pt x="244719" y="0"/>
                </a:cubicBezTo>
                <a:cubicBezTo>
                  <a:pt x="379874" y="0"/>
                  <a:pt x="489438" y="109564"/>
                  <a:pt x="489438" y="244719"/>
                </a:cubicBezTo>
                <a:close/>
              </a:path>
            </a:pathLst>
          </a:custGeom>
          <a:solidFill>
            <a:schemeClr val="bg2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4CA648B9-1CF4-463E-83DC-ECB9DD8B05C4}"/>
              </a:ext>
            </a:extLst>
          </p:cNvPr>
          <p:cNvGrpSpPr/>
          <p:nvPr userDrawn="1"/>
        </p:nvGrpSpPr>
        <p:grpSpPr>
          <a:xfrm>
            <a:off x="10234247" y="4900247"/>
            <a:ext cx="978876" cy="978876"/>
            <a:chOff x="10234247" y="4900247"/>
            <a:chExt cx="978876" cy="978876"/>
          </a:xfrm>
        </p:grpSpPr>
        <p:sp>
          <p:nvSpPr>
            <p:cNvPr id="93" name="Полилиния: фигура 392">
              <a:extLst>
                <a:ext uri="{FF2B5EF4-FFF2-40B4-BE49-F238E27FC236}">
                  <a16:creationId xmlns:a16="http://schemas.microsoft.com/office/drawing/2014/main" id="{4E91BDDC-753A-4F61-8DBB-AD2078D81FAA}"/>
                </a:ext>
              </a:extLst>
            </p:cNvPr>
            <p:cNvSpPr/>
            <p:nvPr/>
          </p:nvSpPr>
          <p:spPr>
            <a:xfrm rot="5400000">
              <a:off x="10234247" y="4900247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Полилиния: фигура 513">
              <a:extLst>
                <a:ext uri="{FF2B5EF4-FFF2-40B4-BE49-F238E27FC236}">
                  <a16:creationId xmlns:a16="http://schemas.microsoft.com/office/drawing/2014/main" id="{F4667004-12FA-40B4-99A3-BA671241D40C}"/>
                </a:ext>
              </a:extLst>
            </p:cNvPr>
            <p:cNvSpPr/>
            <p:nvPr/>
          </p:nvSpPr>
          <p:spPr>
            <a:xfrm>
              <a:off x="10234247" y="4900247"/>
              <a:ext cx="978876" cy="978876"/>
            </a:xfrm>
            <a:custGeom>
              <a:avLst/>
              <a:gdLst>
                <a:gd name="connsiteX0" fmla="*/ 978567 w 978876"/>
                <a:gd name="connsiteY0" fmla="*/ -240 h 978876"/>
                <a:gd name="connsiteX1" fmla="*/ -310 w 978876"/>
                <a:gd name="connsiteY1" fmla="*/ 978637 h 978876"/>
                <a:gd name="connsiteX2" fmla="*/ 978567 w 978876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8876" h="978876">
                  <a:moveTo>
                    <a:pt x="978567" y="-240"/>
                  </a:moveTo>
                  <a:cubicBezTo>
                    <a:pt x="437953" y="-240"/>
                    <a:pt x="-310" y="438022"/>
                    <a:pt x="-310" y="978637"/>
                  </a:cubicBezTo>
                  <a:cubicBezTo>
                    <a:pt x="540304" y="978637"/>
                    <a:pt x="978567" y="540374"/>
                    <a:pt x="978567" y="-240"/>
                  </a:cubicBezTo>
                  <a:close/>
                </a:path>
              </a:pathLst>
            </a:custGeom>
            <a:solidFill>
              <a:schemeClr val="tx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F5132FEB-CFD8-4B0D-8EA5-4F88CE26565D}"/>
              </a:ext>
            </a:extLst>
          </p:cNvPr>
          <p:cNvGrpSpPr/>
          <p:nvPr userDrawn="1"/>
        </p:nvGrpSpPr>
        <p:grpSpPr>
          <a:xfrm>
            <a:off x="11335484" y="5022606"/>
            <a:ext cx="734157" cy="734158"/>
            <a:chOff x="11335484" y="5022606"/>
            <a:chExt cx="734157" cy="734158"/>
          </a:xfrm>
        </p:grpSpPr>
        <p:sp>
          <p:nvSpPr>
            <p:cNvPr id="96" name="Полилиния: фигура 538">
              <a:extLst>
                <a:ext uri="{FF2B5EF4-FFF2-40B4-BE49-F238E27FC236}">
                  <a16:creationId xmlns:a16="http://schemas.microsoft.com/office/drawing/2014/main" id="{CA156623-E264-4E49-A6F2-3C3876E9979C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chemeClr val="bg2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Полилиния: фигура 539">
              <a:extLst>
                <a:ext uri="{FF2B5EF4-FFF2-40B4-BE49-F238E27FC236}">
                  <a16:creationId xmlns:a16="http://schemas.microsoft.com/office/drawing/2014/main" id="{5FDEEBE7-373A-4E22-B5F6-F59C3C459617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chemeClr val="bg2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Полилиния: фигура 540">
              <a:extLst>
                <a:ext uri="{FF2B5EF4-FFF2-40B4-BE49-F238E27FC236}">
                  <a16:creationId xmlns:a16="http://schemas.microsoft.com/office/drawing/2014/main" id="{2B96FC31-EE2E-45C1-9C7B-5782A2805CAC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chemeClr val="tx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Полилиния: фигура 541">
              <a:extLst>
                <a:ext uri="{FF2B5EF4-FFF2-40B4-BE49-F238E27FC236}">
                  <a16:creationId xmlns:a16="http://schemas.microsoft.com/office/drawing/2014/main" id="{A6D5F13D-7EFC-4975-9CF3-4A8FECAD8EDF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chemeClr val="bg2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Полилиния: фигура 542">
              <a:extLst>
                <a:ext uri="{FF2B5EF4-FFF2-40B4-BE49-F238E27FC236}">
                  <a16:creationId xmlns:a16="http://schemas.microsoft.com/office/drawing/2014/main" id="{DD0A8BBE-BAAE-40BD-B297-697ADF52CDFF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chemeClr val="tx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2" name="Полилиния: фигура 387">
            <a:extLst>
              <a:ext uri="{FF2B5EF4-FFF2-40B4-BE49-F238E27FC236}">
                <a16:creationId xmlns:a16="http://schemas.microsoft.com/office/drawing/2014/main" id="{5F070198-501B-4D27-86D7-07D2C786DDE2}"/>
              </a:ext>
            </a:extLst>
          </p:cNvPr>
          <p:cNvSpPr/>
          <p:nvPr userDrawn="1"/>
        </p:nvSpPr>
        <p:spPr>
          <a:xfrm rot="16200000">
            <a:off x="11213124" y="5879124"/>
            <a:ext cx="978876" cy="978876"/>
          </a:xfrm>
          <a:custGeom>
            <a:avLst/>
            <a:gdLst>
              <a:gd name="connsiteX0" fmla="*/ -310 w 978876"/>
              <a:gd name="connsiteY0" fmla="*/ -240 h 978876"/>
              <a:gd name="connsiteX1" fmla="*/ 978567 w 978876"/>
              <a:gd name="connsiteY1" fmla="*/ -240 h 978876"/>
              <a:gd name="connsiteX2" fmla="*/ 978567 w 978876"/>
              <a:gd name="connsiteY2" fmla="*/ 978637 h 978876"/>
              <a:gd name="connsiteX3" fmla="*/ -310 w 978876"/>
              <a:gd name="connsiteY3" fmla="*/ 978637 h 97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8876" h="978876">
                <a:moveTo>
                  <a:pt x="-310" y="-240"/>
                </a:moveTo>
                <a:lnTo>
                  <a:pt x="978567" y="-240"/>
                </a:lnTo>
                <a:lnTo>
                  <a:pt x="978567" y="978637"/>
                </a:lnTo>
                <a:lnTo>
                  <a:pt x="-310" y="978637"/>
                </a:lnTo>
                <a:close/>
              </a:path>
            </a:pathLst>
          </a:custGeom>
          <a:solidFill>
            <a:schemeClr val="tx1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629866EB-766B-457B-A7A6-E79F9AD483F7}"/>
              </a:ext>
            </a:extLst>
          </p:cNvPr>
          <p:cNvGrpSpPr/>
          <p:nvPr userDrawn="1"/>
        </p:nvGrpSpPr>
        <p:grpSpPr>
          <a:xfrm>
            <a:off x="10236190" y="3927436"/>
            <a:ext cx="979715" cy="979714"/>
            <a:chOff x="0" y="5878310"/>
            <a:chExt cx="979715" cy="979714"/>
          </a:xfrm>
          <a:solidFill>
            <a:schemeClr val="tx1"/>
          </a:solidFill>
        </p:grpSpPr>
        <p:sp>
          <p:nvSpPr>
            <p:cNvPr id="111" name="Полилиния: фигура 16">
              <a:extLst>
                <a:ext uri="{FF2B5EF4-FFF2-40B4-BE49-F238E27FC236}">
                  <a16:creationId xmlns:a16="http://schemas.microsoft.com/office/drawing/2014/main" id="{A5E086CD-5F07-4AA6-8933-AC6A9CD2E999}"/>
                </a:ext>
              </a:extLst>
            </p:cNvPr>
            <p:cNvSpPr/>
            <p:nvPr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Полилиния: фигура 139">
              <a:extLst>
                <a:ext uri="{FF2B5EF4-FFF2-40B4-BE49-F238E27FC236}">
                  <a16:creationId xmlns:a16="http://schemas.microsoft.com/office/drawing/2014/main" id="{034DBDB6-12C3-4594-AF73-07D36538C92E}"/>
                </a:ext>
              </a:extLst>
            </p:cNvPr>
            <p:cNvSpPr/>
            <p:nvPr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Полилиния: фигура 140">
              <a:extLst>
                <a:ext uri="{FF2B5EF4-FFF2-40B4-BE49-F238E27FC236}">
                  <a16:creationId xmlns:a16="http://schemas.microsoft.com/office/drawing/2014/main" id="{040F9763-04B6-4CC6-A0F6-17B1B102C5F1}"/>
                </a:ext>
              </a:extLst>
            </p:cNvPr>
            <p:cNvSpPr/>
            <p:nvPr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Полилиния: фигура 141">
              <a:extLst>
                <a:ext uri="{FF2B5EF4-FFF2-40B4-BE49-F238E27FC236}">
                  <a16:creationId xmlns:a16="http://schemas.microsoft.com/office/drawing/2014/main" id="{9CD9A099-4583-4857-BA2A-19DCBAEF0A08}"/>
                </a:ext>
              </a:extLst>
            </p:cNvPr>
            <p:cNvSpPr/>
            <p:nvPr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Полилиния: фигура 142">
              <a:extLst>
                <a:ext uri="{FF2B5EF4-FFF2-40B4-BE49-F238E27FC236}">
                  <a16:creationId xmlns:a16="http://schemas.microsoft.com/office/drawing/2014/main" id="{8E76BC78-C554-4DCB-A452-B470C9BE0D3F}"/>
                </a:ext>
              </a:extLst>
            </p:cNvPr>
            <p:cNvSpPr/>
            <p:nvPr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6" name="Группа 115">
            <a:extLst>
              <a:ext uri="{FF2B5EF4-FFF2-40B4-BE49-F238E27FC236}">
                <a16:creationId xmlns:a16="http://schemas.microsoft.com/office/drawing/2014/main" id="{54E18161-5270-4656-9BE0-C7E84AAF80B4}"/>
              </a:ext>
            </a:extLst>
          </p:cNvPr>
          <p:cNvGrpSpPr/>
          <p:nvPr userDrawn="1"/>
        </p:nvGrpSpPr>
        <p:grpSpPr>
          <a:xfrm>
            <a:off x="9171057" y="3918810"/>
            <a:ext cx="979763" cy="979714"/>
            <a:chOff x="3918832" y="5877824"/>
            <a:chExt cx="979763" cy="979714"/>
          </a:xfrm>
        </p:grpSpPr>
        <p:sp>
          <p:nvSpPr>
            <p:cNvPr id="117" name="Полилиния: фигура 184">
              <a:extLst>
                <a:ext uri="{FF2B5EF4-FFF2-40B4-BE49-F238E27FC236}">
                  <a16:creationId xmlns:a16="http://schemas.microsoft.com/office/drawing/2014/main" id="{DB9FCC3E-2838-4EFC-BB69-BE9E6132D3F8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chemeClr val="tx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Полилиния: фигура 185">
              <a:extLst>
                <a:ext uri="{FF2B5EF4-FFF2-40B4-BE49-F238E27FC236}">
                  <a16:creationId xmlns:a16="http://schemas.microsoft.com/office/drawing/2014/main" id="{7E069E49-BBB6-436A-A4BE-D24ED60BAEFD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Полилиния: фигура 186">
              <a:extLst>
                <a:ext uri="{FF2B5EF4-FFF2-40B4-BE49-F238E27FC236}">
                  <a16:creationId xmlns:a16="http://schemas.microsoft.com/office/drawing/2014/main" id="{35D2F51D-CB1C-4CF9-AD57-15ED227D7D67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chemeClr val="bg2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8" name="Группа 127">
            <a:extLst>
              <a:ext uri="{FF2B5EF4-FFF2-40B4-BE49-F238E27FC236}">
                <a16:creationId xmlns:a16="http://schemas.microsoft.com/office/drawing/2014/main" id="{EE632E81-45DB-44E4-9159-DEAFE77E3A66}"/>
              </a:ext>
            </a:extLst>
          </p:cNvPr>
          <p:cNvGrpSpPr/>
          <p:nvPr userDrawn="1"/>
        </p:nvGrpSpPr>
        <p:grpSpPr>
          <a:xfrm>
            <a:off x="9445244" y="5082193"/>
            <a:ext cx="605463" cy="605463"/>
            <a:chOff x="5094572" y="6068734"/>
            <a:chExt cx="605463" cy="605463"/>
          </a:xfrm>
          <a:solidFill>
            <a:schemeClr val="bg2"/>
          </a:solidFill>
        </p:grpSpPr>
        <p:sp>
          <p:nvSpPr>
            <p:cNvPr id="129" name="Полилиния: фигура 692">
              <a:extLst>
                <a:ext uri="{FF2B5EF4-FFF2-40B4-BE49-F238E27FC236}">
                  <a16:creationId xmlns:a16="http://schemas.microsoft.com/office/drawing/2014/main" id="{9E5C8D50-49FC-4CFD-8A18-7D589F38C0CE}"/>
                </a:ext>
              </a:extLst>
            </p:cNvPr>
            <p:cNvSpPr/>
            <p:nvPr/>
          </p:nvSpPr>
          <p:spPr>
            <a:xfrm>
              <a:off x="5226343" y="6200506"/>
              <a:ext cx="341920" cy="341920"/>
            </a:xfrm>
            <a:custGeom>
              <a:avLst/>
              <a:gdLst>
                <a:gd name="connsiteX0" fmla="*/ 341920 w 341920"/>
                <a:gd name="connsiteY0" fmla="*/ 170960 h 341920"/>
                <a:gd name="connsiteX1" fmla="*/ 170960 w 341920"/>
                <a:gd name="connsiteY1" fmla="*/ 341920 h 341920"/>
                <a:gd name="connsiteX2" fmla="*/ 0 w 341920"/>
                <a:gd name="connsiteY2" fmla="*/ 170960 h 341920"/>
                <a:gd name="connsiteX3" fmla="*/ 170960 w 341920"/>
                <a:gd name="connsiteY3" fmla="*/ 0 h 341920"/>
                <a:gd name="connsiteX4" fmla="*/ 341920 w 341920"/>
                <a:gd name="connsiteY4" fmla="*/ 170960 h 34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1920" h="341920">
                  <a:moveTo>
                    <a:pt x="341920" y="170960"/>
                  </a:moveTo>
                  <a:cubicBezTo>
                    <a:pt x="341920" y="265379"/>
                    <a:pt x="265379" y="341920"/>
                    <a:pt x="170960" y="341920"/>
                  </a:cubicBezTo>
                  <a:cubicBezTo>
                    <a:pt x="76542" y="341920"/>
                    <a:pt x="0" y="265379"/>
                    <a:pt x="0" y="170960"/>
                  </a:cubicBezTo>
                  <a:cubicBezTo>
                    <a:pt x="0" y="76541"/>
                    <a:pt x="76542" y="0"/>
                    <a:pt x="170960" y="0"/>
                  </a:cubicBezTo>
                  <a:cubicBezTo>
                    <a:pt x="265379" y="0"/>
                    <a:pt x="341920" y="76541"/>
                    <a:pt x="341920" y="170960"/>
                  </a:cubicBezTo>
                  <a:close/>
                </a:path>
              </a:pathLst>
            </a:custGeom>
            <a:grpFill/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Полилиния: фигура 693">
              <a:extLst>
                <a:ext uri="{FF2B5EF4-FFF2-40B4-BE49-F238E27FC236}">
                  <a16:creationId xmlns:a16="http://schemas.microsoft.com/office/drawing/2014/main" id="{BBD285D6-79A9-4D1B-9429-B79004A47704}"/>
                </a:ext>
              </a:extLst>
            </p:cNvPr>
            <p:cNvSpPr/>
            <p:nvPr/>
          </p:nvSpPr>
          <p:spPr>
            <a:xfrm>
              <a:off x="5094572" y="6068734"/>
              <a:ext cx="605463" cy="605463"/>
            </a:xfrm>
            <a:custGeom>
              <a:avLst/>
              <a:gdLst>
                <a:gd name="connsiteX0" fmla="*/ 299524 w 605463"/>
                <a:gd name="connsiteY0" fmla="*/ -240 h 605463"/>
                <a:gd name="connsiteX1" fmla="*/ 270132 w 605463"/>
                <a:gd name="connsiteY1" fmla="*/ 29151 h 605463"/>
                <a:gd name="connsiteX2" fmla="*/ 270132 w 605463"/>
                <a:gd name="connsiteY2" fmla="*/ 72847 h 605463"/>
                <a:gd name="connsiteX3" fmla="*/ 299524 w 605463"/>
                <a:gd name="connsiteY3" fmla="*/ 102238 h 605463"/>
                <a:gd name="connsiteX4" fmla="*/ 328915 w 605463"/>
                <a:gd name="connsiteY4" fmla="*/ 72847 h 605463"/>
                <a:gd name="connsiteX5" fmla="*/ 328915 w 605463"/>
                <a:gd name="connsiteY5" fmla="*/ 29151 h 605463"/>
                <a:gd name="connsiteX6" fmla="*/ 299524 w 605463"/>
                <a:gd name="connsiteY6" fmla="*/ -240 h 605463"/>
                <a:gd name="connsiteX7" fmla="*/ 299524 w 605463"/>
                <a:gd name="connsiteY7" fmla="*/ 502745 h 605463"/>
                <a:gd name="connsiteX8" fmla="*/ 270132 w 605463"/>
                <a:gd name="connsiteY8" fmla="*/ 532137 h 605463"/>
                <a:gd name="connsiteX9" fmla="*/ 270132 w 605463"/>
                <a:gd name="connsiteY9" fmla="*/ 575832 h 605463"/>
                <a:gd name="connsiteX10" fmla="*/ 299524 w 605463"/>
                <a:gd name="connsiteY10" fmla="*/ 605223 h 605463"/>
                <a:gd name="connsiteX11" fmla="*/ 328915 w 605463"/>
                <a:gd name="connsiteY11" fmla="*/ 575832 h 605463"/>
                <a:gd name="connsiteX12" fmla="*/ 328915 w 605463"/>
                <a:gd name="connsiteY12" fmla="*/ 532137 h 605463"/>
                <a:gd name="connsiteX13" fmla="*/ 299524 w 605463"/>
                <a:gd name="connsiteY13" fmla="*/ 502745 h 605463"/>
                <a:gd name="connsiteX14" fmla="*/ 99271 w 605463"/>
                <a:gd name="connsiteY14" fmla="*/ 302492 h 605463"/>
                <a:gd name="connsiteX15" fmla="*/ 69879 w 605463"/>
                <a:gd name="connsiteY15" fmla="*/ 273100 h 605463"/>
                <a:gd name="connsiteX16" fmla="*/ 26184 w 605463"/>
                <a:gd name="connsiteY16" fmla="*/ 273100 h 605463"/>
                <a:gd name="connsiteX17" fmla="*/ -3207 w 605463"/>
                <a:gd name="connsiteY17" fmla="*/ 302492 h 605463"/>
                <a:gd name="connsiteX18" fmla="*/ 26184 w 605463"/>
                <a:gd name="connsiteY18" fmla="*/ 331883 h 605463"/>
                <a:gd name="connsiteX19" fmla="*/ 69879 w 605463"/>
                <a:gd name="connsiteY19" fmla="*/ 331883 h 605463"/>
                <a:gd name="connsiteX20" fmla="*/ 99271 w 605463"/>
                <a:gd name="connsiteY20" fmla="*/ 302492 h 605463"/>
                <a:gd name="connsiteX21" fmla="*/ 572865 w 605463"/>
                <a:gd name="connsiteY21" fmla="*/ 273100 h 605463"/>
                <a:gd name="connsiteX22" fmla="*/ 529168 w 605463"/>
                <a:gd name="connsiteY22" fmla="*/ 273100 h 605463"/>
                <a:gd name="connsiteX23" fmla="*/ 499777 w 605463"/>
                <a:gd name="connsiteY23" fmla="*/ 302492 h 605463"/>
                <a:gd name="connsiteX24" fmla="*/ 529168 w 605463"/>
                <a:gd name="connsiteY24" fmla="*/ 331883 h 605463"/>
                <a:gd name="connsiteX25" fmla="*/ 572865 w 605463"/>
                <a:gd name="connsiteY25" fmla="*/ 331883 h 605463"/>
                <a:gd name="connsiteX26" fmla="*/ 602257 w 605463"/>
                <a:gd name="connsiteY26" fmla="*/ 302492 h 605463"/>
                <a:gd name="connsiteX27" fmla="*/ 572865 w 605463"/>
                <a:gd name="connsiteY27" fmla="*/ 273100 h 605463"/>
                <a:gd name="connsiteX28" fmla="*/ 126997 w 605463"/>
                <a:gd name="connsiteY28" fmla="*/ 88424 h 605463"/>
                <a:gd name="connsiteX29" fmla="*/ 85457 w 605463"/>
                <a:gd name="connsiteY29" fmla="*/ 86955 h 605463"/>
                <a:gd name="connsiteX30" fmla="*/ 83986 w 605463"/>
                <a:gd name="connsiteY30" fmla="*/ 128494 h 605463"/>
                <a:gd name="connsiteX31" fmla="*/ 85457 w 605463"/>
                <a:gd name="connsiteY31" fmla="*/ 129964 h 605463"/>
                <a:gd name="connsiteX32" fmla="*/ 116317 w 605463"/>
                <a:gd name="connsiteY32" fmla="*/ 160923 h 605463"/>
                <a:gd name="connsiteX33" fmla="*/ 157955 w 605463"/>
                <a:gd name="connsiteY33" fmla="*/ 160923 h 605463"/>
                <a:gd name="connsiteX34" fmla="*/ 157955 w 605463"/>
                <a:gd name="connsiteY34" fmla="*/ 119285 h 605463"/>
                <a:gd name="connsiteX35" fmla="*/ 482730 w 605463"/>
                <a:gd name="connsiteY35" fmla="*/ 444061 h 605463"/>
                <a:gd name="connsiteX36" fmla="*/ 441092 w 605463"/>
                <a:gd name="connsiteY36" fmla="*/ 444061 h 605463"/>
                <a:gd name="connsiteX37" fmla="*/ 441092 w 605463"/>
                <a:gd name="connsiteY37" fmla="*/ 485698 h 605463"/>
                <a:gd name="connsiteX38" fmla="*/ 472052 w 605463"/>
                <a:gd name="connsiteY38" fmla="*/ 516559 h 605463"/>
                <a:gd name="connsiteX39" fmla="*/ 513592 w 605463"/>
                <a:gd name="connsiteY39" fmla="*/ 516559 h 605463"/>
                <a:gd name="connsiteX40" fmla="*/ 513592 w 605463"/>
                <a:gd name="connsiteY40" fmla="*/ 475019 h 605463"/>
                <a:gd name="connsiteX41" fmla="*/ 116317 w 605463"/>
                <a:gd name="connsiteY41" fmla="*/ 444061 h 605463"/>
                <a:gd name="connsiteX42" fmla="*/ 85457 w 605463"/>
                <a:gd name="connsiteY42" fmla="*/ 475019 h 605463"/>
                <a:gd name="connsiteX43" fmla="*/ 85457 w 605463"/>
                <a:gd name="connsiteY43" fmla="*/ 516589 h 605463"/>
                <a:gd name="connsiteX44" fmla="*/ 106226 w 605463"/>
                <a:gd name="connsiteY44" fmla="*/ 525181 h 605463"/>
                <a:gd name="connsiteX45" fmla="*/ 126997 w 605463"/>
                <a:gd name="connsiteY45" fmla="*/ 516559 h 605463"/>
                <a:gd name="connsiteX46" fmla="*/ 157955 w 605463"/>
                <a:gd name="connsiteY46" fmla="*/ 485698 h 605463"/>
                <a:gd name="connsiteX47" fmla="*/ 157955 w 605463"/>
                <a:gd name="connsiteY47" fmla="*/ 444061 h 605463"/>
                <a:gd name="connsiteX48" fmla="*/ 116317 w 605463"/>
                <a:gd name="connsiteY48" fmla="*/ 444061 h 605463"/>
                <a:gd name="connsiteX49" fmla="*/ 461961 w 605463"/>
                <a:gd name="connsiteY49" fmla="*/ 169740 h 605463"/>
                <a:gd name="connsiteX50" fmla="*/ 482730 w 605463"/>
                <a:gd name="connsiteY50" fmla="*/ 161217 h 605463"/>
                <a:gd name="connsiteX51" fmla="*/ 513592 w 605463"/>
                <a:gd name="connsiteY51" fmla="*/ 130258 h 605463"/>
                <a:gd name="connsiteX52" fmla="*/ 512121 w 605463"/>
                <a:gd name="connsiteY52" fmla="*/ 88718 h 605463"/>
                <a:gd name="connsiteX53" fmla="*/ 472052 w 605463"/>
                <a:gd name="connsiteY53" fmla="*/ 88718 h 605463"/>
                <a:gd name="connsiteX54" fmla="*/ 441092 w 605463"/>
                <a:gd name="connsiteY54" fmla="*/ 119579 h 605463"/>
                <a:gd name="connsiteX55" fmla="*/ 441092 w 605463"/>
                <a:gd name="connsiteY55" fmla="*/ 161148 h 605463"/>
                <a:gd name="connsiteX56" fmla="*/ 461961 w 605463"/>
                <a:gd name="connsiteY56" fmla="*/ 169740 h 60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605463" h="605463">
                  <a:moveTo>
                    <a:pt x="299524" y="-240"/>
                  </a:moveTo>
                  <a:cubicBezTo>
                    <a:pt x="283261" y="-240"/>
                    <a:pt x="270132" y="12917"/>
                    <a:pt x="270132" y="29151"/>
                  </a:cubicBezTo>
                  <a:lnTo>
                    <a:pt x="270132" y="72847"/>
                  </a:lnTo>
                  <a:cubicBezTo>
                    <a:pt x="270132" y="89081"/>
                    <a:pt x="283261" y="102238"/>
                    <a:pt x="299524" y="102238"/>
                  </a:cubicBezTo>
                  <a:cubicBezTo>
                    <a:pt x="315786" y="102238"/>
                    <a:pt x="328915" y="89081"/>
                    <a:pt x="328915" y="72847"/>
                  </a:cubicBezTo>
                  <a:lnTo>
                    <a:pt x="328915" y="29151"/>
                  </a:lnTo>
                  <a:cubicBezTo>
                    <a:pt x="328915" y="12917"/>
                    <a:pt x="315786" y="-240"/>
                    <a:pt x="299524" y="-240"/>
                  </a:cubicBezTo>
                  <a:close/>
                  <a:moveTo>
                    <a:pt x="299524" y="502745"/>
                  </a:moveTo>
                  <a:cubicBezTo>
                    <a:pt x="283261" y="502745"/>
                    <a:pt x="270132" y="515903"/>
                    <a:pt x="270132" y="532137"/>
                  </a:cubicBezTo>
                  <a:lnTo>
                    <a:pt x="270132" y="575832"/>
                  </a:lnTo>
                  <a:cubicBezTo>
                    <a:pt x="270132" y="592066"/>
                    <a:pt x="283261" y="605223"/>
                    <a:pt x="299524" y="605223"/>
                  </a:cubicBezTo>
                  <a:cubicBezTo>
                    <a:pt x="315786" y="605223"/>
                    <a:pt x="328915" y="592066"/>
                    <a:pt x="328915" y="575832"/>
                  </a:cubicBezTo>
                  <a:lnTo>
                    <a:pt x="328915" y="532137"/>
                  </a:lnTo>
                  <a:cubicBezTo>
                    <a:pt x="328915" y="515903"/>
                    <a:pt x="315786" y="502745"/>
                    <a:pt x="299524" y="502745"/>
                  </a:cubicBezTo>
                  <a:close/>
                  <a:moveTo>
                    <a:pt x="99271" y="302492"/>
                  </a:moveTo>
                  <a:cubicBezTo>
                    <a:pt x="99271" y="286258"/>
                    <a:pt x="86141" y="273100"/>
                    <a:pt x="69879" y="273100"/>
                  </a:cubicBezTo>
                  <a:lnTo>
                    <a:pt x="26184" y="273100"/>
                  </a:lnTo>
                  <a:cubicBezTo>
                    <a:pt x="9919" y="273100"/>
                    <a:pt x="-3207" y="286258"/>
                    <a:pt x="-3207" y="302492"/>
                  </a:cubicBezTo>
                  <a:cubicBezTo>
                    <a:pt x="-3207" y="318726"/>
                    <a:pt x="9919" y="331883"/>
                    <a:pt x="26184" y="331883"/>
                  </a:cubicBezTo>
                  <a:lnTo>
                    <a:pt x="69879" y="331883"/>
                  </a:lnTo>
                  <a:cubicBezTo>
                    <a:pt x="86141" y="331883"/>
                    <a:pt x="99271" y="318726"/>
                    <a:pt x="99271" y="302492"/>
                  </a:cubicBezTo>
                  <a:close/>
                  <a:moveTo>
                    <a:pt x="572865" y="273100"/>
                  </a:moveTo>
                  <a:lnTo>
                    <a:pt x="529168" y="273100"/>
                  </a:lnTo>
                  <a:cubicBezTo>
                    <a:pt x="512906" y="273100"/>
                    <a:pt x="499777" y="286258"/>
                    <a:pt x="499777" y="302492"/>
                  </a:cubicBezTo>
                  <a:cubicBezTo>
                    <a:pt x="499777" y="318726"/>
                    <a:pt x="512906" y="331883"/>
                    <a:pt x="529168" y="331883"/>
                  </a:cubicBezTo>
                  <a:lnTo>
                    <a:pt x="572865" y="331883"/>
                  </a:lnTo>
                  <a:cubicBezTo>
                    <a:pt x="589128" y="331883"/>
                    <a:pt x="602257" y="318726"/>
                    <a:pt x="602257" y="302492"/>
                  </a:cubicBezTo>
                  <a:cubicBezTo>
                    <a:pt x="602257" y="286258"/>
                    <a:pt x="589128" y="273100"/>
                    <a:pt x="572865" y="273100"/>
                  </a:cubicBezTo>
                  <a:close/>
                  <a:moveTo>
                    <a:pt x="126997" y="88424"/>
                  </a:moveTo>
                  <a:cubicBezTo>
                    <a:pt x="115925" y="76550"/>
                    <a:pt x="97312" y="75894"/>
                    <a:pt x="85457" y="86955"/>
                  </a:cubicBezTo>
                  <a:cubicBezTo>
                    <a:pt x="73601" y="98025"/>
                    <a:pt x="72917" y="116620"/>
                    <a:pt x="83986" y="128494"/>
                  </a:cubicBezTo>
                  <a:cubicBezTo>
                    <a:pt x="84477" y="129004"/>
                    <a:pt x="84967" y="129494"/>
                    <a:pt x="85457" y="129964"/>
                  </a:cubicBezTo>
                  <a:lnTo>
                    <a:pt x="116317" y="160923"/>
                  </a:lnTo>
                  <a:cubicBezTo>
                    <a:pt x="127779" y="172425"/>
                    <a:pt x="146493" y="172425"/>
                    <a:pt x="157955" y="160923"/>
                  </a:cubicBezTo>
                  <a:cubicBezTo>
                    <a:pt x="169417" y="149421"/>
                    <a:pt x="169417" y="130787"/>
                    <a:pt x="157955" y="119285"/>
                  </a:cubicBezTo>
                  <a:close/>
                  <a:moveTo>
                    <a:pt x="482730" y="444061"/>
                  </a:moveTo>
                  <a:cubicBezTo>
                    <a:pt x="471268" y="432559"/>
                    <a:pt x="452556" y="432559"/>
                    <a:pt x="441092" y="444061"/>
                  </a:cubicBezTo>
                  <a:cubicBezTo>
                    <a:pt x="429630" y="455562"/>
                    <a:pt x="429630" y="474196"/>
                    <a:pt x="441092" y="485698"/>
                  </a:cubicBezTo>
                  <a:lnTo>
                    <a:pt x="472052" y="516559"/>
                  </a:lnTo>
                  <a:cubicBezTo>
                    <a:pt x="483514" y="528022"/>
                    <a:pt x="502128" y="528022"/>
                    <a:pt x="513592" y="516559"/>
                  </a:cubicBezTo>
                  <a:cubicBezTo>
                    <a:pt x="525054" y="505087"/>
                    <a:pt x="525054" y="486492"/>
                    <a:pt x="513592" y="475019"/>
                  </a:cubicBezTo>
                  <a:close/>
                  <a:moveTo>
                    <a:pt x="116317" y="444061"/>
                  </a:moveTo>
                  <a:lnTo>
                    <a:pt x="85457" y="475019"/>
                  </a:lnTo>
                  <a:cubicBezTo>
                    <a:pt x="73993" y="486502"/>
                    <a:pt x="73993" y="505116"/>
                    <a:pt x="85457" y="516589"/>
                  </a:cubicBezTo>
                  <a:cubicBezTo>
                    <a:pt x="90942" y="522085"/>
                    <a:pt x="98486" y="525171"/>
                    <a:pt x="106226" y="525181"/>
                  </a:cubicBezTo>
                  <a:cubicBezTo>
                    <a:pt x="114064" y="525171"/>
                    <a:pt x="121510" y="522075"/>
                    <a:pt x="126997" y="516559"/>
                  </a:cubicBezTo>
                  <a:lnTo>
                    <a:pt x="157955" y="485698"/>
                  </a:lnTo>
                  <a:cubicBezTo>
                    <a:pt x="169417" y="474196"/>
                    <a:pt x="169417" y="455562"/>
                    <a:pt x="157955" y="444061"/>
                  </a:cubicBezTo>
                  <a:cubicBezTo>
                    <a:pt x="146493" y="432559"/>
                    <a:pt x="127779" y="432559"/>
                    <a:pt x="116317" y="444061"/>
                  </a:cubicBezTo>
                  <a:close/>
                  <a:moveTo>
                    <a:pt x="461961" y="169740"/>
                  </a:moveTo>
                  <a:cubicBezTo>
                    <a:pt x="469701" y="169760"/>
                    <a:pt x="477245" y="166694"/>
                    <a:pt x="482730" y="161217"/>
                  </a:cubicBezTo>
                  <a:lnTo>
                    <a:pt x="513592" y="130258"/>
                  </a:lnTo>
                  <a:cubicBezTo>
                    <a:pt x="524662" y="118384"/>
                    <a:pt x="523975" y="99789"/>
                    <a:pt x="512121" y="88718"/>
                  </a:cubicBezTo>
                  <a:cubicBezTo>
                    <a:pt x="500855" y="78196"/>
                    <a:pt x="483318" y="78196"/>
                    <a:pt x="472052" y="88718"/>
                  </a:cubicBezTo>
                  <a:lnTo>
                    <a:pt x="441092" y="119579"/>
                  </a:lnTo>
                  <a:cubicBezTo>
                    <a:pt x="429630" y="131061"/>
                    <a:pt x="429630" y="149676"/>
                    <a:pt x="441092" y="161148"/>
                  </a:cubicBezTo>
                  <a:cubicBezTo>
                    <a:pt x="446677" y="166664"/>
                    <a:pt x="454123" y="169760"/>
                    <a:pt x="461961" y="169740"/>
                  </a:cubicBezTo>
                  <a:close/>
                </a:path>
              </a:pathLst>
            </a:custGeom>
            <a:grpFill/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8" name="Полилиния: фигура 65">
            <a:extLst>
              <a:ext uri="{FF2B5EF4-FFF2-40B4-BE49-F238E27FC236}">
                <a16:creationId xmlns:a16="http://schemas.microsoft.com/office/drawing/2014/main" id="{F1946BA5-9A24-48D6-9405-492A4DB9E79B}"/>
              </a:ext>
            </a:extLst>
          </p:cNvPr>
          <p:cNvSpPr/>
          <p:nvPr userDrawn="1"/>
        </p:nvSpPr>
        <p:spPr>
          <a:xfrm>
            <a:off x="9133866" y="2152134"/>
            <a:ext cx="1006717" cy="1006717"/>
          </a:xfrm>
          <a:custGeom>
            <a:avLst/>
            <a:gdLst>
              <a:gd name="connsiteX0" fmla="*/ 244619 w 489857"/>
              <a:gd name="connsiteY0" fmla="*/ -240 h 489857"/>
              <a:gd name="connsiteX1" fmla="*/ -310 w 489857"/>
              <a:gd name="connsiteY1" fmla="*/ 244689 h 489857"/>
              <a:gd name="connsiteX2" fmla="*/ 244619 w 489857"/>
              <a:gd name="connsiteY2" fmla="*/ 489617 h 489857"/>
              <a:gd name="connsiteX3" fmla="*/ 489547 w 489857"/>
              <a:gd name="connsiteY3" fmla="*/ 244689 h 489857"/>
              <a:gd name="connsiteX4" fmla="*/ 244619 w 489857"/>
              <a:gd name="connsiteY4" fmla="*/ -240 h 489857"/>
              <a:gd name="connsiteX5" fmla="*/ 244619 w 489857"/>
              <a:gd name="connsiteY5" fmla="*/ 367153 h 489857"/>
              <a:gd name="connsiteX6" fmla="*/ 122154 w 489857"/>
              <a:gd name="connsiteY6" fmla="*/ 244689 h 489857"/>
              <a:gd name="connsiteX7" fmla="*/ 244619 w 489857"/>
              <a:gd name="connsiteY7" fmla="*/ 122224 h 489857"/>
              <a:gd name="connsiteX8" fmla="*/ 367083 w 489857"/>
              <a:gd name="connsiteY8" fmla="*/ 244689 h 489857"/>
              <a:gd name="connsiteX9" fmla="*/ 244619 w 489857"/>
              <a:gd name="connsiteY9" fmla="*/ 367153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9857" h="489857">
                <a:moveTo>
                  <a:pt x="244619" y="-240"/>
                </a:moveTo>
                <a:cubicBezTo>
                  <a:pt x="109319" y="-240"/>
                  <a:pt x="-310" y="109419"/>
                  <a:pt x="-310" y="244689"/>
                </a:cubicBezTo>
                <a:cubicBezTo>
                  <a:pt x="-310" y="379958"/>
                  <a:pt x="109319" y="489617"/>
                  <a:pt x="244619" y="489617"/>
                </a:cubicBezTo>
                <a:cubicBezTo>
                  <a:pt x="379918" y="489617"/>
                  <a:pt x="489547" y="379958"/>
                  <a:pt x="489547" y="244689"/>
                </a:cubicBezTo>
                <a:cubicBezTo>
                  <a:pt x="489547" y="109419"/>
                  <a:pt x="379918" y="-240"/>
                  <a:pt x="244619" y="-240"/>
                </a:cubicBezTo>
                <a:close/>
                <a:moveTo>
                  <a:pt x="244619" y="367153"/>
                </a:moveTo>
                <a:cubicBezTo>
                  <a:pt x="177018" y="367153"/>
                  <a:pt x="122154" y="312328"/>
                  <a:pt x="122154" y="244689"/>
                </a:cubicBezTo>
                <a:cubicBezTo>
                  <a:pt x="122154" y="177049"/>
                  <a:pt x="177018" y="122224"/>
                  <a:pt x="244619" y="122224"/>
                </a:cubicBezTo>
                <a:cubicBezTo>
                  <a:pt x="312219" y="122224"/>
                  <a:pt x="367083" y="177049"/>
                  <a:pt x="367083" y="244689"/>
                </a:cubicBezTo>
                <a:cubicBezTo>
                  <a:pt x="367083" y="312328"/>
                  <a:pt x="312219" y="367153"/>
                  <a:pt x="244619" y="367153"/>
                </a:cubicBezTo>
                <a:close/>
              </a:path>
            </a:pathLst>
          </a:custGeom>
          <a:solidFill>
            <a:schemeClr val="tx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8" name="Полилиния: фигура 102">
            <a:extLst>
              <a:ext uri="{FF2B5EF4-FFF2-40B4-BE49-F238E27FC236}">
                <a16:creationId xmlns:a16="http://schemas.microsoft.com/office/drawing/2014/main" id="{C50ED4C5-82FE-427E-87BE-1FC56AE9674C}"/>
              </a:ext>
            </a:extLst>
          </p:cNvPr>
          <p:cNvSpPr/>
          <p:nvPr userDrawn="1"/>
        </p:nvSpPr>
        <p:spPr>
          <a:xfrm>
            <a:off x="9015592" y="3113834"/>
            <a:ext cx="664935" cy="439534"/>
          </a:xfrm>
          <a:custGeom>
            <a:avLst/>
            <a:gdLst>
              <a:gd name="connsiteX0" fmla="*/ -310 w 300576"/>
              <a:gd name="connsiteY0" fmla="*/ -240 h 198686"/>
              <a:gd name="connsiteX1" fmla="*/ 300267 w 300576"/>
              <a:gd name="connsiteY1" fmla="*/ 198446 h 198686"/>
              <a:gd name="connsiteX2" fmla="*/ -310 w 300576"/>
              <a:gd name="connsiteY2" fmla="*/ -240 h 19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576" h="198686">
                <a:moveTo>
                  <a:pt x="-310" y="-240"/>
                </a:moveTo>
                <a:cubicBezTo>
                  <a:pt x="51028" y="120255"/>
                  <a:pt x="169279" y="198466"/>
                  <a:pt x="300267" y="198446"/>
                </a:cubicBezTo>
                <a:cubicBezTo>
                  <a:pt x="248930" y="77951"/>
                  <a:pt x="130678" y="-259"/>
                  <a:pt x="-310" y="-240"/>
                </a:cubicBezTo>
                <a:close/>
              </a:path>
            </a:pathLst>
          </a:custGeom>
          <a:solidFill>
            <a:schemeClr val="tx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9" name="Полилиния: фигура 104">
            <a:extLst>
              <a:ext uri="{FF2B5EF4-FFF2-40B4-BE49-F238E27FC236}">
                <a16:creationId xmlns:a16="http://schemas.microsoft.com/office/drawing/2014/main" id="{F42A29E0-C857-4255-9E3C-64E7824FE21C}"/>
              </a:ext>
            </a:extLst>
          </p:cNvPr>
          <p:cNvSpPr/>
          <p:nvPr userDrawn="1"/>
        </p:nvSpPr>
        <p:spPr>
          <a:xfrm>
            <a:off x="9657320" y="3235641"/>
            <a:ext cx="493500" cy="317727"/>
          </a:xfrm>
          <a:custGeom>
            <a:avLst/>
            <a:gdLst>
              <a:gd name="connsiteX0" fmla="*/ -310 w 223081"/>
              <a:gd name="connsiteY0" fmla="*/ 143386 h 143625"/>
              <a:gd name="connsiteX1" fmla="*/ 222771 w 223081"/>
              <a:gd name="connsiteY1" fmla="*/ -240 h 143625"/>
              <a:gd name="connsiteX2" fmla="*/ -310 w 223081"/>
              <a:gd name="connsiteY2" fmla="*/ 143386 h 14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3081" h="143625">
                <a:moveTo>
                  <a:pt x="-310" y="143386"/>
                </a:moveTo>
                <a:cubicBezTo>
                  <a:pt x="95801" y="143415"/>
                  <a:pt x="182994" y="87248"/>
                  <a:pt x="222771" y="-240"/>
                </a:cubicBezTo>
                <a:cubicBezTo>
                  <a:pt x="126661" y="-270"/>
                  <a:pt x="39467" y="55897"/>
                  <a:pt x="-310" y="143386"/>
                </a:cubicBezTo>
                <a:close/>
              </a:path>
            </a:pathLst>
          </a:custGeom>
          <a:solidFill>
            <a:schemeClr val="tx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5" name="Полилиния: фигура 512">
            <a:extLst>
              <a:ext uri="{FF2B5EF4-FFF2-40B4-BE49-F238E27FC236}">
                <a16:creationId xmlns:a16="http://schemas.microsoft.com/office/drawing/2014/main" id="{A0B69E39-F345-4C47-AEE4-2BFA4439EDED}"/>
              </a:ext>
            </a:extLst>
          </p:cNvPr>
          <p:cNvSpPr/>
          <p:nvPr userDrawn="1"/>
        </p:nvSpPr>
        <p:spPr>
          <a:xfrm>
            <a:off x="10478966" y="3188582"/>
            <a:ext cx="489438" cy="489438"/>
          </a:xfrm>
          <a:custGeom>
            <a:avLst/>
            <a:gdLst>
              <a:gd name="connsiteX0" fmla="*/ 489438 w 489438"/>
              <a:gd name="connsiteY0" fmla="*/ 244719 h 489438"/>
              <a:gd name="connsiteX1" fmla="*/ 244719 w 489438"/>
              <a:gd name="connsiteY1" fmla="*/ 489438 h 489438"/>
              <a:gd name="connsiteX2" fmla="*/ 0 w 489438"/>
              <a:gd name="connsiteY2" fmla="*/ 244719 h 489438"/>
              <a:gd name="connsiteX3" fmla="*/ 244719 w 489438"/>
              <a:gd name="connsiteY3" fmla="*/ 0 h 489438"/>
              <a:gd name="connsiteX4" fmla="*/ 489438 w 489438"/>
              <a:gd name="connsiteY4" fmla="*/ 244719 h 48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438" h="489438">
                <a:moveTo>
                  <a:pt x="489438" y="244719"/>
                </a:moveTo>
                <a:cubicBezTo>
                  <a:pt x="489438" y="379874"/>
                  <a:pt x="379874" y="489438"/>
                  <a:pt x="244719" y="489438"/>
                </a:cubicBezTo>
                <a:cubicBezTo>
                  <a:pt x="109564" y="489438"/>
                  <a:pt x="0" y="379874"/>
                  <a:pt x="0" y="244719"/>
                </a:cubicBezTo>
                <a:cubicBezTo>
                  <a:pt x="0" y="109564"/>
                  <a:pt x="109564" y="0"/>
                  <a:pt x="244719" y="0"/>
                </a:cubicBezTo>
                <a:cubicBezTo>
                  <a:pt x="379874" y="0"/>
                  <a:pt x="489438" y="109564"/>
                  <a:pt x="489438" y="244719"/>
                </a:cubicBezTo>
                <a:close/>
              </a:path>
            </a:pathLst>
          </a:custGeom>
          <a:solidFill>
            <a:srgbClr val="FFFFFF"/>
          </a:solidFill>
          <a:ln w="9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7" name="Полилиния: фигура 64">
            <a:extLst>
              <a:ext uri="{FF2B5EF4-FFF2-40B4-BE49-F238E27FC236}">
                <a16:creationId xmlns:a16="http://schemas.microsoft.com/office/drawing/2014/main" id="{CDC5EC26-A53D-46A8-ACB5-50DA15A7A1E2}"/>
              </a:ext>
            </a:extLst>
          </p:cNvPr>
          <p:cNvSpPr/>
          <p:nvPr userDrawn="1"/>
        </p:nvSpPr>
        <p:spPr>
          <a:xfrm>
            <a:off x="11212286" y="5888516"/>
            <a:ext cx="489857" cy="489857"/>
          </a:xfrm>
          <a:custGeom>
            <a:avLst/>
            <a:gdLst>
              <a:gd name="connsiteX0" fmla="*/ 244619 w 489857"/>
              <a:gd name="connsiteY0" fmla="*/ -240 h 489857"/>
              <a:gd name="connsiteX1" fmla="*/ -310 w 489857"/>
              <a:gd name="connsiteY1" fmla="*/ 244689 h 489857"/>
              <a:gd name="connsiteX2" fmla="*/ 244619 w 489857"/>
              <a:gd name="connsiteY2" fmla="*/ 489617 h 489857"/>
              <a:gd name="connsiteX3" fmla="*/ 489547 w 489857"/>
              <a:gd name="connsiteY3" fmla="*/ 244689 h 489857"/>
              <a:gd name="connsiteX4" fmla="*/ 244619 w 489857"/>
              <a:gd name="connsiteY4" fmla="*/ -240 h 489857"/>
              <a:gd name="connsiteX5" fmla="*/ 244619 w 489857"/>
              <a:gd name="connsiteY5" fmla="*/ 367153 h 489857"/>
              <a:gd name="connsiteX6" fmla="*/ 122154 w 489857"/>
              <a:gd name="connsiteY6" fmla="*/ 244689 h 489857"/>
              <a:gd name="connsiteX7" fmla="*/ 244619 w 489857"/>
              <a:gd name="connsiteY7" fmla="*/ 122224 h 489857"/>
              <a:gd name="connsiteX8" fmla="*/ 367083 w 489857"/>
              <a:gd name="connsiteY8" fmla="*/ 244689 h 489857"/>
              <a:gd name="connsiteX9" fmla="*/ 244619 w 489857"/>
              <a:gd name="connsiteY9" fmla="*/ 367153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9857" h="489857">
                <a:moveTo>
                  <a:pt x="244619" y="-240"/>
                </a:moveTo>
                <a:cubicBezTo>
                  <a:pt x="109319" y="-240"/>
                  <a:pt x="-310" y="109419"/>
                  <a:pt x="-310" y="244689"/>
                </a:cubicBezTo>
                <a:cubicBezTo>
                  <a:pt x="-310" y="379958"/>
                  <a:pt x="109319" y="489617"/>
                  <a:pt x="244619" y="489617"/>
                </a:cubicBezTo>
                <a:cubicBezTo>
                  <a:pt x="379918" y="489617"/>
                  <a:pt x="489547" y="379958"/>
                  <a:pt x="489547" y="244689"/>
                </a:cubicBezTo>
                <a:cubicBezTo>
                  <a:pt x="489547" y="109419"/>
                  <a:pt x="379918" y="-240"/>
                  <a:pt x="244619" y="-240"/>
                </a:cubicBezTo>
                <a:close/>
                <a:moveTo>
                  <a:pt x="244619" y="367153"/>
                </a:moveTo>
                <a:cubicBezTo>
                  <a:pt x="177018" y="367153"/>
                  <a:pt x="122154" y="312328"/>
                  <a:pt x="122154" y="244689"/>
                </a:cubicBezTo>
                <a:cubicBezTo>
                  <a:pt x="122154" y="177049"/>
                  <a:pt x="177018" y="122224"/>
                  <a:pt x="244619" y="122224"/>
                </a:cubicBezTo>
                <a:cubicBezTo>
                  <a:pt x="312219" y="122224"/>
                  <a:pt x="367083" y="177049"/>
                  <a:pt x="367083" y="244689"/>
                </a:cubicBezTo>
                <a:cubicBezTo>
                  <a:pt x="367083" y="312328"/>
                  <a:pt x="312219" y="367153"/>
                  <a:pt x="244619" y="367153"/>
                </a:cubicBezTo>
                <a:close/>
              </a:path>
            </a:pathLst>
          </a:custGeom>
          <a:solidFill>
            <a:srgbClr val="4D4D4F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8" name="Полилиния: фигура 65">
            <a:extLst>
              <a:ext uri="{FF2B5EF4-FFF2-40B4-BE49-F238E27FC236}">
                <a16:creationId xmlns:a16="http://schemas.microsoft.com/office/drawing/2014/main" id="{F1946BA5-9A24-48D6-9405-492A4DB9E79B}"/>
              </a:ext>
            </a:extLst>
          </p:cNvPr>
          <p:cNvSpPr/>
          <p:nvPr userDrawn="1"/>
        </p:nvSpPr>
        <p:spPr>
          <a:xfrm>
            <a:off x="11212286" y="6378373"/>
            <a:ext cx="489857" cy="489857"/>
          </a:xfrm>
          <a:custGeom>
            <a:avLst/>
            <a:gdLst>
              <a:gd name="connsiteX0" fmla="*/ 244619 w 489857"/>
              <a:gd name="connsiteY0" fmla="*/ -240 h 489857"/>
              <a:gd name="connsiteX1" fmla="*/ -310 w 489857"/>
              <a:gd name="connsiteY1" fmla="*/ 244689 h 489857"/>
              <a:gd name="connsiteX2" fmla="*/ 244619 w 489857"/>
              <a:gd name="connsiteY2" fmla="*/ 489617 h 489857"/>
              <a:gd name="connsiteX3" fmla="*/ 489547 w 489857"/>
              <a:gd name="connsiteY3" fmla="*/ 244689 h 489857"/>
              <a:gd name="connsiteX4" fmla="*/ 244619 w 489857"/>
              <a:gd name="connsiteY4" fmla="*/ -240 h 489857"/>
              <a:gd name="connsiteX5" fmla="*/ 244619 w 489857"/>
              <a:gd name="connsiteY5" fmla="*/ 367153 h 489857"/>
              <a:gd name="connsiteX6" fmla="*/ 122154 w 489857"/>
              <a:gd name="connsiteY6" fmla="*/ 244689 h 489857"/>
              <a:gd name="connsiteX7" fmla="*/ 244619 w 489857"/>
              <a:gd name="connsiteY7" fmla="*/ 122224 h 489857"/>
              <a:gd name="connsiteX8" fmla="*/ 367083 w 489857"/>
              <a:gd name="connsiteY8" fmla="*/ 244689 h 489857"/>
              <a:gd name="connsiteX9" fmla="*/ 244619 w 489857"/>
              <a:gd name="connsiteY9" fmla="*/ 367153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9857" h="489857">
                <a:moveTo>
                  <a:pt x="244619" y="-240"/>
                </a:moveTo>
                <a:cubicBezTo>
                  <a:pt x="109319" y="-240"/>
                  <a:pt x="-310" y="109419"/>
                  <a:pt x="-310" y="244689"/>
                </a:cubicBezTo>
                <a:cubicBezTo>
                  <a:pt x="-310" y="379958"/>
                  <a:pt x="109319" y="489617"/>
                  <a:pt x="244619" y="489617"/>
                </a:cubicBezTo>
                <a:cubicBezTo>
                  <a:pt x="379918" y="489617"/>
                  <a:pt x="489547" y="379958"/>
                  <a:pt x="489547" y="244689"/>
                </a:cubicBezTo>
                <a:cubicBezTo>
                  <a:pt x="489547" y="109419"/>
                  <a:pt x="379918" y="-240"/>
                  <a:pt x="244619" y="-240"/>
                </a:cubicBezTo>
                <a:close/>
                <a:moveTo>
                  <a:pt x="244619" y="367153"/>
                </a:moveTo>
                <a:cubicBezTo>
                  <a:pt x="177018" y="367153"/>
                  <a:pt x="122154" y="312328"/>
                  <a:pt x="122154" y="244689"/>
                </a:cubicBezTo>
                <a:cubicBezTo>
                  <a:pt x="122154" y="177049"/>
                  <a:pt x="177018" y="122224"/>
                  <a:pt x="244619" y="122224"/>
                </a:cubicBezTo>
                <a:cubicBezTo>
                  <a:pt x="312219" y="122224"/>
                  <a:pt x="367083" y="177049"/>
                  <a:pt x="367083" y="244689"/>
                </a:cubicBezTo>
                <a:cubicBezTo>
                  <a:pt x="367083" y="312328"/>
                  <a:pt x="312219" y="367153"/>
                  <a:pt x="244619" y="367153"/>
                </a:cubicBezTo>
                <a:close/>
              </a:path>
            </a:pathLst>
          </a:custGeom>
          <a:solidFill>
            <a:schemeClr val="bg2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9" name="Полилиния: фигура 66">
            <a:extLst>
              <a:ext uri="{FF2B5EF4-FFF2-40B4-BE49-F238E27FC236}">
                <a16:creationId xmlns:a16="http://schemas.microsoft.com/office/drawing/2014/main" id="{8446FB5C-1877-4196-9B17-10C460241CA9}"/>
              </a:ext>
            </a:extLst>
          </p:cNvPr>
          <p:cNvSpPr/>
          <p:nvPr userDrawn="1"/>
        </p:nvSpPr>
        <p:spPr>
          <a:xfrm>
            <a:off x="11702143" y="5888516"/>
            <a:ext cx="489857" cy="489857"/>
          </a:xfrm>
          <a:custGeom>
            <a:avLst/>
            <a:gdLst>
              <a:gd name="connsiteX0" fmla="*/ 244619 w 489857"/>
              <a:gd name="connsiteY0" fmla="*/ -240 h 489857"/>
              <a:gd name="connsiteX1" fmla="*/ -310 w 489857"/>
              <a:gd name="connsiteY1" fmla="*/ 244689 h 489857"/>
              <a:gd name="connsiteX2" fmla="*/ 244619 w 489857"/>
              <a:gd name="connsiteY2" fmla="*/ 489617 h 489857"/>
              <a:gd name="connsiteX3" fmla="*/ 489547 w 489857"/>
              <a:gd name="connsiteY3" fmla="*/ 244689 h 489857"/>
              <a:gd name="connsiteX4" fmla="*/ 244619 w 489857"/>
              <a:gd name="connsiteY4" fmla="*/ -240 h 489857"/>
              <a:gd name="connsiteX5" fmla="*/ 244619 w 489857"/>
              <a:gd name="connsiteY5" fmla="*/ 367153 h 489857"/>
              <a:gd name="connsiteX6" fmla="*/ 122154 w 489857"/>
              <a:gd name="connsiteY6" fmla="*/ 244689 h 489857"/>
              <a:gd name="connsiteX7" fmla="*/ 244619 w 489857"/>
              <a:gd name="connsiteY7" fmla="*/ 122224 h 489857"/>
              <a:gd name="connsiteX8" fmla="*/ 367083 w 489857"/>
              <a:gd name="connsiteY8" fmla="*/ 244689 h 489857"/>
              <a:gd name="connsiteX9" fmla="*/ 244619 w 489857"/>
              <a:gd name="connsiteY9" fmla="*/ 367153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9857" h="489857">
                <a:moveTo>
                  <a:pt x="244619" y="-240"/>
                </a:moveTo>
                <a:cubicBezTo>
                  <a:pt x="109319" y="-240"/>
                  <a:pt x="-310" y="109419"/>
                  <a:pt x="-310" y="244689"/>
                </a:cubicBezTo>
                <a:cubicBezTo>
                  <a:pt x="-310" y="379958"/>
                  <a:pt x="109319" y="489617"/>
                  <a:pt x="244619" y="489617"/>
                </a:cubicBezTo>
                <a:cubicBezTo>
                  <a:pt x="379918" y="489617"/>
                  <a:pt x="489547" y="379958"/>
                  <a:pt x="489547" y="244689"/>
                </a:cubicBezTo>
                <a:cubicBezTo>
                  <a:pt x="489547" y="109419"/>
                  <a:pt x="379918" y="-240"/>
                  <a:pt x="244619" y="-240"/>
                </a:cubicBezTo>
                <a:close/>
                <a:moveTo>
                  <a:pt x="244619" y="367153"/>
                </a:moveTo>
                <a:cubicBezTo>
                  <a:pt x="177018" y="367153"/>
                  <a:pt x="122154" y="312328"/>
                  <a:pt x="122154" y="244689"/>
                </a:cubicBezTo>
                <a:cubicBezTo>
                  <a:pt x="122154" y="177049"/>
                  <a:pt x="177018" y="122224"/>
                  <a:pt x="244619" y="122224"/>
                </a:cubicBezTo>
                <a:cubicBezTo>
                  <a:pt x="312219" y="122224"/>
                  <a:pt x="367083" y="177049"/>
                  <a:pt x="367083" y="244689"/>
                </a:cubicBezTo>
                <a:cubicBezTo>
                  <a:pt x="367083" y="312328"/>
                  <a:pt x="312219" y="367153"/>
                  <a:pt x="244619" y="367153"/>
                </a:cubicBezTo>
                <a:close/>
              </a:path>
            </a:pathLst>
          </a:custGeom>
          <a:solidFill>
            <a:schemeClr val="bg2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0" name="Полилиния: фигура 67">
            <a:extLst>
              <a:ext uri="{FF2B5EF4-FFF2-40B4-BE49-F238E27FC236}">
                <a16:creationId xmlns:a16="http://schemas.microsoft.com/office/drawing/2014/main" id="{5938DBD3-1649-48AC-AAA0-D64EE1201C3F}"/>
              </a:ext>
            </a:extLst>
          </p:cNvPr>
          <p:cNvSpPr/>
          <p:nvPr userDrawn="1"/>
        </p:nvSpPr>
        <p:spPr>
          <a:xfrm>
            <a:off x="11702143" y="6378373"/>
            <a:ext cx="489857" cy="489857"/>
          </a:xfrm>
          <a:custGeom>
            <a:avLst/>
            <a:gdLst>
              <a:gd name="connsiteX0" fmla="*/ 244619 w 489857"/>
              <a:gd name="connsiteY0" fmla="*/ -240 h 489857"/>
              <a:gd name="connsiteX1" fmla="*/ -310 w 489857"/>
              <a:gd name="connsiteY1" fmla="*/ 244689 h 489857"/>
              <a:gd name="connsiteX2" fmla="*/ 244619 w 489857"/>
              <a:gd name="connsiteY2" fmla="*/ 489617 h 489857"/>
              <a:gd name="connsiteX3" fmla="*/ 489547 w 489857"/>
              <a:gd name="connsiteY3" fmla="*/ 244689 h 489857"/>
              <a:gd name="connsiteX4" fmla="*/ 244619 w 489857"/>
              <a:gd name="connsiteY4" fmla="*/ -240 h 489857"/>
              <a:gd name="connsiteX5" fmla="*/ 244619 w 489857"/>
              <a:gd name="connsiteY5" fmla="*/ 367153 h 489857"/>
              <a:gd name="connsiteX6" fmla="*/ 122154 w 489857"/>
              <a:gd name="connsiteY6" fmla="*/ 244689 h 489857"/>
              <a:gd name="connsiteX7" fmla="*/ 244619 w 489857"/>
              <a:gd name="connsiteY7" fmla="*/ 122224 h 489857"/>
              <a:gd name="connsiteX8" fmla="*/ 367083 w 489857"/>
              <a:gd name="connsiteY8" fmla="*/ 244689 h 489857"/>
              <a:gd name="connsiteX9" fmla="*/ 244619 w 489857"/>
              <a:gd name="connsiteY9" fmla="*/ 367153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9857" h="489857">
                <a:moveTo>
                  <a:pt x="244619" y="-240"/>
                </a:moveTo>
                <a:cubicBezTo>
                  <a:pt x="109319" y="-240"/>
                  <a:pt x="-310" y="109419"/>
                  <a:pt x="-310" y="244689"/>
                </a:cubicBezTo>
                <a:cubicBezTo>
                  <a:pt x="-310" y="379958"/>
                  <a:pt x="109319" y="489617"/>
                  <a:pt x="244619" y="489617"/>
                </a:cubicBezTo>
                <a:cubicBezTo>
                  <a:pt x="379918" y="489617"/>
                  <a:pt x="489547" y="379958"/>
                  <a:pt x="489547" y="244689"/>
                </a:cubicBezTo>
                <a:cubicBezTo>
                  <a:pt x="489547" y="109419"/>
                  <a:pt x="379918" y="-240"/>
                  <a:pt x="244619" y="-240"/>
                </a:cubicBezTo>
                <a:close/>
                <a:moveTo>
                  <a:pt x="244619" y="367153"/>
                </a:moveTo>
                <a:cubicBezTo>
                  <a:pt x="177018" y="367153"/>
                  <a:pt x="122154" y="312328"/>
                  <a:pt x="122154" y="244689"/>
                </a:cubicBezTo>
                <a:cubicBezTo>
                  <a:pt x="122154" y="177049"/>
                  <a:pt x="177018" y="122224"/>
                  <a:pt x="244619" y="122224"/>
                </a:cubicBezTo>
                <a:cubicBezTo>
                  <a:pt x="312219" y="122224"/>
                  <a:pt x="367083" y="177049"/>
                  <a:pt x="367083" y="244689"/>
                </a:cubicBezTo>
                <a:cubicBezTo>
                  <a:pt x="367083" y="312328"/>
                  <a:pt x="312219" y="367153"/>
                  <a:pt x="244619" y="367153"/>
                </a:cubicBezTo>
                <a:close/>
              </a:path>
            </a:pathLst>
          </a:custGeom>
          <a:solidFill>
            <a:srgbClr val="4D4D4F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46" name="Рисунок 14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98" y="518565"/>
            <a:ext cx="3690846" cy="413629"/>
          </a:xfrm>
          <a:prstGeom prst="rect">
            <a:avLst/>
          </a:prstGeom>
        </p:spPr>
      </p:pic>
      <p:sp>
        <p:nvSpPr>
          <p:cNvPr id="147" name="Заголовок 1">
            <a:extLst>
              <a:ext uri="{FF2B5EF4-FFF2-40B4-BE49-F238E27FC236}">
                <a16:creationId xmlns:a16="http://schemas.microsoft.com/office/drawing/2014/main" id="{4AA2E929-5B00-47BA-848F-4A659E3F54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2400" y="2936558"/>
            <a:ext cx="6172201" cy="984885"/>
          </a:xfrm>
        </p:spPr>
        <p:txBody>
          <a:bodyPr vert="horz" wrap="square" lIns="0" tIns="0" rIns="0" bIns="0" anchor="ctr">
            <a:spAutoFit/>
          </a:bodyPr>
          <a:lstStyle>
            <a:lvl1pPr algn="l"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Разделитель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в 2 строк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4569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Контентный слайд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7151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6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38554"/>
          </a:xfr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499" y="6548344"/>
            <a:ext cx="8820000" cy="15773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 txBox="1">
            <a:spLocks/>
          </p:cNvSpPr>
          <p:nvPr/>
        </p:nvSpPr>
        <p:spPr>
          <a:xfrm>
            <a:off x="91998" y="10640"/>
            <a:ext cx="10500455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750" dirty="0" smtClean="0">
                <a:solidFill>
                  <a:schemeClr val="tx1"/>
                </a:solidFill>
              </a:rPr>
              <a:t>Любое</a:t>
            </a:r>
            <a:r>
              <a:rPr lang="ru-RU" sz="750" baseline="0" dirty="0" smtClean="0">
                <a:solidFill>
                  <a:schemeClr val="tx1"/>
                </a:solidFill>
              </a:rPr>
              <a:t> несанкционированное копирование, раскрытие или распространение материалов, содержащихся в документе и приложениях к нему, строго запрещено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BC42604-54E5-4060-84D1-99B8E87413CC}"/>
              </a:ext>
            </a:extLst>
          </p:cNvPr>
          <p:cNvSpPr/>
          <p:nvPr userDrawn="1"/>
        </p:nvSpPr>
        <p:spPr>
          <a:xfrm>
            <a:off x="0" y="6812281"/>
            <a:ext cx="12192000" cy="45719"/>
          </a:xfrm>
          <a:prstGeom prst="rect">
            <a:avLst/>
          </a:prstGeom>
          <a:solidFill>
            <a:srgbClr val="0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4000" y="295062"/>
            <a:ext cx="950123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601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1B0B1B7-411C-32A8-A448-D64BDBA1BF3D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39074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2" name="Слайд think-cell" r:id="rId25" imgW="498" imgH="499" progId="TCLayout.ActiveDocument.1">
                  <p:embed/>
                </p:oleObj>
              </mc:Choice>
              <mc:Fallback>
                <p:oleObj name="Слайд think-cell" r:id="rId25" imgW="498" imgH="499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B1B0B1B7-411C-32A8-A448-D64BDBA1B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96671D-F62D-4824-8347-3E129F1E1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257185"/>
            <a:ext cx="9974580" cy="6093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dirty="0"/>
              <a:t>Образец заголовка длиной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BC42604-54E5-4060-84D1-99B8E87413CC}"/>
              </a:ext>
            </a:extLst>
          </p:cNvPr>
          <p:cNvSpPr/>
          <p:nvPr/>
        </p:nvSpPr>
        <p:spPr>
          <a:xfrm>
            <a:off x="0" y="6812281"/>
            <a:ext cx="12192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id="{4762C45A-B737-2826-FECA-EE158D963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0118" y="6548344"/>
            <a:ext cx="52197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500" y="6548344"/>
            <a:ext cx="8820000" cy="15773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 txBox="1">
            <a:spLocks/>
          </p:cNvSpPr>
          <p:nvPr userDrawn="1"/>
        </p:nvSpPr>
        <p:spPr>
          <a:xfrm>
            <a:off x="101385" y="61336"/>
            <a:ext cx="10500455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750" dirty="0" smtClean="0"/>
              <a:t>Любое</a:t>
            </a:r>
            <a:r>
              <a:rPr lang="ru-RU" sz="750" baseline="0" dirty="0" smtClean="0"/>
              <a:t> несанкционированное копирование, раскрытие или распространение материалов, содержащихся в документе и приложениях к нему, строго запрещено</a:t>
            </a:r>
            <a:endParaRPr lang="en-US" sz="750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4000" y="316801"/>
            <a:ext cx="946800" cy="261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758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10" r:id="rId2"/>
    <p:sldLayoutId id="2147483663" r:id="rId3"/>
    <p:sldLayoutId id="2147483665" r:id="rId4"/>
    <p:sldLayoutId id="2147483664" r:id="rId5"/>
    <p:sldLayoutId id="2147483709" r:id="rId6"/>
    <p:sldLayoutId id="2147483666" r:id="rId7"/>
    <p:sldLayoutId id="2147483707" r:id="rId8"/>
    <p:sldLayoutId id="2147483668" r:id="rId9"/>
    <p:sldLayoutId id="2147483708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2"/>
          </a:solidFill>
          <a:latin typeface="+mj-lt"/>
          <a:ea typeface="+mn-ea"/>
          <a:cs typeface="+mn-cs"/>
        </a:defRPr>
      </a:lvl1pPr>
      <a:lvl2pPr marL="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6"/>
        </a:buClr>
        <a:buFontTx/>
        <a:buChar char="—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60">
          <p15:clr>
            <a:srgbClr val="F26B43"/>
          </p15:clr>
        </p15:guide>
        <p15:guide id="4" pos="3841">
          <p15:clr>
            <a:srgbClr val="F26B43"/>
          </p15:clr>
        </p15:guide>
        <p15:guide id="5" pos="7333" userDrawn="1">
          <p15:clr>
            <a:srgbClr val="F26B43"/>
          </p15:clr>
        </p15:guide>
        <p15:guide id="8" orient="horz" pos="755">
          <p15:clr>
            <a:srgbClr val="F26B43"/>
          </p15:clr>
        </p15:guide>
        <p15:guide id="9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24" Type="http://schemas.openxmlformats.org/officeDocument/2006/relationships/image" Target="../media/image18.png"/><Relationship Id="rId5" Type="http://schemas.openxmlformats.org/officeDocument/2006/relationships/oleObject" Target="../embeddings/oleObject25.bin"/><Relationship Id="rId23" Type="http://schemas.openxmlformats.org/officeDocument/2006/relationships/image" Target="../media/image17.png"/><Relationship Id="rId4" Type="http://schemas.openxmlformats.org/officeDocument/2006/relationships/notesSlide" Target="../notesSlides/notesSlide2.xml"/><Relationship Id="rId22" Type="http://schemas.openxmlformats.org/officeDocument/2006/relationships/image" Target="../media/image631.sv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12" Type="http://schemas.openxmlformats.org/officeDocument/2006/relationships/image" Target="../media/image118.png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16.png"/><Relationship Id="rId11" Type="http://schemas.openxmlformats.org/officeDocument/2006/relationships/image" Target="NULL"/><Relationship Id="rId5" Type="http://schemas.openxmlformats.org/officeDocument/2006/relationships/image" Target="../media/image3.emf"/><Relationship Id="rId10" Type="http://schemas.openxmlformats.org/officeDocument/2006/relationships/image" Target="../media/image117.png"/><Relationship Id="rId4" Type="http://schemas.openxmlformats.org/officeDocument/2006/relationships/oleObject" Target="../embeddings/oleObject51.bin"/><Relationship Id="rId9" Type="http://schemas.openxmlformats.org/officeDocument/2006/relationships/image" Target="NUL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0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hyperlink" Target="https://lenta.com/i/postavshchikam/tenders/" TargetMode="Externa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22.png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12" Type="http://schemas.openxmlformats.org/officeDocument/2006/relationships/image" Target="../media/image1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1.png"/><Relationship Id="rId11" Type="http://schemas.openxmlformats.org/officeDocument/2006/relationships/image" Target="../media/image136.png"/><Relationship Id="rId5" Type="http://schemas.openxmlformats.org/officeDocument/2006/relationships/image" Target="../media/image130.png"/><Relationship Id="rId10" Type="http://schemas.openxmlformats.org/officeDocument/2006/relationships/image" Target="../media/image135.png"/><Relationship Id="rId4" Type="http://schemas.openxmlformats.org/officeDocument/2006/relationships/image" Target="../media/image129.png"/><Relationship Id="rId9" Type="http://schemas.openxmlformats.org/officeDocument/2006/relationships/image" Target="../media/image13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1.png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png"/><Relationship Id="rId3" Type="http://schemas.openxmlformats.org/officeDocument/2006/relationships/image" Target="../media/image139.png"/><Relationship Id="rId7" Type="http://schemas.openxmlformats.org/officeDocument/2006/relationships/image" Target="../media/image143.png"/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42.png"/><Relationship Id="rId5" Type="http://schemas.openxmlformats.org/officeDocument/2006/relationships/image" Target="../media/image141.png"/><Relationship Id="rId4" Type="http://schemas.openxmlformats.org/officeDocument/2006/relationships/image" Target="../media/image140.png"/><Relationship Id="rId9" Type="http://schemas.openxmlformats.org/officeDocument/2006/relationships/image" Target="../media/image145.png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48.png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20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png"/><Relationship Id="rId3" Type="http://schemas.openxmlformats.org/officeDocument/2006/relationships/image" Target="../media/image152.png"/><Relationship Id="rId7" Type="http://schemas.openxmlformats.org/officeDocument/2006/relationships/image" Target="../media/image156.png"/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55.png"/><Relationship Id="rId5" Type="http://schemas.openxmlformats.org/officeDocument/2006/relationships/image" Target="../media/image154.png"/><Relationship Id="rId10" Type="http://schemas.openxmlformats.org/officeDocument/2006/relationships/image" Target="../media/image159.png"/><Relationship Id="rId4" Type="http://schemas.openxmlformats.org/officeDocument/2006/relationships/image" Target="../media/image153.png"/><Relationship Id="rId9" Type="http://schemas.openxmlformats.org/officeDocument/2006/relationships/image" Target="../media/image158.png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20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64.png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1.png"/><Relationship Id="rId3" Type="http://schemas.openxmlformats.org/officeDocument/2006/relationships/image" Target="../media/image166.png"/><Relationship Id="rId7" Type="http://schemas.openxmlformats.org/officeDocument/2006/relationships/image" Target="../media/image170.png"/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69.png"/><Relationship Id="rId5" Type="http://schemas.openxmlformats.org/officeDocument/2006/relationships/image" Target="../media/image168.png"/><Relationship Id="rId4" Type="http://schemas.openxmlformats.org/officeDocument/2006/relationships/image" Target="../media/image16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74.png"/><Relationship Id="rId4" Type="http://schemas.openxmlformats.org/officeDocument/2006/relationships/image" Target="../media/image173.png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1.png"/><Relationship Id="rId3" Type="http://schemas.openxmlformats.org/officeDocument/2006/relationships/image" Target="../media/image176.png"/><Relationship Id="rId7" Type="http://schemas.openxmlformats.org/officeDocument/2006/relationships/image" Target="../media/image180.png"/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79.png"/><Relationship Id="rId5" Type="http://schemas.openxmlformats.org/officeDocument/2006/relationships/image" Target="../media/image178.png"/><Relationship Id="rId10" Type="http://schemas.openxmlformats.org/officeDocument/2006/relationships/hyperlink" Target="http://www.customer.guru/" TargetMode="External"/><Relationship Id="rId4" Type="http://schemas.openxmlformats.org/officeDocument/2006/relationships/image" Target="../media/image177.png"/><Relationship Id="rId9" Type="http://schemas.openxmlformats.org/officeDocument/2006/relationships/image" Target="../media/image182.png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slide" Target="slide124.xml"/><Relationship Id="rId1" Type="http://schemas.openxmlformats.org/officeDocument/2006/relationships/slideLayout" Target="../slideLayouts/slideLayout20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85.png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12" Type="http://schemas.openxmlformats.org/officeDocument/2006/relationships/image" Target="../media/image118.png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16.png"/><Relationship Id="rId11" Type="http://schemas.openxmlformats.org/officeDocument/2006/relationships/image" Target="NULL"/><Relationship Id="rId5" Type="http://schemas.openxmlformats.org/officeDocument/2006/relationships/image" Target="../media/image3.emf"/><Relationship Id="rId10" Type="http://schemas.openxmlformats.org/officeDocument/2006/relationships/image" Target="../media/image117.png"/><Relationship Id="rId4" Type="http://schemas.openxmlformats.org/officeDocument/2006/relationships/oleObject" Target="../embeddings/oleObject52.bin"/><Relationship Id="rId9" Type="http://schemas.openxmlformats.org/officeDocument/2006/relationships/image" Target="NUL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7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24" Type="http://schemas.openxmlformats.org/officeDocument/2006/relationships/image" Target="../media/image31.png"/><Relationship Id="rId5" Type="http://schemas.openxmlformats.org/officeDocument/2006/relationships/oleObject" Target="../embeddings/oleObject25.bin"/><Relationship Id="rId23" Type="http://schemas.openxmlformats.org/officeDocument/2006/relationships/image" Target="../media/image30.png"/><Relationship Id="rId4" Type="http://schemas.openxmlformats.org/officeDocument/2006/relationships/notesSlide" Target="../notesSlides/notesSlide5.xml"/><Relationship Id="rId22" Type="http://schemas.openxmlformats.org/officeDocument/2006/relationships/image" Target="../media/image631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2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3.png"/><Relationship Id="rId22" Type="http://schemas.openxmlformats.org/officeDocument/2006/relationships/image" Target="../media/image6310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4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37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emf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38.png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image" Target="../media/image43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3.png"/><Relationship Id="rId25" Type="http://schemas.openxmlformats.org/officeDocument/2006/relationships/image" Target="../media/image4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emf"/><Relationship Id="rId24" Type="http://schemas.openxmlformats.org/officeDocument/2006/relationships/image" Target="../media/image41.png"/><Relationship Id="rId5" Type="http://schemas.openxmlformats.org/officeDocument/2006/relationships/oleObject" Target="../embeddings/oleObject30.bin"/><Relationship Id="rId23" Type="http://schemas.openxmlformats.org/officeDocument/2006/relationships/image" Target="../media/image40.png"/><Relationship Id="rId4" Type="http://schemas.openxmlformats.org/officeDocument/2006/relationships/notesSlide" Target="../notesSlides/notesSlide9.xml"/><Relationship Id="rId22" Type="http://schemas.openxmlformats.org/officeDocument/2006/relationships/image" Target="../media/image6310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18" Type="http://schemas.openxmlformats.org/officeDocument/2006/relationships/image" Target="../media/image5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" Type="http://schemas.openxmlformats.org/officeDocument/2006/relationships/tags" Target="../tags/tag37.xml"/><Relationship Id="rId16" Type="http://schemas.openxmlformats.org/officeDocument/2006/relationships/image" Target="../media/image54.png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3.emf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19" Type="http://schemas.openxmlformats.org/officeDocument/2006/relationships/image" Target="../media/image57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8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5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104" Type="http://schemas.openxmlformats.org/officeDocument/2006/relationships/image" Target="../media/image63.png"/><Relationship Id="rId103" Type="http://schemas.openxmlformats.org/officeDocument/2006/relationships/image" Target="../media/image62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1.png"/><Relationship Id="rId102" Type="http://schemas.openxmlformats.org/officeDocument/2006/relationships/image" Target="../media/image324.sv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5.png"/><Relationship Id="rId103" Type="http://schemas.openxmlformats.org/officeDocument/2006/relationships/image" Target="../media/image66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4.png"/><Relationship Id="rId102" Type="http://schemas.openxmlformats.org/officeDocument/2006/relationships/image" Target="../media/image324.sv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8.png"/><Relationship Id="rId103" Type="http://schemas.openxmlformats.org/officeDocument/2006/relationships/image" Target="../media/image69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7.png"/><Relationship Id="rId53" Type="http://schemas.openxmlformats.org/officeDocument/2006/relationships/image" Target="../media/image61.png"/><Relationship Id="rId102" Type="http://schemas.openxmlformats.org/officeDocument/2006/relationships/image" Target="../media/image324.svg"/><Relationship Id="rId5" Type="http://schemas.openxmlformats.org/officeDocument/2006/relationships/image" Target="../media/image3.emf"/><Relationship Id="rId52" Type="http://schemas.openxmlformats.org/officeDocument/2006/relationships/image" Target="../media/image274.svg"/><Relationship Id="rId4" Type="http://schemas.openxmlformats.org/officeDocument/2006/relationships/oleObject" Target="../embeddings/oleObject27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png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23" Type="http://schemas.openxmlformats.org/officeDocument/2006/relationships/image" Target="../media/image70.png"/><Relationship Id="rId4" Type="http://schemas.openxmlformats.org/officeDocument/2006/relationships/notesSlide" Target="../notesSlides/notesSlide10.xml"/><Relationship Id="rId22" Type="http://schemas.openxmlformats.org/officeDocument/2006/relationships/image" Target="../media/image63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72.png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7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74.png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7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104" Type="http://schemas.openxmlformats.org/officeDocument/2006/relationships/image" Target="../media/image3.emf"/><Relationship Id="rId103" Type="http://schemas.openxmlformats.org/officeDocument/2006/relationships/oleObject" Target="../embeddings/oleObject27.bin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102" Type="http://schemas.openxmlformats.org/officeDocument/2006/relationships/image" Target="../media/image324.svg"/><Relationship Id="rId4" Type="http://schemas.openxmlformats.org/officeDocument/2006/relationships/image" Target="../media/image75.png"/><Relationship Id="rId105" Type="http://schemas.openxmlformats.org/officeDocument/2006/relationships/image" Target="../media/image7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77.png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79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1.pn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8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8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200.sv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Relationship Id="rId9" Type="http://schemas.openxmlformats.org/officeDocument/2006/relationships/image" Target="../media/image8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8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8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9.png"/><Relationship Id="rId12" Type="http://schemas.openxmlformats.org/officeDocument/2006/relationships/image" Target="../media/image94.pn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88.png"/><Relationship Id="rId11" Type="http://schemas.openxmlformats.org/officeDocument/2006/relationships/image" Target="../media/image93.png"/><Relationship Id="rId5" Type="http://schemas.openxmlformats.org/officeDocument/2006/relationships/image" Target="../media/image3.emf"/><Relationship Id="rId10" Type="http://schemas.openxmlformats.org/officeDocument/2006/relationships/image" Target="../media/image92.png"/><Relationship Id="rId4" Type="http://schemas.openxmlformats.org/officeDocument/2006/relationships/oleObject" Target="../embeddings/oleObject39.bin"/><Relationship Id="rId9" Type="http://schemas.openxmlformats.org/officeDocument/2006/relationships/image" Target="../media/image9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8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8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5.png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hyperlink" Target="https://lenta.com/i/postavshchikam/kontrol-kachestva/" TargetMode="Externa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20.sv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22" Type="http://schemas.openxmlformats.org/officeDocument/2006/relationships/image" Target="../media/image82.sv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hyperlink" Target="mailto:eworkflow@lenta.com" TargetMode="External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hyperlink" Target="mailto:SSCsinglewindow@lenta.com" TargetMode="External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Relationship Id="rId22" Type="http://schemas.openxmlformats.org/officeDocument/2006/relationships/image" Target="../media/image631.sv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hyperlink" Target="mailto:WHSPbSpecialistsinQuality@lenta.com" TargetMode="Externa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hyperlink" Target="mailto:julia.li@lenta.com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3.bin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webp"/><Relationship Id="rId1" Type="http://schemas.openxmlformats.org/officeDocument/2006/relationships/slideLayout" Target="../slideLayouts/slideLayout10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4.bin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5.bin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06.png"/><Relationship Id="rId11" Type="http://schemas.openxmlformats.org/officeDocument/2006/relationships/image" Target="../media/image60.sv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5.bin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hyperlink" Target="mailto:anna.knyazeva@lenta.com" TargetMode="External"/><Relationship Id="rId2" Type="http://schemas.openxmlformats.org/officeDocument/2006/relationships/hyperlink" Target="mailto:tatyana.m.efimova@lenta.com" TargetMode="External"/><Relationship Id="rId1" Type="http://schemas.openxmlformats.org/officeDocument/2006/relationships/slideLayout" Target="../slideLayouts/slideLayout6.xml"/><Relationship Id="rId5" Type="http://schemas.openxmlformats.org/officeDocument/2006/relationships/hyperlink" Target="mailto:WHSPbSpecialistsinQuality@lenta.com" TargetMode="External"/><Relationship Id="rId4" Type="http://schemas.openxmlformats.org/officeDocument/2006/relationships/hyperlink" Target="mailto:olga.e.volkova@lenta.com" TargetMode="Externa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0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jpe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09.png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112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11.jpeg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13.png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112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09.png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15.JPG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15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1499" y="2209451"/>
            <a:ext cx="9908320" cy="1661993"/>
          </a:xfrm>
        </p:spPr>
        <p:txBody>
          <a:bodyPr/>
          <a:lstStyle/>
          <a:p>
            <a:r>
              <a:rPr lang="en-US" altLang="ru-RU" dirty="0" smtClean="0">
                <a:sym typeface="Aileron Heavy" charset="0"/>
              </a:rPr>
              <a:t>СЛУЖБА </a:t>
            </a:r>
            <a:r>
              <a:rPr lang="en-US" altLang="ru-RU" dirty="0">
                <a:sym typeface="Aileron Heavy" charset="0"/>
              </a:rPr>
              <a:t>КАЧЕСТВА</a:t>
            </a:r>
            <a:r>
              <a:rPr lang="ru-RU" altLang="ru-RU" dirty="0">
                <a:sym typeface="Aileron Heavy" charset="0"/>
              </a:rPr>
              <a:t> ООО «ЛЕНТА»</a:t>
            </a:r>
            <a:br>
              <a:rPr lang="ru-RU" altLang="ru-RU" dirty="0">
                <a:sym typeface="Aileron Heavy" charset="0"/>
              </a:rPr>
            </a:br>
            <a:r>
              <a:rPr lang="ru-RU" altLang="ru-RU" dirty="0">
                <a:sym typeface="Aileron Heavy" charset="0"/>
              </a:rPr>
              <a:t>«Управление качеством»</a:t>
            </a:r>
            <a:endParaRPr lang="ru-RU" dirty="0"/>
          </a:p>
        </p:txBody>
      </p:sp>
      <p:sp>
        <p:nvSpPr>
          <p:cNvPr id="4" name="Подзаголовок 1"/>
          <p:cNvSpPr txBox="1">
            <a:spLocks/>
          </p:cNvSpPr>
          <p:nvPr/>
        </p:nvSpPr>
        <p:spPr>
          <a:xfrm>
            <a:off x="555980" y="4239679"/>
            <a:ext cx="8995021" cy="5755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ym typeface="Helvetica World Bold"/>
              </a:rPr>
              <a:t>09:30 03 октября 2025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7144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Объект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0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31" name="Объект 3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0" name="Таблица 5">
            <a:extLst>
              <a:ext uri="{FF2B5EF4-FFF2-40B4-BE49-F238E27FC236}">
                <a16:creationId xmlns:a16="http://schemas.microsoft.com/office/drawing/2014/main" id="{15334CA2-11EE-49E1-979E-ADA3F09E65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0333965"/>
              </p:ext>
            </p:extLst>
          </p:nvPr>
        </p:nvGraphicFramePr>
        <p:xfrm>
          <a:off x="332508" y="5475182"/>
          <a:ext cx="11589325" cy="8030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89325">
                  <a:extLst>
                    <a:ext uri="{9D8B030D-6E8A-4147-A177-3AD203B41FA5}">
                      <a16:colId xmlns:a16="http://schemas.microsoft.com/office/drawing/2014/main" val="3450824149"/>
                    </a:ext>
                  </a:extLst>
                </a:gridCol>
              </a:tblGrid>
              <a:tr h="803083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  <a:buClr>
                          <a:srgbClr val="2FCBFF"/>
                        </a:buClr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                                                  Сайт Росаккредитаци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2FCBFF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                                                     Документ прекращён</a:t>
                      </a:r>
                    </a:p>
                  </a:txBody>
                  <a:tcPr marL="216000" marR="216000" marT="108000" marB="10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069870"/>
                  </a:ext>
                </a:extLst>
              </a:tr>
            </a:tbl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2264B0-4980-4D78-9E65-92E1A1354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689" y="279992"/>
            <a:ext cx="10002539" cy="338554"/>
          </a:xfrm>
        </p:spPr>
        <p:txBody>
          <a:bodyPr vert="horz"/>
          <a:lstStyle/>
          <a:p>
            <a:r>
              <a:rPr lang="ru-RU" dirty="0"/>
              <a:t>Примеры нарушений оформления документов</a:t>
            </a:r>
          </a:p>
        </p:txBody>
      </p:sp>
      <p:sp>
        <p:nvSpPr>
          <p:cNvPr id="15" name="Нижний колонтитул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3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23" name="Группа 22"/>
          <p:cNvGrpSpPr/>
          <p:nvPr/>
        </p:nvGrpSpPr>
        <p:grpSpPr>
          <a:xfrm>
            <a:off x="332509" y="1198562"/>
            <a:ext cx="5587201" cy="3760720"/>
            <a:chOff x="567690" y="1198563"/>
            <a:chExt cx="3524250" cy="3338710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60EA166F-E096-4E1C-8EF6-1F6149C14C3E}"/>
                </a:ext>
              </a:extLst>
            </p:cNvPr>
            <p:cNvSpPr/>
            <p:nvPr/>
          </p:nvSpPr>
          <p:spPr>
            <a:xfrm>
              <a:off x="571501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89FF7DA5-FD96-4AAB-A99C-B407016E3A8B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Группа 27"/>
          <p:cNvGrpSpPr/>
          <p:nvPr/>
        </p:nvGrpSpPr>
        <p:grpSpPr>
          <a:xfrm>
            <a:off x="6011186" y="1198562"/>
            <a:ext cx="5917578" cy="3760719"/>
            <a:chOff x="8097838" y="1198563"/>
            <a:chExt cx="3524250" cy="3338710"/>
          </a:xfrm>
        </p:grpSpPr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5F8F9EBA-9210-317F-7743-2B7FAC5A456A}"/>
                </a:ext>
              </a:extLst>
            </p:cNvPr>
            <p:cNvSpPr/>
            <p:nvPr/>
          </p:nvSpPr>
          <p:spPr>
            <a:xfrm>
              <a:off x="8101649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66" name="Прямая соединительная линия 65">
              <a:extLst>
                <a:ext uri="{FF2B5EF4-FFF2-40B4-BE49-F238E27FC236}">
                  <a16:creationId xmlns:a16="http://schemas.microsoft.com/office/drawing/2014/main" id="{197C3C89-99FF-8E43-EDD8-7C5512CD0E27}"/>
                </a:ext>
              </a:extLst>
            </p:cNvPr>
            <p:cNvCxnSpPr>
              <a:cxnSpLocks/>
            </p:cNvCxnSpPr>
            <p:nvPr/>
          </p:nvCxnSpPr>
          <p:spPr>
            <a:xfrm>
              <a:off x="8097838" y="1198563"/>
              <a:ext cx="352425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Группа 42"/>
          <p:cNvGrpSpPr/>
          <p:nvPr/>
        </p:nvGrpSpPr>
        <p:grpSpPr>
          <a:xfrm rot="5400000">
            <a:off x="5926088" y="5025279"/>
            <a:ext cx="327483" cy="489098"/>
            <a:chOff x="1988287" y="4667693"/>
            <a:chExt cx="1541722" cy="1222744"/>
          </a:xfrm>
        </p:grpSpPr>
        <p:sp>
          <p:nvSpPr>
            <p:cNvPr id="44" name="Шеврон 43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5" name="Шеврон 44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72" name="Группа 71"/>
          <p:cNvGrpSpPr/>
          <p:nvPr/>
        </p:nvGrpSpPr>
        <p:grpSpPr>
          <a:xfrm rot="5400000">
            <a:off x="2061713" y="5027544"/>
            <a:ext cx="327483" cy="489098"/>
            <a:chOff x="1988287" y="4667693"/>
            <a:chExt cx="1541722" cy="1222744"/>
          </a:xfrm>
        </p:grpSpPr>
        <p:sp>
          <p:nvSpPr>
            <p:cNvPr id="73" name="Шеврон 72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74" name="Шеврон 73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75" name="Группа 74"/>
          <p:cNvGrpSpPr/>
          <p:nvPr/>
        </p:nvGrpSpPr>
        <p:grpSpPr>
          <a:xfrm rot="5400000">
            <a:off x="9623633" y="5025279"/>
            <a:ext cx="327483" cy="489098"/>
            <a:chOff x="1988287" y="4667693"/>
            <a:chExt cx="1541722" cy="1222744"/>
          </a:xfrm>
        </p:grpSpPr>
        <p:sp>
          <p:nvSpPr>
            <p:cNvPr id="76" name="Шеврон 75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7" name="Шеврон 76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1BBBCDEA-02EA-4887-8E49-49C33BDC2A6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 flipV="1">
            <a:off x="7072532" y="5594261"/>
            <a:ext cx="564923" cy="56492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184669" y="1237910"/>
            <a:ext cx="5431015" cy="355933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40575" y="1410683"/>
            <a:ext cx="5437944" cy="3295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435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998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Заголовок 33">
            <a:extLst>
              <a:ext uri="{FF2B5EF4-FFF2-40B4-BE49-F238E27FC236}">
                <a16:creationId xmlns:a16="http://schemas.microsoft.com/office/drawing/2014/main" id="{DFE19F94-644B-42C1-AD3F-8528C51CFA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980" y="3638419"/>
            <a:ext cx="8995021" cy="540341"/>
          </a:xfrm>
        </p:spPr>
        <p:txBody>
          <a:bodyPr vert="horz"/>
          <a:lstStyle/>
          <a:p>
            <a:pPr lvl="0">
              <a:lnSpc>
                <a:spcPct val="107000"/>
              </a:lnSpc>
            </a:pPr>
            <a:r>
              <a:rPr lang="ru-RU" dirty="0" smtClean="0"/>
              <a:t>Вопрос - Ответ</a:t>
            </a:r>
            <a:endParaRPr lang="ru-RU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C8C12EE-F6E3-DC38-EC5D-561226AB2A87}"/>
              </a:ext>
            </a:extLst>
          </p:cNvPr>
          <p:cNvGrpSpPr/>
          <p:nvPr/>
        </p:nvGrpSpPr>
        <p:grpSpPr>
          <a:xfrm>
            <a:off x="0" y="4895068"/>
            <a:ext cx="5700035" cy="1962956"/>
            <a:chOff x="0" y="4895068"/>
            <a:chExt cx="5700035" cy="1962956"/>
          </a:xfrm>
        </p:grpSpPr>
        <p:sp>
          <p:nvSpPr>
            <p:cNvPr id="125" name="Полилиния: фигура 7">
              <a:extLst>
                <a:ext uri="{FF2B5EF4-FFF2-40B4-BE49-F238E27FC236}">
                  <a16:creationId xmlns:a16="http://schemas.microsoft.com/office/drawing/2014/main" id="{3789CB51-94F1-F8FA-A79F-06A57F1C8DF4}"/>
                </a:ext>
              </a:extLst>
            </p:cNvPr>
            <p:cNvSpPr/>
            <p:nvPr userDrawn="1"/>
          </p:nvSpPr>
          <p:spPr>
            <a:xfrm rot="16200000">
              <a:off x="979714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Полилиния: фигура 8">
              <a:extLst>
                <a:ext uri="{FF2B5EF4-FFF2-40B4-BE49-F238E27FC236}">
                  <a16:creationId xmlns:a16="http://schemas.microsoft.com/office/drawing/2014/main" id="{A6ACED56-6CF8-39E8-A8FB-2A87C0231D3C}"/>
                </a:ext>
              </a:extLst>
            </p:cNvPr>
            <p:cNvSpPr/>
            <p:nvPr userDrawn="1"/>
          </p:nvSpPr>
          <p:spPr>
            <a:xfrm>
              <a:off x="1224642" y="6123239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Полилиния: фигура 11">
              <a:extLst>
                <a:ext uri="{FF2B5EF4-FFF2-40B4-BE49-F238E27FC236}">
                  <a16:creationId xmlns:a16="http://schemas.microsoft.com/office/drawing/2014/main" id="{5DB7683A-9BD5-4464-68F8-5EDE8AF6796A}"/>
                </a:ext>
              </a:extLst>
            </p:cNvPr>
            <p:cNvSpPr/>
            <p:nvPr userDrawn="1"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Полилиния: фигура 12">
              <a:extLst>
                <a:ext uri="{FF2B5EF4-FFF2-40B4-BE49-F238E27FC236}">
                  <a16:creationId xmlns:a16="http://schemas.microsoft.com/office/drawing/2014/main" id="{F57E5213-5C20-6A07-918A-83451D3052F3}"/>
                </a:ext>
              </a:extLst>
            </p:cNvPr>
            <p:cNvSpPr/>
            <p:nvPr userDrawn="1"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Полилиния: фигура 13">
              <a:extLst>
                <a:ext uri="{FF2B5EF4-FFF2-40B4-BE49-F238E27FC236}">
                  <a16:creationId xmlns:a16="http://schemas.microsoft.com/office/drawing/2014/main" id="{EEC48DA5-7A77-6D8F-679C-6B23C76D5E64}"/>
                </a:ext>
              </a:extLst>
            </p:cNvPr>
            <p:cNvSpPr/>
            <p:nvPr userDrawn="1"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Полилиния: фигура 14">
              <a:extLst>
                <a:ext uri="{FF2B5EF4-FFF2-40B4-BE49-F238E27FC236}">
                  <a16:creationId xmlns:a16="http://schemas.microsoft.com/office/drawing/2014/main" id="{1613629D-47BB-7796-0553-499C6821CA59}"/>
                </a:ext>
              </a:extLst>
            </p:cNvPr>
            <p:cNvSpPr/>
            <p:nvPr userDrawn="1"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Полилиния: фигура 15">
              <a:extLst>
                <a:ext uri="{FF2B5EF4-FFF2-40B4-BE49-F238E27FC236}">
                  <a16:creationId xmlns:a16="http://schemas.microsoft.com/office/drawing/2014/main" id="{C85BD5F8-F7C8-28E1-BFDB-DDC8307360F7}"/>
                </a:ext>
              </a:extLst>
            </p:cNvPr>
            <p:cNvSpPr/>
            <p:nvPr userDrawn="1"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17">
              <a:extLst>
                <a:ext uri="{FF2B5EF4-FFF2-40B4-BE49-F238E27FC236}">
                  <a16:creationId xmlns:a16="http://schemas.microsoft.com/office/drawing/2014/main" id="{0355DC7A-A024-569E-0B8D-DDEEE1CADB03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Полилиния: фигура 18">
              <a:extLst>
                <a:ext uri="{FF2B5EF4-FFF2-40B4-BE49-F238E27FC236}">
                  <a16:creationId xmlns:a16="http://schemas.microsoft.com/office/drawing/2014/main" id="{26A08EE6-873F-5FF3-69E5-49E927186F08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Полилиния: фигура 19">
              <a:extLst>
                <a:ext uri="{FF2B5EF4-FFF2-40B4-BE49-F238E27FC236}">
                  <a16:creationId xmlns:a16="http://schemas.microsoft.com/office/drawing/2014/main" id="{18ED321C-6A84-4D58-AD6B-4E8876929C0F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Полилиния: фигура 21">
              <a:extLst>
                <a:ext uri="{FF2B5EF4-FFF2-40B4-BE49-F238E27FC236}">
                  <a16:creationId xmlns:a16="http://schemas.microsoft.com/office/drawing/2014/main" id="{1D4D272C-D9B3-B449-31B4-629820975AD7}"/>
                </a:ext>
              </a:extLst>
            </p:cNvPr>
            <p:cNvSpPr/>
            <p:nvPr/>
          </p:nvSpPr>
          <p:spPr>
            <a:xfrm>
              <a:off x="1959428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Полилиния: фигура 22">
              <a:extLst>
                <a:ext uri="{FF2B5EF4-FFF2-40B4-BE49-F238E27FC236}">
                  <a16:creationId xmlns:a16="http://schemas.microsoft.com/office/drawing/2014/main" id="{4553FED2-7C22-3A82-5723-3CB1B665DA29}"/>
                </a:ext>
              </a:extLst>
            </p:cNvPr>
            <p:cNvSpPr/>
            <p:nvPr/>
          </p:nvSpPr>
          <p:spPr>
            <a:xfrm>
              <a:off x="1959428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Полилиния: фигура 23">
              <a:extLst>
                <a:ext uri="{FF2B5EF4-FFF2-40B4-BE49-F238E27FC236}">
                  <a16:creationId xmlns:a16="http://schemas.microsoft.com/office/drawing/2014/main" id="{92BE6DE7-1F2A-EC43-8771-8E2CCF1F4233}"/>
                </a:ext>
              </a:extLst>
            </p:cNvPr>
            <p:cNvSpPr/>
            <p:nvPr/>
          </p:nvSpPr>
          <p:spPr>
            <a:xfrm>
              <a:off x="2449285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Полилиния: фигура 24">
              <a:extLst>
                <a:ext uri="{FF2B5EF4-FFF2-40B4-BE49-F238E27FC236}">
                  <a16:creationId xmlns:a16="http://schemas.microsoft.com/office/drawing/2014/main" id="{EEED14F5-BCFF-9854-C273-6F2CDA8A487B}"/>
                </a:ext>
              </a:extLst>
            </p:cNvPr>
            <p:cNvSpPr/>
            <p:nvPr/>
          </p:nvSpPr>
          <p:spPr>
            <a:xfrm>
              <a:off x="2449285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Полилиния: фигура 26">
              <a:extLst>
                <a:ext uri="{FF2B5EF4-FFF2-40B4-BE49-F238E27FC236}">
                  <a16:creationId xmlns:a16="http://schemas.microsoft.com/office/drawing/2014/main" id="{99B323CD-8E61-4B69-EA1D-5DCA632F6E66}"/>
                </a:ext>
              </a:extLst>
            </p:cNvPr>
            <p:cNvSpPr/>
            <p:nvPr/>
          </p:nvSpPr>
          <p:spPr>
            <a:xfrm>
              <a:off x="3268046" y="6171445"/>
              <a:ext cx="432445" cy="432445"/>
            </a:xfrm>
            <a:custGeom>
              <a:avLst/>
              <a:gdLst>
                <a:gd name="connsiteX0" fmla="*/ 432446 w 432445"/>
                <a:gd name="connsiteY0" fmla="*/ 216223 h 432445"/>
                <a:gd name="connsiteX1" fmla="*/ 216223 w 432445"/>
                <a:gd name="connsiteY1" fmla="*/ 432446 h 432445"/>
                <a:gd name="connsiteX2" fmla="*/ 0 w 432445"/>
                <a:gd name="connsiteY2" fmla="*/ 216223 h 432445"/>
                <a:gd name="connsiteX3" fmla="*/ 216223 w 432445"/>
                <a:gd name="connsiteY3" fmla="*/ 0 h 432445"/>
                <a:gd name="connsiteX4" fmla="*/ 432446 w 432445"/>
                <a:gd name="connsiteY4" fmla="*/ 216223 h 4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445" h="432445">
                  <a:moveTo>
                    <a:pt x="432446" y="216223"/>
                  </a:moveTo>
                  <a:cubicBezTo>
                    <a:pt x="432446" y="335639"/>
                    <a:pt x="335640" y="432446"/>
                    <a:pt x="216223" y="432446"/>
                  </a:cubicBezTo>
                  <a:cubicBezTo>
                    <a:pt x="96806" y="432446"/>
                    <a:pt x="0" y="335639"/>
                    <a:pt x="0" y="216223"/>
                  </a:cubicBezTo>
                  <a:cubicBezTo>
                    <a:pt x="0" y="96806"/>
                    <a:pt x="96806" y="0"/>
                    <a:pt x="216223" y="0"/>
                  </a:cubicBezTo>
                  <a:cubicBezTo>
                    <a:pt x="335640" y="0"/>
                    <a:pt x="432446" y="96806"/>
                    <a:pt x="432446" y="216223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Полилиния: фигура 27">
              <a:extLst>
                <a:ext uri="{FF2B5EF4-FFF2-40B4-BE49-F238E27FC236}">
                  <a16:creationId xmlns:a16="http://schemas.microsoft.com/office/drawing/2014/main" id="{436C948C-C636-AD72-AEAA-7147655F72E7}"/>
                </a:ext>
              </a:extLst>
            </p:cNvPr>
            <p:cNvSpPr/>
            <p:nvPr/>
          </p:nvSpPr>
          <p:spPr>
            <a:xfrm>
              <a:off x="3484268" y="6011751"/>
              <a:ext cx="159988" cy="159987"/>
            </a:xfrm>
            <a:custGeom>
              <a:avLst/>
              <a:gdLst>
                <a:gd name="connsiteX0" fmla="*/ -3207 w 159988"/>
                <a:gd name="connsiteY0" fmla="*/ 159748 h 159987"/>
                <a:gd name="connsiteX1" fmla="*/ 156781 w 159988"/>
                <a:gd name="connsiteY1" fmla="*/ -240 h 159987"/>
                <a:gd name="connsiteX2" fmla="*/ -3207 w 159988"/>
                <a:gd name="connsiteY2" fmla="*/ 159748 h 15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88" h="159987">
                  <a:moveTo>
                    <a:pt x="-3207" y="159748"/>
                  </a:moveTo>
                  <a:cubicBezTo>
                    <a:pt x="85163" y="159748"/>
                    <a:pt x="156781" y="88121"/>
                    <a:pt x="156781" y="-240"/>
                  </a:cubicBezTo>
                  <a:cubicBezTo>
                    <a:pt x="68410" y="-240"/>
                    <a:pt x="-3207" y="71387"/>
                    <a:pt x="-3207" y="159748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4" name="Группа 48">
              <a:extLst>
                <a:ext uri="{FF2B5EF4-FFF2-40B4-BE49-F238E27FC236}">
                  <a16:creationId xmlns:a16="http://schemas.microsoft.com/office/drawing/2014/main" id="{A344F5CA-3BFA-949C-3A3C-50FC4802C112}"/>
                </a:ext>
              </a:extLst>
            </p:cNvPr>
            <p:cNvGrpSpPr/>
            <p:nvPr/>
          </p:nvGrpSpPr>
          <p:grpSpPr>
            <a:xfrm>
              <a:off x="5094572" y="6068734"/>
              <a:ext cx="605463" cy="605463"/>
              <a:chOff x="5094572" y="6068734"/>
              <a:chExt cx="605463" cy="605463"/>
            </a:xfrm>
          </p:grpSpPr>
          <p:sp>
            <p:nvSpPr>
              <p:cNvPr id="159" name="Полилиния: фигура 49">
                <a:extLst>
                  <a:ext uri="{FF2B5EF4-FFF2-40B4-BE49-F238E27FC236}">
                    <a16:creationId xmlns:a16="http://schemas.microsoft.com/office/drawing/2014/main" id="{D0C567A5-1393-2D50-08F3-F4763D871D24}"/>
                  </a:ext>
                </a:extLst>
              </p:cNvPr>
              <p:cNvSpPr/>
              <p:nvPr userDrawn="1"/>
            </p:nvSpPr>
            <p:spPr>
              <a:xfrm>
                <a:off x="5226343" y="6200506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2" y="341920"/>
                      <a:pt x="0" y="265379"/>
                      <a:pt x="0" y="170960"/>
                    </a:cubicBezTo>
                    <a:cubicBezTo>
                      <a:pt x="0" y="76541"/>
                      <a:pt x="76542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Полилиния: фигура 50">
                <a:extLst>
                  <a:ext uri="{FF2B5EF4-FFF2-40B4-BE49-F238E27FC236}">
                    <a16:creationId xmlns:a16="http://schemas.microsoft.com/office/drawing/2014/main" id="{A1867F93-FB8B-B633-D8E3-07D0B8ADBE26}"/>
                  </a:ext>
                </a:extLst>
              </p:cNvPr>
              <p:cNvSpPr/>
              <p:nvPr userDrawn="1"/>
            </p:nvSpPr>
            <p:spPr>
              <a:xfrm>
                <a:off x="5094572" y="6068734"/>
                <a:ext cx="605463" cy="605463"/>
              </a:xfrm>
              <a:custGeom>
                <a:avLst/>
                <a:gdLst>
                  <a:gd name="connsiteX0" fmla="*/ 299524 w 605463"/>
                  <a:gd name="connsiteY0" fmla="*/ -240 h 605463"/>
                  <a:gd name="connsiteX1" fmla="*/ 270132 w 605463"/>
                  <a:gd name="connsiteY1" fmla="*/ 29151 h 605463"/>
                  <a:gd name="connsiteX2" fmla="*/ 270132 w 605463"/>
                  <a:gd name="connsiteY2" fmla="*/ 72847 h 605463"/>
                  <a:gd name="connsiteX3" fmla="*/ 299524 w 605463"/>
                  <a:gd name="connsiteY3" fmla="*/ 102238 h 605463"/>
                  <a:gd name="connsiteX4" fmla="*/ 328915 w 605463"/>
                  <a:gd name="connsiteY4" fmla="*/ 72847 h 605463"/>
                  <a:gd name="connsiteX5" fmla="*/ 328915 w 605463"/>
                  <a:gd name="connsiteY5" fmla="*/ 29151 h 605463"/>
                  <a:gd name="connsiteX6" fmla="*/ 299524 w 605463"/>
                  <a:gd name="connsiteY6" fmla="*/ -240 h 605463"/>
                  <a:gd name="connsiteX7" fmla="*/ 299524 w 605463"/>
                  <a:gd name="connsiteY7" fmla="*/ 502745 h 605463"/>
                  <a:gd name="connsiteX8" fmla="*/ 270132 w 605463"/>
                  <a:gd name="connsiteY8" fmla="*/ 532137 h 605463"/>
                  <a:gd name="connsiteX9" fmla="*/ 270132 w 605463"/>
                  <a:gd name="connsiteY9" fmla="*/ 575832 h 605463"/>
                  <a:gd name="connsiteX10" fmla="*/ 299524 w 605463"/>
                  <a:gd name="connsiteY10" fmla="*/ 605223 h 605463"/>
                  <a:gd name="connsiteX11" fmla="*/ 328915 w 605463"/>
                  <a:gd name="connsiteY11" fmla="*/ 575832 h 605463"/>
                  <a:gd name="connsiteX12" fmla="*/ 328915 w 605463"/>
                  <a:gd name="connsiteY12" fmla="*/ 532137 h 605463"/>
                  <a:gd name="connsiteX13" fmla="*/ 299524 w 605463"/>
                  <a:gd name="connsiteY13" fmla="*/ 502745 h 605463"/>
                  <a:gd name="connsiteX14" fmla="*/ 99271 w 605463"/>
                  <a:gd name="connsiteY14" fmla="*/ 302492 h 605463"/>
                  <a:gd name="connsiteX15" fmla="*/ 69879 w 605463"/>
                  <a:gd name="connsiteY15" fmla="*/ 273100 h 605463"/>
                  <a:gd name="connsiteX16" fmla="*/ 26184 w 605463"/>
                  <a:gd name="connsiteY16" fmla="*/ 273100 h 605463"/>
                  <a:gd name="connsiteX17" fmla="*/ -3207 w 605463"/>
                  <a:gd name="connsiteY17" fmla="*/ 302492 h 605463"/>
                  <a:gd name="connsiteX18" fmla="*/ 26184 w 605463"/>
                  <a:gd name="connsiteY18" fmla="*/ 331883 h 605463"/>
                  <a:gd name="connsiteX19" fmla="*/ 69879 w 605463"/>
                  <a:gd name="connsiteY19" fmla="*/ 331883 h 605463"/>
                  <a:gd name="connsiteX20" fmla="*/ 99271 w 605463"/>
                  <a:gd name="connsiteY20" fmla="*/ 302492 h 605463"/>
                  <a:gd name="connsiteX21" fmla="*/ 572865 w 605463"/>
                  <a:gd name="connsiteY21" fmla="*/ 273100 h 605463"/>
                  <a:gd name="connsiteX22" fmla="*/ 529168 w 605463"/>
                  <a:gd name="connsiteY22" fmla="*/ 273100 h 605463"/>
                  <a:gd name="connsiteX23" fmla="*/ 499777 w 605463"/>
                  <a:gd name="connsiteY23" fmla="*/ 302492 h 605463"/>
                  <a:gd name="connsiteX24" fmla="*/ 529168 w 605463"/>
                  <a:gd name="connsiteY24" fmla="*/ 331883 h 605463"/>
                  <a:gd name="connsiteX25" fmla="*/ 572865 w 605463"/>
                  <a:gd name="connsiteY25" fmla="*/ 331883 h 605463"/>
                  <a:gd name="connsiteX26" fmla="*/ 602257 w 605463"/>
                  <a:gd name="connsiteY26" fmla="*/ 302492 h 605463"/>
                  <a:gd name="connsiteX27" fmla="*/ 572865 w 605463"/>
                  <a:gd name="connsiteY27" fmla="*/ 273100 h 605463"/>
                  <a:gd name="connsiteX28" fmla="*/ 126997 w 605463"/>
                  <a:gd name="connsiteY28" fmla="*/ 88424 h 605463"/>
                  <a:gd name="connsiteX29" fmla="*/ 85457 w 605463"/>
                  <a:gd name="connsiteY29" fmla="*/ 86955 h 605463"/>
                  <a:gd name="connsiteX30" fmla="*/ 83986 w 605463"/>
                  <a:gd name="connsiteY30" fmla="*/ 128494 h 605463"/>
                  <a:gd name="connsiteX31" fmla="*/ 85457 w 605463"/>
                  <a:gd name="connsiteY31" fmla="*/ 129964 h 605463"/>
                  <a:gd name="connsiteX32" fmla="*/ 116317 w 605463"/>
                  <a:gd name="connsiteY32" fmla="*/ 160923 h 605463"/>
                  <a:gd name="connsiteX33" fmla="*/ 157955 w 605463"/>
                  <a:gd name="connsiteY33" fmla="*/ 160923 h 605463"/>
                  <a:gd name="connsiteX34" fmla="*/ 157955 w 605463"/>
                  <a:gd name="connsiteY34" fmla="*/ 119285 h 605463"/>
                  <a:gd name="connsiteX35" fmla="*/ 482730 w 605463"/>
                  <a:gd name="connsiteY35" fmla="*/ 444061 h 605463"/>
                  <a:gd name="connsiteX36" fmla="*/ 441092 w 605463"/>
                  <a:gd name="connsiteY36" fmla="*/ 444061 h 605463"/>
                  <a:gd name="connsiteX37" fmla="*/ 441092 w 605463"/>
                  <a:gd name="connsiteY37" fmla="*/ 485698 h 605463"/>
                  <a:gd name="connsiteX38" fmla="*/ 472052 w 605463"/>
                  <a:gd name="connsiteY38" fmla="*/ 516559 h 605463"/>
                  <a:gd name="connsiteX39" fmla="*/ 513592 w 605463"/>
                  <a:gd name="connsiteY39" fmla="*/ 516559 h 605463"/>
                  <a:gd name="connsiteX40" fmla="*/ 513592 w 605463"/>
                  <a:gd name="connsiteY40" fmla="*/ 475019 h 605463"/>
                  <a:gd name="connsiteX41" fmla="*/ 116317 w 605463"/>
                  <a:gd name="connsiteY41" fmla="*/ 444061 h 605463"/>
                  <a:gd name="connsiteX42" fmla="*/ 85457 w 605463"/>
                  <a:gd name="connsiteY42" fmla="*/ 475019 h 605463"/>
                  <a:gd name="connsiteX43" fmla="*/ 85457 w 605463"/>
                  <a:gd name="connsiteY43" fmla="*/ 516589 h 605463"/>
                  <a:gd name="connsiteX44" fmla="*/ 106226 w 605463"/>
                  <a:gd name="connsiteY44" fmla="*/ 525181 h 605463"/>
                  <a:gd name="connsiteX45" fmla="*/ 126997 w 605463"/>
                  <a:gd name="connsiteY45" fmla="*/ 516559 h 605463"/>
                  <a:gd name="connsiteX46" fmla="*/ 157955 w 605463"/>
                  <a:gd name="connsiteY46" fmla="*/ 485698 h 605463"/>
                  <a:gd name="connsiteX47" fmla="*/ 157955 w 605463"/>
                  <a:gd name="connsiteY47" fmla="*/ 444061 h 605463"/>
                  <a:gd name="connsiteX48" fmla="*/ 116317 w 605463"/>
                  <a:gd name="connsiteY48" fmla="*/ 444061 h 605463"/>
                  <a:gd name="connsiteX49" fmla="*/ 461961 w 605463"/>
                  <a:gd name="connsiteY49" fmla="*/ 169740 h 605463"/>
                  <a:gd name="connsiteX50" fmla="*/ 482730 w 605463"/>
                  <a:gd name="connsiteY50" fmla="*/ 161217 h 605463"/>
                  <a:gd name="connsiteX51" fmla="*/ 513592 w 605463"/>
                  <a:gd name="connsiteY51" fmla="*/ 130258 h 605463"/>
                  <a:gd name="connsiteX52" fmla="*/ 512121 w 605463"/>
                  <a:gd name="connsiteY52" fmla="*/ 88718 h 605463"/>
                  <a:gd name="connsiteX53" fmla="*/ 472052 w 605463"/>
                  <a:gd name="connsiteY53" fmla="*/ 88718 h 605463"/>
                  <a:gd name="connsiteX54" fmla="*/ 441092 w 605463"/>
                  <a:gd name="connsiteY54" fmla="*/ 119579 h 605463"/>
                  <a:gd name="connsiteX55" fmla="*/ 441092 w 605463"/>
                  <a:gd name="connsiteY55" fmla="*/ 161148 h 605463"/>
                  <a:gd name="connsiteX56" fmla="*/ 461961 w 605463"/>
                  <a:gd name="connsiteY56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5463" h="605463">
                    <a:moveTo>
                      <a:pt x="299524" y="-240"/>
                    </a:moveTo>
                    <a:cubicBezTo>
                      <a:pt x="283261" y="-240"/>
                      <a:pt x="270132" y="12917"/>
                      <a:pt x="270132" y="29151"/>
                    </a:cubicBezTo>
                    <a:lnTo>
                      <a:pt x="270132" y="72847"/>
                    </a:lnTo>
                    <a:cubicBezTo>
                      <a:pt x="270132" y="89081"/>
                      <a:pt x="283261" y="102238"/>
                      <a:pt x="299524" y="102238"/>
                    </a:cubicBezTo>
                    <a:cubicBezTo>
                      <a:pt x="315786" y="102238"/>
                      <a:pt x="328915" y="89081"/>
                      <a:pt x="328915" y="72847"/>
                    </a:cubicBezTo>
                    <a:lnTo>
                      <a:pt x="328915" y="29151"/>
                    </a:lnTo>
                    <a:cubicBezTo>
                      <a:pt x="328915" y="12917"/>
                      <a:pt x="315786" y="-240"/>
                      <a:pt x="299524" y="-240"/>
                    </a:cubicBezTo>
                    <a:close/>
                    <a:moveTo>
                      <a:pt x="299524" y="502745"/>
                    </a:moveTo>
                    <a:cubicBezTo>
                      <a:pt x="283261" y="502745"/>
                      <a:pt x="270132" y="515903"/>
                      <a:pt x="270132" y="532137"/>
                    </a:cubicBezTo>
                    <a:lnTo>
                      <a:pt x="270132" y="575832"/>
                    </a:lnTo>
                    <a:cubicBezTo>
                      <a:pt x="270132" y="592066"/>
                      <a:pt x="283261" y="605223"/>
                      <a:pt x="299524" y="605223"/>
                    </a:cubicBezTo>
                    <a:cubicBezTo>
                      <a:pt x="315786" y="605223"/>
                      <a:pt x="328915" y="592066"/>
                      <a:pt x="328915" y="575832"/>
                    </a:cubicBezTo>
                    <a:lnTo>
                      <a:pt x="328915" y="532137"/>
                    </a:lnTo>
                    <a:cubicBezTo>
                      <a:pt x="328915" y="515903"/>
                      <a:pt x="315786" y="502745"/>
                      <a:pt x="299524" y="502745"/>
                    </a:cubicBezTo>
                    <a:close/>
                    <a:moveTo>
                      <a:pt x="99271" y="302492"/>
                    </a:moveTo>
                    <a:cubicBezTo>
                      <a:pt x="99271" y="286258"/>
                      <a:pt x="86141" y="273100"/>
                      <a:pt x="69879" y="273100"/>
                    </a:cubicBezTo>
                    <a:lnTo>
                      <a:pt x="26184" y="273100"/>
                    </a:lnTo>
                    <a:cubicBezTo>
                      <a:pt x="9919" y="273100"/>
                      <a:pt x="-3207" y="286258"/>
                      <a:pt x="-3207" y="302492"/>
                    </a:cubicBezTo>
                    <a:cubicBezTo>
                      <a:pt x="-3207" y="318726"/>
                      <a:pt x="9919" y="331883"/>
                      <a:pt x="26184" y="331883"/>
                    </a:cubicBezTo>
                    <a:lnTo>
                      <a:pt x="69879" y="331883"/>
                    </a:lnTo>
                    <a:cubicBezTo>
                      <a:pt x="86141" y="331883"/>
                      <a:pt x="99271" y="318726"/>
                      <a:pt x="99271" y="302492"/>
                    </a:cubicBezTo>
                    <a:close/>
                    <a:moveTo>
                      <a:pt x="572865" y="273100"/>
                    </a:moveTo>
                    <a:lnTo>
                      <a:pt x="529168" y="273100"/>
                    </a:lnTo>
                    <a:cubicBezTo>
                      <a:pt x="512906" y="273100"/>
                      <a:pt x="499777" y="286258"/>
                      <a:pt x="499777" y="302492"/>
                    </a:cubicBezTo>
                    <a:cubicBezTo>
                      <a:pt x="499777" y="318726"/>
                      <a:pt x="512906" y="331883"/>
                      <a:pt x="529168" y="331883"/>
                    </a:cubicBezTo>
                    <a:lnTo>
                      <a:pt x="572865" y="331883"/>
                    </a:lnTo>
                    <a:cubicBezTo>
                      <a:pt x="589128" y="331883"/>
                      <a:pt x="602257" y="318726"/>
                      <a:pt x="602257" y="302492"/>
                    </a:cubicBezTo>
                    <a:cubicBezTo>
                      <a:pt x="602257" y="286258"/>
                      <a:pt x="589128" y="273100"/>
                      <a:pt x="572865" y="273100"/>
                    </a:cubicBezTo>
                    <a:close/>
                    <a:moveTo>
                      <a:pt x="126997" y="88424"/>
                    </a:moveTo>
                    <a:cubicBezTo>
                      <a:pt x="115925" y="76550"/>
                      <a:pt x="97312" y="75894"/>
                      <a:pt x="85457" y="86955"/>
                    </a:cubicBezTo>
                    <a:cubicBezTo>
                      <a:pt x="73601" y="98025"/>
                      <a:pt x="72917" y="116620"/>
                      <a:pt x="83986" y="128494"/>
                    </a:cubicBezTo>
                    <a:cubicBezTo>
                      <a:pt x="84477" y="129004"/>
                      <a:pt x="84967" y="129494"/>
                      <a:pt x="85457" y="129964"/>
                    </a:cubicBezTo>
                    <a:lnTo>
                      <a:pt x="116317" y="160923"/>
                    </a:lnTo>
                    <a:cubicBezTo>
                      <a:pt x="127779" y="172425"/>
                      <a:pt x="146493" y="172425"/>
                      <a:pt x="157955" y="160923"/>
                    </a:cubicBezTo>
                    <a:cubicBezTo>
                      <a:pt x="169417" y="149421"/>
                      <a:pt x="169417" y="130787"/>
                      <a:pt x="157955" y="119285"/>
                    </a:cubicBezTo>
                    <a:close/>
                    <a:moveTo>
                      <a:pt x="482730" y="444061"/>
                    </a:moveTo>
                    <a:cubicBezTo>
                      <a:pt x="471268" y="432559"/>
                      <a:pt x="452556" y="432559"/>
                      <a:pt x="441092" y="444061"/>
                    </a:cubicBezTo>
                    <a:cubicBezTo>
                      <a:pt x="429630" y="455562"/>
                      <a:pt x="429630" y="474196"/>
                      <a:pt x="441092" y="485698"/>
                    </a:cubicBezTo>
                    <a:lnTo>
                      <a:pt x="472052" y="516559"/>
                    </a:lnTo>
                    <a:cubicBezTo>
                      <a:pt x="483514" y="528022"/>
                      <a:pt x="502128" y="528022"/>
                      <a:pt x="513592" y="516559"/>
                    </a:cubicBezTo>
                    <a:cubicBezTo>
                      <a:pt x="525054" y="505087"/>
                      <a:pt x="525054" y="486492"/>
                      <a:pt x="513592" y="475019"/>
                    </a:cubicBezTo>
                    <a:close/>
                    <a:moveTo>
                      <a:pt x="116317" y="444061"/>
                    </a:moveTo>
                    <a:lnTo>
                      <a:pt x="85457" y="475019"/>
                    </a:lnTo>
                    <a:cubicBezTo>
                      <a:pt x="73993" y="486502"/>
                      <a:pt x="73993" y="505116"/>
                      <a:pt x="85457" y="516589"/>
                    </a:cubicBezTo>
                    <a:cubicBezTo>
                      <a:pt x="90942" y="522085"/>
                      <a:pt x="98486" y="525171"/>
                      <a:pt x="106226" y="525181"/>
                    </a:cubicBezTo>
                    <a:cubicBezTo>
                      <a:pt x="114064" y="525171"/>
                      <a:pt x="121510" y="522075"/>
                      <a:pt x="126997" y="516559"/>
                    </a:cubicBezTo>
                    <a:lnTo>
                      <a:pt x="157955" y="485698"/>
                    </a:lnTo>
                    <a:cubicBezTo>
                      <a:pt x="169417" y="474196"/>
                      <a:pt x="169417" y="455562"/>
                      <a:pt x="157955" y="444061"/>
                    </a:cubicBezTo>
                    <a:cubicBezTo>
                      <a:pt x="146493" y="432559"/>
                      <a:pt x="127779" y="432559"/>
                      <a:pt x="116317" y="444061"/>
                    </a:cubicBezTo>
                    <a:close/>
                    <a:moveTo>
                      <a:pt x="461961" y="169740"/>
                    </a:moveTo>
                    <a:cubicBezTo>
                      <a:pt x="469701" y="169760"/>
                      <a:pt x="477245" y="166694"/>
                      <a:pt x="482730" y="161217"/>
                    </a:cubicBezTo>
                    <a:lnTo>
                      <a:pt x="513592" y="130258"/>
                    </a:lnTo>
                    <a:cubicBezTo>
                      <a:pt x="524662" y="118384"/>
                      <a:pt x="523975" y="99789"/>
                      <a:pt x="512121" y="88718"/>
                    </a:cubicBezTo>
                    <a:cubicBezTo>
                      <a:pt x="500855" y="78196"/>
                      <a:pt x="483318" y="78196"/>
                      <a:pt x="472052" y="88718"/>
                    </a:cubicBezTo>
                    <a:lnTo>
                      <a:pt x="441092" y="119579"/>
                    </a:lnTo>
                    <a:cubicBezTo>
                      <a:pt x="429630" y="131061"/>
                      <a:pt x="429630" y="149676"/>
                      <a:pt x="441092" y="161148"/>
                    </a:cubicBezTo>
                    <a:cubicBezTo>
                      <a:pt x="446677" y="166664"/>
                      <a:pt x="454123" y="169760"/>
                      <a:pt x="461961" y="1697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5" name="Полилиния: фигура 52">
              <a:extLst>
                <a:ext uri="{FF2B5EF4-FFF2-40B4-BE49-F238E27FC236}">
                  <a16:creationId xmlns:a16="http://schemas.microsoft.com/office/drawing/2014/main" id="{2BEBA008-9D8E-B612-6D74-7BA0ED06E2B4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Полилиния: фигура 53">
              <a:extLst>
                <a:ext uri="{FF2B5EF4-FFF2-40B4-BE49-F238E27FC236}">
                  <a16:creationId xmlns:a16="http://schemas.microsoft.com/office/drawing/2014/main" id="{EBFCDC05-7D2B-F87E-3430-3371007F1F4F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Полилиния: фигура 54">
              <a:extLst>
                <a:ext uri="{FF2B5EF4-FFF2-40B4-BE49-F238E27FC236}">
                  <a16:creationId xmlns:a16="http://schemas.microsoft.com/office/drawing/2014/main" id="{044E6A5C-147D-9D07-B80F-DC0BF76FAD0D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55">
              <a:extLst>
                <a:ext uri="{FF2B5EF4-FFF2-40B4-BE49-F238E27FC236}">
                  <a16:creationId xmlns:a16="http://schemas.microsoft.com/office/drawing/2014/main" id="{6A1BF84E-F638-1593-8342-EEBE750D39CF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4BF8E173-FACE-ED4C-FDD4-55EC1D155F37}"/>
              </a:ext>
            </a:extLst>
          </p:cNvPr>
          <p:cNvGrpSpPr/>
          <p:nvPr/>
        </p:nvGrpSpPr>
        <p:grpSpPr>
          <a:xfrm>
            <a:off x="6436154" y="-838"/>
            <a:ext cx="5755846" cy="6858838"/>
            <a:chOff x="6436154" y="-838"/>
            <a:chExt cx="5755846" cy="6858838"/>
          </a:xfrm>
        </p:grpSpPr>
        <p:sp>
          <p:nvSpPr>
            <p:cNvPr id="162" name="Полилиния: фигура 29">
              <a:extLst>
                <a:ext uri="{FF2B5EF4-FFF2-40B4-BE49-F238E27FC236}">
                  <a16:creationId xmlns:a16="http://schemas.microsoft.com/office/drawing/2014/main" id="{7AE37D25-279B-FAD5-AEE7-483751C79B9B}"/>
                </a:ext>
              </a:extLst>
            </p:cNvPr>
            <p:cNvSpPr/>
            <p:nvPr/>
          </p:nvSpPr>
          <p:spPr>
            <a:xfrm>
              <a:off x="9306282" y="5879124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Полилиния: фигура 30">
              <a:extLst>
                <a:ext uri="{FF2B5EF4-FFF2-40B4-BE49-F238E27FC236}">
                  <a16:creationId xmlns:a16="http://schemas.microsoft.com/office/drawing/2014/main" id="{AC1D7F98-B9D9-57B7-CC22-7DF1DAED54CF}"/>
                </a:ext>
              </a:extLst>
            </p:cNvPr>
            <p:cNvSpPr/>
            <p:nvPr/>
          </p:nvSpPr>
          <p:spPr>
            <a:xfrm>
              <a:off x="9795720" y="5879124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35">
              <a:extLst>
                <a:ext uri="{FF2B5EF4-FFF2-40B4-BE49-F238E27FC236}">
                  <a16:creationId xmlns:a16="http://schemas.microsoft.com/office/drawing/2014/main" id="{1EC629B3-F129-7CF7-A2BD-42A84E922D3C}"/>
                </a:ext>
              </a:extLst>
            </p:cNvPr>
            <p:cNvSpPr/>
            <p:nvPr/>
          </p:nvSpPr>
          <p:spPr>
            <a:xfrm rot="16200000">
              <a:off x="11213124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noFill/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Полилиния: фигура 32">
              <a:extLst>
                <a:ext uri="{FF2B5EF4-FFF2-40B4-BE49-F238E27FC236}">
                  <a16:creationId xmlns:a16="http://schemas.microsoft.com/office/drawing/2014/main" id="{9399CA00-A682-3BD2-C663-F3FEA23DE7A8}"/>
                </a:ext>
              </a:extLst>
            </p:cNvPr>
            <p:cNvSpPr/>
            <p:nvPr/>
          </p:nvSpPr>
          <p:spPr>
            <a:xfrm rot="5400000">
              <a:off x="10234009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Полилиния: фигура 37">
              <a:extLst>
                <a:ext uri="{FF2B5EF4-FFF2-40B4-BE49-F238E27FC236}">
                  <a16:creationId xmlns:a16="http://schemas.microsoft.com/office/drawing/2014/main" id="{771D2AE4-D7A7-37B7-2A9F-C9F8B9B1DF1A}"/>
                </a:ext>
              </a:extLst>
            </p:cNvPr>
            <p:cNvSpPr/>
            <p:nvPr/>
          </p:nvSpPr>
          <p:spPr>
            <a:xfrm>
              <a:off x="10478966" y="6123843"/>
              <a:ext cx="489438" cy="489438"/>
            </a:xfrm>
            <a:custGeom>
              <a:avLst/>
              <a:gdLst>
                <a:gd name="connsiteX0" fmla="*/ 489438 w 489438"/>
                <a:gd name="connsiteY0" fmla="*/ 244719 h 489438"/>
                <a:gd name="connsiteX1" fmla="*/ 244719 w 489438"/>
                <a:gd name="connsiteY1" fmla="*/ 489438 h 489438"/>
                <a:gd name="connsiteX2" fmla="*/ 0 w 489438"/>
                <a:gd name="connsiteY2" fmla="*/ 244719 h 489438"/>
                <a:gd name="connsiteX3" fmla="*/ 244719 w 489438"/>
                <a:gd name="connsiteY3" fmla="*/ 0 h 489438"/>
                <a:gd name="connsiteX4" fmla="*/ 489438 w 489438"/>
                <a:gd name="connsiteY4" fmla="*/ 244719 h 48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438" h="489438">
                  <a:moveTo>
                    <a:pt x="489438" y="244719"/>
                  </a:moveTo>
                  <a:cubicBezTo>
                    <a:pt x="489438" y="379874"/>
                    <a:pt x="379874" y="489438"/>
                    <a:pt x="244719" y="489438"/>
                  </a:cubicBezTo>
                  <a:cubicBezTo>
                    <a:pt x="109564" y="489438"/>
                    <a:pt x="0" y="379874"/>
                    <a:pt x="0" y="244719"/>
                  </a:cubicBezTo>
                  <a:cubicBezTo>
                    <a:pt x="0" y="109564"/>
                    <a:pt x="109564" y="0"/>
                    <a:pt x="244719" y="0"/>
                  </a:cubicBezTo>
                  <a:cubicBezTo>
                    <a:pt x="379874" y="0"/>
                    <a:pt x="489438" y="109564"/>
                    <a:pt x="489438" y="244719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Полилиния: фигура 36">
              <a:extLst>
                <a:ext uri="{FF2B5EF4-FFF2-40B4-BE49-F238E27FC236}">
                  <a16:creationId xmlns:a16="http://schemas.microsoft.com/office/drawing/2014/main" id="{97BFECD6-3F78-D810-D06D-4DB788A24550}"/>
                </a:ext>
              </a:extLst>
            </p:cNvPr>
            <p:cNvSpPr/>
            <p:nvPr/>
          </p:nvSpPr>
          <p:spPr>
            <a:xfrm rot="5400000">
              <a:off x="10234247" y="4900247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38">
              <a:extLst>
                <a:ext uri="{FF2B5EF4-FFF2-40B4-BE49-F238E27FC236}">
                  <a16:creationId xmlns:a16="http://schemas.microsoft.com/office/drawing/2014/main" id="{541C9ACD-568F-8637-D608-4D98DE612750}"/>
                </a:ext>
              </a:extLst>
            </p:cNvPr>
            <p:cNvSpPr/>
            <p:nvPr/>
          </p:nvSpPr>
          <p:spPr>
            <a:xfrm>
              <a:off x="10234247" y="4900247"/>
              <a:ext cx="978876" cy="978876"/>
            </a:xfrm>
            <a:custGeom>
              <a:avLst/>
              <a:gdLst>
                <a:gd name="connsiteX0" fmla="*/ 978567 w 978876"/>
                <a:gd name="connsiteY0" fmla="*/ -240 h 978876"/>
                <a:gd name="connsiteX1" fmla="*/ -310 w 978876"/>
                <a:gd name="connsiteY1" fmla="*/ 978637 h 978876"/>
                <a:gd name="connsiteX2" fmla="*/ 978567 w 978876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8876" h="978876">
                  <a:moveTo>
                    <a:pt x="978567" y="-240"/>
                  </a:moveTo>
                  <a:cubicBezTo>
                    <a:pt x="437953" y="-240"/>
                    <a:pt x="-310" y="438022"/>
                    <a:pt x="-310" y="978637"/>
                  </a:cubicBezTo>
                  <a:cubicBezTo>
                    <a:pt x="540304" y="978637"/>
                    <a:pt x="978567" y="540374"/>
                    <a:pt x="978567" y="-240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Полилиния: фигура 39">
              <a:extLst>
                <a:ext uri="{FF2B5EF4-FFF2-40B4-BE49-F238E27FC236}">
                  <a16:creationId xmlns:a16="http://schemas.microsoft.com/office/drawing/2014/main" id="{2CEFE2E8-C801-B2DF-C309-266491FD61D3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Полилиния: фигура 40">
              <a:extLst>
                <a:ext uri="{FF2B5EF4-FFF2-40B4-BE49-F238E27FC236}">
                  <a16:creationId xmlns:a16="http://schemas.microsoft.com/office/drawing/2014/main" id="{5A76BE50-F569-D366-7AB1-3FACC18FC8FD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Полилиния: фигура 41">
              <a:extLst>
                <a:ext uri="{FF2B5EF4-FFF2-40B4-BE49-F238E27FC236}">
                  <a16:creationId xmlns:a16="http://schemas.microsoft.com/office/drawing/2014/main" id="{FE22727D-1C1D-4E79-495B-FC295573D98A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Полилиния: фигура 42">
              <a:extLst>
                <a:ext uri="{FF2B5EF4-FFF2-40B4-BE49-F238E27FC236}">
                  <a16:creationId xmlns:a16="http://schemas.microsoft.com/office/drawing/2014/main" id="{77B5FFA8-6C14-166E-0498-93163BC1066B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Полилиния: фигура 43">
              <a:extLst>
                <a:ext uri="{FF2B5EF4-FFF2-40B4-BE49-F238E27FC236}">
                  <a16:creationId xmlns:a16="http://schemas.microsoft.com/office/drawing/2014/main" id="{DFC74432-806C-FE9B-3172-74E47A38D527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2"/>
                </a:solidFill>
              </a:endParaRPr>
            </a:p>
          </p:txBody>
        </p:sp>
        <p:grpSp>
          <p:nvGrpSpPr>
            <p:cNvPr id="174" name="Группа 145">
              <a:extLst>
                <a:ext uri="{FF2B5EF4-FFF2-40B4-BE49-F238E27FC236}">
                  <a16:creationId xmlns:a16="http://schemas.microsoft.com/office/drawing/2014/main" id="{BBD5BFD8-DD3E-902E-5832-1A201C6D220F}"/>
                </a:ext>
              </a:extLst>
            </p:cNvPr>
            <p:cNvGrpSpPr/>
            <p:nvPr/>
          </p:nvGrpSpPr>
          <p:grpSpPr>
            <a:xfrm>
              <a:off x="11482993" y="6055615"/>
              <a:ext cx="204201" cy="625502"/>
              <a:chOff x="11482993" y="6055615"/>
              <a:chExt cx="204201" cy="625502"/>
            </a:xfrm>
          </p:grpSpPr>
          <p:sp>
            <p:nvSpPr>
              <p:cNvPr id="244" name="Полилиния: фигура 44">
                <a:extLst>
                  <a:ext uri="{FF2B5EF4-FFF2-40B4-BE49-F238E27FC236}">
                    <a16:creationId xmlns:a16="http://schemas.microsoft.com/office/drawing/2014/main" id="{BBA50A16-7AD7-629F-F2D8-D5EC976D3A5E}"/>
                  </a:ext>
                </a:extLst>
              </p:cNvPr>
              <p:cNvSpPr/>
              <p:nvPr/>
            </p:nvSpPr>
            <p:spPr>
              <a:xfrm>
                <a:off x="11547704" y="6327156"/>
                <a:ext cx="74786" cy="353961"/>
              </a:xfrm>
              <a:custGeom>
                <a:avLst/>
                <a:gdLst>
                  <a:gd name="connsiteX0" fmla="*/ 37083 w 74786"/>
                  <a:gd name="connsiteY0" fmla="*/ 353722 h 353961"/>
                  <a:gd name="connsiteX1" fmla="*/ 37083 w 74786"/>
                  <a:gd name="connsiteY1" fmla="*/ 353722 h 353961"/>
                  <a:gd name="connsiteX2" fmla="*/ 74476 w 74786"/>
                  <a:gd name="connsiteY2" fmla="*/ 316328 h 353961"/>
                  <a:gd name="connsiteX3" fmla="*/ 74476 w 74786"/>
                  <a:gd name="connsiteY3" fmla="*/ -240 h 353961"/>
                  <a:gd name="connsiteX4" fmla="*/ -310 w 74786"/>
                  <a:gd name="connsiteY4" fmla="*/ -240 h 353961"/>
                  <a:gd name="connsiteX5" fmla="*/ -310 w 74786"/>
                  <a:gd name="connsiteY5" fmla="*/ 316328 h 353961"/>
                  <a:gd name="connsiteX6" fmla="*/ 37083 w 74786"/>
                  <a:gd name="connsiteY6" fmla="*/ 353722 h 353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353961">
                    <a:moveTo>
                      <a:pt x="37083" y="353722"/>
                    </a:moveTo>
                    <a:lnTo>
                      <a:pt x="37083" y="353722"/>
                    </a:lnTo>
                    <a:cubicBezTo>
                      <a:pt x="57737" y="353722"/>
                      <a:pt x="74476" y="336983"/>
                      <a:pt x="74476" y="316328"/>
                    </a:cubicBezTo>
                    <a:lnTo>
                      <a:pt x="74476" y="-240"/>
                    </a:lnTo>
                    <a:lnTo>
                      <a:pt x="-310" y="-240"/>
                    </a:lnTo>
                    <a:lnTo>
                      <a:pt x="-310" y="316328"/>
                    </a:lnTo>
                    <a:cubicBezTo>
                      <a:pt x="-310" y="336983"/>
                      <a:pt x="16429" y="353722"/>
                      <a:pt x="37083" y="353722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Полилиния: фигура 45">
                <a:extLst>
                  <a:ext uri="{FF2B5EF4-FFF2-40B4-BE49-F238E27FC236}">
                    <a16:creationId xmlns:a16="http://schemas.microsoft.com/office/drawing/2014/main" id="{D5720F4F-4224-CC6B-B843-E58AA10355BA}"/>
                  </a:ext>
                </a:extLst>
              </p:cNvPr>
              <p:cNvSpPr/>
              <p:nvPr/>
            </p:nvSpPr>
            <p:spPr>
              <a:xfrm>
                <a:off x="11482993" y="6055615"/>
                <a:ext cx="204201" cy="288885"/>
              </a:xfrm>
              <a:custGeom>
                <a:avLst/>
                <a:gdLst>
                  <a:gd name="connsiteX0" fmla="*/ 162974 w 204201"/>
                  <a:gd name="connsiteY0" fmla="*/ 20512 h 288885"/>
                  <a:gd name="connsiteX1" fmla="*/ 162974 w 204201"/>
                  <a:gd name="connsiteY1" fmla="*/ 165875 h 288885"/>
                  <a:gd name="connsiteX2" fmla="*/ 143984 w 204201"/>
                  <a:gd name="connsiteY2" fmla="*/ 187694 h 288885"/>
                  <a:gd name="connsiteX3" fmla="*/ 122155 w 204201"/>
                  <a:gd name="connsiteY3" fmla="*/ 168704 h 288885"/>
                  <a:gd name="connsiteX4" fmla="*/ 122155 w 204201"/>
                  <a:gd name="connsiteY4" fmla="*/ 165875 h 288885"/>
                  <a:gd name="connsiteX5" fmla="*/ 122155 w 204201"/>
                  <a:gd name="connsiteY5" fmla="*/ 20512 h 288885"/>
                  <a:gd name="connsiteX6" fmla="*/ 101794 w 204201"/>
                  <a:gd name="connsiteY6" fmla="*/ 151 h 288885"/>
                  <a:gd name="connsiteX7" fmla="*/ 101794 w 204201"/>
                  <a:gd name="connsiteY7" fmla="*/ 151 h 288885"/>
                  <a:gd name="connsiteX8" fmla="*/ 81336 w 204201"/>
                  <a:gd name="connsiteY8" fmla="*/ 20512 h 288885"/>
                  <a:gd name="connsiteX9" fmla="*/ 81336 w 204201"/>
                  <a:gd name="connsiteY9" fmla="*/ 165875 h 288885"/>
                  <a:gd name="connsiteX10" fmla="*/ 62336 w 204201"/>
                  <a:gd name="connsiteY10" fmla="*/ 187694 h 288885"/>
                  <a:gd name="connsiteX11" fmla="*/ 40517 w 204201"/>
                  <a:gd name="connsiteY11" fmla="*/ 168704 h 288885"/>
                  <a:gd name="connsiteX12" fmla="*/ 40517 w 204201"/>
                  <a:gd name="connsiteY12" fmla="*/ 165875 h 288885"/>
                  <a:gd name="connsiteX13" fmla="*/ 40517 w 204201"/>
                  <a:gd name="connsiteY13" fmla="*/ 20512 h 288885"/>
                  <a:gd name="connsiteX14" fmla="*/ 18688 w 204201"/>
                  <a:gd name="connsiteY14" fmla="*/ 1522 h 288885"/>
                  <a:gd name="connsiteX15" fmla="*/ -302 w 204201"/>
                  <a:gd name="connsiteY15" fmla="*/ 20512 h 288885"/>
                  <a:gd name="connsiteX16" fmla="*/ -302 w 204201"/>
                  <a:gd name="connsiteY16" fmla="*/ 183201 h 288885"/>
                  <a:gd name="connsiteX17" fmla="*/ 99837 w 204201"/>
                  <a:gd name="connsiteY17" fmla="*/ 288626 h 288885"/>
                  <a:gd name="connsiteX18" fmla="*/ 203871 w 204201"/>
                  <a:gd name="connsiteY18" fmla="*/ 188507 h 288885"/>
                  <a:gd name="connsiteX19" fmla="*/ 203891 w 204201"/>
                  <a:gd name="connsiteY19" fmla="*/ 186627 h 288885"/>
                  <a:gd name="connsiteX20" fmla="*/ 203891 w 204201"/>
                  <a:gd name="connsiteY20" fmla="*/ 20218 h 288885"/>
                  <a:gd name="connsiteX21" fmla="*/ 183433 w 204201"/>
                  <a:gd name="connsiteY21" fmla="*/ -240 h 288885"/>
                  <a:gd name="connsiteX22" fmla="*/ 162974 w 204201"/>
                  <a:gd name="connsiteY22" fmla="*/ 20218 h 28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201" h="288885">
                    <a:moveTo>
                      <a:pt x="162974" y="20512"/>
                    </a:moveTo>
                    <a:lnTo>
                      <a:pt x="162974" y="165875"/>
                    </a:lnTo>
                    <a:cubicBezTo>
                      <a:pt x="163757" y="177142"/>
                      <a:pt x="155251" y="186921"/>
                      <a:pt x="143984" y="187694"/>
                    </a:cubicBezTo>
                    <a:cubicBezTo>
                      <a:pt x="132708" y="188478"/>
                      <a:pt x="122938" y="179971"/>
                      <a:pt x="122155" y="168704"/>
                    </a:cubicBezTo>
                    <a:cubicBezTo>
                      <a:pt x="122087" y="167764"/>
                      <a:pt x="122087" y="166815"/>
                      <a:pt x="122155" y="165875"/>
                    </a:cubicBezTo>
                    <a:lnTo>
                      <a:pt x="122155" y="20512"/>
                    </a:lnTo>
                    <a:cubicBezTo>
                      <a:pt x="122155" y="9264"/>
                      <a:pt x="113042" y="151"/>
                      <a:pt x="101794" y="151"/>
                    </a:cubicBezTo>
                    <a:lnTo>
                      <a:pt x="101794" y="151"/>
                    </a:lnTo>
                    <a:cubicBezTo>
                      <a:pt x="90537" y="151"/>
                      <a:pt x="81395" y="9255"/>
                      <a:pt x="81336" y="20512"/>
                    </a:cubicBezTo>
                    <a:lnTo>
                      <a:pt x="81336" y="165875"/>
                    </a:lnTo>
                    <a:cubicBezTo>
                      <a:pt x="82119" y="177142"/>
                      <a:pt x="73612" y="186921"/>
                      <a:pt x="62336" y="187694"/>
                    </a:cubicBezTo>
                    <a:cubicBezTo>
                      <a:pt x="51069" y="188478"/>
                      <a:pt x="41300" y="179971"/>
                      <a:pt x="40517" y="168704"/>
                    </a:cubicBezTo>
                    <a:cubicBezTo>
                      <a:pt x="40448" y="167764"/>
                      <a:pt x="40448" y="166815"/>
                      <a:pt x="40517" y="165875"/>
                    </a:cubicBezTo>
                    <a:lnTo>
                      <a:pt x="40517" y="20512"/>
                    </a:lnTo>
                    <a:cubicBezTo>
                      <a:pt x="39733" y="9245"/>
                      <a:pt x="29964" y="739"/>
                      <a:pt x="18688" y="1522"/>
                    </a:cubicBezTo>
                    <a:cubicBezTo>
                      <a:pt x="8507" y="2226"/>
                      <a:pt x="403" y="10331"/>
                      <a:pt x="-302" y="20512"/>
                    </a:cubicBezTo>
                    <a:lnTo>
                      <a:pt x="-302" y="183201"/>
                    </a:lnTo>
                    <a:cubicBezTo>
                      <a:pt x="-978" y="239663"/>
                      <a:pt x="43414" y="286404"/>
                      <a:pt x="99837" y="288626"/>
                    </a:cubicBezTo>
                    <a:cubicBezTo>
                      <a:pt x="156210" y="289713"/>
                      <a:pt x="202795" y="244880"/>
                      <a:pt x="203871" y="188507"/>
                    </a:cubicBezTo>
                    <a:cubicBezTo>
                      <a:pt x="203882" y="187880"/>
                      <a:pt x="203891" y="187254"/>
                      <a:pt x="203891" y="186627"/>
                    </a:cubicBezTo>
                    <a:lnTo>
                      <a:pt x="203891" y="20218"/>
                    </a:lnTo>
                    <a:cubicBezTo>
                      <a:pt x="203891" y="8922"/>
                      <a:pt x="194729" y="-240"/>
                      <a:pt x="183433" y="-240"/>
                    </a:cubicBezTo>
                    <a:cubicBezTo>
                      <a:pt x="172136" y="-240"/>
                      <a:pt x="162974" y="8922"/>
                      <a:pt x="162974" y="20218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75" name="Группа 146">
              <a:extLst>
                <a:ext uri="{FF2B5EF4-FFF2-40B4-BE49-F238E27FC236}">
                  <a16:creationId xmlns:a16="http://schemas.microsoft.com/office/drawing/2014/main" id="{3EC56F36-211F-8B4D-FCF9-75345C83DEBB}"/>
                </a:ext>
              </a:extLst>
            </p:cNvPr>
            <p:cNvGrpSpPr/>
            <p:nvPr/>
          </p:nvGrpSpPr>
          <p:grpSpPr>
            <a:xfrm>
              <a:off x="11717931" y="6056007"/>
              <a:ext cx="204193" cy="625110"/>
              <a:chOff x="11717931" y="6056007"/>
              <a:chExt cx="204193" cy="625110"/>
            </a:xfrm>
          </p:grpSpPr>
          <p:sp>
            <p:nvSpPr>
              <p:cNvPr id="242" name="Полилиния: фигура 46">
                <a:extLst>
                  <a:ext uri="{FF2B5EF4-FFF2-40B4-BE49-F238E27FC236}">
                    <a16:creationId xmlns:a16="http://schemas.microsoft.com/office/drawing/2014/main" id="{EE5E528E-80B1-3D17-9DD3-FCB9DE83E1B3}"/>
                  </a:ext>
                </a:extLst>
              </p:cNvPr>
              <p:cNvSpPr/>
              <p:nvPr/>
            </p:nvSpPr>
            <p:spPr>
              <a:xfrm>
                <a:off x="11782635" y="6056007"/>
                <a:ext cx="74786" cy="425224"/>
              </a:xfrm>
              <a:custGeom>
                <a:avLst/>
                <a:gdLst>
                  <a:gd name="connsiteX0" fmla="*/ 37083 w 74786"/>
                  <a:gd name="connsiteY0" fmla="*/ -240 h 425224"/>
                  <a:gd name="connsiteX1" fmla="*/ 37083 w 74786"/>
                  <a:gd name="connsiteY1" fmla="*/ -240 h 425224"/>
                  <a:gd name="connsiteX2" fmla="*/ -310 w 74786"/>
                  <a:gd name="connsiteY2" fmla="*/ 37153 h 425224"/>
                  <a:gd name="connsiteX3" fmla="*/ -310 w 74786"/>
                  <a:gd name="connsiteY3" fmla="*/ 424984 h 425224"/>
                  <a:gd name="connsiteX4" fmla="*/ 74476 w 74786"/>
                  <a:gd name="connsiteY4" fmla="*/ 424984 h 425224"/>
                  <a:gd name="connsiteX5" fmla="*/ 74476 w 74786"/>
                  <a:gd name="connsiteY5" fmla="*/ 37153 h 425224"/>
                  <a:gd name="connsiteX6" fmla="*/ 37083 w 74786"/>
                  <a:gd name="connsiteY6" fmla="*/ -240 h 42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425224">
                    <a:moveTo>
                      <a:pt x="37083" y="-240"/>
                    </a:moveTo>
                    <a:lnTo>
                      <a:pt x="37083" y="-240"/>
                    </a:lnTo>
                    <a:cubicBezTo>
                      <a:pt x="16429" y="-240"/>
                      <a:pt x="-310" y="16499"/>
                      <a:pt x="-310" y="37153"/>
                    </a:cubicBezTo>
                    <a:lnTo>
                      <a:pt x="-310" y="424984"/>
                    </a:lnTo>
                    <a:lnTo>
                      <a:pt x="74476" y="424984"/>
                    </a:lnTo>
                    <a:lnTo>
                      <a:pt x="74476" y="37153"/>
                    </a:lnTo>
                    <a:cubicBezTo>
                      <a:pt x="74476" y="16499"/>
                      <a:pt x="57737" y="-240"/>
                      <a:pt x="37083" y="-240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Полилиния: фигура 47">
                <a:extLst>
                  <a:ext uri="{FF2B5EF4-FFF2-40B4-BE49-F238E27FC236}">
                    <a16:creationId xmlns:a16="http://schemas.microsoft.com/office/drawing/2014/main" id="{9EC87D7A-39AB-4CD3-0F1C-31B70D227BE8}"/>
                  </a:ext>
                </a:extLst>
              </p:cNvPr>
              <p:cNvSpPr/>
              <p:nvPr/>
            </p:nvSpPr>
            <p:spPr>
              <a:xfrm>
                <a:off x="11717931" y="6392545"/>
                <a:ext cx="204193" cy="288572"/>
              </a:xfrm>
              <a:custGeom>
                <a:avLst/>
                <a:gdLst>
                  <a:gd name="connsiteX0" fmla="*/ 101787 w 204193"/>
                  <a:gd name="connsiteY0" fmla="*/ 288333 h 288572"/>
                  <a:gd name="connsiteX1" fmla="*/ 203884 w 204193"/>
                  <a:gd name="connsiteY1" fmla="*/ 186236 h 288572"/>
                  <a:gd name="connsiteX2" fmla="*/ 203884 w 204193"/>
                  <a:gd name="connsiteY2" fmla="*/ 101857 h 288572"/>
                  <a:gd name="connsiteX3" fmla="*/ 101787 w 204193"/>
                  <a:gd name="connsiteY3" fmla="*/ -240 h 288572"/>
                  <a:gd name="connsiteX4" fmla="*/ -310 w 204193"/>
                  <a:gd name="connsiteY4" fmla="*/ 101857 h 288572"/>
                  <a:gd name="connsiteX5" fmla="*/ -310 w 204193"/>
                  <a:gd name="connsiteY5" fmla="*/ 186236 h 288572"/>
                  <a:gd name="connsiteX6" fmla="*/ 101787 w 204193"/>
                  <a:gd name="connsiteY6" fmla="*/ 288333 h 28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193" h="288572">
                    <a:moveTo>
                      <a:pt x="101787" y="288333"/>
                    </a:moveTo>
                    <a:cubicBezTo>
                      <a:pt x="158170" y="288333"/>
                      <a:pt x="203884" y="242619"/>
                      <a:pt x="203884" y="186236"/>
                    </a:cubicBezTo>
                    <a:lnTo>
                      <a:pt x="203884" y="101857"/>
                    </a:lnTo>
                    <a:cubicBezTo>
                      <a:pt x="203884" y="45473"/>
                      <a:pt x="158170" y="-240"/>
                      <a:pt x="101787" y="-240"/>
                    </a:cubicBezTo>
                    <a:cubicBezTo>
                      <a:pt x="45403" y="-240"/>
                      <a:pt x="-310" y="45473"/>
                      <a:pt x="-310" y="101857"/>
                    </a:cubicBezTo>
                    <a:lnTo>
                      <a:pt x="-310" y="186236"/>
                    </a:lnTo>
                    <a:cubicBezTo>
                      <a:pt x="-310" y="242619"/>
                      <a:pt x="45403" y="288333"/>
                      <a:pt x="101787" y="288333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6" name="Полилиния: фигура 56">
              <a:extLst>
                <a:ext uri="{FF2B5EF4-FFF2-40B4-BE49-F238E27FC236}">
                  <a16:creationId xmlns:a16="http://schemas.microsoft.com/office/drawing/2014/main" id="{6E6199AE-034D-751B-0B41-16843783D52E}"/>
                </a:ext>
              </a:extLst>
            </p:cNvPr>
            <p:cNvSpPr/>
            <p:nvPr/>
          </p:nvSpPr>
          <p:spPr>
            <a:xfrm>
              <a:off x="9252833" y="0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Полилиния: фигура 57">
              <a:extLst>
                <a:ext uri="{FF2B5EF4-FFF2-40B4-BE49-F238E27FC236}">
                  <a16:creationId xmlns:a16="http://schemas.microsoft.com/office/drawing/2014/main" id="{9B637539-34B8-C902-670F-61DA69B52B5E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Полилиния: фигура 59">
              <a:extLst>
                <a:ext uri="{FF2B5EF4-FFF2-40B4-BE49-F238E27FC236}">
                  <a16:creationId xmlns:a16="http://schemas.microsoft.com/office/drawing/2014/main" id="{F5129B11-D1CB-5277-B291-BC940C69B3B7}"/>
                </a:ext>
              </a:extLst>
            </p:cNvPr>
            <p:cNvSpPr/>
            <p:nvPr/>
          </p:nvSpPr>
          <p:spPr>
            <a:xfrm rot="16200000">
              <a:off x="7297491" y="4107"/>
              <a:ext cx="978852" cy="972412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Полилиния: фигура 60">
              <a:extLst>
                <a:ext uri="{FF2B5EF4-FFF2-40B4-BE49-F238E27FC236}">
                  <a16:creationId xmlns:a16="http://schemas.microsoft.com/office/drawing/2014/main" id="{974EF996-E4A2-7F1D-39E1-C0E93962FF0D}"/>
                </a:ext>
              </a:extLst>
            </p:cNvPr>
            <p:cNvSpPr/>
            <p:nvPr/>
          </p:nvSpPr>
          <p:spPr>
            <a:xfrm>
              <a:off x="7288368" y="489882"/>
              <a:ext cx="494894" cy="495482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Полилиния: фигура 61">
              <a:extLst>
                <a:ext uri="{FF2B5EF4-FFF2-40B4-BE49-F238E27FC236}">
                  <a16:creationId xmlns:a16="http://schemas.microsoft.com/office/drawing/2014/main" id="{2109B157-2DB2-D42E-0D05-727A20A19A9C}"/>
                </a:ext>
              </a:extLst>
            </p:cNvPr>
            <p:cNvSpPr/>
            <p:nvPr/>
          </p:nvSpPr>
          <p:spPr>
            <a:xfrm>
              <a:off x="7284210" y="25"/>
              <a:ext cx="499051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Полилиния: фигура 62">
              <a:extLst>
                <a:ext uri="{FF2B5EF4-FFF2-40B4-BE49-F238E27FC236}">
                  <a16:creationId xmlns:a16="http://schemas.microsoft.com/office/drawing/2014/main" id="{1DF63EB9-998D-F6DC-0EA8-B1427C621F3D}"/>
                </a:ext>
              </a:extLst>
            </p:cNvPr>
            <p:cNvSpPr/>
            <p:nvPr/>
          </p:nvSpPr>
          <p:spPr>
            <a:xfrm>
              <a:off x="7774067" y="25"/>
              <a:ext cx="499051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Полилиния: фигура 63">
              <a:extLst>
                <a:ext uri="{FF2B5EF4-FFF2-40B4-BE49-F238E27FC236}">
                  <a16:creationId xmlns:a16="http://schemas.microsoft.com/office/drawing/2014/main" id="{D859794D-6835-2E5D-0A71-C4015F66C477}"/>
                </a:ext>
              </a:extLst>
            </p:cNvPr>
            <p:cNvSpPr/>
            <p:nvPr/>
          </p:nvSpPr>
          <p:spPr>
            <a:xfrm>
              <a:off x="7778225" y="489882"/>
              <a:ext cx="494894" cy="495482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Полилиния: фигура 65">
              <a:extLst>
                <a:ext uri="{FF2B5EF4-FFF2-40B4-BE49-F238E27FC236}">
                  <a16:creationId xmlns:a16="http://schemas.microsoft.com/office/drawing/2014/main" id="{8D146B39-1CF3-38A2-02D7-8EEE1021B295}"/>
                </a:ext>
              </a:extLst>
            </p:cNvPr>
            <p:cNvSpPr/>
            <p:nvPr/>
          </p:nvSpPr>
          <p:spPr>
            <a:xfrm rot="16200000">
              <a:off x="10229303" y="2406"/>
              <a:ext cx="986202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66">
              <a:extLst>
                <a:ext uri="{FF2B5EF4-FFF2-40B4-BE49-F238E27FC236}">
                  <a16:creationId xmlns:a16="http://schemas.microsoft.com/office/drawing/2014/main" id="{808F38F4-0E60-680B-48D4-095F2B513E1F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Полилиния: фигура 67">
              <a:extLst>
                <a:ext uri="{FF2B5EF4-FFF2-40B4-BE49-F238E27FC236}">
                  <a16:creationId xmlns:a16="http://schemas.microsoft.com/office/drawing/2014/main" id="{C89429AF-71A5-1284-B6E1-D71AABE0B71D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Полилиния: фигура 68">
              <a:extLst>
                <a:ext uri="{FF2B5EF4-FFF2-40B4-BE49-F238E27FC236}">
                  <a16:creationId xmlns:a16="http://schemas.microsoft.com/office/drawing/2014/main" id="{C405CC03-1321-0681-8E46-9ED5F4699D77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Полилиния: фигура 69">
              <a:extLst>
                <a:ext uri="{FF2B5EF4-FFF2-40B4-BE49-F238E27FC236}">
                  <a16:creationId xmlns:a16="http://schemas.microsoft.com/office/drawing/2014/main" id="{47E90767-1CD4-229E-F8B8-B9F62694FD46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Полилиния: фигура 71">
              <a:extLst>
                <a:ext uri="{FF2B5EF4-FFF2-40B4-BE49-F238E27FC236}">
                  <a16:creationId xmlns:a16="http://schemas.microsoft.com/office/drawing/2014/main" id="{7577D1C3-34C5-3C69-A9A7-CC93CEC67644}"/>
                </a:ext>
              </a:extLst>
            </p:cNvPr>
            <p:cNvSpPr/>
            <p:nvPr/>
          </p:nvSpPr>
          <p:spPr>
            <a:xfrm rot="16200000">
              <a:off x="8273043" y="4107"/>
              <a:ext cx="978852" cy="972411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9" name="Группа 133">
              <a:extLst>
                <a:ext uri="{FF2B5EF4-FFF2-40B4-BE49-F238E27FC236}">
                  <a16:creationId xmlns:a16="http://schemas.microsoft.com/office/drawing/2014/main" id="{038C248A-533D-7B45-7FF8-783145FF53E9}"/>
                </a:ext>
              </a:extLst>
            </p:cNvPr>
            <p:cNvGrpSpPr/>
            <p:nvPr/>
          </p:nvGrpSpPr>
          <p:grpSpPr>
            <a:xfrm>
              <a:off x="8460243" y="187150"/>
              <a:ext cx="605463" cy="605463"/>
              <a:chOff x="8460243" y="187150"/>
              <a:chExt cx="605463" cy="605463"/>
            </a:xfrm>
          </p:grpSpPr>
          <p:sp>
            <p:nvSpPr>
              <p:cNvPr id="240" name="Полилиния: фигура 72">
                <a:extLst>
                  <a:ext uri="{FF2B5EF4-FFF2-40B4-BE49-F238E27FC236}">
                    <a16:creationId xmlns:a16="http://schemas.microsoft.com/office/drawing/2014/main" id="{94AE1B0D-F2A2-80E9-FDB9-FB89DE377F2C}"/>
                  </a:ext>
                </a:extLst>
              </p:cNvPr>
              <p:cNvSpPr/>
              <p:nvPr userDrawn="1"/>
            </p:nvSpPr>
            <p:spPr>
              <a:xfrm>
                <a:off x="8592015" y="318922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1" y="341920"/>
                      <a:pt x="0" y="265379"/>
                      <a:pt x="0" y="170960"/>
                    </a:cubicBezTo>
                    <a:cubicBezTo>
                      <a:pt x="0" y="76541"/>
                      <a:pt x="76541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Полилиния: фигура 73">
                <a:extLst>
                  <a:ext uri="{FF2B5EF4-FFF2-40B4-BE49-F238E27FC236}">
                    <a16:creationId xmlns:a16="http://schemas.microsoft.com/office/drawing/2014/main" id="{C3CE0353-B3A6-B07F-A4F3-82D85DE782BE}"/>
                  </a:ext>
                </a:extLst>
              </p:cNvPr>
              <p:cNvSpPr/>
              <p:nvPr userDrawn="1"/>
            </p:nvSpPr>
            <p:spPr>
              <a:xfrm>
                <a:off x="8460243" y="187150"/>
                <a:ext cx="605463" cy="605463"/>
              </a:xfrm>
              <a:custGeom>
                <a:avLst/>
                <a:gdLst>
                  <a:gd name="connsiteX0" fmla="*/ 302422 w 605463"/>
                  <a:gd name="connsiteY0" fmla="*/ -240 h 605463"/>
                  <a:gd name="connsiteX1" fmla="*/ 273031 w 605463"/>
                  <a:gd name="connsiteY1" fmla="*/ 29151 h 605463"/>
                  <a:gd name="connsiteX2" fmla="*/ 273031 w 605463"/>
                  <a:gd name="connsiteY2" fmla="*/ 72847 h 605463"/>
                  <a:gd name="connsiteX3" fmla="*/ 302422 w 605463"/>
                  <a:gd name="connsiteY3" fmla="*/ 102238 h 605463"/>
                  <a:gd name="connsiteX4" fmla="*/ 331813 w 605463"/>
                  <a:gd name="connsiteY4" fmla="*/ 72847 h 605463"/>
                  <a:gd name="connsiteX5" fmla="*/ 331813 w 605463"/>
                  <a:gd name="connsiteY5" fmla="*/ 29151 h 605463"/>
                  <a:gd name="connsiteX6" fmla="*/ 302422 w 605463"/>
                  <a:gd name="connsiteY6" fmla="*/ -240 h 605463"/>
                  <a:gd name="connsiteX7" fmla="*/ 302422 w 605463"/>
                  <a:gd name="connsiteY7" fmla="*/ 502745 h 605463"/>
                  <a:gd name="connsiteX8" fmla="*/ 273031 w 605463"/>
                  <a:gd name="connsiteY8" fmla="*/ 532137 h 605463"/>
                  <a:gd name="connsiteX9" fmla="*/ 273031 w 605463"/>
                  <a:gd name="connsiteY9" fmla="*/ 575832 h 605463"/>
                  <a:gd name="connsiteX10" fmla="*/ 302422 w 605463"/>
                  <a:gd name="connsiteY10" fmla="*/ 605223 h 605463"/>
                  <a:gd name="connsiteX11" fmla="*/ 331813 w 605463"/>
                  <a:gd name="connsiteY11" fmla="*/ 575832 h 605463"/>
                  <a:gd name="connsiteX12" fmla="*/ 331813 w 605463"/>
                  <a:gd name="connsiteY12" fmla="*/ 532137 h 605463"/>
                  <a:gd name="connsiteX13" fmla="*/ 302422 w 605463"/>
                  <a:gd name="connsiteY13" fmla="*/ 502745 h 605463"/>
                  <a:gd name="connsiteX14" fmla="*/ 102169 w 605463"/>
                  <a:gd name="connsiteY14" fmla="*/ 302492 h 605463"/>
                  <a:gd name="connsiteX15" fmla="*/ 72778 w 605463"/>
                  <a:gd name="connsiteY15" fmla="*/ 273100 h 605463"/>
                  <a:gd name="connsiteX16" fmla="*/ 29081 w 605463"/>
                  <a:gd name="connsiteY16" fmla="*/ 273100 h 605463"/>
                  <a:gd name="connsiteX17" fmla="*/ -310 w 605463"/>
                  <a:gd name="connsiteY17" fmla="*/ 302492 h 605463"/>
                  <a:gd name="connsiteX18" fmla="*/ 29081 w 605463"/>
                  <a:gd name="connsiteY18" fmla="*/ 331883 h 605463"/>
                  <a:gd name="connsiteX19" fmla="*/ 72778 w 605463"/>
                  <a:gd name="connsiteY19" fmla="*/ 331883 h 605463"/>
                  <a:gd name="connsiteX20" fmla="*/ 102169 w 605463"/>
                  <a:gd name="connsiteY20" fmla="*/ 302492 h 605463"/>
                  <a:gd name="connsiteX21" fmla="*/ 575763 w 605463"/>
                  <a:gd name="connsiteY21" fmla="*/ 273100 h 605463"/>
                  <a:gd name="connsiteX22" fmla="*/ 532066 w 605463"/>
                  <a:gd name="connsiteY22" fmla="*/ 273100 h 605463"/>
                  <a:gd name="connsiteX23" fmla="*/ 502675 w 605463"/>
                  <a:gd name="connsiteY23" fmla="*/ 302492 h 605463"/>
                  <a:gd name="connsiteX24" fmla="*/ 532066 w 605463"/>
                  <a:gd name="connsiteY24" fmla="*/ 331883 h 605463"/>
                  <a:gd name="connsiteX25" fmla="*/ 575763 w 605463"/>
                  <a:gd name="connsiteY25" fmla="*/ 331883 h 605463"/>
                  <a:gd name="connsiteX26" fmla="*/ 605154 w 605463"/>
                  <a:gd name="connsiteY26" fmla="*/ 302492 h 605463"/>
                  <a:gd name="connsiteX27" fmla="*/ 575763 w 605463"/>
                  <a:gd name="connsiteY27" fmla="*/ 273100 h 605463"/>
                  <a:gd name="connsiteX28" fmla="*/ 129894 w 605463"/>
                  <a:gd name="connsiteY28" fmla="*/ 88424 h 605463"/>
                  <a:gd name="connsiteX29" fmla="*/ 88355 w 605463"/>
                  <a:gd name="connsiteY29" fmla="*/ 86955 h 605463"/>
                  <a:gd name="connsiteX30" fmla="*/ 86885 w 605463"/>
                  <a:gd name="connsiteY30" fmla="*/ 128494 h 605463"/>
                  <a:gd name="connsiteX31" fmla="*/ 88355 w 605463"/>
                  <a:gd name="connsiteY31" fmla="*/ 129964 h 605463"/>
                  <a:gd name="connsiteX32" fmla="*/ 119216 w 605463"/>
                  <a:gd name="connsiteY32" fmla="*/ 160923 h 605463"/>
                  <a:gd name="connsiteX33" fmla="*/ 160854 w 605463"/>
                  <a:gd name="connsiteY33" fmla="*/ 160923 h 605463"/>
                  <a:gd name="connsiteX34" fmla="*/ 160854 w 605463"/>
                  <a:gd name="connsiteY34" fmla="*/ 119285 h 605463"/>
                  <a:gd name="connsiteX35" fmla="*/ 485628 w 605463"/>
                  <a:gd name="connsiteY35" fmla="*/ 444061 h 605463"/>
                  <a:gd name="connsiteX36" fmla="*/ 443990 w 605463"/>
                  <a:gd name="connsiteY36" fmla="*/ 444061 h 605463"/>
                  <a:gd name="connsiteX37" fmla="*/ 443990 w 605463"/>
                  <a:gd name="connsiteY37" fmla="*/ 485698 h 605463"/>
                  <a:gd name="connsiteX38" fmla="*/ 474950 w 605463"/>
                  <a:gd name="connsiteY38" fmla="*/ 516559 h 605463"/>
                  <a:gd name="connsiteX39" fmla="*/ 516489 w 605463"/>
                  <a:gd name="connsiteY39" fmla="*/ 516559 h 605463"/>
                  <a:gd name="connsiteX40" fmla="*/ 516489 w 605463"/>
                  <a:gd name="connsiteY40" fmla="*/ 475019 h 605463"/>
                  <a:gd name="connsiteX41" fmla="*/ 119216 w 605463"/>
                  <a:gd name="connsiteY41" fmla="*/ 444061 h 605463"/>
                  <a:gd name="connsiteX42" fmla="*/ 88355 w 605463"/>
                  <a:gd name="connsiteY42" fmla="*/ 475019 h 605463"/>
                  <a:gd name="connsiteX43" fmla="*/ 88355 w 605463"/>
                  <a:gd name="connsiteY43" fmla="*/ 516589 h 605463"/>
                  <a:gd name="connsiteX44" fmla="*/ 109125 w 605463"/>
                  <a:gd name="connsiteY44" fmla="*/ 525181 h 605463"/>
                  <a:gd name="connsiteX45" fmla="*/ 129894 w 605463"/>
                  <a:gd name="connsiteY45" fmla="*/ 516559 h 605463"/>
                  <a:gd name="connsiteX46" fmla="*/ 160854 w 605463"/>
                  <a:gd name="connsiteY46" fmla="*/ 485698 h 605463"/>
                  <a:gd name="connsiteX47" fmla="*/ 160854 w 605463"/>
                  <a:gd name="connsiteY47" fmla="*/ 444061 h 605463"/>
                  <a:gd name="connsiteX48" fmla="*/ 119216 w 605463"/>
                  <a:gd name="connsiteY48" fmla="*/ 444061 h 605463"/>
                  <a:gd name="connsiteX49" fmla="*/ 464858 w 605463"/>
                  <a:gd name="connsiteY49" fmla="*/ 169740 h 605463"/>
                  <a:gd name="connsiteX50" fmla="*/ 485628 w 605463"/>
                  <a:gd name="connsiteY50" fmla="*/ 161217 h 605463"/>
                  <a:gd name="connsiteX51" fmla="*/ 516489 w 605463"/>
                  <a:gd name="connsiteY51" fmla="*/ 130258 h 605463"/>
                  <a:gd name="connsiteX52" fmla="*/ 517959 w 605463"/>
                  <a:gd name="connsiteY52" fmla="*/ 88718 h 605463"/>
                  <a:gd name="connsiteX53" fmla="*/ 476419 w 605463"/>
                  <a:gd name="connsiteY53" fmla="*/ 87248 h 605463"/>
                  <a:gd name="connsiteX54" fmla="*/ 474950 w 605463"/>
                  <a:gd name="connsiteY54" fmla="*/ 88718 h 605463"/>
                  <a:gd name="connsiteX55" fmla="*/ 443990 w 605463"/>
                  <a:gd name="connsiteY55" fmla="*/ 119579 h 605463"/>
                  <a:gd name="connsiteX56" fmla="*/ 443990 w 605463"/>
                  <a:gd name="connsiteY56" fmla="*/ 161148 h 605463"/>
                  <a:gd name="connsiteX57" fmla="*/ 464858 w 605463"/>
                  <a:gd name="connsiteY57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605463" h="605463">
                    <a:moveTo>
                      <a:pt x="302422" y="-240"/>
                    </a:moveTo>
                    <a:cubicBezTo>
                      <a:pt x="286158" y="-240"/>
                      <a:pt x="273031" y="12917"/>
                      <a:pt x="273031" y="29151"/>
                    </a:cubicBezTo>
                    <a:lnTo>
                      <a:pt x="273031" y="72847"/>
                    </a:lnTo>
                    <a:cubicBezTo>
                      <a:pt x="273031" y="89081"/>
                      <a:pt x="286158" y="102238"/>
                      <a:pt x="302422" y="102238"/>
                    </a:cubicBezTo>
                    <a:cubicBezTo>
                      <a:pt x="318686" y="102238"/>
                      <a:pt x="331813" y="89081"/>
                      <a:pt x="331813" y="72847"/>
                    </a:cubicBezTo>
                    <a:lnTo>
                      <a:pt x="331813" y="29151"/>
                    </a:lnTo>
                    <a:cubicBezTo>
                      <a:pt x="331813" y="12917"/>
                      <a:pt x="318686" y="-240"/>
                      <a:pt x="302422" y="-240"/>
                    </a:cubicBezTo>
                    <a:close/>
                    <a:moveTo>
                      <a:pt x="302422" y="502745"/>
                    </a:moveTo>
                    <a:cubicBezTo>
                      <a:pt x="286158" y="502745"/>
                      <a:pt x="273031" y="515903"/>
                      <a:pt x="273031" y="532137"/>
                    </a:cubicBezTo>
                    <a:lnTo>
                      <a:pt x="273031" y="575832"/>
                    </a:lnTo>
                    <a:cubicBezTo>
                      <a:pt x="273031" y="592066"/>
                      <a:pt x="286158" y="605223"/>
                      <a:pt x="302422" y="605223"/>
                    </a:cubicBezTo>
                    <a:cubicBezTo>
                      <a:pt x="318686" y="605223"/>
                      <a:pt x="331813" y="592066"/>
                      <a:pt x="331813" y="575832"/>
                    </a:cubicBezTo>
                    <a:lnTo>
                      <a:pt x="331813" y="532137"/>
                    </a:lnTo>
                    <a:cubicBezTo>
                      <a:pt x="331813" y="515903"/>
                      <a:pt x="318686" y="502745"/>
                      <a:pt x="302422" y="502745"/>
                    </a:cubicBezTo>
                    <a:close/>
                    <a:moveTo>
                      <a:pt x="102169" y="302492"/>
                    </a:moveTo>
                    <a:cubicBezTo>
                      <a:pt x="102169" y="286258"/>
                      <a:pt x="89040" y="273100"/>
                      <a:pt x="72778" y="273100"/>
                    </a:cubicBezTo>
                    <a:lnTo>
                      <a:pt x="29081" y="273100"/>
                    </a:lnTo>
                    <a:cubicBezTo>
                      <a:pt x="12818" y="273100"/>
                      <a:pt x="-310" y="286258"/>
                      <a:pt x="-310" y="302492"/>
                    </a:cubicBezTo>
                    <a:cubicBezTo>
                      <a:pt x="-310" y="318726"/>
                      <a:pt x="12818" y="331883"/>
                      <a:pt x="29081" y="331883"/>
                    </a:cubicBezTo>
                    <a:lnTo>
                      <a:pt x="72778" y="331883"/>
                    </a:lnTo>
                    <a:cubicBezTo>
                      <a:pt x="89040" y="331883"/>
                      <a:pt x="102169" y="318726"/>
                      <a:pt x="102169" y="302492"/>
                    </a:cubicBezTo>
                    <a:close/>
                    <a:moveTo>
                      <a:pt x="575763" y="273100"/>
                    </a:moveTo>
                    <a:lnTo>
                      <a:pt x="532066" y="273100"/>
                    </a:lnTo>
                    <a:cubicBezTo>
                      <a:pt x="515804" y="273100"/>
                      <a:pt x="502675" y="286258"/>
                      <a:pt x="502675" y="302492"/>
                    </a:cubicBezTo>
                    <a:cubicBezTo>
                      <a:pt x="502675" y="318726"/>
                      <a:pt x="515804" y="331883"/>
                      <a:pt x="532066" y="331883"/>
                    </a:cubicBezTo>
                    <a:lnTo>
                      <a:pt x="575763" y="331883"/>
                    </a:lnTo>
                    <a:cubicBezTo>
                      <a:pt x="592026" y="331883"/>
                      <a:pt x="605154" y="318726"/>
                      <a:pt x="605154" y="302492"/>
                    </a:cubicBezTo>
                    <a:cubicBezTo>
                      <a:pt x="605154" y="286258"/>
                      <a:pt x="592026" y="273100"/>
                      <a:pt x="575763" y="273100"/>
                    </a:cubicBezTo>
                    <a:close/>
                    <a:moveTo>
                      <a:pt x="129894" y="88424"/>
                    </a:moveTo>
                    <a:cubicBezTo>
                      <a:pt x="118824" y="76550"/>
                      <a:pt x="100209" y="75894"/>
                      <a:pt x="88355" y="86955"/>
                    </a:cubicBezTo>
                    <a:cubicBezTo>
                      <a:pt x="76499" y="98025"/>
                      <a:pt x="75814" y="116620"/>
                      <a:pt x="86885" y="128494"/>
                    </a:cubicBezTo>
                    <a:cubicBezTo>
                      <a:pt x="87375" y="129004"/>
                      <a:pt x="87864" y="129494"/>
                      <a:pt x="88355" y="129964"/>
                    </a:cubicBezTo>
                    <a:lnTo>
                      <a:pt x="119216" y="160923"/>
                    </a:lnTo>
                    <a:cubicBezTo>
                      <a:pt x="130678" y="172425"/>
                      <a:pt x="149391" y="172425"/>
                      <a:pt x="160854" y="160923"/>
                    </a:cubicBezTo>
                    <a:cubicBezTo>
                      <a:pt x="172316" y="149421"/>
                      <a:pt x="172316" y="130787"/>
                      <a:pt x="160854" y="119285"/>
                    </a:cubicBezTo>
                    <a:close/>
                    <a:moveTo>
                      <a:pt x="485628" y="444061"/>
                    </a:moveTo>
                    <a:cubicBezTo>
                      <a:pt x="474166" y="432559"/>
                      <a:pt x="455453" y="432559"/>
                      <a:pt x="443990" y="444061"/>
                    </a:cubicBezTo>
                    <a:cubicBezTo>
                      <a:pt x="432528" y="455562"/>
                      <a:pt x="432528" y="474196"/>
                      <a:pt x="443990" y="485698"/>
                    </a:cubicBezTo>
                    <a:lnTo>
                      <a:pt x="474950" y="516559"/>
                    </a:lnTo>
                    <a:cubicBezTo>
                      <a:pt x="486413" y="528022"/>
                      <a:pt x="505027" y="528022"/>
                      <a:pt x="516489" y="516559"/>
                    </a:cubicBezTo>
                    <a:cubicBezTo>
                      <a:pt x="527952" y="505087"/>
                      <a:pt x="527952" y="486492"/>
                      <a:pt x="516489" y="475019"/>
                    </a:cubicBezTo>
                    <a:close/>
                    <a:moveTo>
                      <a:pt x="119216" y="444061"/>
                    </a:moveTo>
                    <a:lnTo>
                      <a:pt x="88355" y="475019"/>
                    </a:lnTo>
                    <a:cubicBezTo>
                      <a:pt x="76892" y="486502"/>
                      <a:pt x="76892" y="505116"/>
                      <a:pt x="88355" y="516589"/>
                    </a:cubicBezTo>
                    <a:cubicBezTo>
                      <a:pt x="93840" y="522085"/>
                      <a:pt x="101384" y="525171"/>
                      <a:pt x="109125" y="525181"/>
                    </a:cubicBezTo>
                    <a:cubicBezTo>
                      <a:pt x="116962" y="525171"/>
                      <a:pt x="124407" y="522075"/>
                      <a:pt x="129894" y="516559"/>
                    </a:cubicBezTo>
                    <a:lnTo>
                      <a:pt x="160854" y="485698"/>
                    </a:lnTo>
                    <a:cubicBezTo>
                      <a:pt x="172316" y="474196"/>
                      <a:pt x="172316" y="455562"/>
                      <a:pt x="160854" y="444061"/>
                    </a:cubicBezTo>
                    <a:cubicBezTo>
                      <a:pt x="149391" y="432559"/>
                      <a:pt x="130678" y="432559"/>
                      <a:pt x="119216" y="444061"/>
                    </a:cubicBezTo>
                    <a:close/>
                    <a:moveTo>
                      <a:pt x="464858" y="169740"/>
                    </a:moveTo>
                    <a:cubicBezTo>
                      <a:pt x="472598" y="169760"/>
                      <a:pt x="480142" y="166694"/>
                      <a:pt x="485628" y="161217"/>
                    </a:cubicBezTo>
                    <a:lnTo>
                      <a:pt x="516489" y="130258"/>
                    </a:lnTo>
                    <a:cubicBezTo>
                      <a:pt x="528345" y="119187"/>
                      <a:pt x="529030" y="100592"/>
                      <a:pt x="517959" y="88718"/>
                    </a:cubicBezTo>
                    <a:cubicBezTo>
                      <a:pt x="506888" y="76844"/>
                      <a:pt x="488273" y="76187"/>
                      <a:pt x="476419" y="87248"/>
                    </a:cubicBezTo>
                    <a:cubicBezTo>
                      <a:pt x="475929" y="87719"/>
                      <a:pt x="475440" y="88208"/>
                      <a:pt x="474950" y="88718"/>
                    </a:cubicBezTo>
                    <a:lnTo>
                      <a:pt x="443990" y="119579"/>
                    </a:lnTo>
                    <a:cubicBezTo>
                      <a:pt x="432528" y="131061"/>
                      <a:pt x="432528" y="149676"/>
                      <a:pt x="443990" y="161148"/>
                    </a:cubicBezTo>
                    <a:cubicBezTo>
                      <a:pt x="449575" y="166664"/>
                      <a:pt x="457021" y="169760"/>
                      <a:pt x="464858" y="1697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0" name="Полилиния: фигура 75">
              <a:extLst>
                <a:ext uri="{FF2B5EF4-FFF2-40B4-BE49-F238E27FC236}">
                  <a16:creationId xmlns:a16="http://schemas.microsoft.com/office/drawing/2014/main" id="{81F99469-47F3-5E7C-6CA4-6DCEB846CA29}"/>
                </a:ext>
              </a:extLst>
            </p:cNvPr>
            <p:cNvSpPr/>
            <p:nvPr/>
          </p:nvSpPr>
          <p:spPr>
            <a:xfrm>
              <a:off x="6926011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Полилиния: фигура 76">
              <a:extLst>
                <a:ext uri="{FF2B5EF4-FFF2-40B4-BE49-F238E27FC236}">
                  <a16:creationId xmlns:a16="http://schemas.microsoft.com/office/drawing/2014/main" id="{7AE61898-43E7-4DE4-6129-B22B7D9A3DC4}"/>
                </a:ext>
              </a:extLst>
            </p:cNvPr>
            <p:cNvSpPr/>
            <p:nvPr/>
          </p:nvSpPr>
          <p:spPr>
            <a:xfrm>
              <a:off x="6436154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Полилиния: фигура 77">
              <a:extLst>
                <a:ext uri="{FF2B5EF4-FFF2-40B4-BE49-F238E27FC236}">
                  <a16:creationId xmlns:a16="http://schemas.microsoft.com/office/drawing/2014/main" id="{547CF65D-CEAE-C352-5A85-FFF9189150B5}"/>
                </a:ext>
              </a:extLst>
            </p:cNvPr>
            <p:cNvSpPr/>
            <p:nvPr/>
          </p:nvSpPr>
          <p:spPr>
            <a:xfrm>
              <a:off x="6926011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Полилиния: фигура 78">
              <a:extLst>
                <a:ext uri="{FF2B5EF4-FFF2-40B4-BE49-F238E27FC236}">
                  <a16:creationId xmlns:a16="http://schemas.microsoft.com/office/drawing/2014/main" id="{23CAF896-8BE7-B71B-77DA-6D0B1FB876E5}"/>
                </a:ext>
              </a:extLst>
            </p:cNvPr>
            <p:cNvSpPr/>
            <p:nvPr/>
          </p:nvSpPr>
          <p:spPr>
            <a:xfrm>
              <a:off x="6681083" y="367417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Полилиния: фигура 79">
              <a:extLst>
                <a:ext uri="{FF2B5EF4-FFF2-40B4-BE49-F238E27FC236}">
                  <a16:creationId xmlns:a16="http://schemas.microsoft.com/office/drawing/2014/main" id="{2B37F7E8-E89D-8459-5373-131DADF7A792}"/>
                </a:ext>
              </a:extLst>
            </p:cNvPr>
            <p:cNvSpPr/>
            <p:nvPr/>
          </p:nvSpPr>
          <p:spPr>
            <a:xfrm>
              <a:off x="6436154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Полилиния: фигура 81">
              <a:extLst>
                <a:ext uri="{FF2B5EF4-FFF2-40B4-BE49-F238E27FC236}">
                  <a16:creationId xmlns:a16="http://schemas.microsoft.com/office/drawing/2014/main" id="{C1A6FAE4-111D-E1CF-5EA3-53F0E6708016}"/>
                </a:ext>
              </a:extLst>
            </p:cNvPr>
            <p:cNvSpPr/>
            <p:nvPr/>
          </p:nvSpPr>
          <p:spPr>
            <a:xfrm rot="5400000">
              <a:off x="11210613" y="-2508"/>
              <a:ext cx="978877" cy="98389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Полилиния: фигура 82">
              <a:extLst>
                <a:ext uri="{FF2B5EF4-FFF2-40B4-BE49-F238E27FC236}">
                  <a16:creationId xmlns:a16="http://schemas.microsoft.com/office/drawing/2014/main" id="{09EB9843-1497-0BF8-D6D3-8895C82F1CFF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Полилиния: фигура 83">
              <a:extLst>
                <a:ext uri="{FF2B5EF4-FFF2-40B4-BE49-F238E27FC236}">
                  <a16:creationId xmlns:a16="http://schemas.microsoft.com/office/drawing/2014/main" id="{A7960E16-D3C6-7C19-B284-9D6891D41091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Полилиния: фигура 84">
              <a:extLst>
                <a:ext uri="{FF2B5EF4-FFF2-40B4-BE49-F238E27FC236}">
                  <a16:creationId xmlns:a16="http://schemas.microsoft.com/office/drawing/2014/main" id="{7E7243CA-C318-CFBD-752B-3ECB9C85005E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Полилиния: фигура 85">
              <a:extLst>
                <a:ext uri="{FF2B5EF4-FFF2-40B4-BE49-F238E27FC236}">
                  <a16:creationId xmlns:a16="http://schemas.microsoft.com/office/drawing/2014/main" id="{C0D6D19C-8414-5B25-9FF2-68CCA3C32376}"/>
                </a:ext>
              </a:extLst>
            </p:cNvPr>
            <p:cNvSpPr/>
            <p:nvPr/>
          </p:nvSpPr>
          <p:spPr>
            <a:xfrm>
              <a:off x="10477475" y="122466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Полилиния: фигура 87">
              <a:extLst>
                <a:ext uri="{FF2B5EF4-FFF2-40B4-BE49-F238E27FC236}">
                  <a16:creationId xmlns:a16="http://schemas.microsoft.com/office/drawing/2014/main" id="{9318107F-7C68-343C-164E-A2DABF4D6B11}"/>
                </a:ext>
              </a:extLst>
            </p:cNvPr>
            <p:cNvSpPr/>
            <p:nvPr/>
          </p:nvSpPr>
          <p:spPr>
            <a:xfrm rot="5400000">
              <a:off x="1121212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Полилиния: фигура 91">
              <a:extLst>
                <a:ext uri="{FF2B5EF4-FFF2-40B4-BE49-F238E27FC236}">
                  <a16:creationId xmlns:a16="http://schemas.microsoft.com/office/drawing/2014/main" id="{8F76CF08-4CE0-BDAB-FAC1-DEA5A1118CE7}"/>
                </a:ext>
              </a:extLst>
            </p:cNvPr>
            <p:cNvSpPr/>
            <p:nvPr/>
          </p:nvSpPr>
          <p:spPr>
            <a:xfrm>
              <a:off x="1144945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2" name="Группа 136">
              <a:extLst>
                <a:ext uri="{FF2B5EF4-FFF2-40B4-BE49-F238E27FC236}">
                  <a16:creationId xmlns:a16="http://schemas.microsoft.com/office/drawing/2014/main" id="{4748D860-3CD8-49C3-3166-E2B8CE443A34}"/>
                </a:ext>
              </a:extLst>
            </p:cNvPr>
            <p:cNvGrpSpPr/>
            <p:nvPr/>
          </p:nvGrpSpPr>
          <p:grpSpPr>
            <a:xfrm>
              <a:off x="11393801" y="1597449"/>
              <a:ext cx="523658" cy="198686"/>
              <a:chOff x="11393801" y="1597449"/>
              <a:chExt cx="523658" cy="198686"/>
            </a:xfrm>
          </p:grpSpPr>
          <p:sp>
            <p:nvSpPr>
              <p:cNvPr id="238" name="Полилиния: фигура 90">
                <a:extLst>
                  <a:ext uri="{FF2B5EF4-FFF2-40B4-BE49-F238E27FC236}">
                    <a16:creationId xmlns:a16="http://schemas.microsoft.com/office/drawing/2014/main" id="{33AE071A-B5EC-184F-2257-0BE906262B02}"/>
                  </a:ext>
                </a:extLst>
              </p:cNvPr>
              <p:cNvSpPr/>
              <p:nvPr userDrawn="1"/>
            </p:nvSpPr>
            <p:spPr>
              <a:xfrm>
                <a:off x="11393801" y="1597449"/>
                <a:ext cx="300576" cy="198686"/>
              </a:xfrm>
              <a:custGeom>
                <a:avLst/>
                <a:gdLst>
                  <a:gd name="connsiteX0" fmla="*/ -310 w 300576"/>
                  <a:gd name="connsiteY0" fmla="*/ -240 h 198686"/>
                  <a:gd name="connsiteX1" fmla="*/ 300267 w 300576"/>
                  <a:gd name="connsiteY1" fmla="*/ 198446 h 198686"/>
                  <a:gd name="connsiteX2" fmla="*/ -310 w 300576"/>
                  <a:gd name="connsiteY2" fmla="*/ -240 h 19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576" h="198686">
                    <a:moveTo>
                      <a:pt x="-310" y="-240"/>
                    </a:moveTo>
                    <a:cubicBezTo>
                      <a:pt x="51028" y="120255"/>
                      <a:pt x="169279" y="198466"/>
                      <a:pt x="300267" y="198446"/>
                    </a:cubicBezTo>
                    <a:cubicBezTo>
                      <a:pt x="248930" y="77951"/>
                      <a:pt x="130678" y="-259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Полилиния: фигура 92">
                <a:extLst>
                  <a:ext uri="{FF2B5EF4-FFF2-40B4-BE49-F238E27FC236}">
                    <a16:creationId xmlns:a16="http://schemas.microsoft.com/office/drawing/2014/main" id="{7F605E93-15E8-0197-4A45-5CB6613358C5}"/>
                  </a:ext>
                </a:extLst>
              </p:cNvPr>
              <p:cNvSpPr/>
              <p:nvPr userDrawn="1"/>
            </p:nvSpPr>
            <p:spPr>
              <a:xfrm>
                <a:off x="11694378" y="1652509"/>
                <a:ext cx="223081" cy="143625"/>
              </a:xfrm>
              <a:custGeom>
                <a:avLst/>
                <a:gdLst>
                  <a:gd name="connsiteX0" fmla="*/ -310 w 223081"/>
                  <a:gd name="connsiteY0" fmla="*/ 143386 h 143625"/>
                  <a:gd name="connsiteX1" fmla="*/ 222771 w 223081"/>
                  <a:gd name="connsiteY1" fmla="*/ -240 h 143625"/>
                  <a:gd name="connsiteX2" fmla="*/ -310 w 223081"/>
                  <a:gd name="connsiteY2" fmla="*/ 143386 h 14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081" h="143625">
                    <a:moveTo>
                      <a:pt x="-310" y="143386"/>
                    </a:moveTo>
                    <a:cubicBezTo>
                      <a:pt x="95801" y="143415"/>
                      <a:pt x="182994" y="87248"/>
                      <a:pt x="222771" y="-240"/>
                    </a:cubicBezTo>
                    <a:cubicBezTo>
                      <a:pt x="126661" y="-270"/>
                      <a:pt x="39467" y="55897"/>
                      <a:pt x="-310" y="143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" name="Полилиния: фигура 89">
              <a:extLst>
                <a:ext uri="{FF2B5EF4-FFF2-40B4-BE49-F238E27FC236}">
                  <a16:creationId xmlns:a16="http://schemas.microsoft.com/office/drawing/2014/main" id="{54DC7FAB-EE34-8839-AD62-9DFA1B0EDFB3}"/>
                </a:ext>
              </a:extLst>
            </p:cNvPr>
            <p:cNvSpPr/>
            <p:nvPr/>
          </p:nvSpPr>
          <p:spPr>
            <a:xfrm>
              <a:off x="1157191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Полилиния: фигура 94">
              <a:extLst>
                <a:ext uri="{FF2B5EF4-FFF2-40B4-BE49-F238E27FC236}">
                  <a16:creationId xmlns:a16="http://schemas.microsoft.com/office/drawing/2014/main" id="{07126D8E-FA74-0C18-3599-8D18AC06DC1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Полилиния: фигура 95">
              <a:extLst>
                <a:ext uri="{FF2B5EF4-FFF2-40B4-BE49-F238E27FC236}">
                  <a16:creationId xmlns:a16="http://schemas.microsoft.com/office/drawing/2014/main" id="{9A1A78D4-29DC-474D-98E7-A92F4B0A90CD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Полилиния: фигура 96">
              <a:extLst>
                <a:ext uri="{FF2B5EF4-FFF2-40B4-BE49-F238E27FC236}">
                  <a16:creationId xmlns:a16="http://schemas.microsoft.com/office/drawing/2014/main" id="{D6A7AA67-C7B4-4520-EBCD-AF8BE1AD1198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Полилиния: фигура 97">
              <a:extLst>
                <a:ext uri="{FF2B5EF4-FFF2-40B4-BE49-F238E27FC236}">
                  <a16:creationId xmlns:a16="http://schemas.microsoft.com/office/drawing/2014/main" id="{D20415EB-ED5E-5235-0EAE-2EAF652432C0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Полилиния: фигура 99">
              <a:extLst>
                <a:ext uri="{FF2B5EF4-FFF2-40B4-BE49-F238E27FC236}">
                  <a16:creationId xmlns:a16="http://schemas.microsoft.com/office/drawing/2014/main" id="{152FC6B9-D657-0563-6A0C-099048BB738D}"/>
                </a:ext>
              </a:extLst>
            </p:cNvPr>
            <p:cNvSpPr/>
            <p:nvPr/>
          </p:nvSpPr>
          <p:spPr>
            <a:xfrm>
              <a:off x="8886079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Полилиния: фигура 100">
              <a:extLst>
                <a:ext uri="{FF2B5EF4-FFF2-40B4-BE49-F238E27FC236}">
                  <a16:creationId xmlns:a16="http://schemas.microsoft.com/office/drawing/2014/main" id="{68FA2434-9773-3100-E7E8-ABFD1A4CE02B}"/>
                </a:ext>
              </a:extLst>
            </p:cNvPr>
            <p:cNvSpPr/>
            <p:nvPr/>
          </p:nvSpPr>
          <p:spPr>
            <a:xfrm>
              <a:off x="8396222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Полилиния: фигура 101">
              <a:extLst>
                <a:ext uri="{FF2B5EF4-FFF2-40B4-BE49-F238E27FC236}">
                  <a16:creationId xmlns:a16="http://schemas.microsoft.com/office/drawing/2014/main" id="{98DB10FD-4F0D-930E-0BEB-87ED4C7A2599}"/>
                </a:ext>
              </a:extLst>
            </p:cNvPr>
            <p:cNvSpPr/>
            <p:nvPr/>
          </p:nvSpPr>
          <p:spPr>
            <a:xfrm>
              <a:off x="8886079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Полилиния: фигура 102">
              <a:extLst>
                <a:ext uri="{FF2B5EF4-FFF2-40B4-BE49-F238E27FC236}">
                  <a16:creationId xmlns:a16="http://schemas.microsoft.com/office/drawing/2014/main" id="{804A6F9D-B6D0-ABAE-F6D4-C39115C3EE49}"/>
                </a:ext>
              </a:extLst>
            </p:cNvPr>
            <p:cNvSpPr/>
            <p:nvPr/>
          </p:nvSpPr>
          <p:spPr>
            <a:xfrm>
              <a:off x="8641150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Полилиния: фигура 103">
              <a:extLst>
                <a:ext uri="{FF2B5EF4-FFF2-40B4-BE49-F238E27FC236}">
                  <a16:creationId xmlns:a16="http://schemas.microsoft.com/office/drawing/2014/main" id="{DBE9AE2F-8403-94CC-6FA2-45F66F486747}"/>
                </a:ext>
              </a:extLst>
            </p:cNvPr>
            <p:cNvSpPr/>
            <p:nvPr/>
          </p:nvSpPr>
          <p:spPr>
            <a:xfrm>
              <a:off x="8396222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Полилиния: фигура 105">
              <a:extLst>
                <a:ext uri="{FF2B5EF4-FFF2-40B4-BE49-F238E27FC236}">
                  <a16:creationId xmlns:a16="http://schemas.microsoft.com/office/drawing/2014/main" id="{221F817F-7EC3-54E3-C932-F09C8401708B}"/>
                </a:ext>
              </a:extLst>
            </p:cNvPr>
            <p:cNvSpPr/>
            <p:nvPr userDrawn="1"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Полилиния: фигура 106">
              <a:extLst>
                <a:ext uri="{FF2B5EF4-FFF2-40B4-BE49-F238E27FC236}">
                  <a16:creationId xmlns:a16="http://schemas.microsoft.com/office/drawing/2014/main" id="{CF9A9883-D805-017B-FC4D-85501BEA2102}"/>
                </a:ext>
              </a:extLst>
            </p:cNvPr>
            <p:cNvSpPr/>
            <p:nvPr userDrawn="1"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Полилиния: фигура 107">
              <a:extLst>
                <a:ext uri="{FF2B5EF4-FFF2-40B4-BE49-F238E27FC236}">
                  <a16:creationId xmlns:a16="http://schemas.microsoft.com/office/drawing/2014/main" id="{DC063878-F546-B7EE-03D8-FB173F2E2DC5}"/>
                </a:ext>
              </a:extLst>
            </p:cNvPr>
            <p:cNvSpPr/>
            <p:nvPr userDrawn="1"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Полилиния: фигура 108">
              <a:extLst>
                <a:ext uri="{FF2B5EF4-FFF2-40B4-BE49-F238E27FC236}">
                  <a16:creationId xmlns:a16="http://schemas.microsoft.com/office/drawing/2014/main" id="{B1DD7367-C17C-4447-675A-13AE0E3EAFE8}"/>
                </a:ext>
              </a:extLst>
            </p:cNvPr>
            <p:cNvSpPr/>
            <p:nvPr userDrawn="1"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Полилиния: фигура 110">
              <a:extLst>
                <a:ext uri="{FF2B5EF4-FFF2-40B4-BE49-F238E27FC236}">
                  <a16:creationId xmlns:a16="http://schemas.microsoft.com/office/drawing/2014/main" id="{11C01802-A229-F95E-4D88-5A0B0E4362C3}"/>
                </a:ext>
              </a:extLst>
            </p:cNvPr>
            <p:cNvSpPr/>
            <p:nvPr/>
          </p:nvSpPr>
          <p:spPr>
            <a:xfrm rot="16200000">
              <a:off x="10229248" y="1955232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Полилиния: фигура 111">
              <a:extLst>
                <a:ext uri="{FF2B5EF4-FFF2-40B4-BE49-F238E27FC236}">
                  <a16:creationId xmlns:a16="http://schemas.microsoft.com/office/drawing/2014/main" id="{4CF64195-5C84-6E06-EA28-632701FF62FA}"/>
                </a:ext>
              </a:extLst>
            </p:cNvPr>
            <p:cNvSpPr/>
            <p:nvPr/>
          </p:nvSpPr>
          <p:spPr>
            <a:xfrm>
              <a:off x="10218043" y="2449310"/>
              <a:ext cx="499188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Полилиния: фигура 112">
              <a:extLst>
                <a:ext uri="{FF2B5EF4-FFF2-40B4-BE49-F238E27FC236}">
                  <a16:creationId xmlns:a16="http://schemas.microsoft.com/office/drawing/2014/main" id="{A232DDF6-FFE9-4A7C-95FA-78B6B0B68787}"/>
                </a:ext>
              </a:extLst>
            </p:cNvPr>
            <p:cNvSpPr/>
            <p:nvPr/>
          </p:nvSpPr>
          <p:spPr>
            <a:xfrm>
              <a:off x="10218043" y="1956342"/>
              <a:ext cx="499188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Полилиния: фигура 113">
              <a:extLst>
                <a:ext uri="{FF2B5EF4-FFF2-40B4-BE49-F238E27FC236}">
                  <a16:creationId xmlns:a16="http://schemas.microsoft.com/office/drawing/2014/main" id="{F87E652F-7893-9F92-6C7A-03C586308241}"/>
                </a:ext>
              </a:extLst>
            </p:cNvPr>
            <p:cNvSpPr/>
            <p:nvPr/>
          </p:nvSpPr>
          <p:spPr>
            <a:xfrm>
              <a:off x="10722404" y="195634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Полилиния: фигура 114">
              <a:extLst>
                <a:ext uri="{FF2B5EF4-FFF2-40B4-BE49-F238E27FC236}">
                  <a16:creationId xmlns:a16="http://schemas.microsoft.com/office/drawing/2014/main" id="{E52A84F5-A190-3CBA-533E-1D627B7406C3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Полилиния: фигура 116">
              <a:extLst>
                <a:ext uri="{FF2B5EF4-FFF2-40B4-BE49-F238E27FC236}">
                  <a16:creationId xmlns:a16="http://schemas.microsoft.com/office/drawing/2014/main" id="{8020401A-CB1E-7102-5C24-F4A4AA6155A6}"/>
                </a:ext>
              </a:extLst>
            </p:cNvPr>
            <p:cNvSpPr/>
            <p:nvPr/>
          </p:nvSpPr>
          <p:spPr>
            <a:xfrm rot="16200000">
              <a:off x="10229248" y="2927837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3" name="Группа 142">
              <a:extLst>
                <a:ext uri="{FF2B5EF4-FFF2-40B4-BE49-F238E27FC236}">
                  <a16:creationId xmlns:a16="http://schemas.microsoft.com/office/drawing/2014/main" id="{55BFAE82-8F16-9F3B-4729-653EB69CB0F7}"/>
                </a:ext>
              </a:extLst>
            </p:cNvPr>
            <p:cNvGrpSpPr/>
            <p:nvPr/>
          </p:nvGrpSpPr>
          <p:grpSpPr>
            <a:xfrm>
              <a:off x="10562417" y="3072801"/>
              <a:ext cx="240030" cy="160281"/>
              <a:chOff x="10562417" y="3072801"/>
              <a:chExt cx="240030" cy="160281"/>
            </a:xfrm>
          </p:grpSpPr>
          <p:sp>
            <p:nvSpPr>
              <p:cNvPr id="236" name="Полилиния: фигура 117">
                <a:extLst>
                  <a:ext uri="{FF2B5EF4-FFF2-40B4-BE49-F238E27FC236}">
                    <a16:creationId xmlns:a16="http://schemas.microsoft.com/office/drawing/2014/main" id="{A881E735-97A3-0633-9C8E-4D7471867FE6}"/>
                  </a:ext>
                </a:extLst>
              </p:cNvPr>
              <p:cNvSpPr/>
              <p:nvPr userDrawn="1"/>
            </p:nvSpPr>
            <p:spPr>
              <a:xfrm>
                <a:off x="10722404" y="3152843"/>
                <a:ext cx="80043" cy="80238"/>
              </a:xfrm>
              <a:custGeom>
                <a:avLst/>
                <a:gdLst>
                  <a:gd name="connsiteX0" fmla="*/ 79733 w 80043"/>
                  <a:gd name="connsiteY0" fmla="*/ -240 h 80238"/>
                  <a:gd name="connsiteX1" fmla="*/ -310 w 80043"/>
                  <a:gd name="connsiteY1" fmla="*/ 79607 h 80238"/>
                  <a:gd name="connsiteX2" fmla="*/ -310 w 80043"/>
                  <a:gd name="connsiteY2" fmla="*/ 79999 h 80238"/>
                  <a:gd name="connsiteX3" fmla="*/ 79733 w 80043"/>
                  <a:gd name="connsiteY3" fmla="*/ 152 h 80238"/>
                  <a:gd name="connsiteX4" fmla="*/ 79733 w 80043"/>
                  <a:gd name="connsiteY4" fmla="*/ -240 h 8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43" h="80238">
                    <a:moveTo>
                      <a:pt x="79733" y="-240"/>
                    </a:moveTo>
                    <a:cubicBezTo>
                      <a:pt x="35548" y="-299"/>
                      <a:pt x="-212" y="35451"/>
                      <a:pt x="-310" y="79607"/>
                    </a:cubicBezTo>
                    <a:cubicBezTo>
                      <a:pt x="-310" y="79734"/>
                      <a:pt x="-310" y="79871"/>
                      <a:pt x="-310" y="79999"/>
                    </a:cubicBezTo>
                    <a:cubicBezTo>
                      <a:pt x="43875" y="80057"/>
                      <a:pt x="79635" y="44308"/>
                      <a:pt x="79733" y="152"/>
                    </a:cubicBezTo>
                    <a:cubicBezTo>
                      <a:pt x="79733" y="24"/>
                      <a:pt x="79733" y="-113"/>
                      <a:pt x="79733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Полилиния: фигура 118">
                <a:extLst>
                  <a:ext uri="{FF2B5EF4-FFF2-40B4-BE49-F238E27FC236}">
                    <a16:creationId xmlns:a16="http://schemas.microsoft.com/office/drawing/2014/main" id="{DB7BD1C1-1207-FF95-3C79-C6385CC944E7}"/>
                  </a:ext>
                </a:extLst>
              </p:cNvPr>
              <p:cNvSpPr/>
              <p:nvPr userDrawn="1"/>
            </p:nvSpPr>
            <p:spPr>
              <a:xfrm>
                <a:off x="10562417" y="3072801"/>
                <a:ext cx="159987" cy="160281"/>
              </a:xfrm>
              <a:custGeom>
                <a:avLst/>
                <a:gdLst>
                  <a:gd name="connsiteX0" fmla="*/ -310 w 159987"/>
                  <a:gd name="connsiteY0" fmla="*/ -240 h 160281"/>
                  <a:gd name="connsiteX1" fmla="*/ 159383 w 159987"/>
                  <a:gd name="connsiteY1" fmla="*/ 160041 h 160281"/>
                  <a:gd name="connsiteX2" fmla="*/ 159677 w 159987"/>
                  <a:gd name="connsiteY2" fmla="*/ 160041 h 160281"/>
                  <a:gd name="connsiteX3" fmla="*/ -17 w 159987"/>
                  <a:gd name="connsiteY3" fmla="*/ -240 h 160281"/>
                  <a:gd name="connsiteX4" fmla="*/ -310 w 159987"/>
                  <a:gd name="connsiteY4" fmla="*/ -240 h 1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987" h="160281">
                    <a:moveTo>
                      <a:pt x="-310" y="-240"/>
                    </a:moveTo>
                    <a:cubicBezTo>
                      <a:pt x="-506" y="88120"/>
                      <a:pt x="71013" y="159874"/>
                      <a:pt x="159383" y="160041"/>
                    </a:cubicBezTo>
                    <a:cubicBezTo>
                      <a:pt x="159481" y="160041"/>
                      <a:pt x="159579" y="160041"/>
                      <a:pt x="159677" y="160041"/>
                    </a:cubicBezTo>
                    <a:cubicBezTo>
                      <a:pt x="159873" y="71681"/>
                      <a:pt x="88354" y="-74"/>
                      <a:pt x="-17" y="-240"/>
                    </a:cubicBezTo>
                    <a:cubicBezTo>
                      <a:pt x="-115" y="-240"/>
                      <a:pt x="-212" y="-240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4" name="Полилиния: фигура 119">
              <a:extLst>
                <a:ext uri="{FF2B5EF4-FFF2-40B4-BE49-F238E27FC236}">
                  <a16:creationId xmlns:a16="http://schemas.microsoft.com/office/drawing/2014/main" id="{9AB5CFF2-BC5D-D96E-96E9-9F3FEBE273D3}"/>
                </a:ext>
              </a:extLst>
            </p:cNvPr>
            <p:cNvSpPr/>
            <p:nvPr/>
          </p:nvSpPr>
          <p:spPr>
            <a:xfrm>
              <a:off x="10579947" y="3232812"/>
              <a:ext cx="284927" cy="503156"/>
            </a:xfrm>
            <a:custGeom>
              <a:avLst/>
              <a:gdLst>
                <a:gd name="connsiteX0" fmla="*/ 142147 w 284927"/>
                <a:gd name="connsiteY0" fmla="*/ 502917 h 503156"/>
                <a:gd name="connsiteX1" fmla="*/ 284206 w 284927"/>
                <a:gd name="connsiteY1" fmla="*/ 134152 h 503156"/>
                <a:gd name="connsiteX2" fmla="*/ 89 w 284927"/>
                <a:gd name="connsiteY2" fmla="*/ 134152 h 503156"/>
                <a:gd name="connsiteX3" fmla="*/ 142147 w 284927"/>
                <a:gd name="connsiteY3" fmla="*/ 502917 h 5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27" h="503156">
                  <a:moveTo>
                    <a:pt x="142147" y="502917"/>
                  </a:moveTo>
                  <a:cubicBezTo>
                    <a:pt x="238355" y="404857"/>
                    <a:pt x="289790" y="271410"/>
                    <a:pt x="284206" y="134152"/>
                  </a:cubicBezTo>
                  <a:cubicBezTo>
                    <a:pt x="277543" y="-45037"/>
                    <a:pt x="6848" y="-45037"/>
                    <a:pt x="89" y="134152"/>
                  </a:cubicBezTo>
                  <a:cubicBezTo>
                    <a:pt x="-5398" y="271400"/>
                    <a:pt x="45940" y="404837"/>
                    <a:pt x="142147" y="502917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Полилиния: фигура 121">
              <a:extLst>
                <a:ext uri="{FF2B5EF4-FFF2-40B4-BE49-F238E27FC236}">
                  <a16:creationId xmlns:a16="http://schemas.microsoft.com/office/drawing/2014/main" id="{5724ABB9-23F9-557B-640F-4EDA08185EA2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Полилиния: фигура 122">
              <a:extLst>
                <a:ext uri="{FF2B5EF4-FFF2-40B4-BE49-F238E27FC236}">
                  <a16:creationId xmlns:a16="http://schemas.microsoft.com/office/drawing/2014/main" id="{2E6D9482-2CA0-8F16-ADC6-1839E26E999F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Полилиния: фигура 123">
              <a:extLst>
                <a:ext uri="{FF2B5EF4-FFF2-40B4-BE49-F238E27FC236}">
                  <a16:creationId xmlns:a16="http://schemas.microsoft.com/office/drawing/2014/main" id="{32880002-40DF-0E72-E8B9-259EBD329D29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Полилиния: фигура 125">
              <a:extLst>
                <a:ext uri="{FF2B5EF4-FFF2-40B4-BE49-F238E27FC236}">
                  <a16:creationId xmlns:a16="http://schemas.microsoft.com/office/drawing/2014/main" id="{7C23478D-CA78-9564-4653-E6EE3B7F9873}"/>
                </a:ext>
              </a:extLst>
            </p:cNvPr>
            <p:cNvSpPr/>
            <p:nvPr/>
          </p:nvSpPr>
          <p:spPr>
            <a:xfrm>
              <a:off x="11701548" y="440093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Полилиния: фигура 126">
              <a:extLst>
                <a:ext uri="{FF2B5EF4-FFF2-40B4-BE49-F238E27FC236}">
                  <a16:creationId xmlns:a16="http://schemas.microsoft.com/office/drawing/2014/main" id="{880455E5-D941-01B7-2E0B-428B3E1168AF}"/>
                </a:ext>
              </a:extLst>
            </p:cNvPr>
            <p:cNvSpPr/>
            <p:nvPr/>
          </p:nvSpPr>
          <p:spPr>
            <a:xfrm>
              <a:off x="11211691" y="391107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Полилиния: фигура 127">
              <a:extLst>
                <a:ext uri="{FF2B5EF4-FFF2-40B4-BE49-F238E27FC236}">
                  <a16:creationId xmlns:a16="http://schemas.microsoft.com/office/drawing/2014/main" id="{97F171CD-74ED-E86B-FCA3-2D8AB57BCA8F}"/>
                </a:ext>
              </a:extLst>
            </p:cNvPr>
            <p:cNvSpPr/>
            <p:nvPr/>
          </p:nvSpPr>
          <p:spPr>
            <a:xfrm>
              <a:off x="11701548" y="391107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Полилиния: фигура 128">
              <a:extLst>
                <a:ext uri="{FF2B5EF4-FFF2-40B4-BE49-F238E27FC236}">
                  <a16:creationId xmlns:a16="http://schemas.microsoft.com/office/drawing/2014/main" id="{6B5C7B98-9AF3-A3C5-CC56-1F8415A3BBFA}"/>
                </a:ext>
              </a:extLst>
            </p:cNvPr>
            <p:cNvSpPr/>
            <p:nvPr/>
          </p:nvSpPr>
          <p:spPr>
            <a:xfrm>
              <a:off x="11211691" y="440093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Полилиния: фигура 130">
              <a:extLst>
                <a:ext uri="{FF2B5EF4-FFF2-40B4-BE49-F238E27FC236}">
                  <a16:creationId xmlns:a16="http://schemas.microsoft.com/office/drawing/2014/main" id="{E7E3018D-75B7-25D3-F819-65B4866C5B11}"/>
                </a:ext>
              </a:extLst>
            </p:cNvPr>
            <p:cNvSpPr/>
            <p:nvPr/>
          </p:nvSpPr>
          <p:spPr>
            <a:xfrm>
              <a:off x="7564294" y="1321178"/>
              <a:ext cx="437931" cy="274907"/>
            </a:xfrm>
            <a:custGeom>
              <a:avLst/>
              <a:gdLst>
                <a:gd name="connsiteX0" fmla="*/ 297270 w 437931"/>
                <a:gd name="connsiteY0" fmla="*/ 274668 h 274907"/>
                <a:gd name="connsiteX1" fmla="*/ 134245 w 437931"/>
                <a:gd name="connsiteY1" fmla="*/ 274668 h 274907"/>
                <a:gd name="connsiteX2" fmla="*/ -3207 w 437931"/>
                <a:gd name="connsiteY2" fmla="*/ 137214 h 274907"/>
                <a:gd name="connsiteX3" fmla="*/ 134245 w 437931"/>
                <a:gd name="connsiteY3" fmla="*/ -240 h 274907"/>
                <a:gd name="connsiteX4" fmla="*/ 297270 w 437931"/>
                <a:gd name="connsiteY4" fmla="*/ -240 h 274907"/>
                <a:gd name="connsiteX5" fmla="*/ 434725 w 437931"/>
                <a:gd name="connsiteY5" fmla="*/ 137214 h 274907"/>
                <a:gd name="connsiteX6" fmla="*/ 297270 w 437931"/>
                <a:gd name="connsiteY6" fmla="*/ 274668 h 27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931" h="274907">
                  <a:moveTo>
                    <a:pt x="297270" y="274668"/>
                  </a:moveTo>
                  <a:lnTo>
                    <a:pt x="134245" y="274668"/>
                  </a:lnTo>
                  <a:cubicBezTo>
                    <a:pt x="58317" y="274668"/>
                    <a:pt x="-3207" y="213132"/>
                    <a:pt x="-3207" y="137214"/>
                  </a:cubicBezTo>
                  <a:cubicBezTo>
                    <a:pt x="-3207" y="61296"/>
                    <a:pt x="58317" y="-240"/>
                    <a:pt x="134245" y="-240"/>
                  </a:cubicBezTo>
                  <a:lnTo>
                    <a:pt x="297270" y="-240"/>
                  </a:lnTo>
                  <a:cubicBezTo>
                    <a:pt x="373198" y="-240"/>
                    <a:pt x="434725" y="61296"/>
                    <a:pt x="434725" y="137214"/>
                  </a:cubicBezTo>
                  <a:cubicBezTo>
                    <a:pt x="434725" y="213132"/>
                    <a:pt x="373198" y="274668"/>
                    <a:pt x="297270" y="274668"/>
                  </a:cubicBezTo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3" name="Группа 139">
              <a:extLst>
                <a:ext uri="{FF2B5EF4-FFF2-40B4-BE49-F238E27FC236}">
                  <a16:creationId xmlns:a16="http://schemas.microsoft.com/office/drawing/2014/main" id="{C1B504CE-0FB3-5DDF-21DE-5E26A943F780}"/>
                </a:ext>
              </a:extLst>
            </p:cNvPr>
            <p:cNvGrpSpPr/>
            <p:nvPr/>
          </p:nvGrpSpPr>
          <p:grpSpPr>
            <a:xfrm>
              <a:off x="7431641" y="1321766"/>
              <a:ext cx="703239" cy="274320"/>
              <a:chOff x="7431641" y="1321766"/>
              <a:chExt cx="703239" cy="274320"/>
            </a:xfrm>
          </p:grpSpPr>
          <p:sp>
            <p:nvSpPr>
              <p:cNvPr id="234" name="Полилиния: фигура 131">
                <a:extLst>
                  <a:ext uri="{FF2B5EF4-FFF2-40B4-BE49-F238E27FC236}">
                    <a16:creationId xmlns:a16="http://schemas.microsoft.com/office/drawing/2014/main" id="{50082B8F-F977-7DDB-6F97-4532406ECC27}"/>
                  </a:ext>
                </a:extLst>
              </p:cNvPr>
              <p:cNvSpPr/>
              <p:nvPr userDrawn="1"/>
            </p:nvSpPr>
            <p:spPr>
              <a:xfrm>
                <a:off x="7997720" y="1321766"/>
                <a:ext cx="137160" cy="274320"/>
              </a:xfrm>
              <a:custGeom>
                <a:avLst/>
                <a:gdLst>
                  <a:gd name="connsiteX0" fmla="*/ 133953 w 137160"/>
                  <a:gd name="connsiteY0" fmla="*/ -240 h 274320"/>
                  <a:gd name="connsiteX1" fmla="*/ -3207 w 137160"/>
                  <a:gd name="connsiteY1" fmla="*/ 136920 h 274320"/>
                  <a:gd name="connsiteX2" fmla="*/ 133953 w 137160"/>
                  <a:gd name="connsiteY2" fmla="*/ 27408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133953" y="-240"/>
                    </a:moveTo>
                    <a:cubicBezTo>
                      <a:pt x="58219" y="-240"/>
                      <a:pt x="-3207" y="61169"/>
                      <a:pt x="-3207" y="136920"/>
                    </a:cubicBezTo>
                    <a:cubicBezTo>
                      <a:pt x="-3207" y="212671"/>
                      <a:pt x="58219" y="274080"/>
                      <a:pt x="133953" y="27408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Полилиния: фигура 132">
                <a:extLst>
                  <a:ext uri="{FF2B5EF4-FFF2-40B4-BE49-F238E27FC236}">
                    <a16:creationId xmlns:a16="http://schemas.microsoft.com/office/drawing/2014/main" id="{3A232097-AB6A-7375-0DA6-83BC51B54CD8}"/>
                  </a:ext>
                </a:extLst>
              </p:cNvPr>
              <p:cNvSpPr/>
              <p:nvPr userDrawn="1"/>
            </p:nvSpPr>
            <p:spPr>
              <a:xfrm>
                <a:off x="7431641" y="1321766"/>
                <a:ext cx="137160" cy="274320"/>
              </a:xfrm>
              <a:custGeom>
                <a:avLst/>
                <a:gdLst>
                  <a:gd name="connsiteX0" fmla="*/ -3207 w 137160"/>
                  <a:gd name="connsiteY0" fmla="*/ 274080 h 274320"/>
                  <a:gd name="connsiteX1" fmla="*/ 133953 w 137160"/>
                  <a:gd name="connsiteY1" fmla="*/ 136920 h 274320"/>
                  <a:gd name="connsiteX2" fmla="*/ -3207 w 137160"/>
                  <a:gd name="connsiteY2" fmla="*/ -24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-3207" y="274080"/>
                    </a:moveTo>
                    <a:cubicBezTo>
                      <a:pt x="72525" y="274080"/>
                      <a:pt x="133953" y="212671"/>
                      <a:pt x="133953" y="136920"/>
                    </a:cubicBezTo>
                    <a:cubicBezTo>
                      <a:pt x="133953" y="61169"/>
                      <a:pt x="72525" y="-240"/>
                      <a:pt x="-3207" y="-2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31554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2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>
            <a:extLst>
              <a:ext uri="{FF2B5EF4-FFF2-40B4-BE49-F238E27FC236}">
                <a16:creationId xmlns:a16="http://schemas.microsoft.com/office/drawing/2014/main" id="{422DB3D8-C137-0BF2-8B79-26B86D8BB5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5033" y="1719027"/>
            <a:ext cx="4830161" cy="430887"/>
          </a:xfrm>
        </p:spPr>
        <p:txBody>
          <a:bodyPr/>
          <a:lstStyle/>
          <a:p>
            <a:r>
              <a:rPr lang="ru-RU" dirty="0" smtClean="0"/>
              <a:t>Спасибо за внимание!</a:t>
            </a:r>
            <a:endParaRPr lang="en-R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858408A-1BAA-26CA-396B-D9DAE43C9C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14932" y="2366926"/>
            <a:ext cx="1415615" cy="249299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Контакты:</a:t>
            </a:r>
            <a:endParaRPr lang="en-RU" dirty="0">
              <a:solidFill>
                <a:schemeClr val="tx1"/>
              </a:solidFill>
            </a:endParaRPr>
          </a:p>
        </p:txBody>
      </p:sp>
      <p:sp>
        <p:nvSpPr>
          <p:cNvPr id="33" name="Полилиния: фигура 7">
            <a:extLst>
              <a:ext uri="{FF2B5EF4-FFF2-40B4-BE49-F238E27FC236}">
                <a16:creationId xmlns:a16="http://schemas.microsoft.com/office/drawing/2014/main" id="{93EBE2B3-7AAA-C736-42AA-7322AA3F8180}"/>
              </a:ext>
            </a:extLst>
          </p:cNvPr>
          <p:cNvSpPr/>
          <p:nvPr userDrawn="1"/>
        </p:nvSpPr>
        <p:spPr>
          <a:xfrm rot="16200000">
            <a:off x="979714" y="5878310"/>
            <a:ext cx="979714" cy="979714"/>
          </a:xfrm>
          <a:custGeom>
            <a:avLst/>
            <a:gdLst>
              <a:gd name="connsiteX0" fmla="*/ -310 w 979714"/>
              <a:gd name="connsiteY0" fmla="*/ -240 h 979714"/>
              <a:gd name="connsiteX1" fmla="*/ 979404 w 979714"/>
              <a:gd name="connsiteY1" fmla="*/ -240 h 979714"/>
              <a:gd name="connsiteX2" fmla="*/ 979404 w 979714"/>
              <a:gd name="connsiteY2" fmla="*/ 979474 h 979714"/>
              <a:gd name="connsiteX3" fmla="*/ -310 w 979714"/>
              <a:gd name="connsiteY3" fmla="*/ 979474 h 979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714" h="979714">
                <a:moveTo>
                  <a:pt x="-310" y="-240"/>
                </a:moveTo>
                <a:lnTo>
                  <a:pt x="979404" y="-240"/>
                </a:lnTo>
                <a:lnTo>
                  <a:pt x="979404" y="979474"/>
                </a:lnTo>
                <a:lnTo>
                  <a:pt x="-310" y="979474"/>
                </a:ln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4" name="Полилиния: фигура 8">
            <a:extLst>
              <a:ext uri="{FF2B5EF4-FFF2-40B4-BE49-F238E27FC236}">
                <a16:creationId xmlns:a16="http://schemas.microsoft.com/office/drawing/2014/main" id="{37CA9CB5-36EC-0427-97AE-90D18B102A99}"/>
              </a:ext>
            </a:extLst>
          </p:cNvPr>
          <p:cNvSpPr/>
          <p:nvPr userDrawn="1"/>
        </p:nvSpPr>
        <p:spPr>
          <a:xfrm>
            <a:off x="1224642" y="6123239"/>
            <a:ext cx="489857" cy="489857"/>
          </a:xfrm>
          <a:custGeom>
            <a:avLst/>
            <a:gdLst>
              <a:gd name="connsiteX0" fmla="*/ 489857 w 489857"/>
              <a:gd name="connsiteY0" fmla="*/ 244929 h 489857"/>
              <a:gd name="connsiteX1" fmla="*/ 244929 w 489857"/>
              <a:gd name="connsiteY1" fmla="*/ 489857 h 489857"/>
              <a:gd name="connsiteX2" fmla="*/ 0 w 489857"/>
              <a:gd name="connsiteY2" fmla="*/ 244929 h 489857"/>
              <a:gd name="connsiteX3" fmla="*/ 244929 w 489857"/>
              <a:gd name="connsiteY3" fmla="*/ 0 h 489857"/>
              <a:gd name="connsiteX4" fmla="*/ 489857 w 489857"/>
              <a:gd name="connsiteY4" fmla="*/ 24492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489857" y="244929"/>
                </a:moveTo>
                <a:cubicBezTo>
                  <a:pt x="489857" y="380199"/>
                  <a:pt x="380199" y="489857"/>
                  <a:pt x="244929" y="489857"/>
                </a:cubicBezTo>
                <a:cubicBezTo>
                  <a:pt x="109658" y="489857"/>
                  <a:pt x="0" y="380199"/>
                  <a:pt x="0" y="244929"/>
                </a:cubicBezTo>
                <a:cubicBezTo>
                  <a:pt x="0" y="109658"/>
                  <a:pt x="109658" y="0"/>
                  <a:pt x="244929" y="0"/>
                </a:cubicBezTo>
                <a:cubicBezTo>
                  <a:pt x="380199" y="0"/>
                  <a:pt x="489857" y="109658"/>
                  <a:pt x="489857" y="244929"/>
                </a:cubicBezTo>
                <a:close/>
              </a:path>
            </a:pathLst>
          </a:custGeom>
          <a:solidFill>
            <a:srgbClr val="FFFFFF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Полилиния: фигура 11">
            <a:extLst>
              <a:ext uri="{FF2B5EF4-FFF2-40B4-BE49-F238E27FC236}">
                <a16:creationId xmlns:a16="http://schemas.microsoft.com/office/drawing/2014/main" id="{26B1EB15-61E1-1F0B-544B-39CC8BEB69AB}"/>
              </a:ext>
            </a:extLst>
          </p:cNvPr>
          <p:cNvSpPr/>
          <p:nvPr userDrawn="1"/>
        </p:nvSpPr>
        <p:spPr>
          <a:xfrm rot="10800000">
            <a:off x="1" y="5878310"/>
            <a:ext cx="979714" cy="979714"/>
          </a:xfrm>
          <a:custGeom>
            <a:avLst/>
            <a:gdLst>
              <a:gd name="connsiteX0" fmla="*/ -310 w 979714"/>
              <a:gd name="connsiteY0" fmla="*/ -240 h 979714"/>
              <a:gd name="connsiteX1" fmla="*/ 979404 w 979714"/>
              <a:gd name="connsiteY1" fmla="*/ -240 h 979714"/>
              <a:gd name="connsiteX2" fmla="*/ 979404 w 979714"/>
              <a:gd name="connsiteY2" fmla="*/ 979474 h 979714"/>
              <a:gd name="connsiteX3" fmla="*/ -310 w 979714"/>
              <a:gd name="connsiteY3" fmla="*/ 979474 h 979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714" h="979714">
                <a:moveTo>
                  <a:pt x="-310" y="-240"/>
                </a:moveTo>
                <a:lnTo>
                  <a:pt x="979404" y="-240"/>
                </a:lnTo>
                <a:lnTo>
                  <a:pt x="979404" y="979474"/>
                </a:lnTo>
                <a:lnTo>
                  <a:pt x="-310" y="979474"/>
                </a:ln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6" name="Полилиния: фигура 12">
            <a:extLst>
              <a:ext uri="{FF2B5EF4-FFF2-40B4-BE49-F238E27FC236}">
                <a16:creationId xmlns:a16="http://schemas.microsoft.com/office/drawing/2014/main" id="{69CBDC6E-0A7C-7690-57A9-249628839A1B}"/>
              </a:ext>
            </a:extLst>
          </p:cNvPr>
          <p:cNvSpPr/>
          <p:nvPr userDrawn="1"/>
        </p:nvSpPr>
        <p:spPr>
          <a:xfrm>
            <a:off x="0" y="6368167"/>
            <a:ext cx="489857" cy="489857"/>
          </a:xfrm>
          <a:custGeom>
            <a:avLst/>
            <a:gdLst>
              <a:gd name="connsiteX0" fmla="*/ -310 w 489857"/>
              <a:gd name="connsiteY0" fmla="*/ -240 h 489857"/>
              <a:gd name="connsiteX1" fmla="*/ -310 w 489857"/>
              <a:gd name="connsiteY1" fmla="*/ 244689 h 489857"/>
              <a:gd name="connsiteX2" fmla="*/ 244619 w 489857"/>
              <a:gd name="connsiteY2" fmla="*/ 489617 h 489857"/>
              <a:gd name="connsiteX3" fmla="*/ 489547 w 489857"/>
              <a:gd name="connsiteY3" fmla="*/ 489617 h 489857"/>
              <a:gd name="connsiteX4" fmla="*/ -310 w 489857"/>
              <a:gd name="connsiteY4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-310" y="-240"/>
                </a:moveTo>
                <a:lnTo>
                  <a:pt x="-310" y="244689"/>
                </a:lnTo>
                <a:cubicBezTo>
                  <a:pt x="134959" y="244689"/>
                  <a:pt x="244619" y="354348"/>
                  <a:pt x="244619" y="489617"/>
                </a:cubicBezTo>
                <a:lnTo>
                  <a:pt x="489547" y="489617"/>
                </a:lnTo>
                <a:cubicBezTo>
                  <a:pt x="489547" y="219079"/>
                  <a:pt x="270228" y="-240"/>
                  <a:pt x="-310" y="-240"/>
                </a:cubicBezTo>
                <a:close/>
              </a:path>
            </a:pathLst>
          </a:custGeom>
          <a:solidFill>
            <a:schemeClr val="bg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7" name="Полилиния: фигура 13">
            <a:extLst>
              <a:ext uri="{FF2B5EF4-FFF2-40B4-BE49-F238E27FC236}">
                <a16:creationId xmlns:a16="http://schemas.microsoft.com/office/drawing/2014/main" id="{95899177-36C8-06D9-4291-D9E76D8FA7DE}"/>
              </a:ext>
            </a:extLst>
          </p:cNvPr>
          <p:cNvSpPr/>
          <p:nvPr userDrawn="1"/>
        </p:nvSpPr>
        <p:spPr>
          <a:xfrm>
            <a:off x="0" y="5878310"/>
            <a:ext cx="489857" cy="489857"/>
          </a:xfrm>
          <a:custGeom>
            <a:avLst/>
            <a:gdLst>
              <a:gd name="connsiteX0" fmla="*/ -310 w 489857"/>
              <a:gd name="connsiteY0" fmla="*/ 244689 h 489857"/>
              <a:gd name="connsiteX1" fmla="*/ -310 w 489857"/>
              <a:gd name="connsiteY1" fmla="*/ 489617 h 489857"/>
              <a:gd name="connsiteX2" fmla="*/ 489547 w 489857"/>
              <a:gd name="connsiteY2" fmla="*/ -240 h 489857"/>
              <a:gd name="connsiteX3" fmla="*/ 244619 w 489857"/>
              <a:gd name="connsiteY3" fmla="*/ -240 h 489857"/>
              <a:gd name="connsiteX4" fmla="*/ -310 w 489857"/>
              <a:gd name="connsiteY4" fmla="*/ 24468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-310" y="244689"/>
                </a:moveTo>
                <a:lnTo>
                  <a:pt x="-310" y="489617"/>
                </a:lnTo>
                <a:cubicBezTo>
                  <a:pt x="270228" y="489617"/>
                  <a:pt x="489547" y="270298"/>
                  <a:pt x="489547" y="-240"/>
                </a:cubicBezTo>
                <a:lnTo>
                  <a:pt x="244619" y="-240"/>
                </a:lnTo>
                <a:cubicBezTo>
                  <a:pt x="244619" y="135029"/>
                  <a:pt x="134959" y="244689"/>
                  <a:pt x="-310" y="244689"/>
                </a:cubicBezTo>
                <a:close/>
              </a:path>
            </a:pathLst>
          </a:custGeom>
          <a:solidFill>
            <a:schemeClr val="bg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8" name="Полилиния: фигура 14">
            <a:extLst>
              <a:ext uri="{FF2B5EF4-FFF2-40B4-BE49-F238E27FC236}">
                <a16:creationId xmlns:a16="http://schemas.microsoft.com/office/drawing/2014/main" id="{8D7942B1-0F59-74BD-1672-A09AD0B449E5}"/>
              </a:ext>
            </a:extLst>
          </p:cNvPr>
          <p:cNvSpPr/>
          <p:nvPr userDrawn="1"/>
        </p:nvSpPr>
        <p:spPr>
          <a:xfrm>
            <a:off x="489858" y="5878310"/>
            <a:ext cx="489857" cy="489857"/>
          </a:xfrm>
          <a:custGeom>
            <a:avLst/>
            <a:gdLst>
              <a:gd name="connsiteX0" fmla="*/ 244619 w 489857"/>
              <a:gd name="connsiteY0" fmla="*/ -240 h 489857"/>
              <a:gd name="connsiteX1" fmla="*/ -310 w 489857"/>
              <a:gd name="connsiteY1" fmla="*/ -240 h 489857"/>
              <a:gd name="connsiteX2" fmla="*/ 489547 w 489857"/>
              <a:gd name="connsiteY2" fmla="*/ 489617 h 489857"/>
              <a:gd name="connsiteX3" fmla="*/ 489547 w 489857"/>
              <a:gd name="connsiteY3" fmla="*/ 244689 h 489857"/>
              <a:gd name="connsiteX4" fmla="*/ 244619 w 489857"/>
              <a:gd name="connsiteY4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244619" y="-240"/>
                </a:moveTo>
                <a:lnTo>
                  <a:pt x="-310" y="-240"/>
                </a:lnTo>
                <a:cubicBezTo>
                  <a:pt x="-310" y="270298"/>
                  <a:pt x="219009" y="489617"/>
                  <a:pt x="489547" y="489617"/>
                </a:cubicBezTo>
                <a:lnTo>
                  <a:pt x="489547" y="244689"/>
                </a:lnTo>
                <a:cubicBezTo>
                  <a:pt x="354278" y="244689"/>
                  <a:pt x="244619" y="135029"/>
                  <a:pt x="244619" y="-240"/>
                </a:cubicBezTo>
                <a:close/>
              </a:path>
            </a:pathLst>
          </a:custGeom>
          <a:solidFill>
            <a:schemeClr val="bg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9" name="Полилиния: фигура 15">
            <a:extLst>
              <a:ext uri="{FF2B5EF4-FFF2-40B4-BE49-F238E27FC236}">
                <a16:creationId xmlns:a16="http://schemas.microsoft.com/office/drawing/2014/main" id="{76F5CD9B-B600-B142-7CD0-DBACE105B357}"/>
              </a:ext>
            </a:extLst>
          </p:cNvPr>
          <p:cNvSpPr/>
          <p:nvPr userDrawn="1"/>
        </p:nvSpPr>
        <p:spPr>
          <a:xfrm>
            <a:off x="489858" y="6368167"/>
            <a:ext cx="489857" cy="489857"/>
          </a:xfrm>
          <a:custGeom>
            <a:avLst/>
            <a:gdLst>
              <a:gd name="connsiteX0" fmla="*/ 489547 w 489857"/>
              <a:gd name="connsiteY0" fmla="*/ 244689 h 489857"/>
              <a:gd name="connsiteX1" fmla="*/ 489547 w 489857"/>
              <a:gd name="connsiteY1" fmla="*/ -240 h 489857"/>
              <a:gd name="connsiteX2" fmla="*/ -310 w 489857"/>
              <a:gd name="connsiteY2" fmla="*/ 489617 h 489857"/>
              <a:gd name="connsiteX3" fmla="*/ 244619 w 489857"/>
              <a:gd name="connsiteY3" fmla="*/ 489617 h 489857"/>
              <a:gd name="connsiteX4" fmla="*/ 489547 w 489857"/>
              <a:gd name="connsiteY4" fmla="*/ 24468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489547" y="244689"/>
                </a:moveTo>
                <a:lnTo>
                  <a:pt x="489547" y="-240"/>
                </a:lnTo>
                <a:cubicBezTo>
                  <a:pt x="219009" y="-240"/>
                  <a:pt x="-310" y="219079"/>
                  <a:pt x="-310" y="489617"/>
                </a:cubicBezTo>
                <a:lnTo>
                  <a:pt x="244619" y="489617"/>
                </a:lnTo>
                <a:cubicBezTo>
                  <a:pt x="244619" y="354348"/>
                  <a:pt x="354278" y="244689"/>
                  <a:pt x="489547" y="244689"/>
                </a:cubicBezTo>
                <a:close/>
              </a:path>
            </a:pathLst>
          </a:custGeom>
          <a:solidFill>
            <a:schemeClr val="bg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Полилиния: фигура 21">
            <a:extLst>
              <a:ext uri="{FF2B5EF4-FFF2-40B4-BE49-F238E27FC236}">
                <a16:creationId xmlns:a16="http://schemas.microsoft.com/office/drawing/2014/main" id="{DD9A91A4-318F-63C8-AC7A-68D3CE4E0FC4}"/>
              </a:ext>
            </a:extLst>
          </p:cNvPr>
          <p:cNvSpPr/>
          <p:nvPr/>
        </p:nvSpPr>
        <p:spPr>
          <a:xfrm>
            <a:off x="1959428" y="6368167"/>
            <a:ext cx="489857" cy="489857"/>
          </a:xfrm>
          <a:custGeom>
            <a:avLst/>
            <a:gdLst>
              <a:gd name="connsiteX0" fmla="*/ -310 w 489857"/>
              <a:gd name="connsiteY0" fmla="*/ -240 h 489857"/>
              <a:gd name="connsiteX1" fmla="*/ -310 w 489857"/>
              <a:gd name="connsiteY1" fmla="*/ 244689 h 489857"/>
              <a:gd name="connsiteX2" fmla="*/ 244619 w 489857"/>
              <a:gd name="connsiteY2" fmla="*/ 489617 h 489857"/>
              <a:gd name="connsiteX3" fmla="*/ 489547 w 489857"/>
              <a:gd name="connsiteY3" fmla="*/ 489617 h 489857"/>
              <a:gd name="connsiteX4" fmla="*/ -310 w 489857"/>
              <a:gd name="connsiteY4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-310" y="-240"/>
                </a:moveTo>
                <a:lnTo>
                  <a:pt x="-310" y="244689"/>
                </a:lnTo>
                <a:cubicBezTo>
                  <a:pt x="134959" y="244689"/>
                  <a:pt x="244619" y="354348"/>
                  <a:pt x="244619" y="489617"/>
                </a:cubicBezTo>
                <a:lnTo>
                  <a:pt x="489547" y="489617"/>
                </a:lnTo>
                <a:cubicBezTo>
                  <a:pt x="489547" y="219079"/>
                  <a:pt x="270228" y="-240"/>
                  <a:pt x="-310" y="-240"/>
                </a:cubicBez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4" name="Полилиния: фигура 22">
            <a:extLst>
              <a:ext uri="{FF2B5EF4-FFF2-40B4-BE49-F238E27FC236}">
                <a16:creationId xmlns:a16="http://schemas.microsoft.com/office/drawing/2014/main" id="{88CAE2A1-3A88-F73B-C575-A61F48A9CFE1}"/>
              </a:ext>
            </a:extLst>
          </p:cNvPr>
          <p:cNvSpPr/>
          <p:nvPr/>
        </p:nvSpPr>
        <p:spPr>
          <a:xfrm>
            <a:off x="1959428" y="5878310"/>
            <a:ext cx="489857" cy="489857"/>
          </a:xfrm>
          <a:custGeom>
            <a:avLst/>
            <a:gdLst>
              <a:gd name="connsiteX0" fmla="*/ -310 w 489857"/>
              <a:gd name="connsiteY0" fmla="*/ 244689 h 489857"/>
              <a:gd name="connsiteX1" fmla="*/ -310 w 489857"/>
              <a:gd name="connsiteY1" fmla="*/ 489617 h 489857"/>
              <a:gd name="connsiteX2" fmla="*/ 489547 w 489857"/>
              <a:gd name="connsiteY2" fmla="*/ -240 h 489857"/>
              <a:gd name="connsiteX3" fmla="*/ 244619 w 489857"/>
              <a:gd name="connsiteY3" fmla="*/ -240 h 489857"/>
              <a:gd name="connsiteX4" fmla="*/ -310 w 489857"/>
              <a:gd name="connsiteY4" fmla="*/ 24468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-310" y="244689"/>
                </a:moveTo>
                <a:lnTo>
                  <a:pt x="-310" y="489617"/>
                </a:lnTo>
                <a:cubicBezTo>
                  <a:pt x="270228" y="489617"/>
                  <a:pt x="489547" y="270298"/>
                  <a:pt x="489547" y="-240"/>
                </a:cubicBezTo>
                <a:lnTo>
                  <a:pt x="244619" y="-240"/>
                </a:lnTo>
                <a:cubicBezTo>
                  <a:pt x="244619" y="135029"/>
                  <a:pt x="134959" y="244689"/>
                  <a:pt x="-310" y="244689"/>
                </a:cubicBez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5" name="Полилиния: фигура 23">
            <a:extLst>
              <a:ext uri="{FF2B5EF4-FFF2-40B4-BE49-F238E27FC236}">
                <a16:creationId xmlns:a16="http://schemas.microsoft.com/office/drawing/2014/main" id="{5D1629CC-E85B-93CB-D9C8-A9D2C3AB916B}"/>
              </a:ext>
            </a:extLst>
          </p:cNvPr>
          <p:cNvSpPr/>
          <p:nvPr/>
        </p:nvSpPr>
        <p:spPr>
          <a:xfrm>
            <a:off x="2449285" y="5878310"/>
            <a:ext cx="489857" cy="489857"/>
          </a:xfrm>
          <a:custGeom>
            <a:avLst/>
            <a:gdLst>
              <a:gd name="connsiteX0" fmla="*/ 244619 w 489857"/>
              <a:gd name="connsiteY0" fmla="*/ -240 h 489857"/>
              <a:gd name="connsiteX1" fmla="*/ -310 w 489857"/>
              <a:gd name="connsiteY1" fmla="*/ -240 h 489857"/>
              <a:gd name="connsiteX2" fmla="*/ 489547 w 489857"/>
              <a:gd name="connsiteY2" fmla="*/ 489617 h 489857"/>
              <a:gd name="connsiteX3" fmla="*/ 489547 w 489857"/>
              <a:gd name="connsiteY3" fmla="*/ 244689 h 489857"/>
              <a:gd name="connsiteX4" fmla="*/ 244619 w 489857"/>
              <a:gd name="connsiteY4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244619" y="-240"/>
                </a:moveTo>
                <a:lnTo>
                  <a:pt x="-310" y="-240"/>
                </a:lnTo>
                <a:cubicBezTo>
                  <a:pt x="-310" y="270298"/>
                  <a:pt x="219009" y="489617"/>
                  <a:pt x="489547" y="489617"/>
                </a:cubicBezTo>
                <a:lnTo>
                  <a:pt x="489547" y="244689"/>
                </a:lnTo>
                <a:cubicBezTo>
                  <a:pt x="354278" y="244689"/>
                  <a:pt x="244619" y="135029"/>
                  <a:pt x="244619" y="-240"/>
                </a:cubicBez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6" name="Полилиния: фигура 24">
            <a:extLst>
              <a:ext uri="{FF2B5EF4-FFF2-40B4-BE49-F238E27FC236}">
                <a16:creationId xmlns:a16="http://schemas.microsoft.com/office/drawing/2014/main" id="{B002D514-3BEF-5B1E-FFCD-BACCA9210975}"/>
              </a:ext>
            </a:extLst>
          </p:cNvPr>
          <p:cNvSpPr/>
          <p:nvPr/>
        </p:nvSpPr>
        <p:spPr>
          <a:xfrm>
            <a:off x="2449285" y="6368167"/>
            <a:ext cx="489857" cy="489857"/>
          </a:xfrm>
          <a:custGeom>
            <a:avLst/>
            <a:gdLst>
              <a:gd name="connsiteX0" fmla="*/ 489547 w 489857"/>
              <a:gd name="connsiteY0" fmla="*/ 244689 h 489857"/>
              <a:gd name="connsiteX1" fmla="*/ 489547 w 489857"/>
              <a:gd name="connsiteY1" fmla="*/ -240 h 489857"/>
              <a:gd name="connsiteX2" fmla="*/ -310 w 489857"/>
              <a:gd name="connsiteY2" fmla="*/ 489617 h 489857"/>
              <a:gd name="connsiteX3" fmla="*/ 244619 w 489857"/>
              <a:gd name="connsiteY3" fmla="*/ 489617 h 489857"/>
              <a:gd name="connsiteX4" fmla="*/ 489547 w 489857"/>
              <a:gd name="connsiteY4" fmla="*/ 24468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489547" y="244689"/>
                </a:moveTo>
                <a:lnTo>
                  <a:pt x="489547" y="-240"/>
                </a:lnTo>
                <a:cubicBezTo>
                  <a:pt x="219009" y="-240"/>
                  <a:pt x="-310" y="219079"/>
                  <a:pt x="-310" y="489617"/>
                </a:cubicBezTo>
                <a:lnTo>
                  <a:pt x="244619" y="489617"/>
                </a:lnTo>
                <a:cubicBezTo>
                  <a:pt x="244619" y="354348"/>
                  <a:pt x="354278" y="244689"/>
                  <a:pt x="489547" y="244689"/>
                </a:cubicBez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7" name="Полилиния: фигура 26">
            <a:extLst>
              <a:ext uri="{FF2B5EF4-FFF2-40B4-BE49-F238E27FC236}">
                <a16:creationId xmlns:a16="http://schemas.microsoft.com/office/drawing/2014/main" id="{4E56C1DA-B0CC-62C4-8C54-2B12F3FF04A9}"/>
              </a:ext>
            </a:extLst>
          </p:cNvPr>
          <p:cNvSpPr/>
          <p:nvPr/>
        </p:nvSpPr>
        <p:spPr>
          <a:xfrm>
            <a:off x="3268046" y="6171445"/>
            <a:ext cx="432445" cy="432445"/>
          </a:xfrm>
          <a:custGeom>
            <a:avLst/>
            <a:gdLst>
              <a:gd name="connsiteX0" fmla="*/ 432446 w 432445"/>
              <a:gd name="connsiteY0" fmla="*/ 216223 h 432445"/>
              <a:gd name="connsiteX1" fmla="*/ 216223 w 432445"/>
              <a:gd name="connsiteY1" fmla="*/ 432446 h 432445"/>
              <a:gd name="connsiteX2" fmla="*/ 0 w 432445"/>
              <a:gd name="connsiteY2" fmla="*/ 216223 h 432445"/>
              <a:gd name="connsiteX3" fmla="*/ 216223 w 432445"/>
              <a:gd name="connsiteY3" fmla="*/ 0 h 432445"/>
              <a:gd name="connsiteX4" fmla="*/ 432446 w 432445"/>
              <a:gd name="connsiteY4" fmla="*/ 216223 h 43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2445" h="432445">
                <a:moveTo>
                  <a:pt x="432446" y="216223"/>
                </a:moveTo>
                <a:cubicBezTo>
                  <a:pt x="432446" y="335639"/>
                  <a:pt x="335640" y="432446"/>
                  <a:pt x="216223" y="432446"/>
                </a:cubicBezTo>
                <a:cubicBezTo>
                  <a:pt x="96806" y="432446"/>
                  <a:pt x="0" y="335639"/>
                  <a:pt x="0" y="216223"/>
                </a:cubicBezTo>
                <a:cubicBezTo>
                  <a:pt x="0" y="96806"/>
                  <a:pt x="96806" y="0"/>
                  <a:pt x="216223" y="0"/>
                </a:cubicBezTo>
                <a:cubicBezTo>
                  <a:pt x="335640" y="0"/>
                  <a:pt x="432446" y="96806"/>
                  <a:pt x="432446" y="216223"/>
                </a:cubicBezTo>
                <a:close/>
              </a:path>
            </a:pathLst>
          </a:custGeom>
          <a:solidFill>
            <a:srgbClr val="949494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8" name="Полилиния: фигура 27">
            <a:extLst>
              <a:ext uri="{FF2B5EF4-FFF2-40B4-BE49-F238E27FC236}">
                <a16:creationId xmlns:a16="http://schemas.microsoft.com/office/drawing/2014/main" id="{EE835106-E916-C6EF-7371-47E31FB49CDC}"/>
              </a:ext>
            </a:extLst>
          </p:cNvPr>
          <p:cNvSpPr/>
          <p:nvPr/>
        </p:nvSpPr>
        <p:spPr>
          <a:xfrm>
            <a:off x="3484268" y="6011751"/>
            <a:ext cx="159988" cy="159987"/>
          </a:xfrm>
          <a:custGeom>
            <a:avLst/>
            <a:gdLst>
              <a:gd name="connsiteX0" fmla="*/ -3207 w 159988"/>
              <a:gd name="connsiteY0" fmla="*/ 159748 h 159987"/>
              <a:gd name="connsiteX1" fmla="*/ 156781 w 159988"/>
              <a:gd name="connsiteY1" fmla="*/ -240 h 159987"/>
              <a:gd name="connsiteX2" fmla="*/ -3207 w 159988"/>
              <a:gd name="connsiteY2" fmla="*/ 159748 h 159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988" h="159987">
                <a:moveTo>
                  <a:pt x="-3207" y="159748"/>
                </a:moveTo>
                <a:cubicBezTo>
                  <a:pt x="85163" y="159748"/>
                  <a:pt x="156781" y="88121"/>
                  <a:pt x="156781" y="-240"/>
                </a:cubicBezTo>
                <a:cubicBezTo>
                  <a:pt x="68410" y="-240"/>
                  <a:pt x="-3207" y="71387"/>
                  <a:pt x="-3207" y="159748"/>
                </a:cubicBezTo>
                <a:close/>
              </a:path>
            </a:pathLst>
          </a:custGeom>
          <a:solidFill>
            <a:srgbClr val="949494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646C21D1-A8D3-7E6D-6301-BF8B78B2E29E}"/>
              </a:ext>
            </a:extLst>
          </p:cNvPr>
          <p:cNvGrpSpPr/>
          <p:nvPr/>
        </p:nvGrpSpPr>
        <p:grpSpPr>
          <a:xfrm>
            <a:off x="187126" y="5082194"/>
            <a:ext cx="605463" cy="605463"/>
            <a:chOff x="5094572" y="6068734"/>
            <a:chExt cx="605463" cy="605463"/>
          </a:xfrm>
        </p:grpSpPr>
        <p:sp>
          <p:nvSpPr>
            <p:cNvPr id="54" name="Полилиния: фигура 49">
              <a:extLst>
                <a:ext uri="{FF2B5EF4-FFF2-40B4-BE49-F238E27FC236}">
                  <a16:creationId xmlns:a16="http://schemas.microsoft.com/office/drawing/2014/main" id="{45A0E700-6C72-E377-3DA7-49BB8F35248D}"/>
                </a:ext>
              </a:extLst>
            </p:cNvPr>
            <p:cNvSpPr/>
            <p:nvPr userDrawn="1"/>
          </p:nvSpPr>
          <p:spPr>
            <a:xfrm>
              <a:off x="5226343" y="6200506"/>
              <a:ext cx="341920" cy="341920"/>
            </a:xfrm>
            <a:custGeom>
              <a:avLst/>
              <a:gdLst>
                <a:gd name="connsiteX0" fmla="*/ 341920 w 341920"/>
                <a:gd name="connsiteY0" fmla="*/ 170960 h 341920"/>
                <a:gd name="connsiteX1" fmla="*/ 170960 w 341920"/>
                <a:gd name="connsiteY1" fmla="*/ 341920 h 341920"/>
                <a:gd name="connsiteX2" fmla="*/ 0 w 341920"/>
                <a:gd name="connsiteY2" fmla="*/ 170960 h 341920"/>
                <a:gd name="connsiteX3" fmla="*/ 170960 w 341920"/>
                <a:gd name="connsiteY3" fmla="*/ 0 h 341920"/>
                <a:gd name="connsiteX4" fmla="*/ 341920 w 341920"/>
                <a:gd name="connsiteY4" fmla="*/ 170960 h 34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1920" h="341920">
                  <a:moveTo>
                    <a:pt x="341920" y="170960"/>
                  </a:moveTo>
                  <a:cubicBezTo>
                    <a:pt x="341920" y="265379"/>
                    <a:pt x="265379" y="341920"/>
                    <a:pt x="170960" y="341920"/>
                  </a:cubicBezTo>
                  <a:cubicBezTo>
                    <a:pt x="76542" y="341920"/>
                    <a:pt x="0" y="265379"/>
                    <a:pt x="0" y="170960"/>
                  </a:cubicBezTo>
                  <a:cubicBezTo>
                    <a:pt x="0" y="76541"/>
                    <a:pt x="76542" y="0"/>
                    <a:pt x="170960" y="0"/>
                  </a:cubicBezTo>
                  <a:cubicBezTo>
                    <a:pt x="265379" y="0"/>
                    <a:pt x="341920" y="76541"/>
                    <a:pt x="341920" y="17096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Полилиния: фигура 50">
              <a:extLst>
                <a:ext uri="{FF2B5EF4-FFF2-40B4-BE49-F238E27FC236}">
                  <a16:creationId xmlns:a16="http://schemas.microsoft.com/office/drawing/2014/main" id="{9620E141-C6E2-08A8-523B-D37ADEA030BD}"/>
                </a:ext>
              </a:extLst>
            </p:cNvPr>
            <p:cNvSpPr/>
            <p:nvPr userDrawn="1"/>
          </p:nvSpPr>
          <p:spPr>
            <a:xfrm>
              <a:off x="5094572" y="6068734"/>
              <a:ext cx="605463" cy="605463"/>
            </a:xfrm>
            <a:custGeom>
              <a:avLst/>
              <a:gdLst>
                <a:gd name="connsiteX0" fmla="*/ 299524 w 605463"/>
                <a:gd name="connsiteY0" fmla="*/ -240 h 605463"/>
                <a:gd name="connsiteX1" fmla="*/ 270132 w 605463"/>
                <a:gd name="connsiteY1" fmla="*/ 29151 h 605463"/>
                <a:gd name="connsiteX2" fmla="*/ 270132 w 605463"/>
                <a:gd name="connsiteY2" fmla="*/ 72847 h 605463"/>
                <a:gd name="connsiteX3" fmla="*/ 299524 w 605463"/>
                <a:gd name="connsiteY3" fmla="*/ 102238 h 605463"/>
                <a:gd name="connsiteX4" fmla="*/ 328915 w 605463"/>
                <a:gd name="connsiteY4" fmla="*/ 72847 h 605463"/>
                <a:gd name="connsiteX5" fmla="*/ 328915 w 605463"/>
                <a:gd name="connsiteY5" fmla="*/ 29151 h 605463"/>
                <a:gd name="connsiteX6" fmla="*/ 299524 w 605463"/>
                <a:gd name="connsiteY6" fmla="*/ -240 h 605463"/>
                <a:gd name="connsiteX7" fmla="*/ 299524 w 605463"/>
                <a:gd name="connsiteY7" fmla="*/ 502745 h 605463"/>
                <a:gd name="connsiteX8" fmla="*/ 270132 w 605463"/>
                <a:gd name="connsiteY8" fmla="*/ 532137 h 605463"/>
                <a:gd name="connsiteX9" fmla="*/ 270132 w 605463"/>
                <a:gd name="connsiteY9" fmla="*/ 575832 h 605463"/>
                <a:gd name="connsiteX10" fmla="*/ 299524 w 605463"/>
                <a:gd name="connsiteY10" fmla="*/ 605223 h 605463"/>
                <a:gd name="connsiteX11" fmla="*/ 328915 w 605463"/>
                <a:gd name="connsiteY11" fmla="*/ 575832 h 605463"/>
                <a:gd name="connsiteX12" fmla="*/ 328915 w 605463"/>
                <a:gd name="connsiteY12" fmla="*/ 532137 h 605463"/>
                <a:gd name="connsiteX13" fmla="*/ 299524 w 605463"/>
                <a:gd name="connsiteY13" fmla="*/ 502745 h 605463"/>
                <a:gd name="connsiteX14" fmla="*/ 99271 w 605463"/>
                <a:gd name="connsiteY14" fmla="*/ 302492 h 605463"/>
                <a:gd name="connsiteX15" fmla="*/ 69879 w 605463"/>
                <a:gd name="connsiteY15" fmla="*/ 273100 h 605463"/>
                <a:gd name="connsiteX16" fmla="*/ 26184 w 605463"/>
                <a:gd name="connsiteY16" fmla="*/ 273100 h 605463"/>
                <a:gd name="connsiteX17" fmla="*/ -3207 w 605463"/>
                <a:gd name="connsiteY17" fmla="*/ 302492 h 605463"/>
                <a:gd name="connsiteX18" fmla="*/ 26184 w 605463"/>
                <a:gd name="connsiteY18" fmla="*/ 331883 h 605463"/>
                <a:gd name="connsiteX19" fmla="*/ 69879 w 605463"/>
                <a:gd name="connsiteY19" fmla="*/ 331883 h 605463"/>
                <a:gd name="connsiteX20" fmla="*/ 99271 w 605463"/>
                <a:gd name="connsiteY20" fmla="*/ 302492 h 605463"/>
                <a:gd name="connsiteX21" fmla="*/ 572865 w 605463"/>
                <a:gd name="connsiteY21" fmla="*/ 273100 h 605463"/>
                <a:gd name="connsiteX22" fmla="*/ 529168 w 605463"/>
                <a:gd name="connsiteY22" fmla="*/ 273100 h 605463"/>
                <a:gd name="connsiteX23" fmla="*/ 499777 w 605463"/>
                <a:gd name="connsiteY23" fmla="*/ 302492 h 605463"/>
                <a:gd name="connsiteX24" fmla="*/ 529168 w 605463"/>
                <a:gd name="connsiteY24" fmla="*/ 331883 h 605463"/>
                <a:gd name="connsiteX25" fmla="*/ 572865 w 605463"/>
                <a:gd name="connsiteY25" fmla="*/ 331883 h 605463"/>
                <a:gd name="connsiteX26" fmla="*/ 602257 w 605463"/>
                <a:gd name="connsiteY26" fmla="*/ 302492 h 605463"/>
                <a:gd name="connsiteX27" fmla="*/ 572865 w 605463"/>
                <a:gd name="connsiteY27" fmla="*/ 273100 h 605463"/>
                <a:gd name="connsiteX28" fmla="*/ 126997 w 605463"/>
                <a:gd name="connsiteY28" fmla="*/ 88424 h 605463"/>
                <a:gd name="connsiteX29" fmla="*/ 85457 w 605463"/>
                <a:gd name="connsiteY29" fmla="*/ 86955 h 605463"/>
                <a:gd name="connsiteX30" fmla="*/ 83986 w 605463"/>
                <a:gd name="connsiteY30" fmla="*/ 128494 h 605463"/>
                <a:gd name="connsiteX31" fmla="*/ 85457 w 605463"/>
                <a:gd name="connsiteY31" fmla="*/ 129964 h 605463"/>
                <a:gd name="connsiteX32" fmla="*/ 116317 w 605463"/>
                <a:gd name="connsiteY32" fmla="*/ 160923 h 605463"/>
                <a:gd name="connsiteX33" fmla="*/ 157955 w 605463"/>
                <a:gd name="connsiteY33" fmla="*/ 160923 h 605463"/>
                <a:gd name="connsiteX34" fmla="*/ 157955 w 605463"/>
                <a:gd name="connsiteY34" fmla="*/ 119285 h 605463"/>
                <a:gd name="connsiteX35" fmla="*/ 482730 w 605463"/>
                <a:gd name="connsiteY35" fmla="*/ 444061 h 605463"/>
                <a:gd name="connsiteX36" fmla="*/ 441092 w 605463"/>
                <a:gd name="connsiteY36" fmla="*/ 444061 h 605463"/>
                <a:gd name="connsiteX37" fmla="*/ 441092 w 605463"/>
                <a:gd name="connsiteY37" fmla="*/ 485698 h 605463"/>
                <a:gd name="connsiteX38" fmla="*/ 472052 w 605463"/>
                <a:gd name="connsiteY38" fmla="*/ 516559 h 605463"/>
                <a:gd name="connsiteX39" fmla="*/ 513592 w 605463"/>
                <a:gd name="connsiteY39" fmla="*/ 516559 h 605463"/>
                <a:gd name="connsiteX40" fmla="*/ 513592 w 605463"/>
                <a:gd name="connsiteY40" fmla="*/ 475019 h 605463"/>
                <a:gd name="connsiteX41" fmla="*/ 116317 w 605463"/>
                <a:gd name="connsiteY41" fmla="*/ 444061 h 605463"/>
                <a:gd name="connsiteX42" fmla="*/ 85457 w 605463"/>
                <a:gd name="connsiteY42" fmla="*/ 475019 h 605463"/>
                <a:gd name="connsiteX43" fmla="*/ 85457 w 605463"/>
                <a:gd name="connsiteY43" fmla="*/ 516589 h 605463"/>
                <a:gd name="connsiteX44" fmla="*/ 106226 w 605463"/>
                <a:gd name="connsiteY44" fmla="*/ 525181 h 605463"/>
                <a:gd name="connsiteX45" fmla="*/ 126997 w 605463"/>
                <a:gd name="connsiteY45" fmla="*/ 516559 h 605463"/>
                <a:gd name="connsiteX46" fmla="*/ 157955 w 605463"/>
                <a:gd name="connsiteY46" fmla="*/ 485698 h 605463"/>
                <a:gd name="connsiteX47" fmla="*/ 157955 w 605463"/>
                <a:gd name="connsiteY47" fmla="*/ 444061 h 605463"/>
                <a:gd name="connsiteX48" fmla="*/ 116317 w 605463"/>
                <a:gd name="connsiteY48" fmla="*/ 444061 h 605463"/>
                <a:gd name="connsiteX49" fmla="*/ 461961 w 605463"/>
                <a:gd name="connsiteY49" fmla="*/ 169740 h 605463"/>
                <a:gd name="connsiteX50" fmla="*/ 482730 w 605463"/>
                <a:gd name="connsiteY50" fmla="*/ 161217 h 605463"/>
                <a:gd name="connsiteX51" fmla="*/ 513592 w 605463"/>
                <a:gd name="connsiteY51" fmla="*/ 130258 h 605463"/>
                <a:gd name="connsiteX52" fmla="*/ 512121 w 605463"/>
                <a:gd name="connsiteY52" fmla="*/ 88718 h 605463"/>
                <a:gd name="connsiteX53" fmla="*/ 472052 w 605463"/>
                <a:gd name="connsiteY53" fmla="*/ 88718 h 605463"/>
                <a:gd name="connsiteX54" fmla="*/ 441092 w 605463"/>
                <a:gd name="connsiteY54" fmla="*/ 119579 h 605463"/>
                <a:gd name="connsiteX55" fmla="*/ 441092 w 605463"/>
                <a:gd name="connsiteY55" fmla="*/ 161148 h 605463"/>
                <a:gd name="connsiteX56" fmla="*/ 461961 w 605463"/>
                <a:gd name="connsiteY56" fmla="*/ 169740 h 60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605463" h="605463">
                  <a:moveTo>
                    <a:pt x="299524" y="-240"/>
                  </a:moveTo>
                  <a:cubicBezTo>
                    <a:pt x="283261" y="-240"/>
                    <a:pt x="270132" y="12917"/>
                    <a:pt x="270132" y="29151"/>
                  </a:cubicBezTo>
                  <a:lnTo>
                    <a:pt x="270132" y="72847"/>
                  </a:lnTo>
                  <a:cubicBezTo>
                    <a:pt x="270132" y="89081"/>
                    <a:pt x="283261" y="102238"/>
                    <a:pt x="299524" y="102238"/>
                  </a:cubicBezTo>
                  <a:cubicBezTo>
                    <a:pt x="315786" y="102238"/>
                    <a:pt x="328915" y="89081"/>
                    <a:pt x="328915" y="72847"/>
                  </a:cubicBezTo>
                  <a:lnTo>
                    <a:pt x="328915" y="29151"/>
                  </a:lnTo>
                  <a:cubicBezTo>
                    <a:pt x="328915" y="12917"/>
                    <a:pt x="315786" y="-240"/>
                    <a:pt x="299524" y="-240"/>
                  </a:cubicBezTo>
                  <a:close/>
                  <a:moveTo>
                    <a:pt x="299524" y="502745"/>
                  </a:moveTo>
                  <a:cubicBezTo>
                    <a:pt x="283261" y="502745"/>
                    <a:pt x="270132" y="515903"/>
                    <a:pt x="270132" y="532137"/>
                  </a:cubicBezTo>
                  <a:lnTo>
                    <a:pt x="270132" y="575832"/>
                  </a:lnTo>
                  <a:cubicBezTo>
                    <a:pt x="270132" y="592066"/>
                    <a:pt x="283261" y="605223"/>
                    <a:pt x="299524" y="605223"/>
                  </a:cubicBezTo>
                  <a:cubicBezTo>
                    <a:pt x="315786" y="605223"/>
                    <a:pt x="328915" y="592066"/>
                    <a:pt x="328915" y="575832"/>
                  </a:cubicBezTo>
                  <a:lnTo>
                    <a:pt x="328915" y="532137"/>
                  </a:lnTo>
                  <a:cubicBezTo>
                    <a:pt x="328915" y="515903"/>
                    <a:pt x="315786" y="502745"/>
                    <a:pt x="299524" y="502745"/>
                  </a:cubicBezTo>
                  <a:close/>
                  <a:moveTo>
                    <a:pt x="99271" y="302492"/>
                  </a:moveTo>
                  <a:cubicBezTo>
                    <a:pt x="99271" y="286258"/>
                    <a:pt x="86141" y="273100"/>
                    <a:pt x="69879" y="273100"/>
                  </a:cubicBezTo>
                  <a:lnTo>
                    <a:pt x="26184" y="273100"/>
                  </a:lnTo>
                  <a:cubicBezTo>
                    <a:pt x="9919" y="273100"/>
                    <a:pt x="-3207" y="286258"/>
                    <a:pt x="-3207" y="302492"/>
                  </a:cubicBezTo>
                  <a:cubicBezTo>
                    <a:pt x="-3207" y="318726"/>
                    <a:pt x="9919" y="331883"/>
                    <a:pt x="26184" y="331883"/>
                  </a:cubicBezTo>
                  <a:lnTo>
                    <a:pt x="69879" y="331883"/>
                  </a:lnTo>
                  <a:cubicBezTo>
                    <a:pt x="86141" y="331883"/>
                    <a:pt x="99271" y="318726"/>
                    <a:pt x="99271" y="302492"/>
                  </a:cubicBezTo>
                  <a:close/>
                  <a:moveTo>
                    <a:pt x="572865" y="273100"/>
                  </a:moveTo>
                  <a:lnTo>
                    <a:pt x="529168" y="273100"/>
                  </a:lnTo>
                  <a:cubicBezTo>
                    <a:pt x="512906" y="273100"/>
                    <a:pt x="499777" y="286258"/>
                    <a:pt x="499777" y="302492"/>
                  </a:cubicBezTo>
                  <a:cubicBezTo>
                    <a:pt x="499777" y="318726"/>
                    <a:pt x="512906" y="331883"/>
                    <a:pt x="529168" y="331883"/>
                  </a:cubicBezTo>
                  <a:lnTo>
                    <a:pt x="572865" y="331883"/>
                  </a:lnTo>
                  <a:cubicBezTo>
                    <a:pt x="589128" y="331883"/>
                    <a:pt x="602257" y="318726"/>
                    <a:pt x="602257" y="302492"/>
                  </a:cubicBezTo>
                  <a:cubicBezTo>
                    <a:pt x="602257" y="286258"/>
                    <a:pt x="589128" y="273100"/>
                    <a:pt x="572865" y="273100"/>
                  </a:cubicBezTo>
                  <a:close/>
                  <a:moveTo>
                    <a:pt x="126997" y="88424"/>
                  </a:moveTo>
                  <a:cubicBezTo>
                    <a:pt x="115925" y="76550"/>
                    <a:pt x="97312" y="75894"/>
                    <a:pt x="85457" y="86955"/>
                  </a:cubicBezTo>
                  <a:cubicBezTo>
                    <a:pt x="73601" y="98025"/>
                    <a:pt x="72917" y="116620"/>
                    <a:pt x="83986" y="128494"/>
                  </a:cubicBezTo>
                  <a:cubicBezTo>
                    <a:pt x="84477" y="129004"/>
                    <a:pt x="84967" y="129494"/>
                    <a:pt x="85457" y="129964"/>
                  </a:cubicBezTo>
                  <a:lnTo>
                    <a:pt x="116317" y="160923"/>
                  </a:lnTo>
                  <a:cubicBezTo>
                    <a:pt x="127779" y="172425"/>
                    <a:pt x="146493" y="172425"/>
                    <a:pt x="157955" y="160923"/>
                  </a:cubicBezTo>
                  <a:cubicBezTo>
                    <a:pt x="169417" y="149421"/>
                    <a:pt x="169417" y="130787"/>
                    <a:pt x="157955" y="119285"/>
                  </a:cubicBezTo>
                  <a:close/>
                  <a:moveTo>
                    <a:pt x="482730" y="444061"/>
                  </a:moveTo>
                  <a:cubicBezTo>
                    <a:pt x="471268" y="432559"/>
                    <a:pt x="452556" y="432559"/>
                    <a:pt x="441092" y="444061"/>
                  </a:cubicBezTo>
                  <a:cubicBezTo>
                    <a:pt x="429630" y="455562"/>
                    <a:pt x="429630" y="474196"/>
                    <a:pt x="441092" y="485698"/>
                  </a:cubicBezTo>
                  <a:lnTo>
                    <a:pt x="472052" y="516559"/>
                  </a:lnTo>
                  <a:cubicBezTo>
                    <a:pt x="483514" y="528022"/>
                    <a:pt x="502128" y="528022"/>
                    <a:pt x="513592" y="516559"/>
                  </a:cubicBezTo>
                  <a:cubicBezTo>
                    <a:pt x="525054" y="505087"/>
                    <a:pt x="525054" y="486492"/>
                    <a:pt x="513592" y="475019"/>
                  </a:cubicBezTo>
                  <a:close/>
                  <a:moveTo>
                    <a:pt x="116317" y="444061"/>
                  </a:moveTo>
                  <a:lnTo>
                    <a:pt x="85457" y="475019"/>
                  </a:lnTo>
                  <a:cubicBezTo>
                    <a:pt x="73993" y="486502"/>
                    <a:pt x="73993" y="505116"/>
                    <a:pt x="85457" y="516589"/>
                  </a:cubicBezTo>
                  <a:cubicBezTo>
                    <a:pt x="90942" y="522085"/>
                    <a:pt x="98486" y="525171"/>
                    <a:pt x="106226" y="525181"/>
                  </a:cubicBezTo>
                  <a:cubicBezTo>
                    <a:pt x="114064" y="525171"/>
                    <a:pt x="121510" y="522075"/>
                    <a:pt x="126997" y="516559"/>
                  </a:cubicBezTo>
                  <a:lnTo>
                    <a:pt x="157955" y="485698"/>
                  </a:lnTo>
                  <a:cubicBezTo>
                    <a:pt x="169417" y="474196"/>
                    <a:pt x="169417" y="455562"/>
                    <a:pt x="157955" y="444061"/>
                  </a:cubicBezTo>
                  <a:cubicBezTo>
                    <a:pt x="146493" y="432559"/>
                    <a:pt x="127779" y="432559"/>
                    <a:pt x="116317" y="444061"/>
                  </a:cubicBezTo>
                  <a:close/>
                  <a:moveTo>
                    <a:pt x="461961" y="169740"/>
                  </a:moveTo>
                  <a:cubicBezTo>
                    <a:pt x="469701" y="169760"/>
                    <a:pt x="477245" y="166694"/>
                    <a:pt x="482730" y="161217"/>
                  </a:cubicBezTo>
                  <a:lnTo>
                    <a:pt x="513592" y="130258"/>
                  </a:lnTo>
                  <a:cubicBezTo>
                    <a:pt x="524662" y="118384"/>
                    <a:pt x="523975" y="99789"/>
                    <a:pt x="512121" y="88718"/>
                  </a:cubicBezTo>
                  <a:cubicBezTo>
                    <a:pt x="500855" y="78196"/>
                    <a:pt x="483318" y="78196"/>
                    <a:pt x="472052" y="88718"/>
                  </a:cubicBezTo>
                  <a:lnTo>
                    <a:pt x="441092" y="119579"/>
                  </a:lnTo>
                  <a:cubicBezTo>
                    <a:pt x="429630" y="131061"/>
                    <a:pt x="429630" y="149676"/>
                    <a:pt x="441092" y="161148"/>
                  </a:cubicBezTo>
                  <a:cubicBezTo>
                    <a:pt x="446677" y="166664"/>
                    <a:pt x="454123" y="169760"/>
                    <a:pt x="461961" y="1697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37D41EB-EE7D-709F-B5E9-8155E29D27E8}"/>
              </a:ext>
            </a:extLst>
          </p:cNvPr>
          <p:cNvGrpSpPr/>
          <p:nvPr/>
        </p:nvGrpSpPr>
        <p:grpSpPr>
          <a:xfrm>
            <a:off x="979714" y="4895068"/>
            <a:ext cx="979714" cy="979714"/>
            <a:chOff x="979714" y="4895068"/>
            <a:chExt cx="979714" cy="979714"/>
          </a:xfrm>
        </p:grpSpPr>
        <p:sp>
          <p:nvSpPr>
            <p:cNvPr id="50" name="Полилиния: фигура 52">
              <a:extLst>
                <a:ext uri="{FF2B5EF4-FFF2-40B4-BE49-F238E27FC236}">
                  <a16:creationId xmlns:a16="http://schemas.microsoft.com/office/drawing/2014/main" id="{A080FB61-7800-AD87-DD21-AB81FB94B153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Полилиния: фигура 53">
              <a:extLst>
                <a:ext uri="{FF2B5EF4-FFF2-40B4-BE49-F238E27FC236}">
                  <a16:creationId xmlns:a16="http://schemas.microsoft.com/office/drawing/2014/main" id="{3543243B-1C9B-FE3A-16F0-C504ED4E8EF0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Полилиния: фигура 54">
              <a:extLst>
                <a:ext uri="{FF2B5EF4-FFF2-40B4-BE49-F238E27FC236}">
                  <a16:creationId xmlns:a16="http://schemas.microsoft.com/office/drawing/2014/main" id="{503A0479-2C05-4D1A-BDD4-C1BC779E9D17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Полилиния: фигура 55">
              <a:extLst>
                <a:ext uri="{FF2B5EF4-FFF2-40B4-BE49-F238E27FC236}">
                  <a16:creationId xmlns:a16="http://schemas.microsoft.com/office/drawing/2014/main" id="{52EDC270-9463-9024-3BC4-AB321F324777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7" name="Текст 74">
            <a:extLst>
              <a:ext uri="{FF2B5EF4-FFF2-40B4-BE49-F238E27FC236}">
                <a16:creationId xmlns:a16="http://schemas.microsoft.com/office/drawing/2014/main" id="{A276EB3C-25FF-4CB1-BAE3-228517F58257}"/>
              </a:ext>
            </a:extLst>
          </p:cNvPr>
          <p:cNvSpPr txBox="1">
            <a:spLocks/>
          </p:cNvSpPr>
          <p:nvPr/>
        </p:nvSpPr>
        <p:spPr>
          <a:xfrm>
            <a:off x="1958989" y="2719401"/>
            <a:ext cx="3730706" cy="30777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Char char="—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осарева Людмила</a:t>
            </a:r>
            <a:endParaRPr lang="ru-RU" dirty="0"/>
          </a:p>
        </p:txBody>
      </p:sp>
      <p:sp>
        <p:nvSpPr>
          <p:cNvPr id="28" name="Текст 76">
            <a:extLst>
              <a:ext uri="{FF2B5EF4-FFF2-40B4-BE49-F238E27FC236}">
                <a16:creationId xmlns:a16="http://schemas.microsoft.com/office/drawing/2014/main" id="{52CCAD6E-A94B-4BA1-A549-AD3F673F228F}"/>
              </a:ext>
            </a:extLst>
          </p:cNvPr>
          <p:cNvSpPr txBox="1">
            <a:spLocks/>
          </p:cNvSpPr>
          <p:nvPr/>
        </p:nvSpPr>
        <p:spPr>
          <a:xfrm>
            <a:off x="2422119" y="3713146"/>
            <a:ext cx="3774406" cy="26397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Char char="—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9" name="Текст 77">
            <a:extLst>
              <a:ext uri="{FF2B5EF4-FFF2-40B4-BE49-F238E27FC236}">
                <a16:creationId xmlns:a16="http://schemas.microsoft.com/office/drawing/2014/main" id="{B5CEAC9A-B39C-49C5-94A3-A5981CBA87C7}"/>
              </a:ext>
            </a:extLst>
          </p:cNvPr>
          <p:cNvSpPr txBox="1">
            <a:spLocks/>
          </p:cNvSpPr>
          <p:nvPr/>
        </p:nvSpPr>
        <p:spPr>
          <a:xfrm>
            <a:off x="1969096" y="3646881"/>
            <a:ext cx="4097705" cy="139471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Char char="—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u="sng" dirty="0" err="1" smtClean="0"/>
              <a:t>ludmila</a:t>
            </a:r>
            <a:r>
              <a:rPr lang="ru-RU" u="sng" dirty="0" smtClean="0"/>
              <a:t>.</a:t>
            </a:r>
            <a:r>
              <a:rPr lang="en-US" u="sng" dirty="0" err="1" smtClean="0"/>
              <a:t>kosareva</a:t>
            </a:r>
            <a:r>
              <a:rPr lang="ru-RU" u="sng" dirty="0" smtClean="0"/>
              <a:t>@lenta.com</a:t>
            </a:r>
          </a:p>
          <a:p>
            <a:pPr algn="just"/>
            <a:endParaRPr lang="ru-RU" sz="1600" dirty="0" smtClean="0"/>
          </a:p>
          <a:p>
            <a:pPr algn="just"/>
            <a:r>
              <a:rPr lang="ru-RU" sz="1600" dirty="0" smtClean="0"/>
              <a:t>Дивизионные менеджеры отдела внутреннего </a:t>
            </a:r>
            <a:r>
              <a:rPr lang="ru-RU" sz="1600" dirty="0"/>
              <a:t>качества: </a:t>
            </a:r>
            <a:r>
              <a:rPr lang="ru-RU" sz="1600" dirty="0" smtClean="0"/>
              <a:t>AllDivQualityManagers@lenta.com </a:t>
            </a:r>
            <a:endParaRPr lang="ru-RU" sz="1600" u="sng" dirty="0"/>
          </a:p>
        </p:txBody>
      </p:sp>
      <p:pic>
        <p:nvPicPr>
          <p:cNvPr id="31" name="Graphic 56">
            <a:extLst>
              <a:ext uri="{FF2B5EF4-FFF2-40B4-BE49-F238E27FC236}">
                <a16:creationId xmlns:a16="http://schemas.microsoft.com/office/drawing/2014/main" id="{6FDB3F66-D77D-3B62-DF0D-1093C8DF6AE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628762" y="3646881"/>
            <a:ext cx="326584" cy="326584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917F280C-A7D5-E120-17A3-6C141398B15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626312" y="2709851"/>
            <a:ext cx="333116" cy="333116"/>
          </a:xfrm>
          <a:prstGeom prst="rect">
            <a:avLst/>
          </a:prstGeom>
        </p:spPr>
      </p:pic>
      <p:sp>
        <p:nvSpPr>
          <p:cNvPr id="57" name="Текст 74">
            <a:extLst>
              <a:ext uri="{FF2B5EF4-FFF2-40B4-BE49-F238E27FC236}">
                <a16:creationId xmlns:a16="http://schemas.microsoft.com/office/drawing/2014/main" id="{A276EB3C-25FF-4CB1-BAE3-228517F58257}"/>
              </a:ext>
            </a:extLst>
          </p:cNvPr>
          <p:cNvSpPr txBox="1">
            <a:spLocks/>
          </p:cNvSpPr>
          <p:nvPr/>
        </p:nvSpPr>
        <p:spPr>
          <a:xfrm>
            <a:off x="1959428" y="3079212"/>
            <a:ext cx="4508878" cy="63393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Char char="—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Начальник отдела внутреннего контроля качеств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96657" y="0"/>
            <a:ext cx="5895343" cy="6870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168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xfrm>
            <a:off x="1197979" y="2227599"/>
            <a:ext cx="7809109" cy="2583353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marR="3081">
              <a:lnSpc>
                <a:spcPct val="100099"/>
              </a:lnSpc>
              <a:spcBef>
                <a:spcPts val="61"/>
              </a:spcBef>
            </a:pPr>
            <a:r>
              <a:rPr sz="4184" spc="-6" dirty="0">
                <a:solidFill>
                  <a:srgbClr val="FFFFFF"/>
                </a:solidFill>
              </a:rPr>
              <a:t>ИНФОРМАЦИЯ </a:t>
            </a:r>
            <a:r>
              <a:rPr sz="4184" dirty="0">
                <a:solidFill>
                  <a:srgbClr val="FFFFFF"/>
                </a:solidFill>
              </a:rPr>
              <a:t>ДЛЯ</a:t>
            </a:r>
            <a:r>
              <a:rPr sz="4184" spc="3" dirty="0">
                <a:solidFill>
                  <a:srgbClr val="FFFFFF"/>
                </a:solidFill>
              </a:rPr>
              <a:t> </a:t>
            </a:r>
            <a:r>
              <a:rPr sz="4184" spc="-6" dirty="0">
                <a:solidFill>
                  <a:srgbClr val="FFFFFF"/>
                </a:solidFill>
              </a:rPr>
              <a:t>ПОСТАВЩИКА</a:t>
            </a:r>
            <a:r>
              <a:rPr lang="ru-RU" sz="4184" spc="-6" dirty="0">
                <a:solidFill>
                  <a:srgbClr val="FFFFFF"/>
                </a:solidFill>
              </a:rPr>
              <a:t/>
            </a:r>
            <a:br>
              <a:rPr lang="ru-RU" sz="4184" spc="-6" dirty="0">
                <a:solidFill>
                  <a:srgbClr val="FFFFFF"/>
                </a:solidFill>
              </a:rPr>
            </a:br>
            <a:r>
              <a:rPr lang="ru-RU" sz="4184" spc="-6" dirty="0">
                <a:solidFill>
                  <a:srgbClr val="FFFFFF"/>
                </a:solidFill>
              </a:rPr>
              <a:t/>
            </a:r>
            <a:br>
              <a:rPr lang="ru-RU" sz="4184" spc="-6" dirty="0">
                <a:solidFill>
                  <a:srgbClr val="FFFFFF"/>
                </a:solidFill>
              </a:rPr>
            </a:br>
            <a:r>
              <a:rPr lang="ru-RU" sz="4184" spc="-6" dirty="0">
                <a:solidFill>
                  <a:srgbClr val="FFFFFF"/>
                </a:solidFill>
              </a:rPr>
              <a:t>Работа с товарами СТМ</a:t>
            </a:r>
            <a:endParaRPr sz="4184" dirty="0"/>
          </a:p>
        </p:txBody>
      </p:sp>
      <p:sp>
        <p:nvSpPr>
          <p:cNvPr id="3" name="object 3"/>
          <p:cNvSpPr txBox="1"/>
          <p:nvPr/>
        </p:nvSpPr>
        <p:spPr>
          <a:xfrm>
            <a:off x="1197979" y="4907674"/>
            <a:ext cx="2390507" cy="330501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defTabSz="554492">
              <a:spcBef>
                <a:spcPts val="67"/>
              </a:spcBef>
            </a:pPr>
            <a:r>
              <a:rPr lang="ru-RU" sz="2092" kern="0" dirty="0" smtClean="0">
                <a:solidFill>
                  <a:srgbClr val="FFB800"/>
                </a:solidFill>
                <a:latin typeface="Verdana"/>
                <a:cs typeface="Verdana"/>
              </a:rPr>
              <a:t>октябрь</a:t>
            </a:r>
            <a:r>
              <a:rPr sz="2092" kern="0" spc="3" dirty="0" smtClean="0">
                <a:solidFill>
                  <a:srgbClr val="FFB800"/>
                </a:solidFill>
                <a:latin typeface="Verdana"/>
                <a:cs typeface="Verdana"/>
              </a:rPr>
              <a:t> </a:t>
            </a:r>
            <a:r>
              <a:rPr sz="2092" kern="0" dirty="0">
                <a:solidFill>
                  <a:srgbClr val="FFB800"/>
                </a:solidFill>
                <a:latin typeface="Verdana"/>
                <a:cs typeface="Verdana"/>
              </a:rPr>
              <a:t>2025</a:t>
            </a:r>
            <a:r>
              <a:rPr sz="2092" kern="0" spc="3" dirty="0">
                <a:solidFill>
                  <a:srgbClr val="FFB800"/>
                </a:solidFill>
                <a:latin typeface="Verdana"/>
                <a:cs typeface="Verdana"/>
              </a:rPr>
              <a:t> </a:t>
            </a:r>
            <a:r>
              <a:rPr sz="2092" kern="0" spc="-15" dirty="0">
                <a:solidFill>
                  <a:srgbClr val="FFB800"/>
                </a:solidFill>
                <a:latin typeface="Verdana"/>
                <a:cs typeface="Verdana"/>
              </a:rPr>
              <a:t>г.</a:t>
            </a:r>
            <a:endParaRPr sz="209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24735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768" y="1310714"/>
            <a:ext cx="6467613" cy="237886"/>
          </a:xfrm>
        </p:spPr>
        <p:txBody>
          <a:bodyPr/>
          <a:lstStyle/>
          <a:p>
            <a:r>
              <a:rPr lang="en-US" dirty="0"/>
              <a:t>https://lenta.com/i/postavshchikam/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768" y="1940806"/>
            <a:ext cx="10264013" cy="462816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l="3300" t="8176" r="61655" b="59599"/>
          <a:stretch/>
        </p:blipFill>
        <p:spPr>
          <a:xfrm>
            <a:off x="5044966" y="890076"/>
            <a:ext cx="4629330" cy="130804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4184" y="266877"/>
            <a:ext cx="10928214" cy="461986"/>
          </a:xfrm>
        </p:spPr>
        <p:txBody>
          <a:bodyPr/>
          <a:lstStyle/>
          <a:p>
            <a:r>
              <a:rPr lang="ru-RU" dirty="0" smtClean="0"/>
              <a:t>Хендбук для поставщиков товаров СТ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89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652229" y="1392895"/>
            <a:ext cx="10893092" cy="4246107"/>
            <a:chOff x="1074868" y="2296987"/>
            <a:chExt cx="17963515" cy="7002145"/>
          </a:xfrm>
        </p:grpSpPr>
        <p:sp>
          <p:nvSpPr>
            <p:cNvPr id="3" name="object 3"/>
            <p:cNvSpPr/>
            <p:nvPr/>
          </p:nvSpPr>
          <p:spPr>
            <a:xfrm>
              <a:off x="12902309" y="3207784"/>
              <a:ext cx="6136005" cy="6091555"/>
            </a:xfrm>
            <a:custGeom>
              <a:avLst/>
              <a:gdLst/>
              <a:ahLst/>
              <a:cxnLst/>
              <a:rect l="l" t="t" r="r" b="b"/>
              <a:pathLst>
                <a:path w="6136005" h="6091555">
                  <a:moveTo>
                    <a:pt x="5821602" y="0"/>
                  </a:moveTo>
                  <a:lnTo>
                    <a:pt x="314126" y="0"/>
                  </a:lnTo>
                  <a:lnTo>
                    <a:pt x="267706" y="3406"/>
                  </a:lnTo>
                  <a:lnTo>
                    <a:pt x="223400" y="13300"/>
                  </a:lnTo>
                  <a:lnTo>
                    <a:pt x="181696" y="29196"/>
                  </a:lnTo>
                  <a:lnTo>
                    <a:pt x="143079" y="50609"/>
                  </a:lnTo>
                  <a:lnTo>
                    <a:pt x="108034" y="77051"/>
                  </a:lnTo>
                  <a:lnTo>
                    <a:pt x="77048" y="108038"/>
                  </a:lnTo>
                  <a:lnTo>
                    <a:pt x="50606" y="143083"/>
                  </a:lnTo>
                  <a:lnTo>
                    <a:pt x="29194" y="181701"/>
                  </a:lnTo>
                  <a:lnTo>
                    <a:pt x="13299" y="223404"/>
                  </a:lnTo>
                  <a:lnTo>
                    <a:pt x="3405" y="267708"/>
                  </a:lnTo>
                  <a:lnTo>
                    <a:pt x="0" y="314126"/>
                  </a:lnTo>
                  <a:lnTo>
                    <a:pt x="0" y="5776818"/>
                  </a:lnTo>
                  <a:lnTo>
                    <a:pt x="3405" y="5823239"/>
                  </a:lnTo>
                  <a:lnTo>
                    <a:pt x="13299" y="5867544"/>
                  </a:lnTo>
                  <a:lnTo>
                    <a:pt x="29194" y="5909248"/>
                  </a:lnTo>
                  <a:lnTo>
                    <a:pt x="50606" y="5947866"/>
                  </a:lnTo>
                  <a:lnTo>
                    <a:pt x="77048" y="5982910"/>
                  </a:lnTo>
                  <a:lnTo>
                    <a:pt x="108034" y="6013897"/>
                  </a:lnTo>
                  <a:lnTo>
                    <a:pt x="143079" y="6040338"/>
                  </a:lnTo>
                  <a:lnTo>
                    <a:pt x="181696" y="6061750"/>
                  </a:lnTo>
                  <a:lnTo>
                    <a:pt x="223400" y="6077646"/>
                  </a:lnTo>
                  <a:lnTo>
                    <a:pt x="267706" y="6087539"/>
                  </a:lnTo>
                  <a:lnTo>
                    <a:pt x="314126" y="6090945"/>
                  </a:lnTo>
                  <a:lnTo>
                    <a:pt x="5821602" y="6090945"/>
                  </a:lnTo>
                  <a:lnTo>
                    <a:pt x="5868023" y="6087539"/>
                  </a:lnTo>
                  <a:lnTo>
                    <a:pt x="5912328" y="6077646"/>
                  </a:lnTo>
                  <a:lnTo>
                    <a:pt x="5954032" y="6061750"/>
                  </a:lnTo>
                  <a:lnTo>
                    <a:pt x="5992650" y="6040338"/>
                  </a:lnTo>
                  <a:lnTo>
                    <a:pt x="6027694" y="6013897"/>
                  </a:lnTo>
                  <a:lnTo>
                    <a:pt x="6058681" y="5982910"/>
                  </a:lnTo>
                  <a:lnTo>
                    <a:pt x="6085122" y="5947866"/>
                  </a:lnTo>
                  <a:lnTo>
                    <a:pt x="6106534" y="5909248"/>
                  </a:lnTo>
                  <a:lnTo>
                    <a:pt x="6122429" y="5867544"/>
                  </a:lnTo>
                  <a:lnTo>
                    <a:pt x="6132323" y="5823239"/>
                  </a:lnTo>
                  <a:lnTo>
                    <a:pt x="6135729" y="5776818"/>
                  </a:lnTo>
                  <a:lnTo>
                    <a:pt x="6135729" y="314126"/>
                  </a:lnTo>
                  <a:lnTo>
                    <a:pt x="6132323" y="267708"/>
                  </a:lnTo>
                  <a:lnTo>
                    <a:pt x="6122429" y="223404"/>
                  </a:lnTo>
                  <a:lnTo>
                    <a:pt x="6106534" y="181701"/>
                  </a:lnTo>
                  <a:lnTo>
                    <a:pt x="6085122" y="143083"/>
                  </a:lnTo>
                  <a:lnTo>
                    <a:pt x="6058681" y="108038"/>
                  </a:lnTo>
                  <a:lnTo>
                    <a:pt x="6027694" y="77051"/>
                  </a:lnTo>
                  <a:lnTo>
                    <a:pt x="5992650" y="50609"/>
                  </a:lnTo>
                  <a:lnTo>
                    <a:pt x="5954032" y="29196"/>
                  </a:lnTo>
                  <a:lnTo>
                    <a:pt x="5912328" y="13300"/>
                  </a:lnTo>
                  <a:lnTo>
                    <a:pt x="5868023" y="3406"/>
                  </a:lnTo>
                  <a:lnTo>
                    <a:pt x="5821602" y="0"/>
                  </a:lnTo>
                  <a:close/>
                </a:path>
              </a:pathLst>
            </a:custGeom>
            <a:solidFill>
              <a:srgbClr val="ECECE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" name="object 4"/>
            <p:cNvSpPr/>
            <p:nvPr/>
          </p:nvSpPr>
          <p:spPr>
            <a:xfrm>
              <a:off x="1074868" y="2296987"/>
              <a:ext cx="17963515" cy="2060575"/>
            </a:xfrm>
            <a:custGeom>
              <a:avLst/>
              <a:gdLst/>
              <a:ahLst/>
              <a:cxnLst/>
              <a:rect l="l" t="t" r="r" b="b"/>
              <a:pathLst>
                <a:path w="17963515" h="2060575">
                  <a:moveTo>
                    <a:pt x="17649043" y="0"/>
                  </a:moveTo>
                  <a:lnTo>
                    <a:pt x="314126" y="0"/>
                  </a:lnTo>
                  <a:lnTo>
                    <a:pt x="267708" y="3405"/>
                  </a:lnTo>
                  <a:lnTo>
                    <a:pt x="223404" y="13299"/>
                  </a:lnTo>
                  <a:lnTo>
                    <a:pt x="181701" y="29194"/>
                  </a:lnTo>
                  <a:lnTo>
                    <a:pt x="143083" y="50606"/>
                  </a:lnTo>
                  <a:lnTo>
                    <a:pt x="108038" y="77048"/>
                  </a:lnTo>
                  <a:lnTo>
                    <a:pt x="77051" y="108034"/>
                  </a:lnTo>
                  <a:lnTo>
                    <a:pt x="50609" y="143079"/>
                  </a:lnTo>
                  <a:lnTo>
                    <a:pt x="29196" y="181696"/>
                  </a:lnTo>
                  <a:lnTo>
                    <a:pt x="13300" y="223400"/>
                  </a:lnTo>
                  <a:lnTo>
                    <a:pt x="3406" y="267706"/>
                  </a:lnTo>
                  <a:lnTo>
                    <a:pt x="0" y="314126"/>
                  </a:lnTo>
                  <a:lnTo>
                    <a:pt x="0" y="1746041"/>
                  </a:lnTo>
                  <a:lnTo>
                    <a:pt x="3406" y="1792461"/>
                  </a:lnTo>
                  <a:lnTo>
                    <a:pt x="13300" y="1836766"/>
                  </a:lnTo>
                  <a:lnTo>
                    <a:pt x="29196" y="1878470"/>
                  </a:lnTo>
                  <a:lnTo>
                    <a:pt x="50609" y="1917088"/>
                  </a:lnTo>
                  <a:lnTo>
                    <a:pt x="77051" y="1952133"/>
                  </a:lnTo>
                  <a:lnTo>
                    <a:pt x="108038" y="1983119"/>
                  </a:lnTo>
                  <a:lnTo>
                    <a:pt x="143083" y="2009561"/>
                  </a:lnTo>
                  <a:lnTo>
                    <a:pt x="181701" y="2030972"/>
                  </a:lnTo>
                  <a:lnTo>
                    <a:pt x="223404" y="2046868"/>
                  </a:lnTo>
                  <a:lnTo>
                    <a:pt x="267708" y="2056761"/>
                  </a:lnTo>
                  <a:lnTo>
                    <a:pt x="314126" y="2060167"/>
                  </a:lnTo>
                  <a:lnTo>
                    <a:pt x="17649043" y="2060167"/>
                  </a:lnTo>
                  <a:lnTo>
                    <a:pt x="17695464" y="2056761"/>
                  </a:lnTo>
                  <a:lnTo>
                    <a:pt x="17739769" y="2046868"/>
                  </a:lnTo>
                  <a:lnTo>
                    <a:pt x="17781473" y="2030972"/>
                  </a:lnTo>
                  <a:lnTo>
                    <a:pt x="17820091" y="2009561"/>
                  </a:lnTo>
                  <a:lnTo>
                    <a:pt x="17855135" y="1983119"/>
                  </a:lnTo>
                  <a:lnTo>
                    <a:pt x="17886121" y="1952133"/>
                  </a:lnTo>
                  <a:lnTo>
                    <a:pt x="17912563" y="1917088"/>
                  </a:lnTo>
                  <a:lnTo>
                    <a:pt x="17933975" y="1878470"/>
                  </a:lnTo>
                  <a:lnTo>
                    <a:pt x="17949870" y="1836766"/>
                  </a:lnTo>
                  <a:lnTo>
                    <a:pt x="17959764" y="1792461"/>
                  </a:lnTo>
                  <a:lnTo>
                    <a:pt x="17963170" y="1746041"/>
                  </a:lnTo>
                  <a:lnTo>
                    <a:pt x="17963170" y="314126"/>
                  </a:lnTo>
                  <a:lnTo>
                    <a:pt x="17959764" y="267706"/>
                  </a:lnTo>
                  <a:lnTo>
                    <a:pt x="17949870" y="223400"/>
                  </a:lnTo>
                  <a:lnTo>
                    <a:pt x="17933975" y="181696"/>
                  </a:lnTo>
                  <a:lnTo>
                    <a:pt x="17912563" y="143079"/>
                  </a:lnTo>
                  <a:lnTo>
                    <a:pt x="17886121" y="108034"/>
                  </a:lnTo>
                  <a:lnTo>
                    <a:pt x="17855135" y="77048"/>
                  </a:lnTo>
                  <a:lnTo>
                    <a:pt x="17820091" y="50606"/>
                  </a:lnTo>
                  <a:lnTo>
                    <a:pt x="17781473" y="29194"/>
                  </a:lnTo>
                  <a:lnTo>
                    <a:pt x="17739769" y="13299"/>
                  </a:lnTo>
                  <a:lnTo>
                    <a:pt x="17695464" y="3405"/>
                  </a:lnTo>
                  <a:lnTo>
                    <a:pt x="17649043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740255" y="1450625"/>
            <a:ext cx="10442412" cy="112730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indent="1006172" algn="ctr" defTabSz="554492">
              <a:lnSpc>
                <a:spcPct val="100499"/>
              </a:lnSpc>
              <a:spcBef>
                <a:spcPts val="58"/>
              </a:spcBef>
            </a:pPr>
            <a:r>
              <a:rPr sz="2426" b="1" kern="0" dirty="0">
                <a:solidFill>
                  <a:srgbClr val="FFFFFF"/>
                </a:solidFill>
                <a:latin typeface="Verdana"/>
                <a:cs typeface="Verdana"/>
              </a:rPr>
              <a:t>Поставщик</a:t>
            </a:r>
            <a:r>
              <a:rPr sz="2426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2426" b="1" kern="0" dirty="0">
                <a:solidFill>
                  <a:srgbClr val="FFFFFF"/>
                </a:solidFill>
                <a:latin typeface="Verdana"/>
                <a:cs typeface="Verdana"/>
              </a:rPr>
              <a:t>товара</a:t>
            </a:r>
            <a:r>
              <a:rPr sz="2426" b="1" kern="0" spc="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2426" b="1" kern="0" dirty="0">
                <a:solidFill>
                  <a:srgbClr val="FFFFFF"/>
                </a:solidFill>
                <a:latin typeface="Verdana"/>
                <a:cs typeface="Verdana"/>
              </a:rPr>
              <a:t>определяется</a:t>
            </a:r>
            <a:r>
              <a:rPr sz="2426" b="1" kern="0" spc="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2426" b="1" kern="0" dirty="0">
                <a:solidFill>
                  <a:srgbClr val="FFFFFF"/>
                </a:solidFill>
                <a:latin typeface="Verdana"/>
                <a:cs typeface="Verdana"/>
              </a:rPr>
              <a:t>по</a:t>
            </a:r>
            <a:r>
              <a:rPr sz="2426" b="1" kern="0" spc="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2426" b="1" kern="0" spc="-6" dirty="0">
                <a:solidFill>
                  <a:srgbClr val="FFFFFF"/>
                </a:solidFill>
                <a:latin typeface="Verdana"/>
                <a:cs typeface="Verdana"/>
              </a:rPr>
              <a:t>итогам </a:t>
            </a:r>
            <a:r>
              <a:rPr sz="2426" b="1" kern="0" dirty="0" err="1">
                <a:solidFill>
                  <a:srgbClr val="FFFFFF"/>
                </a:solidFill>
                <a:latin typeface="Verdana"/>
                <a:cs typeface="Verdana"/>
              </a:rPr>
              <a:t>проведения</a:t>
            </a:r>
            <a:r>
              <a:rPr sz="2426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2426" b="1" kern="0" dirty="0" err="1">
                <a:solidFill>
                  <a:srgbClr val="FFFFFF"/>
                </a:solidFill>
                <a:latin typeface="Verdana"/>
                <a:cs typeface="Verdana"/>
              </a:rPr>
              <a:t>тендера</a:t>
            </a:r>
            <a:r>
              <a:rPr lang="ru-RU" sz="2426" b="1" kern="0" dirty="0">
                <a:solidFill>
                  <a:srgbClr val="FFFFFF"/>
                </a:solidFill>
                <a:latin typeface="Verdana"/>
                <a:cs typeface="Verdana"/>
              </a:rPr>
              <a:t>, сбора КП</a:t>
            </a:r>
            <a:r>
              <a:rPr sz="2426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2426" b="1" kern="0" dirty="0">
                <a:solidFill>
                  <a:srgbClr val="FFFFFF"/>
                </a:solidFill>
                <a:latin typeface="Verdana"/>
                <a:cs typeface="Verdana"/>
              </a:rPr>
              <a:t>или</a:t>
            </a:r>
            <a:r>
              <a:rPr sz="2426" b="1" kern="0" spc="-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2426" b="1" kern="0" dirty="0">
                <a:solidFill>
                  <a:srgbClr val="FFFFFF"/>
                </a:solidFill>
                <a:latin typeface="Verdana"/>
                <a:cs typeface="Verdana"/>
              </a:rPr>
              <a:t>по результатам </a:t>
            </a:r>
            <a:r>
              <a:rPr sz="2426" b="1" kern="0" spc="-6" dirty="0">
                <a:solidFill>
                  <a:srgbClr val="FFFFFF"/>
                </a:solidFill>
                <a:latin typeface="Verdana"/>
                <a:cs typeface="Verdana"/>
              </a:rPr>
              <a:t>переговоров</a:t>
            </a:r>
            <a:endParaRPr sz="242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51226" y="3035093"/>
            <a:ext cx="3397425" cy="2654907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72776" defTabSz="554492">
              <a:lnSpc>
                <a:spcPct val="100899"/>
              </a:lnSpc>
              <a:spcBef>
                <a:spcPts val="58"/>
              </a:spcBef>
            </a:pPr>
            <a:r>
              <a:rPr sz="2031" b="1" kern="0" dirty="0">
                <a:solidFill>
                  <a:srgbClr val="003B95"/>
                </a:solidFill>
                <a:latin typeface="Verdana"/>
                <a:cs typeface="Verdana"/>
              </a:rPr>
              <a:t>ТЕНДЕР</a:t>
            </a:r>
            <a:r>
              <a:rPr sz="2031" b="1" kern="0" spc="9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2031" b="1" kern="0" spc="-6" dirty="0">
                <a:solidFill>
                  <a:srgbClr val="003B95"/>
                </a:solidFill>
                <a:latin typeface="Verdana"/>
                <a:cs typeface="Verdana"/>
              </a:rPr>
              <a:t>ПРОВОДИТСЯ </a:t>
            </a:r>
            <a:r>
              <a:rPr sz="2031" b="1" kern="0" dirty="0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2031" b="1" kern="0" spc="2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2031" b="1" kern="0" spc="-6" dirty="0">
                <a:solidFill>
                  <a:srgbClr val="003B95"/>
                </a:solidFill>
                <a:latin typeface="Verdana"/>
                <a:cs typeface="Verdana"/>
              </a:rPr>
              <a:t>ТОВАРЫ:</a:t>
            </a:r>
            <a:endParaRPr sz="2031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40665" indent="-232964" defTabSz="554492">
              <a:spcBef>
                <a:spcPts val="1122"/>
              </a:spcBef>
              <a:buClr>
                <a:srgbClr val="F9B80E"/>
              </a:buClr>
              <a:buFontTx/>
              <a:buChar char="•"/>
              <a:tabLst>
                <a:tab pos="240665" algn="l"/>
              </a:tabLst>
            </a:pPr>
            <a:r>
              <a:rPr sz="2031" kern="0" spc="-6" dirty="0">
                <a:solidFill>
                  <a:srgbClr val="003B95"/>
                </a:solidFill>
                <a:latin typeface="Verdana"/>
                <a:cs typeface="Verdana"/>
              </a:rPr>
              <a:t>сезонные</a:t>
            </a:r>
            <a:endParaRPr sz="2031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40665" indent="-232964" defTabSz="554492">
              <a:spcBef>
                <a:spcPts val="21"/>
              </a:spcBef>
              <a:buClr>
                <a:srgbClr val="F9B80E"/>
              </a:buClr>
              <a:buFontTx/>
              <a:buChar char="•"/>
              <a:tabLst>
                <a:tab pos="240665" algn="l"/>
              </a:tabLst>
            </a:pPr>
            <a:r>
              <a:rPr sz="2031" kern="0" spc="-6" dirty="0">
                <a:solidFill>
                  <a:srgbClr val="003B95"/>
                </a:solidFill>
                <a:latin typeface="Verdana"/>
                <a:cs typeface="Verdana"/>
              </a:rPr>
              <a:t>биржевые</a:t>
            </a:r>
            <a:endParaRPr sz="2031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40665" indent="-232964" defTabSz="554492">
              <a:spcBef>
                <a:spcPts val="21"/>
              </a:spcBef>
              <a:buClr>
                <a:srgbClr val="F9B80E"/>
              </a:buClr>
              <a:buFontTx/>
              <a:buChar char="•"/>
              <a:tabLst>
                <a:tab pos="240665" algn="l"/>
              </a:tabLst>
            </a:pPr>
            <a:r>
              <a:rPr sz="2031" kern="0" spc="-6" dirty="0">
                <a:solidFill>
                  <a:srgbClr val="003B95"/>
                </a:solidFill>
                <a:latin typeface="Verdana"/>
                <a:cs typeface="Verdana"/>
              </a:rPr>
              <a:t>простые,</a:t>
            </a:r>
            <a:endParaRPr sz="2031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82252" defTabSz="554492">
              <a:spcBef>
                <a:spcPts val="24"/>
              </a:spcBef>
            </a:pPr>
            <a:r>
              <a:rPr sz="2031" kern="0" dirty="0">
                <a:solidFill>
                  <a:srgbClr val="003B95"/>
                </a:solidFill>
                <a:latin typeface="Verdana"/>
                <a:cs typeface="Verdana"/>
              </a:rPr>
              <a:t>не</a:t>
            </a:r>
            <a:r>
              <a:rPr sz="2031" kern="0" spc="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2031" kern="0" dirty="0">
                <a:solidFill>
                  <a:srgbClr val="003B95"/>
                </a:solidFill>
                <a:latin typeface="Verdana"/>
                <a:cs typeface="Verdana"/>
              </a:rPr>
              <a:t>уникальные</a:t>
            </a:r>
            <a:r>
              <a:rPr sz="2031" kern="0" spc="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2031" kern="0" spc="-6" dirty="0">
                <a:solidFill>
                  <a:srgbClr val="003B95"/>
                </a:solidFill>
                <a:latin typeface="Verdana"/>
                <a:cs typeface="Verdana"/>
              </a:rPr>
              <a:t>товары</a:t>
            </a:r>
            <a:endParaRPr sz="2031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40665" indent="-232964" defTabSz="554492">
              <a:spcBef>
                <a:spcPts val="21"/>
              </a:spcBef>
              <a:buClr>
                <a:srgbClr val="F9B80E"/>
              </a:buClr>
              <a:buFontTx/>
              <a:buChar char="•"/>
              <a:tabLst>
                <a:tab pos="240665" algn="l"/>
              </a:tabLst>
            </a:pPr>
            <a:r>
              <a:rPr sz="2031" kern="0" spc="-6" dirty="0">
                <a:solidFill>
                  <a:srgbClr val="003B95"/>
                </a:solidFill>
                <a:latin typeface="Verdana"/>
                <a:cs typeface="Verdana"/>
              </a:rPr>
              <a:t>новинки</a:t>
            </a:r>
            <a:endParaRPr sz="2031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40665" indent="-232964" defTabSz="554492">
              <a:spcBef>
                <a:spcPts val="21"/>
              </a:spcBef>
              <a:buClr>
                <a:srgbClr val="F9B80E"/>
              </a:buClr>
              <a:buFontTx/>
              <a:buChar char="•"/>
              <a:tabLst>
                <a:tab pos="240665" algn="l"/>
              </a:tabLst>
            </a:pPr>
            <a:r>
              <a:rPr sz="2031" kern="0" dirty="0">
                <a:solidFill>
                  <a:srgbClr val="003B95"/>
                </a:solidFill>
                <a:latin typeface="Verdana"/>
                <a:cs typeface="Verdana"/>
              </a:rPr>
              <a:t>по</a:t>
            </a:r>
            <a:r>
              <a:rPr sz="2031" kern="0" spc="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2031" kern="0" spc="-6" dirty="0">
                <a:solidFill>
                  <a:srgbClr val="003B95"/>
                </a:solidFill>
                <a:latin typeface="Verdana"/>
                <a:cs typeface="Verdana"/>
              </a:rPr>
              <a:t>потребности</a:t>
            </a:r>
            <a:endParaRPr sz="2031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136036" y="3043892"/>
            <a:ext cx="3046631" cy="81203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defTabSz="554492">
              <a:lnSpc>
                <a:spcPct val="100499"/>
              </a:lnSpc>
              <a:spcBef>
                <a:spcPts val="58"/>
              </a:spcBef>
            </a:pPr>
            <a:r>
              <a:rPr sz="1940" b="1" kern="0" dirty="0">
                <a:solidFill>
                  <a:srgbClr val="003B95"/>
                </a:solidFill>
                <a:latin typeface="Verdana"/>
                <a:cs typeface="Verdana"/>
              </a:rPr>
              <a:t>Календарь</a:t>
            </a:r>
            <a:r>
              <a:rPr sz="1940" b="1" kern="0" spc="-2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940" b="1" kern="0" spc="-6" dirty="0">
                <a:solidFill>
                  <a:srgbClr val="003B95"/>
                </a:solidFill>
                <a:latin typeface="Verdana"/>
                <a:cs typeface="Verdana"/>
              </a:rPr>
              <a:t>тендеров </a:t>
            </a:r>
            <a:r>
              <a:rPr sz="1940" b="1" kern="0" dirty="0">
                <a:solidFill>
                  <a:srgbClr val="003B95"/>
                </a:solidFill>
                <a:latin typeface="Verdana"/>
                <a:cs typeface="Verdana"/>
              </a:rPr>
              <a:t>находится</a:t>
            </a:r>
            <a:r>
              <a:rPr sz="1940" b="1" kern="0" spc="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940" b="1" kern="0" dirty="0">
                <a:solidFill>
                  <a:srgbClr val="003B95"/>
                </a:solidFill>
                <a:latin typeface="Verdana"/>
                <a:cs typeface="Verdana"/>
              </a:rPr>
              <a:t>по</a:t>
            </a:r>
            <a:r>
              <a:rPr sz="1940" b="1" kern="0" spc="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940" b="1" kern="0" spc="-6" dirty="0">
                <a:solidFill>
                  <a:srgbClr val="003B95"/>
                </a:solidFill>
                <a:latin typeface="Verdana"/>
                <a:cs typeface="Verdana"/>
              </a:rPr>
              <a:t>ссылке</a:t>
            </a:r>
            <a:endParaRPr sz="1940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spcBef>
                <a:spcPts val="230"/>
              </a:spcBef>
            </a:pPr>
            <a:r>
              <a:rPr sz="1182" i="1" kern="0" dirty="0">
                <a:solidFill>
                  <a:srgbClr val="338DCD"/>
                </a:solidFill>
                <a:latin typeface="Verdana"/>
                <a:cs typeface="Verdana"/>
                <a:hlinkClick r:id="rId2"/>
              </a:rPr>
              <a:t>Коммерческие</a:t>
            </a:r>
            <a:r>
              <a:rPr sz="1182" i="1" kern="0" spc="67" dirty="0">
                <a:solidFill>
                  <a:srgbClr val="338DCD"/>
                </a:solidFill>
                <a:latin typeface="Verdana"/>
                <a:cs typeface="Verdana"/>
                <a:hlinkClick r:id="rId2"/>
              </a:rPr>
              <a:t> </a:t>
            </a:r>
            <a:r>
              <a:rPr sz="1182" i="1" kern="0" dirty="0">
                <a:solidFill>
                  <a:srgbClr val="338DCD"/>
                </a:solidFill>
                <a:latin typeface="Verdana"/>
                <a:cs typeface="Verdana"/>
                <a:hlinkClick r:id="rId2"/>
              </a:rPr>
              <a:t>тендеры</a:t>
            </a:r>
            <a:r>
              <a:rPr sz="1182" i="1" kern="0" spc="67" dirty="0">
                <a:solidFill>
                  <a:srgbClr val="338DCD"/>
                </a:solidFill>
                <a:latin typeface="Verdana"/>
                <a:cs typeface="Verdana"/>
                <a:hlinkClick r:id="rId2"/>
              </a:rPr>
              <a:t> </a:t>
            </a:r>
            <a:r>
              <a:rPr sz="1182" i="1" kern="0" spc="-6" dirty="0">
                <a:solidFill>
                  <a:srgbClr val="338DCD"/>
                </a:solidFill>
                <a:latin typeface="Verdana"/>
                <a:cs typeface="Verdana"/>
                <a:hlinkClick r:id="rId2"/>
              </a:rPr>
              <a:t>(lenta.com)</a:t>
            </a:r>
            <a:endParaRPr sz="118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136036" y="4753193"/>
            <a:ext cx="2991952" cy="483936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defTabSz="554492">
              <a:spcBef>
                <a:spcPts val="64"/>
              </a:spcBef>
            </a:pP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(</a:t>
            </a:r>
            <a:r>
              <a:rPr sz="1546" kern="0" dirty="0" err="1">
                <a:solidFill>
                  <a:srgbClr val="003B95"/>
                </a:solidFill>
                <a:latin typeface="Verdana"/>
                <a:cs typeface="Verdana"/>
              </a:rPr>
              <a:t>внеплановые</a:t>
            </a:r>
            <a:r>
              <a:rPr sz="1546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spc="-6" dirty="0" err="1" smtClean="0">
                <a:solidFill>
                  <a:srgbClr val="003B95"/>
                </a:solidFill>
                <a:latin typeface="Verdana"/>
                <a:cs typeface="Verdana"/>
              </a:rPr>
              <a:t>тендер</a:t>
            </a:r>
            <a:r>
              <a:rPr lang="ru-RU" sz="1546" kern="0" spc="-6" dirty="0" smtClean="0">
                <a:solidFill>
                  <a:srgbClr val="003B95"/>
                </a:solidFill>
                <a:latin typeface="Verdana"/>
                <a:cs typeface="Verdana"/>
              </a:rPr>
              <a:t>ы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spcBef>
                <a:spcPts val="3"/>
              </a:spcBef>
            </a:pP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не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включаются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003B95"/>
                </a:solidFill>
                <a:latin typeface="Verdana"/>
                <a:cs typeface="Verdana"/>
              </a:rPr>
              <a:t>календарь)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279571" y="2997033"/>
            <a:ext cx="3387798" cy="3176398"/>
            <a:chOff x="460328" y="4942330"/>
            <a:chExt cx="5586730" cy="5238115"/>
          </a:xfrm>
        </p:grpSpPr>
        <p:sp>
          <p:nvSpPr>
            <p:cNvPr id="10" name="object 10"/>
            <p:cNvSpPr/>
            <p:nvPr/>
          </p:nvSpPr>
          <p:spPr>
            <a:xfrm>
              <a:off x="4577141" y="6520682"/>
              <a:ext cx="1470025" cy="3385185"/>
            </a:xfrm>
            <a:custGeom>
              <a:avLst/>
              <a:gdLst/>
              <a:ahLst/>
              <a:cxnLst/>
              <a:rect l="l" t="t" r="r" b="b"/>
              <a:pathLst>
                <a:path w="1470025" h="3385184">
                  <a:moveTo>
                    <a:pt x="1046882" y="0"/>
                  </a:moveTo>
                  <a:lnTo>
                    <a:pt x="855062" y="12588"/>
                  </a:lnTo>
                  <a:lnTo>
                    <a:pt x="360617" y="127695"/>
                  </a:lnTo>
                  <a:lnTo>
                    <a:pt x="0" y="3384862"/>
                  </a:lnTo>
                  <a:lnTo>
                    <a:pt x="1469850" y="3359429"/>
                  </a:lnTo>
                  <a:lnTo>
                    <a:pt x="1435918" y="3347641"/>
                  </a:lnTo>
                  <a:lnTo>
                    <a:pt x="1405334" y="3331410"/>
                  </a:lnTo>
                  <a:lnTo>
                    <a:pt x="1353622" y="3286296"/>
                  </a:lnTo>
                  <a:lnTo>
                    <a:pt x="1313533" y="3225449"/>
                  </a:lnTo>
                  <a:lnTo>
                    <a:pt x="1297479" y="3189551"/>
                  </a:lnTo>
                  <a:lnTo>
                    <a:pt x="1283888" y="3150231"/>
                  </a:lnTo>
                  <a:lnTo>
                    <a:pt x="1272614" y="3107658"/>
                  </a:lnTo>
                  <a:lnTo>
                    <a:pt x="1263509" y="3062002"/>
                  </a:lnTo>
                  <a:lnTo>
                    <a:pt x="1256425" y="3013434"/>
                  </a:lnTo>
                  <a:lnTo>
                    <a:pt x="1251216" y="2962124"/>
                  </a:lnTo>
                  <a:lnTo>
                    <a:pt x="1247733" y="2908243"/>
                  </a:lnTo>
                  <a:lnTo>
                    <a:pt x="1245829" y="2851960"/>
                  </a:lnTo>
                  <a:lnTo>
                    <a:pt x="1245357" y="2793445"/>
                  </a:lnTo>
                  <a:lnTo>
                    <a:pt x="1246169" y="2732869"/>
                  </a:lnTo>
                  <a:lnTo>
                    <a:pt x="1249896" y="2617281"/>
                  </a:lnTo>
                  <a:lnTo>
                    <a:pt x="1252483" y="2512311"/>
                  </a:lnTo>
                  <a:lnTo>
                    <a:pt x="1254897" y="2380918"/>
                  </a:lnTo>
                  <a:lnTo>
                    <a:pt x="1257695" y="2172256"/>
                  </a:lnTo>
                  <a:lnTo>
                    <a:pt x="1259818" y="1934930"/>
                  </a:lnTo>
                  <a:lnTo>
                    <a:pt x="1261059" y="1679403"/>
                  </a:lnTo>
                  <a:lnTo>
                    <a:pt x="1261284" y="1482107"/>
                  </a:lnTo>
                  <a:lnTo>
                    <a:pt x="1260806" y="1284872"/>
                  </a:lnTo>
                  <a:lnTo>
                    <a:pt x="1259537" y="1092113"/>
                  </a:lnTo>
                  <a:lnTo>
                    <a:pt x="1258208" y="968272"/>
                  </a:lnTo>
                  <a:lnTo>
                    <a:pt x="1256462" y="849690"/>
                  </a:lnTo>
                  <a:lnTo>
                    <a:pt x="1254272" y="737674"/>
                  </a:lnTo>
                  <a:lnTo>
                    <a:pt x="1251613" y="633532"/>
                  </a:lnTo>
                  <a:lnTo>
                    <a:pt x="1248458" y="538571"/>
                  </a:lnTo>
                  <a:lnTo>
                    <a:pt x="1246687" y="494943"/>
                  </a:lnTo>
                  <a:lnTo>
                    <a:pt x="1244782" y="454101"/>
                  </a:lnTo>
                  <a:lnTo>
                    <a:pt x="1240557" y="381428"/>
                  </a:lnTo>
                  <a:lnTo>
                    <a:pt x="1235759" y="321860"/>
                  </a:lnTo>
                  <a:lnTo>
                    <a:pt x="1230360" y="276706"/>
                  </a:lnTo>
                  <a:lnTo>
                    <a:pt x="1199346" y="107297"/>
                  </a:lnTo>
                  <a:lnTo>
                    <a:pt x="1149915" y="23316"/>
                  </a:lnTo>
                  <a:lnTo>
                    <a:pt x="1046882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3846869" y="6531861"/>
              <a:ext cx="1585595" cy="3611245"/>
            </a:xfrm>
            <a:custGeom>
              <a:avLst/>
              <a:gdLst/>
              <a:ahLst/>
              <a:cxnLst/>
              <a:rect l="l" t="t" r="r" b="b"/>
              <a:pathLst>
                <a:path w="1585595" h="3611245">
                  <a:moveTo>
                    <a:pt x="85700" y="140419"/>
                  </a:moveTo>
                  <a:lnTo>
                    <a:pt x="47478" y="623555"/>
                  </a:lnTo>
                  <a:lnTo>
                    <a:pt x="0" y="1708531"/>
                  </a:lnTo>
                  <a:lnTo>
                    <a:pt x="44048" y="2848704"/>
                  </a:lnTo>
                  <a:lnTo>
                    <a:pt x="280406" y="3497427"/>
                  </a:lnTo>
                  <a:lnTo>
                    <a:pt x="336070" y="3528609"/>
                  </a:lnTo>
                  <a:lnTo>
                    <a:pt x="390390" y="3554384"/>
                  </a:lnTo>
                  <a:lnTo>
                    <a:pt x="443329" y="3575002"/>
                  </a:lnTo>
                  <a:lnTo>
                    <a:pt x="494854" y="3590708"/>
                  </a:lnTo>
                  <a:lnTo>
                    <a:pt x="544929" y="3601751"/>
                  </a:lnTo>
                  <a:lnTo>
                    <a:pt x="593521" y="3608378"/>
                  </a:lnTo>
                  <a:lnTo>
                    <a:pt x="640593" y="3610835"/>
                  </a:lnTo>
                  <a:lnTo>
                    <a:pt x="686112" y="3609372"/>
                  </a:lnTo>
                  <a:lnTo>
                    <a:pt x="730042" y="3604234"/>
                  </a:lnTo>
                  <a:lnTo>
                    <a:pt x="772349" y="3595669"/>
                  </a:lnTo>
                  <a:lnTo>
                    <a:pt x="812999" y="3583925"/>
                  </a:lnTo>
                  <a:lnTo>
                    <a:pt x="851955" y="3569249"/>
                  </a:lnTo>
                  <a:lnTo>
                    <a:pt x="889184" y="3551889"/>
                  </a:lnTo>
                  <a:lnTo>
                    <a:pt x="924651" y="3532091"/>
                  </a:lnTo>
                  <a:lnTo>
                    <a:pt x="958321" y="3510103"/>
                  </a:lnTo>
                  <a:lnTo>
                    <a:pt x="990159" y="3486173"/>
                  </a:lnTo>
                  <a:lnTo>
                    <a:pt x="1020131" y="3460548"/>
                  </a:lnTo>
                  <a:lnTo>
                    <a:pt x="1048202" y="3433474"/>
                  </a:lnTo>
                  <a:lnTo>
                    <a:pt x="1074336" y="3405201"/>
                  </a:lnTo>
                  <a:lnTo>
                    <a:pt x="1120657" y="3346041"/>
                  </a:lnTo>
                  <a:lnTo>
                    <a:pt x="1158818" y="3285049"/>
                  </a:lnTo>
                  <a:lnTo>
                    <a:pt x="1188539" y="3224202"/>
                  </a:lnTo>
                  <a:lnTo>
                    <a:pt x="1205813" y="3176309"/>
                  </a:lnTo>
                  <a:lnTo>
                    <a:pt x="1215555" y="3131198"/>
                  </a:lnTo>
                  <a:lnTo>
                    <a:pt x="1223303" y="3075029"/>
                  </a:lnTo>
                  <a:lnTo>
                    <a:pt x="1229205" y="3008653"/>
                  </a:lnTo>
                  <a:lnTo>
                    <a:pt x="1233408" y="2932923"/>
                  </a:lnTo>
                  <a:lnTo>
                    <a:pt x="1234918" y="2891815"/>
                  </a:lnTo>
                  <a:lnTo>
                    <a:pt x="1236059" y="2848704"/>
                  </a:lnTo>
                  <a:lnTo>
                    <a:pt x="1236850" y="2803648"/>
                  </a:lnTo>
                  <a:lnTo>
                    <a:pt x="1237309" y="2756802"/>
                  </a:lnTo>
                  <a:lnTo>
                    <a:pt x="1237453" y="2708255"/>
                  </a:lnTo>
                  <a:lnTo>
                    <a:pt x="1237302" y="2658115"/>
                  </a:lnTo>
                  <a:lnTo>
                    <a:pt x="1236875" y="2606487"/>
                  </a:lnTo>
                  <a:lnTo>
                    <a:pt x="1236188" y="2553479"/>
                  </a:lnTo>
                  <a:lnTo>
                    <a:pt x="1235262" y="2499196"/>
                  </a:lnTo>
                  <a:lnTo>
                    <a:pt x="1234115" y="2443745"/>
                  </a:lnTo>
                  <a:lnTo>
                    <a:pt x="1232764" y="2387233"/>
                  </a:lnTo>
                  <a:lnTo>
                    <a:pt x="1231229" y="2329765"/>
                  </a:lnTo>
                  <a:lnTo>
                    <a:pt x="1229528" y="2271449"/>
                  </a:lnTo>
                  <a:lnTo>
                    <a:pt x="1227679" y="2212390"/>
                  </a:lnTo>
                  <a:lnTo>
                    <a:pt x="1225702" y="2152696"/>
                  </a:lnTo>
                  <a:lnTo>
                    <a:pt x="1223613" y="2092472"/>
                  </a:lnTo>
                  <a:lnTo>
                    <a:pt x="1221432" y="2031826"/>
                  </a:lnTo>
                  <a:lnTo>
                    <a:pt x="1219178" y="1970862"/>
                  </a:lnTo>
                  <a:lnTo>
                    <a:pt x="1216869" y="1909689"/>
                  </a:lnTo>
                  <a:lnTo>
                    <a:pt x="1214522" y="1848412"/>
                  </a:lnTo>
                  <a:lnTo>
                    <a:pt x="1209793" y="1725973"/>
                  </a:lnTo>
                  <a:lnTo>
                    <a:pt x="1205139" y="1604396"/>
                  </a:lnTo>
                  <a:lnTo>
                    <a:pt x="1202886" y="1544198"/>
                  </a:lnTo>
                  <a:lnTo>
                    <a:pt x="1200707" y="1484534"/>
                  </a:lnTo>
                  <a:lnTo>
                    <a:pt x="1198621" y="1425511"/>
                  </a:lnTo>
                  <a:lnTo>
                    <a:pt x="1196646" y="1367237"/>
                  </a:lnTo>
                  <a:lnTo>
                    <a:pt x="1194800" y="1309816"/>
                  </a:lnTo>
                  <a:lnTo>
                    <a:pt x="1193102" y="1253357"/>
                  </a:lnTo>
                  <a:lnTo>
                    <a:pt x="1191571" y="1197964"/>
                  </a:lnTo>
                  <a:lnTo>
                    <a:pt x="1190224" y="1143745"/>
                  </a:lnTo>
                  <a:lnTo>
                    <a:pt x="1189081" y="1090806"/>
                  </a:lnTo>
                  <a:lnTo>
                    <a:pt x="1188160" y="1039253"/>
                  </a:lnTo>
                  <a:lnTo>
                    <a:pt x="1187479" y="989193"/>
                  </a:lnTo>
                  <a:lnTo>
                    <a:pt x="1187057" y="940733"/>
                  </a:lnTo>
                  <a:lnTo>
                    <a:pt x="1186912" y="893978"/>
                  </a:lnTo>
                  <a:lnTo>
                    <a:pt x="1193138" y="362606"/>
                  </a:lnTo>
                  <a:lnTo>
                    <a:pt x="1224845" y="166077"/>
                  </a:lnTo>
                  <a:lnTo>
                    <a:pt x="615555" y="166077"/>
                  </a:lnTo>
                  <a:lnTo>
                    <a:pt x="85700" y="140419"/>
                  </a:lnTo>
                  <a:close/>
                </a:path>
                <a:path w="1585595" h="3611245">
                  <a:moveTo>
                    <a:pt x="1234423" y="106710"/>
                  </a:moveTo>
                  <a:lnTo>
                    <a:pt x="1224779" y="109604"/>
                  </a:lnTo>
                  <a:lnTo>
                    <a:pt x="948384" y="160149"/>
                  </a:lnTo>
                  <a:lnTo>
                    <a:pt x="615555" y="166077"/>
                  </a:lnTo>
                  <a:lnTo>
                    <a:pt x="1224845" y="166077"/>
                  </a:lnTo>
                  <a:lnTo>
                    <a:pt x="1234423" y="106710"/>
                  </a:lnTo>
                  <a:close/>
                </a:path>
                <a:path w="1585595" h="3611245">
                  <a:moveTo>
                    <a:pt x="1354995" y="0"/>
                  </a:moveTo>
                  <a:lnTo>
                    <a:pt x="1236714" y="92506"/>
                  </a:lnTo>
                  <a:lnTo>
                    <a:pt x="1234423" y="106710"/>
                  </a:lnTo>
                  <a:lnTo>
                    <a:pt x="1585330" y="1408"/>
                  </a:lnTo>
                  <a:lnTo>
                    <a:pt x="1354995" y="0"/>
                  </a:lnTo>
                  <a:close/>
                </a:path>
              </a:pathLst>
            </a:custGeom>
            <a:solidFill>
              <a:srgbClr val="ECECE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693212" y="4943312"/>
              <a:ext cx="1121410" cy="424180"/>
            </a:xfrm>
            <a:custGeom>
              <a:avLst/>
              <a:gdLst/>
              <a:ahLst/>
              <a:cxnLst/>
              <a:rect l="l" t="t" r="r" b="b"/>
              <a:pathLst>
                <a:path w="1121410" h="424179">
                  <a:moveTo>
                    <a:pt x="893578" y="0"/>
                  </a:moveTo>
                  <a:lnTo>
                    <a:pt x="717224" y="6924"/>
                  </a:lnTo>
                  <a:lnTo>
                    <a:pt x="477627" y="69014"/>
                  </a:lnTo>
                  <a:lnTo>
                    <a:pt x="245251" y="185959"/>
                  </a:lnTo>
                  <a:lnTo>
                    <a:pt x="69556" y="299125"/>
                  </a:lnTo>
                  <a:lnTo>
                    <a:pt x="0" y="349877"/>
                  </a:lnTo>
                  <a:lnTo>
                    <a:pt x="576280" y="409845"/>
                  </a:lnTo>
                  <a:lnTo>
                    <a:pt x="885177" y="423575"/>
                  </a:lnTo>
                  <a:lnTo>
                    <a:pt x="1031811" y="385432"/>
                  </a:lnTo>
                  <a:lnTo>
                    <a:pt x="1121306" y="289784"/>
                  </a:lnTo>
                  <a:lnTo>
                    <a:pt x="1057736" y="114912"/>
                  </a:lnTo>
                  <a:lnTo>
                    <a:pt x="994455" y="27156"/>
                  </a:lnTo>
                  <a:lnTo>
                    <a:pt x="893578" y="0"/>
                  </a:lnTo>
                  <a:close/>
                </a:path>
              </a:pathLst>
            </a:custGeom>
            <a:solidFill>
              <a:srgbClr val="B1B1B1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460328" y="4942330"/>
              <a:ext cx="4354195" cy="5238115"/>
            </a:xfrm>
            <a:custGeom>
              <a:avLst/>
              <a:gdLst/>
              <a:ahLst/>
              <a:cxnLst/>
              <a:rect l="l" t="t" r="r" b="b"/>
              <a:pathLst>
                <a:path w="4354195" h="5238115">
                  <a:moveTo>
                    <a:pt x="4057754" y="0"/>
                  </a:moveTo>
                  <a:lnTo>
                    <a:pt x="4006565" y="354"/>
                  </a:lnTo>
                  <a:lnTo>
                    <a:pt x="3950108" y="7907"/>
                  </a:lnTo>
                  <a:lnTo>
                    <a:pt x="1782920" y="36876"/>
                  </a:lnTo>
                  <a:lnTo>
                    <a:pt x="1195912" y="60098"/>
                  </a:lnTo>
                  <a:lnTo>
                    <a:pt x="509940" y="100752"/>
                  </a:lnTo>
                  <a:lnTo>
                    <a:pt x="462374" y="105774"/>
                  </a:lnTo>
                  <a:lnTo>
                    <a:pt x="416229" y="114740"/>
                  </a:lnTo>
                  <a:lnTo>
                    <a:pt x="371661" y="127465"/>
                  </a:lnTo>
                  <a:lnTo>
                    <a:pt x="328830" y="143765"/>
                  </a:lnTo>
                  <a:lnTo>
                    <a:pt x="287893" y="163455"/>
                  </a:lnTo>
                  <a:lnTo>
                    <a:pt x="249009" y="186351"/>
                  </a:lnTo>
                  <a:lnTo>
                    <a:pt x="212335" y="212267"/>
                  </a:lnTo>
                  <a:lnTo>
                    <a:pt x="178029" y="241021"/>
                  </a:lnTo>
                  <a:lnTo>
                    <a:pt x="146250" y="272427"/>
                  </a:lnTo>
                  <a:lnTo>
                    <a:pt x="117156" y="306301"/>
                  </a:lnTo>
                  <a:lnTo>
                    <a:pt x="90903" y="342458"/>
                  </a:lnTo>
                  <a:lnTo>
                    <a:pt x="67651" y="380714"/>
                  </a:lnTo>
                  <a:lnTo>
                    <a:pt x="47558" y="420884"/>
                  </a:lnTo>
                  <a:lnTo>
                    <a:pt x="30781" y="462785"/>
                  </a:lnTo>
                  <a:lnTo>
                    <a:pt x="17479" y="506231"/>
                  </a:lnTo>
                  <a:lnTo>
                    <a:pt x="7809" y="551038"/>
                  </a:lnTo>
                  <a:lnTo>
                    <a:pt x="1930" y="597022"/>
                  </a:lnTo>
                  <a:lnTo>
                    <a:pt x="0" y="643997"/>
                  </a:lnTo>
                  <a:lnTo>
                    <a:pt x="2176" y="691781"/>
                  </a:lnTo>
                  <a:lnTo>
                    <a:pt x="59646" y="1339734"/>
                  </a:lnTo>
                  <a:lnTo>
                    <a:pt x="105261" y="1857091"/>
                  </a:lnTo>
                  <a:lnTo>
                    <a:pt x="144121" y="2300283"/>
                  </a:lnTo>
                  <a:lnTo>
                    <a:pt x="173867" y="2641340"/>
                  </a:lnTo>
                  <a:lnTo>
                    <a:pt x="203570" y="2983800"/>
                  </a:lnTo>
                  <a:lnTo>
                    <a:pt x="227928" y="3266342"/>
                  </a:lnTo>
                  <a:lnTo>
                    <a:pt x="246948" y="3488259"/>
                  </a:lnTo>
                  <a:lnTo>
                    <a:pt x="265392" y="3704776"/>
                  </a:lnTo>
                  <a:lnTo>
                    <a:pt x="278757" y="3862653"/>
                  </a:lnTo>
                  <a:lnTo>
                    <a:pt x="291652" y="4015912"/>
                  </a:lnTo>
                  <a:lnTo>
                    <a:pt x="304014" y="4163874"/>
                  </a:lnTo>
                  <a:lnTo>
                    <a:pt x="315780" y="4305863"/>
                  </a:lnTo>
                  <a:lnTo>
                    <a:pt x="323262" y="4396868"/>
                  </a:lnTo>
                  <a:lnTo>
                    <a:pt x="330433" y="4484717"/>
                  </a:lnTo>
                  <a:lnTo>
                    <a:pt x="337274" y="4569208"/>
                  </a:lnTo>
                  <a:lnTo>
                    <a:pt x="343767" y="4650140"/>
                  </a:lnTo>
                  <a:lnTo>
                    <a:pt x="349893" y="4727313"/>
                  </a:lnTo>
                  <a:lnTo>
                    <a:pt x="356104" y="4774467"/>
                  </a:lnTo>
                  <a:lnTo>
                    <a:pt x="367006" y="4819931"/>
                  </a:lnTo>
                  <a:lnTo>
                    <a:pt x="382343" y="4863453"/>
                  </a:lnTo>
                  <a:lnTo>
                    <a:pt x="401860" y="4904780"/>
                  </a:lnTo>
                  <a:lnTo>
                    <a:pt x="425299" y="4943661"/>
                  </a:lnTo>
                  <a:lnTo>
                    <a:pt x="452406" y="4979843"/>
                  </a:lnTo>
                  <a:lnTo>
                    <a:pt x="482925" y="5013075"/>
                  </a:lnTo>
                  <a:lnTo>
                    <a:pt x="516600" y="5043104"/>
                  </a:lnTo>
                  <a:lnTo>
                    <a:pt x="553176" y="5069678"/>
                  </a:lnTo>
                  <a:lnTo>
                    <a:pt x="592395" y="5092546"/>
                  </a:lnTo>
                  <a:lnTo>
                    <a:pt x="634004" y="5111454"/>
                  </a:lnTo>
                  <a:lnTo>
                    <a:pt x="677745" y="5126152"/>
                  </a:lnTo>
                  <a:lnTo>
                    <a:pt x="723363" y="5136387"/>
                  </a:lnTo>
                  <a:lnTo>
                    <a:pt x="770602" y="5141907"/>
                  </a:lnTo>
                  <a:lnTo>
                    <a:pt x="1955784" y="5206208"/>
                  </a:lnTo>
                  <a:lnTo>
                    <a:pt x="2713628" y="5231851"/>
                  </a:lnTo>
                  <a:lnTo>
                    <a:pt x="3162573" y="5237822"/>
                  </a:lnTo>
                  <a:lnTo>
                    <a:pt x="3255940" y="5237822"/>
                  </a:lnTo>
                  <a:lnTo>
                    <a:pt x="3473203" y="5235414"/>
                  </a:lnTo>
                  <a:lnTo>
                    <a:pt x="3616622" y="5231596"/>
                  </a:lnTo>
                  <a:lnTo>
                    <a:pt x="3750455" y="5225847"/>
                  </a:lnTo>
                  <a:lnTo>
                    <a:pt x="3833739" y="5220872"/>
                  </a:lnTo>
                  <a:lnTo>
                    <a:pt x="3911844" y="5214934"/>
                  </a:lnTo>
                  <a:lnTo>
                    <a:pt x="3984403" y="5207990"/>
                  </a:lnTo>
                  <a:lnTo>
                    <a:pt x="4051047" y="5200000"/>
                  </a:lnTo>
                  <a:lnTo>
                    <a:pt x="4009506" y="5176774"/>
                  </a:lnTo>
                  <a:lnTo>
                    <a:pt x="3971052" y="5149722"/>
                  </a:lnTo>
                  <a:lnTo>
                    <a:pt x="3935876" y="5119154"/>
                  </a:lnTo>
                  <a:lnTo>
                    <a:pt x="3904169" y="5085378"/>
                  </a:lnTo>
                  <a:lnTo>
                    <a:pt x="3876123" y="5048706"/>
                  </a:lnTo>
                  <a:lnTo>
                    <a:pt x="3851927" y="5009447"/>
                  </a:lnTo>
                  <a:lnTo>
                    <a:pt x="3831774" y="4967910"/>
                  </a:lnTo>
                  <a:lnTo>
                    <a:pt x="3815854" y="4924406"/>
                  </a:lnTo>
                  <a:lnTo>
                    <a:pt x="3804357" y="4879244"/>
                  </a:lnTo>
                  <a:lnTo>
                    <a:pt x="3797476" y="4832734"/>
                  </a:lnTo>
                  <a:lnTo>
                    <a:pt x="3795400" y="4785185"/>
                  </a:lnTo>
                  <a:lnTo>
                    <a:pt x="3831787" y="306301"/>
                  </a:lnTo>
                  <a:lnTo>
                    <a:pt x="3831913" y="290767"/>
                  </a:lnTo>
                  <a:lnTo>
                    <a:pt x="3831965" y="284369"/>
                  </a:lnTo>
                  <a:lnTo>
                    <a:pt x="3836898" y="238125"/>
                  </a:lnTo>
                  <a:lnTo>
                    <a:pt x="3850259" y="195319"/>
                  </a:lnTo>
                  <a:lnTo>
                    <a:pt x="3871047" y="156703"/>
                  </a:lnTo>
                  <a:lnTo>
                    <a:pt x="3898143" y="123179"/>
                  </a:lnTo>
                  <a:lnTo>
                    <a:pt x="3930909" y="95048"/>
                  </a:lnTo>
                  <a:lnTo>
                    <a:pt x="3967984" y="73512"/>
                  </a:lnTo>
                  <a:lnTo>
                    <a:pt x="4008488" y="59174"/>
                  </a:lnTo>
                  <a:lnTo>
                    <a:pt x="4051423" y="52784"/>
                  </a:lnTo>
                  <a:lnTo>
                    <a:pt x="4204560" y="52784"/>
                  </a:lnTo>
                  <a:lnTo>
                    <a:pt x="4183084" y="37509"/>
                  </a:lnTo>
                  <a:lnTo>
                    <a:pt x="4145676" y="19039"/>
                  </a:lnTo>
                  <a:lnTo>
                    <a:pt x="4104011" y="6382"/>
                  </a:lnTo>
                  <a:lnTo>
                    <a:pt x="4057754" y="0"/>
                  </a:lnTo>
                  <a:close/>
                </a:path>
                <a:path w="4354195" h="5238115">
                  <a:moveTo>
                    <a:pt x="4204560" y="52784"/>
                  </a:moveTo>
                  <a:lnTo>
                    <a:pt x="4051423" y="52784"/>
                  </a:lnTo>
                  <a:lnTo>
                    <a:pt x="4095788" y="55095"/>
                  </a:lnTo>
                  <a:lnTo>
                    <a:pt x="4140584" y="66858"/>
                  </a:lnTo>
                  <a:lnTo>
                    <a:pt x="4185602" y="87746"/>
                  </a:lnTo>
                  <a:lnTo>
                    <a:pt x="4226836" y="115235"/>
                  </a:lnTo>
                  <a:lnTo>
                    <a:pt x="4264298" y="149304"/>
                  </a:lnTo>
                  <a:lnTo>
                    <a:pt x="4298003" y="189930"/>
                  </a:lnTo>
                  <a:lnTo>
                    <a:pt x="4327962" y="237092"/>
                  </a:lnTo>
                  <a:lnTo>
                    <a:pt x="4354190" y="290767"/>
                  </a:lnTo>
                  <a:lnTo>
                    <a:pt x="4337104" y="244538"/>
                  </a:lnTo>
                  <a:lnTo>
                    <a:pt x="4318129" y="200889"/>
                  </a:lnTo>
                  <a:lnTo>
                    <a:pt x="4296927" y="160282"/>
                  </a:lnTo>
                  <a:lnTo>
                    <a:pt x="4273159" y="123179"/>
                  </a:lnTo>
                  <a:lnTo>
                    <a:pt x="4246488" y="90041"/>
                  </a:lnTo>
                  <a:lnTo>
                    <a:pt x="4216576" y="61330"/>
                  </a:lnTo>
                  <a:lnTo>
                    <a:pt x="4204560" y="52784"/>
                  </a:lnTo>
                  <a:close/>
                </a:path>
              </a:pathLst>
            </a:custGeom>
            <a:solidFill>
              <a:srgbClr val="ECECE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550973" y="5052097"/>
              <a:ext cx="3743325" cy="5060950"/>
            </a:xfrm>
            <a:custGeom>
              <a:avLst/>
              <a:gdLst/>
              <a:ahLst/>
              <a:cxnLst/>
              <a:rect l="l" t="t" r="r" b="b"/>
              <a:pathLst>
                <a:path w="3743325" h="5060950">
                  <a:moveTo>
                    <a:pt x="3596807" y="0"/>
                  </a:moveTo>
                  <a:lnTo>
                    <a:pt x="484504" y="119817"/>
                  </a:lnTo>
                  <a:lnTo>
                    <a:pt x="437102" y="123899"/>
                  </a:lnTo>
                  <a:lnTo>
                    <a:pt x="391079" y="132309"/>
                  </a:lnTo>
                  <a:lnTo>
                    <a:pt x="346643" y="144840"/>
                  </a:lnTo>
                  <a:lnTo>
                    <a:pt x="304003" y="161286"/>
                  </a:lnTo>
                  <a:lnTo>
                    <a:pt x="263368" y="181440"/>
                  </a:lnTo>
                  <a:lnTo>
                    <a:pt x="224944" y="205098"/>
                  </a:lnTo>
                  <a:lnTo>
                    <a:pt x="188942" y="232051"/>
                  </a:lnTo>
                  <a:lnTo>
                    <a:pt x="155569" y="262094"/>
                  </a:lnTo>
                  <a:lnTo>
                    <a:pt x="125034" y="295020"/>
                  </a:lnTo>
                  <a:lnTo>
                    <a:pt x="97545" y="330624"/>
                  </a:lnTo>
                  <a:lnTo>
                    <a:pt x="73310" y="368699"/>
                  </a:lnTo>
                  <a:lnTo>
                    <a:pt x="52538" y="409038"/>
                  </a:lnTo>
                  <a:lnTo>
                    <a:pt x="35437" y="451435"/>
                  </a:lnTo>
                  <a:lnTo>
                    <a:pt x="22216" y="495684"/>
                  </a:lnTo>
                  <a:lnTo>
                    <a:pt x="13083" y="541579"/>
                  </a:lnTo>
                  <a:lnTo>
                    <a:pt x="8246" y="588913"/>
                  </a:lnTo>
                  <a:lnTo>
                    <a:pt x="6125" y="631283"/>
                  </a:lnTo>
                  <a:lnTo>
                    <a:pt x="4329" y="674559"/>
                  </a:lnTo>
                  <a:lnTo>
                    <a:pt x="2853" y="718712"/>
                  </a:lnTo>
                  <a:lnTo>
                    <a:pt x="1690" y="763715"/>
                  </a:lnTo>
                  <a:lnTo>
                    <a:pt x="834" y="809543"/>
                  </a:lnTo>
                  <a:lnTo>
                    <a:pt x="279" y="856168"/>
                  </a:lnTo>
                  <a:lnTo>
                    <a:pt x="0" y="903564"/>
                  </a:lnTo>
                  <a:lnTo>
                    <a:pt x="0" y="951704"/>
                  </a:lnTo>
                  <a:lnTo>
                    <a:pt x="360" y="1000560"/>
                  </a:lnTo>
                  <a:lnTo>
                    <a:pt x="948" y="1050106"/>
                  </a:lnTo>
                  <a:lnTo>
                    <a:pt x="1807" y="1100316"/>
                  </a:lnTo>
                  <a:lnTo>
                    <a:pt x="2930" y="1151162"/>
                  </a:lnTo>
                  <a:lnTo>
                    <a:pt x="4311" y="1202617"/>
                  </a:lnTo>
                  <a:lnTo>
                    <a:pt x="5943" y="1254656"/>
                  </a:lnTo>
                  <a:lnTo>
                    <a:pt x="7822" y="1307250"/>
                  </a:lnTo>
                  <a:lnTo>
                    <a:pt x="9940" y="1360374"/>
                  </a:lnTo>
                  <a:lnTo>
                    <a:pt x="14871" y="1468102"/>
                  </a:lnTo>
                  <a:lnTo>
                    <a:pt x="20686" y="1577626"/>
                  </a:lnTo>
                  <a:lnTo>
                    <a:pt x="27337" y="1688731"/>
                  </a:lnTo>
                  <a:lnTo>
                    <a:pt x="34774" y="1801202"/>
                  </a:lnTo>
                  <a:lnTo>
                    <a:pt x="42949" y="1914825"/>
                  </a:lnTo>
                  <a:lnTo>
                    <a:pt x="51812" y="2029385"/>
                  </a:lnTo>
                  <a:lnTo>
                    <a:pt x="61313" y="2144669"/>
                  </a:lnTo>
                  <a:lnTo>
                    <a:pt x="71405" y="2260462"/>
                  </a:lnTo>
                  <a:lnTo>
                    <a:pt x="82037" y="2376549"/>
                  </a:lnTo>
                  <a:lnTo>
                    <a:pt x="93160" y="2492716"/>
                  </a:lnTo>
                  <a:lnTo>
                    <a:pt x="104726" y="2608749"/>
                  </a:lnTo>
                  <a:lnTo>
                    <a:pt x="122796" y="2782077"/>
                  </a:lnTo>
                  <a:lnTo>
                    <a:pt x="141584" y="2953896"/>
                  </a:lnTo>
                  <a:lnTo>
                    <a:pt x="160925" y="3123482"/>
                  </a:lnTo>
                  <a:lnTo>
                    <a:pt x="180653" y="3290113"/>
                  </a:lnTo>
                  <a:lnTo>
                    <a:pt x="200601" y="3453063"/>
                  </a:lnTo>
                  <a:lnTo>
                    <a:pt x="227255" y="3663356"/>
                  </a:lnTo>
                  <a:lnTo>
                    <a:pt x="253614" y="3864105"/>
                  </a:lnTo>
                  <a:lnTo>
                    <a:pt x="285546" y="4099007"/>
                  </a:lnTo>
                  <a:lnTo>
                    <a:pt x="321361" y="4352950"/>
                  </a:lnTo>
                  <a:lnTo>
                    <a:pt x="362686" y="4634622"/>
                  </a:lnTo>
                  <a:lnTo>
                    <a:pt x="372328" y="4681753"/>
                  </a:lnTo>
                  <a:lnTo>
                    <a:pt x="386667" y="4726875"/>
                  </a:lnTo>
                  <a:lnTo>
                    <a:pt x="405428" y="4769730"/>
                  </a:lnTo>
                  <a:lnTo>
                    <a:pt x="428332" y="4810058"/>
                  </a:lnTo>
                  <a:lnTo>
                    <a:pt x="455103" y="4847602"/>
                  </a:lnTo>
                  <a:lnTo>
                    <a:pt x="485464" y="4882102"/>
                  </a:lnTo>
                  <a:lnTo>
                    <a:pt x="519138" y="4913299"/>
                  </a:lnTo>
                  <a:lnTo>
                    <a:pt x="555847" y="4940936"/>
                  </a:lnTo>
                  <a:lnTo>
                    <a:pt x="595316" y="4964753"/>
                  </a:lnTo>
                  <a:lnTo>
                    <a:pt x="637266" y="4984492"/>
                  </a:lnTo>
                  <a:lnTo>
                    <a:pt x="681421" y="4999894"/>
                  </a:lnTo>
                  <a:lnTo>
                    <a:pt x="727505" y="5010700"/>
                  </a:lnTo>
                  <a:lnTo>
                    <a:pt x="775239" y="5016652"/>
                  </a:lnTo>
                  <a:lnTo>
                    <a:pt x="1323334" y="5052853"/>
                  </a:lnTo>
                  <a:lnTo>
                    <a:pt x="1553926" y="5060432"/>
                  </a:lnTo>
                  <a:lnTo>
                    <a:pt x="3323311" y="5060432"/>
                  </a:lnTo>
                  <a:lnTo>
                    <a:pt x="3743073" y="5055991"/>
                  </a:lnTo>
                  <a:lnTo>
                    <a:pt x="3701527" y="5032133"/>
                  </a:lnTo>
                  <a:lnTo>
                    <a:pt x="3664862" y="5002468"/>
                  </a:lnTo>
                  <a:lnTo>
                    <a:pt x="3633560" y="4967734"/>
                  </a:lnTo>
                  <a:lnTo>
                    <a:pt x="3608102" y="4928667"/>
                  </a:lnTo>
                  <a:lnTo>
                    <a:pt x="3588969" y="4886004"/>
                  </a:lnTo>
                  <a:lnTo>
                    <a:pt x="3576639" y="4840482"/>
                  </a:lnTo>
                  <a:lnTo>
                    <a:pt x="3571593" y="4792837"/>
                  </a:lnTo>
                  <a:lnTo>
                    <a:pt x="3551674" y="4010882"/>
                  </a:lnTo>
                  <a:lnTo>
                    <a:pt x="3534058" y="3241355"/>
                  </a:lnTo>
                  <a:lnTo>
                    <a:pt x="3526537" y="2837599"/>
                  </a:lnTo>
                  <a:lnTo>
                    <a:pt x="3521631" y="2499828"/>
                  </a:lnTo>
                  <a:lnTo>
                    <a:pt x="3518844" y="2225377"/>
                  </a:lnTo>
                  <a:lnTo>
                    <a:pt x="3517585" y="2011053"/>
                  </a:lnTo>
                  <a:lnTo>
                    <a:pt x="3517280" y="1801875"/>
                  </a:lnTo>
                  <a:lnTo>
                    <a:pt x="3518013" y="1598297"/>
                  </a:lnTo>
                  <a:lnTo>
                    <a:pt x="3519294" y="1449561"/>
                  </a:lnTo>
                  <a:lnTo>
                    <a:pt x="3521242" y="1304422"/>
                  </a:lnTo>
                  <a:lnTo>
                    <a:pt x="3523892" y="1163071"/>
                  </a:lnTo>
                  <a:lnTo>
                    <a:pt x="3527279" y="1025699"/>
                  </a:lnTo>
                  <a:lnTo>
                    <a:pt x="3531439" y="892497"/>
                  </a:lnTo>
                  <a:lnTo>
                    <a:pt x="3534660" y="806108"/>
                  </a:lnTo>
                  <a:lnTo>
                    <a:pt x="3538250" y="721714"/>
                  </a:lnTo>
                  <a:lnTo>
                    <a:pt x="3542221" y="639372"/>
                  </a:lnTo>
                  <a:lnTo>
                    <a:pt x="3546583" y="559139"/>
                  </a:lnTo>
                  <a:lnTo>
                    <a:pt x="3551346" y="481072"/>
                  </a:lnTo>
                  <a:lnTo>
                    <a:pt x="3556520" y="405227"/>
                  </a:lnTo>
                  <a:lnTo>
                    <a:pt x="3562118" y="331661"/>
                  </a:lnTo>
                  <a:lnTo>
                    <a:pt x="3568148" y="260430"/>
                  </a:lnTo>
                  <a:lnTo>
                    <a:pt x="3574621" y="191592"/>
                  </a:lnTo>
                  <a:lnTo>
                    <a:pt x="3581549" y="125203"/>
                  </a:lnTo>
                  <a:lnTo>
                    <a:pt x="3588940" y="61319"/>
                  </a:lnTo>
                  <a:lnTo>
                    <a:pt x="359680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1165910" y="7784953"/>
              <a:ext cx="2709545" cy="1263015"/>
            </a:xfrm>
            <a:custGeom>
              <a:avLst/>
              <a:gdLst/>
              <a:ahLst/>
              <a:cxnLst/>
              <a:rect l="l" t="t" r="r" b="b"/>
              <a:pathLst>
                <a:path w="2709545" h="1263015">
                  <a:moveTo>
                    <a:pt x="482930" y="102768"/>
                  </a:moveTo>
                  <a:lnTo>
                    <a:pt x="472452" y="61087"/>
                  </a:lnTo>
                  <a:lnTo>
                    <a:pt x="443293" y="27584"/>
                  </a:lnTo>
                  <a:lnTo>
                    <a:pt x="400304" y="5994"/>
                  </a:lnTo>
                  <a:lnTo>
                    <a:pt x="348335" y="0"/>
                  </a:lnTo>
                  <a:lnTo>
                    <a:pt x="115709" y="12928"/>
                  </a:lnTo>
                  <a:lnTo>
                    <a:pt x="67094" y="23863"/>
                  </a:lnTo>
                  <a:lnTo>
                    <a:pt x="29044" y="48361"/>
                  </a:lnTo>
                  <a:lnTo>
                    <a:pt x="5397" y="82791"/>
                  </a:lnTo>
                  <a:lnTo>
                    <a:pt x="0" y="123456"/>
                  </a:lnTo>
                  <a:lnTo>
                    <a:pt x="32258" y="398157"/>
                  </a:lnTo>
                  <a:lnTo>
                    <a:pt x="70573" y="462216"/>
                  </a:lnTo>
                  <a:lnTo>
                    <a:pt x="107149" y="482028"/>
                  </a:lnTo>
                  <a:lnTo>
                    <a:pt x="151206" y="490486"/>
                  </a:lnTo>
                  <a:lnTo>
                    <a:pt x="348297" y="498779"/>
                  </a:lnTo>
                  <a:lnTo>
                    <a:pt x="398729" y="492518"/>
                  </a:lnTo>
                  <a:lnTo>
                    <a:pt x="440410" y="471474"/>
                  </a:lnTo>
                  <a:lnTo>
                    <a:pt x="468871" y="439064"/>
                  </a:lnTo>
                  <a:lnTo>
                    <a:pt x="479666" y="398678"/>
                  </a:lnTo>
                  <a:lnTo>
                    <a:pt x="482930" y="102768"/>
                  </a:lnTo>
                  <a:close/>
                </a:path>
                <a:path w="2709545" h="1263015">
                  <a:moveTo>
                    <a:pt x="518998" y="863892"/>
                  </a:moveTo>
                  <a:lnTo>
                    <a:pt x="508533" y="821905"/>
                  </a:lnTo>
                  <a:lnTo>
                    <a:pt x="479386" y="788174"/>
                  </a:lnTo>
                  <a:lnTo>
                    <a:pt x="436397" y="766432"/>
                  </a:lnTo>
                  <a:lnTo>
                    <a:pt x="384416" y="760399"/>
                  </a:lnTo>
                  <a:lnTo>
                    <a:pt x="151803" y="773430"/>
                  </a:lnTo>
                  <a:lnTo>
                    <a:pt x="103174" y="784440"/>
                  </a:lnTo>
                  <a:lnTo>
                    <a:pt x="65125" y="809129"/>
                  </a:lnTo>
                  <a:lnTo>
                    <a:pt x="41478" y="843813"/>
                  </a:lnTo>
                  <a:lnTo>
                    <a:pt x="36080" y="884770"/>
                  </a:lnTo>
                  <a:lnTo>
                    <a:pt x="68313" y="1161453"/>
                  </a:lnTo>
                  <a:lnTo>
                    <a:pt x="106616" y="1225981"/>
                  </a:lnTo>
                  <a:lnTo>
                    <a:pt x="143192" y="1245920"/>
                  </a:lnTo>
                  <a:lnTo>
                    <a:pt x="187248" y="1254429"/>
                  </a:lnTo>
                  <a:lnTo>
                    <a:pt x="384352" y="1262786"/>
                  </a:lnTo>
                  <a:lnTo>
                    <a:pt x="434771" y="1256461"/>
                  </a:lnTo>
                  <a:lnTo>
                    <a:pt x="476453" y="1235265"/>
                  </a:lnTo>
                  <a:lnTo>
                    <a:pt x="504913" y="1202626"/>
                  </a:lnTo>
                  <a:lnTo>
                    <a:pt x="515721" y="1161948"/>
                  </a:lnTo>
                  <a:lnTo>
                    <a:pt x="518998" y="863892"/>
                  </a:lnTo>
                  <a:close/>
                </a:path>
                <a:path w="2709545" h="1263015">
                  <a:moveTo>
                    <a:pt x="2009025" y="1136446"/>
                  </a:moveTo>
                  <a:lnTo>
                    <a:pt x="2006765" y="1124737"/>
                  </a:lnTo>
                  <a:lnTo>
                    <a:pt x="2000402" y="1115225"/>
                  </a:lnTo>
                  <a:lnTo>
                    <a:pt x="1990940" y="1108913"/>
                  </a:lnTo>
                  <a:lnTo>
                    <a:pt x="1979383" y="1106817"/>
                  </a:lnTo>
                  <a:lnTo>
                    <a:pt x="764159" y="1139558"/>
                  </a:lnTo>
                  <a:lnTo>
                    <a:pt x="728154" y="1150480"/>
                  </a:lnTo>
                  <a:lnTo>
                    <a:pt x="703770" y="1176655"/>
                  </a:lnTo>
                  <a:lnTo>
                    <a:pt x="694639" y="1211478"/>
                  </a:lnTo>
                  <a:lnTo>
                    <a:pt x="704392" y="1248321"/>
                  </a:lnTo>
                  <a:lnTo>
                    <a:pt x="709079" y="1254455"/>
                  </a:lnTo>
                  <a:lnTo>
                    <a:pt x="715086" y="1259065"/>
                  </a:lnTo>
                  <a:lnTo>
                    <a:pt x="722058" y="1261948"/>
                  </a:lnTo>
                  <a:lnTo>
                    <a:pt x="729653" y="1262888"/>
                  </a:lnTo>
                  <a:lnTo>
                    <a:pt x="1979536" y="1249095"/>
                  </a:lnTo>
                  <a:lnTo>
                    <a:pt x="2008098" y="1220101"/>
                  </a:lnTo>
                  <a:lnTo>
                    <a:pt x="2009025" y="1136446"/>
                  </a:lnTo>
                  <a:close/>
                </a:path>
                <a:path w="2709545" h="1263015">
                  <a:moveTo>
                    <a:pt x="2673286" y="86080"/>
                  </a:moveTo>
                  <a:lnTo>
                    <a:pt x="2667787" y="58648"/>
                  </a:lnTo>
                  <a:lnTo>
                    <a:pt x="2652242" y="36322"/>
                  </a:lnTo>
                  <a:lnTo>
                    <a:pt x="2629090" y="21450"/>
                  </a:lnTo>
                  <a:lnTo>
                    <a:pt x="2600756" y="16383"/>
                  </a:lnTo>
                  <a:lnTo>
                    <a:pt x="694156" y="55054"/>
                  </a:lnTo>
                  <a:lnTo>
                    <a:pt x="664959" y="61734"/>
                  </a:lnTo>
                  <a:lnTo>
                    <a:pt x="642035" y="78689"/>
                  </a:lnTo>
                  <a:lnTo>
                    <a:pt x="627913" y="103073"/>
                  </a:lnTo>
                  <a:lnTo>
                    <a:pt x="625106" y="132054"/>
                  </a:lnTo>
                  <a:lnTo>
                    <a:pt x="626211" y="141008"/>
                  </a:lnTo>
                  <a:lnTo>
                    <a:pt x="634199" y="165557"/>
                  </a:lnTo>
                  <a:lnTo>
                    <a:pt x="650290" y="185026"/>
                  </a:lnTo>
                  <a:lnTo>
                    <a:pt x="672452" y="197688"/>
                  </a:lnTo>
                  <a:lnTo>
                    <a:pt x="698652" y="201815"/>
                  </a:lnTo>
                  <a:lnTo>
                    <a:pt x="2604122" y="154216"/>
                  </a:lnTo>
                  <a:lnTo>
                    <a:pt x="2630982" y="148374"/>
                  </a:lnTo>
                  <a:lnTo>
                    <a:pt x="2652877" y="133680"/>
                  </a:lnTo>
                  <a:lnTo>
                    <a:pt x="2667685" y="112229"/>
                  </a:lnTo>
                  <a:lnTo>
                    <a:pt x="2673286" y="86080"/>
                  </a:lnTo>
                  <a:close/>
                </a:path>
                <a:path w="2709545" h="1263015">
                  <a:moveTo>
                    <a:pt x="2709380" y="846467"/>
                  </a:moveTo>
                  <a:lnTo>
                    <a:pt x="2703868" y="819035"/>
                  </a:lnTo>
                  <a:lnTo>
                    <a:pt x="2688323" y="796709"/>
                  </a:lnTo>
                  <a:lnTo>
                    <a:pt x="2665171" y="781837"/>
                  </a:lnTo>
                  <a:lnTo>
                    <a:pt x="2636850" y="776770"/>
                  </a:lnTo>
                  <a:lnTo>
                    <a:pt x="730250" y="815441"/>
                  </a:lnTo>
                  <a:lnTo>
                    <a:pt x="701052" y="822134"/>
                  </a:lnTo>
                  <a:lnTo>
                    <a:pt x="678116" y="839076"/>
                  </a:lnTo>
                  <a:lnTo>
                    <a:pt x="663994" y="863460"/>
                  </a:lnTo>
                  <a:lnTo>
                    <a:pt x="661200" y="892441"/>
                  </a:lnTo>
                  <a:lnTo>
                    <a:pt x="662292" y="901395"/>
                  </a:lnTo>
                  <a:lnTo>
                    <a:pt x="670280" y="925957"/>
                  </a:lnTo>
                  <a:lnTo>
                    <a:pt x="686371" y="945413"/>
                  </a:lnTo>
                  <a:lnTo>
                    <a:pt x="708545" y="958075"/>
                  </a:lnTo>
                  <a:lnTo>
                    <a:pt x="734733" y="962215"/>
                  </a:lnTo>
                  <a:lnTo>
                    <a:pt x="2640203" y="914603"/>
                  </a:lnTo>
                  <a:lnTo>
                    <a:pt x="2667076" y="908761"/>
                  </a:lnTo>
                  <a:lnTo>
                    <a:pt x="2688958" y="894080"/>
                  </a:lnTo>
                  <a:lnTo>
                    <a:pt x="2703766" y="872617"/>
                  </a:lnTo>
                  <a:lnTo>
                    <a:pt x="2709380" y="846467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1220030" y="7220257"/>
              <a:ext cx="367665" cy="348615"/>
            </a:xfrm>
            <a:custGeom>
              <a:avLst/>
              <a:gdLst/>
              <a:ahLst/>
              <a:cxnLst/>
              <a:rect l="l" t="t" r="r" b="b"/>
              <a:pathLst>
                <a:path w="367665" h="348615">
                  <a:moveTo>
                    <a:pt x="251736" y="0"/>
                  </a:moveTo>
                  <a:lnTo>
                    <a:pt x="179900" y="1989"/>
                  </a:lnTo>
                  <a:lnTo>
                    <a:pt x="108672" y="11534"/>
                  </a:lnTo>
                  <a:lnTo>
                    <a:pt x="51088" y="26538"/>
                  </a:lnTo>
                  <a:lnTo>
                    <a:pt x="12935" y="44983"/>
                  </a:lnTo>
                  <a:lnTo>
                    <a:pt x="0" y="64846"/>
                  </a:lnTo>
                  <a:lnTo>
                    <a:pt x="1877" y="70671"/>
                  </a:lnTo>
                  <a:lnTo>
                    <a:pt x="6417" y="76063"/>
                  </a:lnTo>
                  <a:lnTo>
                    <a:pt x="13445" y="80996"/>
                  </a:lnTo>
                  <a:lnTo>
                    <a:pt x="22784" y="85442"/>
                  </a:lnTo>
                  <a:lnTo>
                    <a:pt x="12747" y="91795"/>
                  </a:lnTo>
                  <a:lnTo>
                    <a:pt x="5459" y="98302"/>
                  </a:lnTo>
                  <a:lnTo>
                    <a:pt x="1137" y="104889"/>
                  </a:lnTo>
                  <a:lnTo>
                    <a:pt x="0" y="111484"/>
                  </a:lnTo>
                  <a:lnTo>
                    <a:pt x="1877" y="117314"/>
                  </a:lnTo>
                  <a:lnTo>
                    <a:pt x="6417" y="122708"/>
                  </a:lnTo>
                  <a:lnTo>
                    <a:pt x="13445" y="127639"/>
                  </a:lnTo>
                  <a:lnTo>
                    <a:pt x="22784" y="132080"/>
                  </a:lnTo>
                  <a:lnTo>
                    <a:pt x="12747" y="138432"/>
                  </a:lnTo>
                  <a:lnTo>
                    <a:pt x="5459" y="144939"/>
                  </a:lnTo>
                  <a:lnTo>
                    <a:pt x="1137" y="151527"/>
                  </a:lnTo>
                  <a:lnTo>
                    <a:pt x="0" y="158121"/>
                  </a:lnTo>
                  <a:lnTo>
                    <a:pt x="1877" y="163951"/>
                  </a:lnTo>
                  <a:lnTo>
                    <a:pt x="6417" y="169346"/>
                  </a:lnTo>
                  <a:lnTo>
                    <a:pt x="13445" y="174277"/>
                  </a:lnTo>
                  <a:lnTo>
                    <a:pt x="22784" y="178717"/>
                  </a:lnTo>
                  <a:lnTo>
                    <a:pt x="12747" y="185074"/>
                  </a:lnTo>
                  <a:lnTo>
                    <a:pt x="5459" y="191582"/>
                  </a:lnTo>
                  <a:lnTo>
                    <a:pt x="1137" y="198170"/>
                  </a:lnTo>
                  <a:lnTo>
                    <a:pt x="0" y="204769"/>
                  </a:lnTo>
                  <a:lnTo>
                    <a:pt x="3626" y="213121"/>
                  </a:lnTo>
                  <a:lnTo>
                    <a:pt x="12741" y="220526"/>
                  </a:lnTo>
                  <a:lnTo>
                    <a:pt x="26818" y="226892"/>
                  </a:lnTo>
                  <a:lnTo>
                    <a:pt x="45328" y="232129"/>
                  </a:lnTo>
                  <a:lnTo>
                    <a:pt x="45167" y="238791"/>
                  </a:lnTo>
                  <a:lnTo>
                    <a:pt x="58051" y="295044"/>
                  </a:lnTo>
                  <a:lnTo>
                    <a:pt x="86083" y="322728"/>
                  </a:lnTo>
                  <a:lnTo>
                    <a:pt x="127006" y="341248"/>
                  </a:lnTo>
                  <a:lnTo>
                    <a:pt x="177701" y="348000"/>
                  </a:lnTo>
                  <a:lnTo>
                    <a:pt x="229594" y="339070"/>
                  </a:lnTo>
                  <a:lnTo>
                    <a:pt x="272900" y="315744"/>
                  </a:lnTo>
                  <a:lnTo>
                    <a:pt x="302702" y="283223"/>
                  </a:lnTo>
                  <a:lnTo>
                    <a:pt x="314084" y="246705"/>
                  </a:lnTo>
                  <a:lnTo>
                    <a:pt x="314090" y="237956"/>
                  </a:lnTo>
                  <a:lnTo>
                    <a:pt x="313847" y="229723"/>
                  </a:lnTo>
                  <a:lnTo>
                    <a:pt x="313367" y="221982"/>
                  </a:lnTo>
                  <a:lnTo>
                    <a:pt x="312660" y="214705"/>
                  </a:lnTo>
                  <a:lnTo>
                    <a:pt x="336070" y="205559"/>
                  </a:lnTo>
                  <a:lnTo>
                    <a:pt x="353563" y="195724"/>
                  </a:lnTo>
                  <a:lnTo>
                    <a:pt x="364325" y="185486"/>
                  </a:lnTo>
                  <a:lnTo>
                    <a:pt x="367538" y="175126"/>
                  </a:lnTo>
                  <a:lnTo>
                    <a:pt x="365661" y="169301"/>
                  </a:lnTo>
                  <a:lnTo>
                    <a:pt x="361121" y="163910"/>
                  </a:lnTo>
                  <a:lnTo>
                    <a:pt x="354093" y="158980"/>
                  </a:lnTo>
                  <a:lnTo>
                    <a:pt x="344753" y="154540"/>
                  </a:lnTo>
                  <a:lnTo>
                    <a:pt x="354791" y="148181"/>
                  </a:lnTo>
                  <a:lnTo>
                    <a:pt x="362079" y="141671"/>
                  </a:lnTo>
                  <a:lnTo>
                    <a:pt x="366400" y="135083"/>
                  </a:lnTo>
                  <a:lnTo>
                    <a:pt x="367538" y="128488"/>
                  </a:lnTo>
                  <a:lnTo>
                    <a:pt x="365661" y="122664"/>
                  </a:lnTo>
                  <a:lnTo>
                    <a:pt x="361121" y="117271"/>
                  </a:lnTo>
                  <a:lnTo>
                    <a:pt x="354093" y="112338"/>
                  </a:lnTo>
                  <a:lnTo>
                    <a:pt x="344753" y="107892"/>
                  </a:lnTo>
                  <a:lnTo>
                    <a:pt x="354791" y="101539"/>
                  </a:lnTo>
                  <a:lnTo>
                    <a:pt x="362079" y="95032"/>
                  </a:lnTo>
                  <a:lnTo>
                    <a:pt x="366400" y="88445"/>
                  </a:lnTo>
                  <a:lnTo>
                    <a:pt x="367538" y="81851"/>
                  </a:lnTo>
                  <a:lnTo>
                    <a:pt x="365661" y="76025"/>
                  </a:lnTo>
                  <a:lnTo>
                    <a:pt x="361121" y="70630"/>
                  </a:lnTo>
                  <a:lnTo>
                    <a:pt x="354093" y="65696"/>
                  </a:lnTo>
                  <a:lnTo>
                    <a:pt x="344753" y="61255"/>
                  </a:lnTo>
                  <a:lnTo>
                    <a:pt x="354791" y="54902"/>
                  </a:lnTo>
                  <a:lnTo>
                    <a:pt x="362079" y="48395"/>
                  </a:lnTo>
                  <a:lnTo>
                    <a:pt x="366400" y="41808"/>
                  </a:lnTo>
                  <a:lnTo>
                    <a:pt x="367538" y="35214"/>
                  </a:lnTo>
                  <a:lnTo>
                    <a:pt x="351591" y="17679"/>
                  </a:lnTo>
                  <a:lnTo>
                    <a:pt x="310978" y="5585"/>
                  </a:lnTo>
                  <a:lnTo>
                    <a:pt x="251736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1246797" y="7283621"/>
              <a:ext cx="312420" cy="179705"/>
            </a:xfrm>
            <a:custGeom>
              <a:avLst/>
              <a:gdLst/>
              <a:ahLst/>
              <a:cxnLst/>
              <a:rect l="l" t="t" r="r" b="b"/>
              <a:pathLst>
                <a:path w="312419" h="179704">
                  <a:moveTo>
                    <a:pt x="276542" y="155752"/>
                  </a:moveTo>
                  <a:lnTo>
                    <a:pt x="275793" y="153162"/>
                  </a:lnTo>
                  <a:lnTo>
                    <a:pt x="274434" y="152412"/>
                  </a:lnTo>
                  <a:lnTo>
                    <a:pt x="247916" y="159296"/>
                  </a:lnTo>
                  <a:lnTo>
                    <a:pt x="220510" y="164744"/>
                  </a:lnTo>
                  <a:lnTo>
                    <a:pt x="191287" y="169062"/>
                  </a:lnTo>
                  <a:lnTo>
                    <a:pt x="160667" y="172199"/>
                  </a:lnTo>
                  <a:lnTo>
                    <a:pt x="123291" y="174218"/>
                  </a:lnTo>
                  <a:lnTo>
                    <a:pt x="87934" y="174167"/>
                  </a:lnTo>
                  <a:lnTo>
                    <a:pt x="55422" y="172072"/>
                  </a:lnTo>
                  <a:lnTo>
                    <a:pt x="25247" y="167703"/>
                  </a:lnTo>
                  <a:lnTo>
                    <a:pt x="23964" y="168579"/>
                  </a:lnTo>
                  <a:lnTo>
                    <a:pt x="63144" y="177673"/>
                  </a:lnTo>
                  <a:lnTo>
                    <a:pt x="106159" y="179324"/>
                  </a:lnTo>
                  <a:lnTo>
                    <a:pt x="119507" y="179184"/>
                  </a:lnTo>
                  <a:lnTo>
                    <a:pt x="161074" y="177050"/>
                  </a:lnTo>
                  <a:lnTo>
                    <a:pt x="221386" y="169532"/>
                  </a:lnTo>
                  <a:lnTo>
                    <a:pt x="275805" y="157099"/>
                  </a:lnTo>
                  <a:lnTo>
                    <a:pt x="276542" y="155752"/>
                  </a:lnTo>
                  <a:close/>
                </a:path>
                <a:path w="312419" h="179704">
                  <a:moveTo>
                    <a:pt x="311035" y="2997"/>
                  </a:moveTo>
                  <a:lnTo>
                    <a:pt x="309918" y="546"/>
                  </a:lnTo>
                  <a:lnTo>
                    <a:pt x="308470" y="0"/>
                  </a:lnTo>
                  <a:lnTo>
                    <a:pt x="278549" y="11239"/>
                  </a:lnTo>
                  <a:lnTo>
                    <a:pt x="243433" y="20332"/>
                  </a:lnTo>
                  <a:lnTo>
                    <a:pt x="203593" y="27457"/>
                  </a:lnTo>
                  <a:lnTo>
                    <a:pt x="160667" y="32270"/>
                  </a:lnTo>
                  <a:lnTo>
                    <a:pt x="120942" y="34340"/>
                  </a:lnTo>
                  <a:lnTo>
                    <a:pt x="83400" y="34048"/>
                  </a:lnTo>
                  <a:lnTo>
                    <a:pt x="49263" y="31470"/>
                  </a:lnTo>
                  <a:lnTo>
                    <a:pt x="18478" y="26339"/>
                  </a:lnTo>
                  <a:lnTo>
                    <a:pt x="17170" y="27165"/>
                  </a:lnTo>
                  <a:lnTo>
                    <a:pt x="58928" y="37363"/>
                  </a:lnTo>
                  <a:lnTo>
                    <a:pt x="106489" y="39382"/>
                  </a:lnTo>
                  <a:lnTo>
                    <a:pt x="119799" y="39243"/>
                  </a:lnTo>
                  <a:lnTo>
                    <a:pt x="161061" y="37122"/>
                  </a:lnTo>
                  <a:lnTo>
                    <a:pt x="204393" y="32258"/>
                  </a:lnTo>
                  <a:lnTo>
                    <a:pt x="244652" y="25044"/>
                  </a:lnTo>
                  <a:lnTo>
                    <a:pt x="310489" y="4432"/>
                  </a:lnTo>
                  <a:lnTo>
                    <a:pt x="311035" y="2997"/>
                  </a:lnTo>
                  <a:close/>
                </a:path>
                <a:path w="312419" h="179704">
                  <a:moveTo>
                    <a:pt x="311797" y="95910"/>
                  </a:moveTo>
                  <a:lnTo>
                    <a:pt x="310667" y="93459"/>
                  </a:lnTo>
                  <a:lnTo>
                    <a:pt x="309232" y="92938"/>
                  </a:lnTo>
                  <a:lnTo>
                    <a:pt x="279273" y="104292"/>
                  </a:lnTo>
                  <a:lnTo>
                    <a:pt x="244030" y="113474"/>
                  </a:lnTo>
                  <a:lnTo>
                    <a:pt x="203936" y="120688"/>
                  </a:lnTo>
                  <a:lnTo>
                    <a:pt x="160680" y="125552"/>
                  </a:lnTo>
                  <a:lnTo>
                    <a:pt x="116763" y="127698"/>
                  </a:lnTo>
                  <a:lnTo>
                    <a:pt x="75717" y="126961"/>
                  </a:lnTo>
                  <a:lnTo>
                    <a:pt x="39268" y="123444"/>
                  </a:lnTo>
                  <a:lnTo>
                    <a:pt x="7848" y="116878"/>
                  </a:lnTo>
                  <a:lnTo>
                    <a:pt x="6515" y="117627"/>
                  </a:lnTo>
                  <a:lnTo>
                    <a:pt x="51816" y="129921"/>
                  </a:lnTo>
                  <a:lnTo>
                    <a:pt x="106667" y="132651"/>
                  </a:lnTo>
                  <a:lnTo>
                    <a:pt x="119926" y="132511"/>
                  </a:lnTo>
                  <a:lnTo>
                    <a:pt x="161061" y="130416"/>
                  </a:lnTo>
                  <a:lnTo>
                    <a:pt x="204736" y="125501"/>
                  </a:lnTo>
                  <a:lnTo>
                    <a:pt x="245262" y="118198"/>
                  </a:lnTo>
                  <a:lnTo>
                    <a:pt x="311264" y="97358"/>
                  </a:lnTo>
                  <a:lnTo>
                    <a:pt x="311797" y="95910"/>
                  </a:lnTo>
                  <a:close/>
                </a:path>
                <a:path w="312419" h="179704">
                  <a:moveTo>
                    <a:pt x="311797" y="49263"/>
                  </a:moveTo>
                  <a:lnTo>
                    <a:pt x="310667" y="46824"/>
                  </a:lnTo>
                  <a:lnTo>
                    <a:pt x="309219" y="46291"/>
                  </a:lnTo>
                  <a:lnTo>
                    <a:pt x="279285" y="57658"/>
                  </a:lnTo>
                  <a:lnTo>
                    <a:pt x="244030" y="66840"/>
                  </a:lnTo>
                  <a:lnTo>
                    <a:pt x="203936" y="74053"/>
                  </a:lnTo>
                  <a:lnTo>
                    <a:pt x="160680" y="78905"/>
                  </a:lnTo>
                  <a:lnTo>
                    <a:pt x="114096" y="81114"/>
                  </a:lnTo>
                  <a:lnTo>
                    <a:pt x="71170" y="80111"/>
                  </a:lnTo>
                  <a:lnTo>
                    <a:pt x="33718" y="75984"/>
                  </a:lnTo>
                  <a:lnTo>
                    <a:pt x="3505" y="68872"/>
                  </a:lnTo>
                  <a:lnTo>
                    <a:pt x="2209" y="68453"/>
                  </a:lnTo>
                  <a:lnTo>
                    <a:pt x="838" y="69138"/>
                  </a:lnTo>
                  <a:lnTo>
                    <a:pt x="0" y="71704"/>
                  </a:lnTo>
                  <a:lnTo>
                    <a:pt x="698" y="73075"/>
                  </a:lnTo>
                  <a:lnTo>
                    <a:pt x="22809" y="78930"/>
                  </a:lnTo>
                  <a:lnTo>
                    <a:pt x="47548" y="82854"/>
                  </a:lnTo>
                  <a:lnTo>
                    <a:pt x="75552" y="85242"/>
                  </a:lnTo>
                  <a:lnTo>
                    <a:pt x="106172" y="86042"/>
                  </a:lnTo>
                  <a:lnTo>
                    <a:pt x="119494" y="85902"/>
                  </a:lnTo>
                  <a:lnTo>
                    <a:pt x="161061" y="83769"/>
                  </a:lnTo>
                  <a:lnTo>
                    <a:pt x="204749" y="78854"/>
                  </a:lnTo>
                  <a:lnTo>
                    <a:pt x="245262" y="71551"/>
                  </a:lnTo>
                  <a:lnTo>
                    <a:pt x="311264" y="50723"/>
                  </a:lnTo>
                  <a:lnTo>
                    <a:pt x="311797" y="49263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919166" y="6061974"/>
              <a:ext cx="973455" cy="1238250"/>
            </a:xfrm>
            <a:custGeom>
              <a:avLst/>
              <a:gdLst/>
              <a:ahLst/>
              <a:cxnLst/>
              <a:rect l="l" t="t" r="r" b="b"/>
              <a:pathLst>
                <a:path w="973455" h="1238250">
                  <a:moveTo>
                    <a:pt x="459882" y="0"/>
                  </a:moveTo>
                  <a:lnTo>
                    <a:pt x="415681" y="1726"/>
                  </a:lnTo>
                  <a:lnTo>
                    <a:pt x="371752" y="7031"/>
                  </a:lnTo>
                  <a:lnTo>
                    <a:pt x="328478" y="15886"/>
                  </a:lnTo>
                  <a:lnTo>
                    <a:pt x="286244" y="28266"/>
                  </a:lnTo>
                  <a:lnTo>
                    <a:pt x="245433" y="44146"/>
                  </a:lnTo>
                  <a:lnTo>
                    <a:pt x="206429" y="63498"/>
                  </a:lnTo>
                  <a:lnTo>
                    <a:pt x="169615" y="86298"/>
                  </a:lnTo>
                  <a:lnTo>
                    <a:pt x="135375" y="112519"/>
                  </a:lnTo>
                  <a:lnTo>
                    <a:pt x="104092" y="142136"/>
                  </a:lnTo>
                  <a:lnTo>
                    <a:pt x="76152" y="175121"/>
                  </a:lnTo>
                  <a:lnTo>
                    <a:pt x="51936" y="211450"/>
                  </a:lnTo>
                  <a:lnTo>
                    <a:pt x="31829" y="251096"/>
                  </a:lnTo>
                  <a:lnTo>
                    <a:pt x="16215" y="294033"/>
                  </a:lnTo>
                  <a:lnTo>
                    <a:pt x="5477" y="340236"/>
                  </a:lnTo>
                  <a:lnTo>
                    <a:pt x="0" y="389678"/>
                  </a:lnTo>
                  <a:lnTo>
                    <a:pt x="165" y="442333"/>
                  </a:lnTo>
                  <a:lnTo>
                    <a:pt x="6272" y="504023"/>
                  </a:lnTo>
                  <a:lnTo>
                    <a:pt x="16817" y="562190"/>
                  </a:lnTo>
                  <a:lnTo>
                    <a:pt x="31055" y="616700"/>
                  </a:lnTo>
                  <a:lnTo>
                    <a:pt x="48236" y="667422"/>
                  </a:lnTo>
                  <a:lnTo>
                    <a:pt x="67613" y="714220"/>
                  </a:lnTo>
                  <a:lnTo>
                    <a:pt x="88440" y="756963"/>
                  </a:lnTo>
                  <a:lnTo>
                    <a:pt x="109967" y="795516"/>
                  </a:lnTo>
                  <a:lnTo>
                    <a:pt x="131448" y="829747"/>
                  </a:lnTo>
                  <a:lnTo>
                    <a:pt x="171280" y="884707"/>
                  </a:lnTo>
                  <a:lnTo>
                    <a:pt x="191047" y="912309"/>
                  </a:lnTo>
                  <a:lnTo>
                    <a:pt x="207965" y="941659"/>
                  </a:lnTo>
                  <a:lnTo>
                    <a:pt x="221907" y="972531"/>
                  </a:lnTo>
                  <a:lnTo>
                    <a:pt x="232744" y="1004704"/>
                  </a:lnTo>
                  <a:lnTo>
                    <a:pt x="244401" y="1041130"/>
                  </a:lnTo>
                  <a:lnTo>
                    <a:pt x="260546" y="1080569"/>
                  </a:lnTo>
                  <a:lnTo>
                    <a:pt x="281797" y="1120475"/>
                  </a:lnTo>
                  <a:lnTo>
                    <a:pt x="308778" y="1158302"/>
                  </a:lnTo>
                  <a:lnTo>
                    <a:pt x="342106" y="1191505"/>
                  </a:lnTo>
                  <a:lnTo>
                    <a:pt x="382405" y="1217536"/>
                  </a:lnTo>
                  <a:lnTo>
                    <a:pt x="430293" y="1233850"/>
                  </a:lnTo>
                  <a:lnTo>
                    <a:pt x="486391" y="1237901"/>
                  </a:lnTo>
                  <a:lnTo>
                    <a:pt x="542819" y="1227656"/>
                  </a:lnTo>
                  <a:lnTo>
                    <a:pt x="588388" y="1205038"/>
                  </a:lnTo>
                  <a:lnTo>
                    <a:pt x="624257" y="1173174"/>
                  </a:lnTo>
                  <a:lnTo>
                    <a:pt x="651587" y="1135190"/>
                  </a:lnTo>
                  <a:lnTo>
                    <a:pt x="671536" y="1094214"/>
                  </a:lnTo>
                  <a:lnTo>
                    <a:pt x="685265" y="1053372"/>
                  </a:lnTo>
                  <a:lnTo>
                    <a:pt x="701582" y="1005764"/>
                  </a:lnTo>
                  <a:lnTo>
                    <a:pt x="723434" y="960672"/>
                  </a:lnTo>
                  <a:lnTo>
                    <a:pt x="750645" y="918625"/>
                  </a:lnTo>
                  <a:lnTo>
                    <a:pt x="783042" y="880153"/>
                  </a:lnTo>
                  <a:lnTo>
                    <a:pt x="808270" y="852515"/>
                  </a:lnTo>
                  <a:lnTo>
                    <a:pt x="834481" y="820786"/>
                  </a:lnTo>
                  <a:lnTo>
                    <a:pt x="860792" y="785084"/>
                  </a:lnTo>
                  <a:lnTo>
                    <a:pt x="886324" y="745526"/>
                  </a:lnTo>
                  <a:lnTo>
                    <a:pt x="910193" y="702230"/>
                  </a:lnTo>
                  <a:lnTo>
                    <a:pt x="931518" y="655315"/>
                  </a:lnTo>
                  <a:lnTo>
                    <a:pt x="949418" y="604897"/>
                  </a:lnTo>
                  <a:lnTo>
                    <a:pt x="963010" y="551096"/>
                  </a:lnTo>
                  <a:lnTo>
                    <a:pt x="971413" y="494028"/>
                  </a:lnTo>
                  <a:lnTo>
                    <a:pt x="973384" y="444616"/>
                  </a:lnTo>
                  <a:lnTo>
                    <a:pt x="970028" y="397373"/>
                  </a:lnTo>
                  <a:lnTo>
                    <a:pt x="961674" y="352378"/>
                  </a:lnTo>
                  <a:lnTo>
                    <a:pt x="948651" y="309707"/>
                  </a:lnTo>
                  <a:lnTo>
                    <a:pt x="931287" y="269438"/>
                  </a:lnTo>
                  <a:lnTo>
                    <a:pt x="909911" y="231650"/>
                  </a:lnTo>
                  <a:lnTo>
                    <a:pt x="884852" y="196419"/>
                  </a:lnTo>
                  <a:lnTo>
                    <a:pt x="856438" y="163824"/>
                  </a:lnTo>
                  <a:lnTo>
                    <a:pt x="824998" y="133942"/>
                  </a:lnTo>
                  <a:lnTo>
                    <a:pt x="790860" y="106850"/>
                  </a:lnTo>
                  <a:lnTo>
                    <a:pt x="754354" y="82627"/>
                  </a:lnTo>
                  <a:lnTo>
                    <a:pt x="715807" y="61350"/>
                  </a:lnTo>
                  <a:lnTo>
                    <a:pt x="675549" y="43097"/>
                  </a:lnTo>
                  <a:lnTo>
                    <a:pt x="633907" y="27945"/>
                  </a:lnTo>
                  <a:lnTo>
                    <a:pt x="591212" y="15973"/>
                  </a:lnTo>
                  <a:lnTo>
                    <a:pt x="547790" y="7257"/>
                  </a:lnTo>
                  <a:lnTo>
                    <a:pt x="503972" y="1876"/>
                  </a:lnTo>
                  <a:lnTo>
                    <a:pt x="459882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1249553" y="6652799"/>
              <a:ext cx="304165" cy="600710"/>
            </a:xfrm>
            <a:custGeom>
              <a:avLst/>
              <a:gdLst/>
              <a:ahLst/>
              <a:cxnLst/>
              <a:rect l="l" t="t" r="r" b="b"/>
              <a:pathLst>
                <a:path w="304165" h="600709">
                  <a:moveTo>
                    <a:pt x="107403" y="594360"/>
                  </a:moveTo>
                  <a:lnTo>
                    <a:pt x="106781" y="590270"/>
                  </a:lnTo>
                  <a:lnTo>
                    <a:pt x="17919" y="12357"/>
                  </a:lnTo>
                  <a:lnTo>
                    <a:pt x="12166" y="4495"/>
                  </a:lnTo>
                  <a:lnTo>
                    <a:pt x="6870" y="6502"/>
                  </a:lnTo>
                  <a:lnTo>
                    <a:pt x="3378" y="9575"/>
                  </a:lnTo>
                  <a:lnTo>
                    <a:pt x="1028" y="15278"/>
                  </a:lnTo>
                  <a:lnTo>
                    <a:pt x="0" y="22783"/>
                  </a:lnTo>
                  <a:lnTo>
                    <a:pt x="685" y="32321"/>
                  </a:lnTo>
                  <a:lnTo>
                    <a:pt x="100596" y="597496"/>
                  </a:lnTo>
                  <a:lnTo>
                    <a:pt x="102743" y="600163"/>
                  </a:lnTo>
                  <a:lnTo>
                    <a:pt x="106476" y="598335"/>
                  </a:lnTo>
                  <a:lnTo>
                    <a:pt x="107403" y="594360"/>
                  </a:lnTo>
                  <a:close/>
                </a:path>
                <a:path w="304165" h="600709">
                  <a:moveTo>
                    <a:pt x="303923" y="18288"/>
                  </a:moveTo>
                  <a:lnTo>
                    <a:pt x="302895" y="10782"/>
                  </a:lnTo>
                  <a:lnTo>
                    <a:pt x="300545" y="5080"/>
                  </a:lnTo>
                  <a:lnTo>
                    <a:pt x="297065" y="2006"/>
                  </a:lnTo>
                  <a:lnTo>
                    <a:pt x="291757" y="0"/>
                  </a:lnTo>
                  <a:lnTo>
                    <a:pt x="286004" y="7861"/>
                  </a:lnTo>
                  <a:lnTo>
                    <a:pt x="197142" y="585774"/>
                  </a:lnTo>
                  <a:lnTo>
                    <a:pt x="196519" y="589864"/>
                  </a:lnTo>
                  <a:lnTo>
                    <a:pt x="197446" y="593839"/>
                  </a:lnTo>
                  <a:lnTo>
                    <a:pt x="201193" y="595668"/>
                  </a:lnTo>
                  <a:lnTo>
                    <a:pt x="203339" y="593001"/>
                  </a:lnTo>
                  <a:lnTo>
                    <a:pt x="303237" y="27825"/>
                  </a:lnTo>
                  <a:lnTo>
                    <a:pt x="303923" y="182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1276705" y="6330016"/>
              <a:ext cx="548640" cy="532765"/>
            </a:xfrm>
            <a:custGeom>
              <a:avLst/>
              <a:gdLst/>
              <a:ahLst/>
              <a:cxnLst/>
              <a:rect l="l" t="t" r="r" b="b"/>
              <a:pathLst>
                <a:path w="548639" h="532765">
                  <a:moveTo>
                    <a:pt x="258635" y="297268"/>
                  </a:moveTo>
                  <a:lnTo>
                    <a:pt x="256425" y="293725"/>
                  </a:lnTo>
                  <a:lnTo>
                    <a:pt x="254215" y="290156"/>
                  </a:lnTo>
                  <a:lnTo>
                    <a:pt x="249097" y="288836"/>
                  </a:lnTo>
                  <a:lnTo>
                    <a:pt x="196519" y="313410"/>
                  </a:lnTo>
                  <a:lnTo>
                    <a:pt x="178803" y="262953"/>
                  </a:lnTo>
                  <a:lnTo>
                    <a:pt x="176745" y="260743"/>
                  </a:lnTo>
                  <a:lnTo>
                    <a:pt x="168224" y="257225"/>
                  </a:lnTo>
                  <a:lnTo>
                    <a:pt x="161556" y="259283"/>
                  </a:lnTo>
                  <a:lnTo>
                    <a:pt x="118948" y="336969"/>
                  </a:lnTo>
                  <a:lnTo>
                    <a:pt x="81000" y="230797"/>
                  </a:lnTo>
                  <a:lnTo>
                    <a:pt x="79095" y="228523"/>
                  </a:lnTo>
                  <a:lnTo>
                    <a:pt x="70091" y="223621"/>
                  </a:lnTo>
                  <a:lnTo>
                    <a:pt x="61912" y="225234"/>
                  </a:lnTo>
                  <a:lnTo>
                    <a:pt x="0" y="310476"/>
                  </a:lnTo>
                  <a:lnTo>
                    <a:pt x="774" y="314693"/>
                  </a:lnTo>
                  <a:lnTo>
                    <a:pt x="7912" y="319493"/>
                  </a:lnTo>
                  <a:lnTo>
                    <a:pt x="13220" y="318909"/>
                  </a:lnTo>
                  <a:lnTo>
                    <a:pt x="65151" y="260985"/>
                  </a:lnTo>
                  <a:lnTo>
                    <a:pt x="110070" y="361073"/>
                  </a:lnTo>
                  <a:lnTo>
                    <a:pt x="111404" y="362445"/>
                  </a:lnTo>
                  <a:lnTo>
                    <a:pt x="117398" y="365252"/>
                  </a:lnTo>
                  <a:lnTo>
                    <a:pt x="122580" y="363905"/>
                  </a:lnTo>
                  <a:lnTo>
                    <a:pt x="167449" y="291896"/>
                  </a:lnTo>
                  <a:lnTo>
                    <a:pt x="184035" y="327558"/>
                  </a:lnTo>
                  <a:lnTo>
                    <a:pt x="186245" y="331101"/>
                  </a:lnTo>
                  <a:lnTo>
                    <a:pt x="191363" y="332435"/>
                  </a:lnTo>
                  <a:lnTo>
                    <a:pt x="257111" y="301713"/>
                  </a:lnTo>
                  <a:lnTo>
                    <a:pt x="258635" y="297268"/>
                  </a:lnTo>
                  <a:close/>
                </a:path>
                <a:path w="548639" h="532765">
                  <a:moveTo>
                    <a:pt x="473202" y="465759"/>
                  </a:moveTo>
                  <a:lnTo>
                    <a:pt x="472516" y="463232"/>
                  </a:lnTo>
                  <a:lnTo>
                    <a:pt x="468566" y="460946"/>
                  </a:lnTo>
                  <a:lnTo>
                    <a:pt x="466039" y="461619"/>
                  </a:lnTo>
                  <a:lnTo>
                    <a:pt x="455510" y="479298"/>
                  </a:lnTo>
                  <a:lnTo>
                    <a:pt x="445554" y="494906"/>
                  </a:lnTo>
                  <a:lnTo>
                    <a:pt x="435063" y="510362"/>
                  </a:lnTo>
                  <a:lnTo>
                    <a:pt x="422706" y="527443"/>
                  </a:lnTo>
                  <a:lnTo>
                    <a:pt x="423100" y="530034"/>
                  </a:lnTo>
                  <a:lnTo>
                    <a:pt x="425665" y="531952"/>
                  </a:lnTo>
                  <a:lnTo>
                    <a:pt x="426529" y="532206"/>
                  </a:lnTo>
                  <a:lnTo>
                    <a:pt x="427393" y="532206"/>
                  </a:lnTo>
                  <a:lnTo>
                    <a:pt x="428663" y="532206"/>
                  </a:lnTo>
                  <a:lnTo>
                    <a:pt x="429907" y="531634"/>
                  </a:lnTo>
                  <a:lnTo>
                    <a:pt x="441845" y="515099"/>
                  </a:lnTo>
                  <a:lnTo>
                    <a:pt x="452475" y="499440"/>
                  </a:lnTo>
                  <a:lnTo>
                    <a:pt x="462559" y="483641"/>
                  </a:lnTo>
                  <a:lnTo>
                    <a:pt x="473202" y="465759"/>
                  </a:lnTo>
                  <a:close/>
                </a:path>
                <a:path w="548639" h="532765">
                  <a:moveTo>
                    <a:pt x="548436" y="200533"/>
                  </a:moveTo>
                  <a:lnTo>
                    <a:pt x="547827" y="158762"/>
                  </a:lnTo>
                  <a:lnTo>
                    <a:pt x="536282" y="73367"/>
                  </a:lnTo>
                  <a:lnTo>
                    <a:pt x="526554" y="36169"/>
                  </a:lnTo>
                  <a:lnTo>
                    <a:pt x="511111" y="0"/>
                  </a:lnTo>
                  <a:lnTo>
                    <a:pt x="506971" y="1905"/>
                  </a:lnTo>
                  <a:lnTo>
                    <a:pt x="506044" y="4356"/>
                  </a:lnTo>
                  <a:lnTo>
                    <a:pt x="509879" y="13462"/>
                  </a:lnTo>
                  <a:lnTo>
                    <a:pt x="516585" y="32537"/>
                  </a:lnTo>
                  <a:lnTo>
                    <a:pt x="525018" y="62484"/>
                  </a:lnTo>
                  <a:lnTo>
                    <a:pt x="533107" y="102095"/>
                  </a:lnTo>
                  <a:lnTo>
                    <a:pt x="538759" y="150190"/>
                  </a:lnTo>
                  <a:lnTo>
                    <a:pt x="539877" y="205562"/>
                  </a:lnTo>
                  <a:lnTo>
                    <a:pt x="534390" y="267042"/>
                  </a:lnTo>
                  <a:lnTo>
                    <a:pt x="520192" y="333425"/>
                  </a:lnTo>
                  <a:lnTo>
                    <a:pt x="495223" y="403517"/>
                  </a:lnTo>
                  <a:lnTo>
                    <a:pt x="494309" y="405612"/>
                  </a:lnTo>
                  <a:lnTo>
                    <a:pt x="495274" y="408051"/>
                  </a:lnTo>
                  <a:lnTo>
                    <a:pt x="497903" y="409181"/>
                  </a:lnTo>
                  <a:lnTo>
                    <a:pt x="499008" y="409295"/>
                  </a:lnTo>
                  <a:lnTo>
                    <a:pt x="500608" y="409295"/>
                  </a:lnTo>
                  <a:lnTo>
                    <a:pt x="502132" y="408368"/>
                  </a:lnTo>
                  <a:lnTo>
                    <a:pt x="523646" y="350837"/>
                  </a:lnTo>
                  <a:lnTo>
                    <a:pt x="537464" y="297319"/>
                  </a:lnTo>
                  <a:lnTo>
                    <a:pt x="545350" y="246964"/>
                  </a:lnTo>
                  <a:lnTo>
                    <a:pt x="548436" y="200533"/>
                  </a:lnTo>
                  <a:close/>
                </a:path>
              </a:pathLst>
            </a:custGeom>
            <a:solidFill>
              <a:srgbClr val="FFFFFF">
                <a:alpha val="78997"/>
              </a:srgbClr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3073661" y="9006166"/>
              <a:ext cx="859155" cy="880744"/>
            </a:xfrm>
            <a:custGeom>
              <a:avLst/>
              <a:gdLst/>
              <a:ahLst/>
              <a:cxnLst/>
              <a:rect l="l" t="t" r="r" b="b"/>
              <a:pathLst>
                <a:path w="859154" h="880745">
                  <a:moveTo>
                    <a:pt x="113099" y="633211"/>
                  </a:moveTo>
                  <a:lnTo>
                    <a:pt x="99588" y="633211"/>
                  </a:lnTo>
                  <a:lnTo>
                    <a:pt x="103125" y="681816"/>
                  </a:lnTo>
                  <a:lnTo>
                    <a:pt x="111102" y="732175"/>
                  </a:lnTo>
                  <a:lnTo>
                    <a:pt x="125038" y="779221"/>
                  </a:lnTo>
                  <a:lnTo>
                    <a:pt x="146767" y="822236"/>
                  </a:lnTo>
                  <a:lnTo>
                    <a:pt x="178046" y="859413"/>
                  </a:lnTo>
                  <a:lnTo>
                    <a:pt x="211554" y="879249"/>
                  </a:lnTo>
                  <a:lnTo>
                    <a:pt x="222349" y="880554"/>
                  </a:lnTo>
                  <a:lnTo>
                    <a:pt x="223815" y="880554"/>
                  </a:lnTo>
                  <a:lnTo>
                    <a:pt x="240885" y="876607"/>
                  </a:lnTo>
                  <a:lnTo>
                    <a:pt x="255446" y="867401"/>
                  </a:lnTo>
                  <a:lnTo>
                    <a:pt x="224186" y="867401"/>
                  </a:lnTo>
                  <a:lnTo>
                    <a:pt x="214945" y="866459"/>
                  </a:lnTo>
                  <a:lnTo>
                    <a:pt x="156027" y="812167"/>
                  </a:lnTo>
                  <a:lnTo>
                    <a:pt x="135038" y="768197"/>
                  </a:lnTo>
                  <a:lnTo>
                    <a:pt x="122056" y="719899"/>
                  </a:lnTo>
                  <a:lnTo>
                    <a:pt x="115174" y="669744"/>
                  </a:lnTo>
                  <a:lnTo>
                    <a:pt x="113196" y="634959"/>
                  </a:lnTo>
                  <a:lnTo>
                    <a:pt x="113099" y="633211"/>
                  </a:lnTo>
                  <a:close/>
                </a:path>
                <a:path w="859154" h="880745">
                  <a:moveTo>
                    <a:pt x="405924" y="527015"/>
                  </a:moveTo>
                  <a:lnTo>
                    <a:pt x="398737" y="544225"/>
                  </a:lnTo>
                  <a:lnTo>
                    <a:pt x="392919" y="561935"/>
                  </a:lnTo>
                  <a:lnTo>
                    <a:pt x="388484" y="580038"/>
                  </a:lnTo>
                  <a:lnTo>
                    <a:pt x="385443" y="598426"/>
                  </a:lnTo>
                  <a:lnTo>
                    <a:pt x="367537" y="647866"/>
                  </a:lnTo>
                  <a:lnTo>
                    <a:pt x="346809" y="696099"/>
                  </a:lnTo>
                  <a:lnTo>
                    <a:pt x="323290" y="743058"/>
                  </a:lnTo>
                  <a:lnTo>
                    <a:pt x="297011" y="788677"/>
                  </a:lnTo>
                  <a:lnTo>
                    <a:pt x="268002" y="832890"/>
                  </a:lnTo>
                  <a:lnTo>
                    <a:pt x="236612" y="864008"/>
                  </a:lnTo>
                  <a:lnTo>
                    <a:pt x="223195" y="867401"/>
                  </a:lnTo>
                  <a:lnTo>
                    <a:pt x="255446" y="867401"/>
                  </a:lnTo>
                  <a:lnTo>
                    <a:pt x="309725" y="793193"/>
                  </a:lnTo>
                  <a:lnTo>
                    <a:pt x="337553" y="744362"/>
                  </a:lnTo>
                  <a:lnTo>
                    <a:pt x="362276" y="694038"/>
                  </a:lnTo>
                  <a:lnTo>
                    <a:pt x="383862" y="642289"/>
                  </a:lnTo>
                  <a:lnTo>
                    <a:pt x="397218" y="642289"/>
                  </a:lnTo>
                  <a:lnTo>
                    <a:pt x="396917" y="638363"/>
                  </a:lnTo>
                  <a:lnTo>
                    <a:pt x="396959" y="618761"/>
                  </a:lnTo>
                  <a:lnTo>
                    <a:pt x="398375" y="601348"/>
                  </a:lnTo>
                  <a:lnTo>
                    <a:pt x="403862" y="584044"/>
                  </a:lnTo>
                  <a:lnTo>
                    <a:pt x="408985" y="566712"/>
                  </a:lnTo>
                  <a:lnTo>
                    <a:pt x="413836" y="549043"/>
                  </a:lnTo>
                  <a:lnTo>
                    <a:pt x="418322" y="531350"/>
                  </a:lnTo>
                  <a:lnTo>
                    <a:pt x="405924" y="527015"/>
                  </a:lnTo>
                  <a:close/>
                </a:path>
                <a:path w="859154" h="880745">
                  <a:moveTo>
                    <a:pt x="397218" y="642289"/>
                  </a:moveTo>
                  <a:lnTo>
                    <a:pt x="383862" y="642289"/>
                  </a:lnTo>
                  <a:lnTo>
                    <a:pt x="384477" y="650816"/>
                  </a:lnTo>
                  <a:lnTo>
                    <a:pt x="396515" y="703649"/>
                  </a:lnTo>
                  <a:lnTo>
                    <a:pt x="425447" y="740607"/>
                  </a:lnTo>
                  <a:lnTo>
                    <a:pt x="444719" y="748474"/>
                  </a:lnTo>
                  <a:lnTo>
                    <a:pt x="472792" y="746489"/>
                  </a:lnTo>
                  <a:lnTo>
                    <a:pt x="491915" y="735511"/>
                  </a:lnTo>
                  <a:lnTo>
                    <a:pt x="447190" y="735511"/>
                  </a:lnTo>
                  <a:lnTo>
                    <a:pt x="426636" y="725045"/>
                  </a:lnTo>
                  <a:lnTo>
                    <a:pt x="412920" y="707092"/>
                  </a:lnTo>
                  <a:lnTo>
                    <a:pt x="404814" y="687872"/>
                  </a:lnTo>
                  <a:lnTo>
                    <a:pt x="401087" y="673607"/>
                  </a:lnTo>
                  <a:lnTo>
                    <a:pt x="398245" y="655671"/>
                  </a:lnTo>
                  <a:lnTo>
                    <a:pt x="397218" y="642289"/>
                  </a:lnTo>
                  <a:close/>
                </a:path>
                <a:path w="859154" h="880745">
                  <a:moveTo>
                    <a:pt x="616494" y="539507"/>
                  </a:moveTo>
                  <a:lnTo>
                    <a:pt x="522874" y="681816"/>
                  </a:lnTo>
                  <a:lnTo>
                    <a:pt x="484023" y="725909"/>
                  </a:lnTo>
                  <a:lnTo>
                    <a:pt x="447190" y="735511"/>
                  </a:lnTo>
                  <a:lnTo>
                    <a:pt x="491915" y="735511"/>
                  </a:lnTo>
                  <a:lnTo>
                    <a:pt x="497084" y="732544"/>
                  </a:lnTo>
                  <a:lnTo>
                    <a:pt x="517488" y="711714"/>
                  </a:lnTo>
                  <a:lnTo>
                    <a:pt x="533899" y="689073"/>
                  </a:lnTo>
                  <a:lnTo>
                    <a:pt x="590516" y="603002"/>
                  </a:lnTo>
                  <a:lnTo>
                    <a:pt x="604261" y="603002"/>
                  </a:lnTo>
                  <a:lnTo>
                    <a:pt x="604317" y="601348"/>
                  </a:lnTo>
                  <a:lnTo>
                    <a:pt x="604416" y="598426"/>
                  </a:lnTo>
                  <a:lnTo>
                    <a:pt x="604500" y="595954"/>
                  </a:lnTo>
                  <a:lnTo>
                    <a:pt x="608149" y="575464"/>
                  </a:lnTo>
                  <a:lnTo>
                    <a:pt x="616494" y="539507"/>
                  </a:lnTo>
                  <a:close/>
                </a:path>
                <a:path w="859154" h="880745">
                  <a:moveTo>
                    <a:pt x="254102" y="0"/>
                  </a:moveTo>
                  <a:lnTo>
                    <a:pt x="211176" y="15167"/>
                  </a:lnTo>
                  <a:lnTo>
                    <a:pt x="180165" y="47770"/>
                  </a:lnTo>
                  <a:lnTo>
                    <a:pt x="161555" y="82086"/>
                  </a:lnTo>
                  <a:lnTo>
                    <a:pt x="143059" y="131185"/>
                  </a:lnTo>
                  <a:lnTo>
                    <a:pt x="129854" y="181706"/>
                  </a:lnTo>
                  <a:lnTo>
                    <a:pt x="120600" y="232690"/>
                  </a:lnTo>
                  <a:lnTo>
                    <a:pt x="113954" y="283179"/>
                  </a:lnTo>
                  <a:lnTo>
                    <a:pt x="109063" y="329458"/>
                  </a:lnTo>
                  <a:lnTo>
                    <a:pt x="108988" y="330172"/>
                  </a:lnTo>
                  <a:lnTo>
                    <a:pt x="104958" y="377342"/>
                  </a:lnTo>
                  <a:lnTo>
                    <a:pt x="101869" y="424636"/>
                  </a:lnTo>
                  <a:lnTo>
                    <a:pt x="99721" y="471998"/>
                  </a:lnTo>
                  <a:lnTo>
                    <a:pt x="98519" y="519375"/>
                  </a:lnTo>
                  <a:lnTo>
                    <a:pt x="98385" y="544225"/>
                  </a:lnTo>
                  <a:lnTo>
                    <a:pt x="98264" y="566712"/>
                  </a:lnTo>
                  <a:lnTo>
                    <a:pt x="98960" y="613955"/>
                  </a:lnTo>
                  <a:lnTo>
                    <a:pt x="74509" y="641452"/>
                  </a:lnTo>
                  <a:lnTo>
                    <a:pt x="49762" y="668563"/>
                  </a:lnTo>
                  <a:lnTo>
                    <a:pt x="0" y="721899"/>
                  </a:lnTo>
                  <a:lnTo>
                    <a:pt x="9622" y="730925"/>
                  </a:lnTo>
                  <a:lnTo>
                    <a:pt x="54782" y="682574"/>
                  </a:lnTo>
                  <a:lnTo>
                    <a:pt x="77287" y="658045"/>
                  </a:lnTo>
                  <a:lnTo>
                    <a:pt x="99588" y="633211"/>
                  </a:lnTo>
                  <a:lnTo>
                    <a:pt x="113099" y="633211"/>
                  </a:lnTo>
                  <a:lnTo>
                    <a:pt x="112426" y="621208"/>
                  </a:lnTo>
                  <a:lnTo>
                    <a:pt x="112327" y="619431"/>
                  </a:lnTo>
                  <a:lnTo>
                    <a:pt x="112289" y="618761"/>
                  </a:lnTo>
                  <a:lnTo>
                    <a:pt x="128909" y="599096"/>
                  </a:lnTo>
                  <a:lnTo>
                    <a:pt x="111839" y="599096"/>
                  </a:lnTo>
                  <a:lnTo>
                    <a:pt x="111863" y="519375"/>
                  </a:lnTo>
                  <a:lnTo>
                    <a:pt x="114179" y="442232"/>
                  </a:lnTo>
                  <a:lnTo>
                    <a:pt x="117327" y="389149"/>
                  </a:lnTo>
                  <a:lnTo>
                    <a:pt x="121616" y="336817"/>
                  </a:lnTo>
                  <a:lnTo>
                    <a:pt x="127022" y="285096"/>
                  </a:lnTo>
                  <a:lnTo>
                    <a:pt x="133592" y="235027"/>
                  </a:lnTo>
                  <a:lnTo>
                    <a:pt x="142656" y="184947"/>
                  </a:lnTo>
                  <a:lnTo>
                    <a:pt x="155554" y="135439"/>
                  </a:lnTo>
                  <a:lnTo>
                    <a:pt x="173586" y="87489"/>
                  </a:lnTo>
                  <a:lnTo>
                    <a:pt x="203205" y="39713"/>
                  </a:lnTo>
                  <a:lnTo>
                    <a:pt x="238321" y="16253"/>
                  </a:lnTo>
                  <a:lnTo>
                    <a:pt x="258746" y="12978"/>
                  </a:lnTo>
                  <a:lnTo>
                    <a:pt x="297455" y="12978"/>
                  </a:lnTo>
                  <a:lnTo>
                    <a:pt x="294483" y="10088"/>
                  </a:lnTo>
                  <a:lnTo>
                    <a:pt x="275523" y="1832"/>
                  </a:lnTo>
                  <a:lnTo>
                    <a:pt x="254102" y="0"/>
                  </a:lnTo>
                  <a:close/>
                </a:path>
                <a:path w="859154" h="880745">
                  <a:moveTo>
                    <a:pt x="748437" y="640059"/>
                  </a:moveTo>
                  <a:lnTo>
                    <a:pt x="734804" y="640059"/>
                  </a:lnTo>
                  <a:lnTo>
                    <a:pt x="734709" y="642289"/>
                  </a:lnTo>
                  <a:lnTo>
                    <a:pt x="734599" y="644873"/>
                  </a:lnTo>
                  <a:lnTo>
                    <a:pt x="734560" y="645790"/>
                  </a:lnTo>
                  <a:lnTo>
                    <a:pt x="734472" y="647866"/>
                  </a:lnTo>
                  <a:lnTo>
                    <a:pt x="734346" y="650816"/>
                  </a:lnTo>
                  <a:lnTo>
                    <a:pt x="734323" y="651348"/>
                  </a:lnTo>
                  <a:lnTo>
                    <a:pt x="734200" y="654252"/>
                  </a:lnTo>
                  <a:lnTo>
                    <a:pt x="734139" y="655671"/>
                  </a:lnTo>
                  <a:lnTo>
                    <a:pt x="734046" y="657868"/>
                  </a:lnTo>
                  <a:lnTo>
                    <a:pt x="733939" y="660380"/>
                  </a:lnTo>
                  <a:lnTo>
                    <a:pt x="733826" y="663033"/>
                  </a:lnTo>
                  <a:lnTo>
                    <a:pt x="733754" y="666648"/>
                  </a:lnTo>
                  <a:lnTo>
                    <a:pt x="737950" y="690259"/>
                  </a:lnTo>
                  <a:lnTo>
                    <a:pt x="748877" y="708955"/>
                  </a:lnTo>
                  <a:lnTo>
                    <a:pt x="767756" y="719302"/>
                  </a:lnTo>
                  <a:lnTo>
                    <a:pt x="783684" y="719544"/>
                  </a:lnTo>
                  <a:lnTo>
                    <a:pt x="797893" y="714098"/>
                  </a:lnTo>
                  <a:lnTo>
                    <a:pt x="808776" y="706413"/>
                  </a:lnTo>
                  <a:lnTo>
                    <a:pt x="770604" y="706413"/>
                  </a:lnTo>
                  <a:lnTo>
                    <a:pt x="756298" y="697156"/>
                  </a:lnTo>
                  <a:lnTo>
                    <a:pt x="748779" y="679788"/>
                  </a:lnTo>
                  <a:lnTo>
                    <a:pt x="747065" y="661255"/>
                  </a:lnTo>
                  <a:lnTo>
                    <a:pt x="746960" y="655671"/>
                  </a:lnTo>
                  <a:lnTo>
                    <a:pt x="748437" y="640059"/>
                  </a:lnTo>
                  <a:close/>
                </a:path>
                <a:path w="859154" h="880745">
                  <a:moveTo>
                    <a:pt x="855932" y="656917"/>
                  </a:moveTo>
                  <a:lnTo>
                    <a:pt x="844235" y="661255"/>
                  </a:lnTo>
                  <a:lnTo>
                    <a:pt x="833577" y="667783"/>
                  </a:lnTo>
                  <a:lnTo>
                    <a:pt x="823668" y="675720"/>
                  </a:lnTo>
                  <a:lnTo>
                    <a:pt x="803359" y="694038"/>
                  </a:lnTo>
                  <a:lnTo>
                    <a:pt x="792791" y="701821"/>
                  </a:lnTo>
                  <a:lnTo>
                    <a:pt x="781928" y="706413"/>
                  </a:lnTo>
                  <a:lnTo>
                    <a:pt x="808776" y="706413"/>
                  </a:lnTo>
                  <a:lnTo>
                    <a:pt x="810886" y="704922"/>
                  </a:lnTo>
                  <a:lnTo>
                    <a:pt x="823095" y="694038"/>
                  </a:lnTo>
                  <a:lnTo>
                    <a:pt x="831659" y="686269"/>
                  </a:lnTo>
                  <a:lnTo>
                    <a:pt x="840398" y="679169"/>
                  </a:lnTo>
                  <a:lnTo>
                    <a:pt x="849490" y="673413"/>
                  </a:lnTo>
                  <a:lnTo>
                    <a:pt x="859041" y="669744"/>
                  </a:lnTo>
                  <a:lnTo>
                    <a:pt x="855932" y="656917"/>
                  </a:lnTo>
                  <a:close/>
                </a:path>
                <a:path w="859154" h="880745">
                  <a:moveTo>
                    <a:pt x="604261" y="603002"/>
                  </a:moveTo>
                  <a:lnTo>
                    <a:pt x="590516" y="603002"/>
                  </a:lnTo>
                  <a:lnTo>
                    <a:pt x="591074" y="627305"/>
                  </a:lnTo>
                  <a:lnTo>
                    <a:pt x="606610" y="663033"/>
                  </a:lnTo>
                  <a:lnTo>
                    <a:pt x="638852" y="676305"/>
                  </a:lnTo>
                  <a:lnTo>
                    <a:pt x="655594" y="673607"/>
                  </a:lnTo>
                  <a:lnTo>
                    <a:pt x="655846" y="673607"/>
                  </a:lnTo>
                  <a:lnTo>
                    <a:pt x="672760" y="666648"/>
                  </a:lnTo>
                  <a:lnTo>
                    <a:pt x="679438" y="663033"/>
                  </a:lnTo>
                  <a:lnTo>
                    <a:pt x="639843" y="663033"/>
                  </a:lnTo>
                  <a:lnTo>
                    <a:pt x="626253" y="660592"/>
                  </a:lnTo>
                  <a:lnTo>
                    <a:pt x="609564" y="644873"/>
                  </a:lnTo>
                  <a:lnTo>
                    <a:pt x="603642" y="621208"/>
                  </a:lnTo>
                  <a:lnTo>
                    <a:pt x="604261" y="603002"/>
                  </a:lnTo>
                  <a:close/>
                </a:path>
                <a:path w="859154" h="880745">
                  <a:moveTo>
                    <a:pt x="743286" y="627305"/>
                  </a:moveTo>
                  <a:lnTo>
                    <a:pt x="727309" y="627529"/>
                  </a:lnTo>
                  <a:lnTo>
                    <a:pt x="711975" y="631666"/>
                  </a:lnTo>
                  <a:lnTo>
                    <a:pt x="697147" y="638363"/>
                  </a:lnTo>
                  <a:lnTo>
                    <a:pt x="668034" y="654252"/>
                  </a:lnTo>
                  <a:lnTo>
                    <a:pt x="653761" y="660380"/>
                  </a:lnTo>
                  <a:lnTo>
                    <a:pt x="639843" y="663033"/>
                  </a:lnTo>
                  <a:lnTo>
                    <a:pt x="679438" y="663033"/>
                  </a:lnTo>
                  <a:lnTo>
                    <a:pt x="700787" y="651348"/>
                  </a:lnTo>
                  <a:lnTo>
                    <a:pt x="712208" y="645790"/>
                  </a:lnTo>
                  <a:lnTo>
                    <a:pt x="723519" y="641793"/>
                  </a:lnTo>
                  <a:lnTo>
                    <a:pt x="734804" y="640059"/>
                  </a:lnTo>
                  <a:lnTo>
                    <a:pt x="748437" y="640059"/>
                  </a:lnTo>
                  <a:lnTo>
                    <a:pt x="748919" y="634959"/>
                  </a:lnTo>
                  <a:lnTo>
                    <a:pt x="750081" y="628206"/>
                  </a:lnTo>
                  <a:lnTo>
                    <a:pt x="743286" y="627305"/>
                  </a:lnTo>
                  <a:close/>
                </a:path>
                <a:path w="859154" h="880745">
                  <a:moveTo>
                    <a:pt x="297455" y="12978"/>
                  </a:moveTo>
                  <a:lnTo>
                    <a:pt x="258746" y="12978"/>
                  </a:lnTo>
                  <a:lnTo>
                    <a:pt x="266444" y="13478"/>
                  </a:lnTo>
                  <a:lnTo>
                    <a:pt x="273825" y="14983"/>
                  </a:lnTo>
                  <a:lnTo>
                    <a:pt x="280760" y="17502"/>
                  </a:lnTo>
                  <a:lnTo>
                    <a:pt x="287122" y="21041"/>
                  </a:lnTo>
                  <a:lnTo>
                    <a:pt x="298093" y="31121"/>
                  </a:lnTo>
                  <a:lnTo>
                    <a:pt x="306566" y="44954"/>
                  </a:lnTo>
                  <a:lnTo>
                    <a:pt x="306689" y="45155"/>
                  </a:lnTo>
                  <a:lnTo>
                    <a:pt x="313043" y="63430"/>
                  </a:lnTo>
                  <a:lnTo>
                    <a:pt x="317288" y="86232"/>
                  </a:lnTo>
                  <a:lnTo>
                    <a:pt x="320729" y="144918"/>
                  </a:lnTo>
                  <a:lnTo>
                    <a:pt x="316677" y="201668"/>
                  </a:lnTo>
                  <a:lnTo>
                    <a:pt x="306495" y="255887"/>
                  </a:lnTo>
                  <a:lnTo>
                    <a:pt x="291548" y="306977"/>
                  </a:lnTo>
                  <a:lnTo>
                    <a:pt x="273199" y="354343"/>
                  </a:lnTo>
                  <a:lnTo>
                    <a:pt x="252812" y="397390"/>
                  </a:lnTo>
                  <a:lnTo>
                    <a:pt x="231752" y="435520"/>
                  </a:lnTo>
                  <a:lnTo>
                    <a:pt x="204696" y="478454"/>
                  </a:lnTo>
                  <a:lnTo>
                    <a:pt x="175423" y="519908"/>
                  </a:lnTo>
                  <a:lnTo>
                    <a:pt x="144337" y="560062"/>
                  </a:lnTo>
                  <a:lnTo>
                    <a:pt x="111839" y="599096"/>
                  </a:lnTo>
                  <a:lnTo>
                    <a:pt x="128909" y="599096"/>
                  </a:lnTo>
                  <a:lnTo>
                    <a:pt x="181702" y="533559"/>
                  </a:lnTo>
                  <a:lnTo>
                    <a:pt x="213655" y="488780"/>
                  </a:lnTo>
                  <a:lnTo>
                    <a:pt x="243113" y="442232"/>
                  </a:lnTo>
                  <a:lnTo>
                    <a:pt x="261944" y="408429"/>
                  </a:lnTo>
                  <a:lnTo>
                    <a:pt x="280381" y="370703"/>
                  </a:lnTo>
                  <a:lnTo>
                    <a:pt x="297487" y="329458"/>
                  </a:lnTo>
                  <a:lnTo>
                    <a:pt x="312330" y="285096"/>
                  </a:lnTo>
                  <a:lnTo>
                    <a:pt x="323975" y="238020"/>
                  </a:lnTo>
                  <a:lnTo>
                    <a:pt x="331487" y="188635"/>
                  </a:lnTo>
                  <a:lnTo>
                    <a:pt x="333933" y="137343"/>
                  </a:lnTo>
                  <a:lnTo>
                    <a:pt x="330575" y="87489"/>
                  </a:lnTo>
                  <a:lnTo>
                    <a:pt x="330490" y="86232"/>
                  </a:lnTo>
                  <a:lnTo>
                    <a:pt x="330377" y="84547"/>
                  </a:lnTo>
                  <a:lnTo>
                    <a:pt x="327163" y="65637"/>
                  </a:lnTo>
                  <a:lnTo>
                    <a:pt x="327118" y="65373"/>
                  </a:lnTo>
                  <a:lnTo>
                    <a:pt x="321035" y="45155"/>
                  </a:lnTo>
                  <a:lnTo>
                    <a:pt x="320974" y="44954"/>
                  </a:lnTo>
                  <a:lnTo>
                    <a:pt x="310557" y="25716"/>
                  </a:lnTo>
                  <a:lnTo>
                    <a:pt x="297455" y="12978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664062" y="3258695"/>
            <a:ext cx="1617271" cy="325496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defTabSz="554492">
              <a:spcBef>
                <a:spcPts val="64"/>
              </a:spcBef>
            </a:pPr>
            <a:r>
              <a:rPr sz="2062" b="1" kern="0" spc="-6" dirty="0">
                <a:solidFill>
                  <a:srgbClr val="18418F"/>
                </a:solidFill>
                <a:latin typeface="Verdana"/>
                <a:cs typeface="Verdana"/>
              </a:rPr>
              <a:t>КОНТРАКТ</a:t>
            </a:r>
            <a:endParaRPr sz="206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1106788" y="2946294"/>
            <a:ext cx="2782862" cy="3445943"/>
            <a:chOff x="1824469" y="4858657"/>
            <a:chExt cx="4589145" cy="5682615"/>
          </a:xfrm>
        </p:grpSpPr>
        <p:pic>
          <p:nvPicPr>
            <p:cNvPr id="24" name="object 2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574937" y="4858657"/>
              <a:ext cx="1838347" cy="1513623"/>
            </a:xfrm>
            <a:prstGeom prst="rect">
              <a:avLst/>
            </a:prstGeom>
          </p:spPr>
        </p:pic>
        <p:sp>
          <p:nvSpPr>
            <p:cNvPr id="25" name="object 25"/>
            <p:cNvSpPr/>
            <p:nvPr/>
          </p:nvSpPr>
          <p:spPr>
            <a:xfrm>
              <a:off x="3036011" y="8464302"/>
              <a:ext cx="1207770" cy="361950"/>
            </a:xfrm>
            <a:custGeom>
              <a:avLst/>
              <a:gdLst/>
              <a:ahLst/>
              <a:cxnLst/>
              <a:rect l="l" t="t" r="r" b="b"/>
              <a:pathLst>
                <a:path w="1207770" h="361950">
                  <a:moveTo>
                    <a:pt x="1207541" y="57111"/>
                  </a:moveTo>
                  <a:lnTo>
                    <a:pt x="1206347" y="50088"/>
                  </a:lnTo>
                  <a:lnTo>
                    <a:pt x="1201953" y="44488"/>
                  </a:lnTo>
                  <a:lnTo>
                    <a:pt x="1194955" y="41656"/>
                  </a:lnTo>
                  <a:lnTo>
                    <a:pt x="854506" y="0"/>
                  </a:lnTo>
                  <a:lnTo>
                    <a:pt x="845756" y="1270"/>
                  </a:lnTo>
                  <a:lnTo>
                    <a:pt x="839228" y="6464"/>
                  </a:lnTo>
                  <a:lnTo>
                    <a:pt x="835990" y="14160"/>
                  </a:lnTo>
                  <a:lnTo>
                    <a:pt x="837120" y="22923"/>
                  </a:lnTo>
                  <a:lnTo>
                    <a:pt x="868387" y="69303"/>
                  </a:lnTo>
                  <a:lnTo>
                    <a:pt x="895604" y="115925"/>
                  </a:lnTo>
                  <a:lnTo>
                    <a:pt x="845908" y="135496"/>
                  </a:lnTo>
                  <a:lnTo>
                    <a:pt x="795553" y="151218"/>
                  </a:lnTo>
                  <a:lnTo>
                    <a:pt x="746785" y="163703"/>
                  </a:lnTo>
                  <a:lnTo>
                    <a:pt x="699452" y="173088"/>
                  </a:lnTo>
                  <a:lnTo>
                    <a:pt x="653389" y="179527"/>
                  </a:lnTo>
                  <a:lnTo>
                    <a:pt x="608418" y="183159"/>
                  </a:lnTo>
                  <a:lnTo>
                    <a:pt x="564362" y="184150"/>
                  </a:lnTo>
                  <a:lnTo>
                    <a:pt x="521055" y="182651"/>
                  </a:lnTo>
                  <a:lnTo>
                    <a:pt x="478320" y="178790"/>
                  </a:lnTo>
                  <a:lnTo>
                    <a:pt x="435991" y="172732"/>
                  </a:lnTo>
                  <a:lnTo>
                    <a:pt x="393903" y="164642"/>
                  </a:lnTo>
                  <a:lnTo>
                    <a:pt x="351878" y="154647"/>
                  </a:lnTo>
                  <a:lnTo>
                    <a:pt x="309740" y="142900"/>
                  </a:lnTo>
                  <a:lnTo>
                    <a:pt x="267335" y="129565"/>
                  </a:lnTo>
                  <a:lnTo>
                    <a:pt x="224472" y="114795"/>
                  </a:lnTo>
                  <a:lnTo>
                    <a:pt x="180987" y="98717"/>
                  </a:lnTo>
                  <a:lnTo>
                    <a:pt x="136715" y="81508"/>
                  </a:lnTo>
                  <a:lnTo>
                    <a:pt x="91465" y="63296"/>
                  </a:lnTo>
                  <a:lnTo>
                    <a:pt x="59817" y="58712"/>
                  </a:lnTo>
                  <a:lnTo>
                    <a:pt x="31102" y="68783"/>
                  </a:lnTo>
                  <a:lnTo>
                    <a:pt x="9880" y="90589"/>
                  </a:lnTo>
                  <a:lnTo>
                    <a:pt x="711" y="121234"/>
                  </a:lnTo>
                  <a:lnTo>
                    <a:pt x="0" y="136105"/>
                  </a:lnTo>
                  <a:lnTo>
                    <a:pt x="1803" y="154889"/>
                  </a:lnTo>
                  <a:lnTo>
                    <a:pt x="35344" y="197713"/>
                  </a:lnTo>
                  <a:lnTo>
                    <a:pt x="83032" y="221830"/>
                  </a:lnTo>
                  <a:lnTo>
                    <a:pt x="130276" y="243801"/>
                  </a:lnTo>
                  <a:lnTo>
                    <a:pt x="177126" y="263575"/>
                  </a:lnTo>
                  <a:lnTo>
                    <a:pt x="223647" y="281139"/>
                  </a:lnTo>
                  <a:lnTo>
                    <a:pt x="269887" y="296456"/>
                  </a:lnTo>
                  <a:lnTo>
                    <a:pt x="315912" y="309486"/>
                  </a:lnTo>
                  <a:lnTo>
                    <a:pt x="361784" y="320217"/>
                  </a:lnTo>
                  <a:lnTo>
                    <a:pt x="407555" y="328612"/>
                  </a:lnTo>
                  <a:lnTo>
                    <a:pt x="453288" y="334645"/>
                  </a:lnTo>
                  <a:lnTo>
                    <a:pt x="499021" y="338264"/>
                  </a:lnTo>
                  <a:lnTo>
                    <a:pt x="544842" y="339471"/>
                  </a:lnTo>
                  <a:lnTo>
                    <a:pt x="590778" y="338213"/>
                  </a:lnTo>
                  <a:lnTo>
                    <a:pt x="636905" y="334467"/>
                  </a:lnTo>
                  <a:lnTo>
                    <a:pt x="683272" y="328206"/>
                  </a:lnTo>
                  <a:lnTo>
                    <a:pt x="729957" y="319405"/>
                  </a:lnTo>
                  <a:lnTo>
                    <a:pt x="776986" y="308013"/>
                  </a:lnTo>
                  <a:lnTo>
                    <a:pt x="824433" y="294017"/>
                  </a:lnTo>
                  <a:lnTo>
                    <a:pt x="872363" y="277380"/>
                  </a:lnTo>
                  <a:lnTo>
                    <a:pt x="920826" y="258089"/>
                  </a:lnTo>
                  <a:lnTo>
                    <a:pt x="949896" y="245046"/>
                  </a:lnTo>
                  <a:lnTo>
                    <a:pt x="953960" y="257314"/>
                  </a:lnTo>
                  <a:lnTo>
                    <a:pt x="966000" y="304914"/>
                  </a:lnTo>
                  <a:lnTo>
                    <a:pt x="974509" y="352742"/>
                  </a:lnTo>
                  <a:lnTo>
                    <a:pt x="979309" y="358838"/>
                  </a:lnTo>
                  <a:lnTo>
                    <a:pt x="986142" y="361454"/>
                  </a:lnTo>
                  <a:lnTo>
                    <a:pt x="993394" y="360400"/>
                  </a:lnTo>
                  <a:lnTo>
                    <a:pt x="999413" y="355485"/>
                  </a:lnTo>
                  <a:lnTo>
                    <a:pt x="1204950" y="64198"/>
                  </a:lnTo>
                  <a:lnTo>
                    <a:pt x="1207541" y="57111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6" name="object 2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24469" y="5981577"/>
              <a:ext cx="4227297" cy="4559418"/>
            </a:xfrm>
            <a:prstGeom prst="rect">
              <a:avLst/>
            </a:prstGeom>
          </p:spPr>
        </p:pic>
      </p:grpSp>
      <p:sp>
        <p:nvSpPr>
          <p:cNvPr id="27" name="object 27"/>
          <p:cNvSpPr txBox="1">
            <a:spLocks noGrp="1"/>
          </p:cNvSpPr>
          <p:nvPr>
            <p:ph type="title"/>
          </p:nvPr>
        </p:nvSpPr>
        <p:spPr>
          <a:xfrm>
            <a:off x="383608" y="373746"/>
            <a:ext cx="6626879" cy="469373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dirty="0"/>
              <a:t>ВЫБОР</a:t>
            </a:r>
            <a:r>
              <a:rPr spc="-173" dirty="0"/>
              <a:t> </a:t>
            </a:r>
            <a:r>
              <a:rPr spc="-6" dirty="0" smtClean="0"/>
              <a:t>ПОСТАВЩИКА</a:t>
            </a:r>
            <a:endParaRPr sz="2638" dirty="0"/>
          </a:p>
        </p:txBody>
      </p:sp>
      <p:grpSp>
        <p:nvGrpSpPr>
          <p:cNvPr id="28" name="object 28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29" name="object 29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object 31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59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656086" y="1419397"/>
            <a:ext cx="1905685" cy="928391"/>
            <a:chOff x="1081228" y="2340690"/>
            <a:chExt cx="3142615" cy="1530985"/>
          </a:xfrm>
        </p:grpSpPr>
        <p:sp>
          <p:nvSpPr>
            <p:cNvPr id="3" name="object 3"/>
            <p:cNvSpPr/>
            <p:nvPr/>
          </p:nvSpPr>
          <p:spPr>
            <a:xfrm>
              <a:off x="1308726" y="2340690"/>
              <a:ext cx="2915285" cy="1530985"/>
            </a:xfrm>
            <a:custGeom>
              <a:avLst/>
              <a:gdLst/>
              <a:ahLst/>
              <a:cxnLst/>
              <a:rect l="l" t="t" r="r" b="b"/>
              <a:pathLst>
                <a:path w="2915285" h="1530985">
                  <a:moveTo>
                    <a:pt x="2599460" y="0"/>
                  </a:moveTo>
                  <a:lnTo>
                    <a:pt x="315466" y="0"/>
                  </a:lnTo>
                  <a:lnTo>
                    <a:pt x="268850" y="3420"/>
                  </a:lnTo>
                  <a:lnTo>
                    <a:pt x="224356" y="13356"/>
                  </a:lnTo>
                  <a:lnTo>
                    <a:pt x="182475" y="29320"/>
                  </a:lnTo>
                  <a:lnTo>
                    <a:pt x="143692" y="50824"/>
                  </a:lnTo>
                  <a:lnTo>
                    <a:pt x="108498" y="77379"/>
                  </a:lnTo>
                  <a:lnTo>
                    <a:pt x="77379" y="108498"/>
                  </a:lnTo>
                  <a:lnTo>
                    <a:pt x="50824" y="143692"/>
                  </a:lnTo>
                  <a:lnTo>
                    <a:pt x="29320" y="182475"/>
                  </a:lnTo>
                  <a:lnTo>
                    <a:pt x="13356" y="224356"/>
                  </a:lnTo>
                  <a:lnTo>
                    <a:pt x="3420" y="268850"/>
                  </a:lnTo>
                  <a:lnTo>
                    <a:pt x="0" y="315466"/>
                  </a:lnTo>
                  <a:lnTo>
                    <a:pt x="0" y="1214989"/>
                  </a:lnTo>
                  <a:lnTo>
                    <a:pt x="3420" y="1261606"/>
                  </a:lnTo>
                  <a:lnTo>
                    <a:pt x="13356" y="1306099"/>
                  </a:lnTo>
                  <a:lnTo>
                    <a:pt x="29320" y="1347980"/>
                  </a:lnTo>
                  <a:lnTo>
                    <a:pt x="50824" y="1386763"/>
                  </a:lnTo>
                  <a:lnTo>
                    <a:pt x="77379" y="1421957"/>
                  </a:lnTo>
                  <a:lnTo>
                    <a:pt x="108498" y="1453076"/>
                  </a:lnTo>
                  <a:lnTo>
                    <a:pt x="143692" y="1479631"/>
                  </a:lnTo>
                  <a:lnTo>
                    <a:pt x="182475" y="1501135"/>
                  </a:lnTo>
                  <a:lnTo>
                    <a:pt x="224356" y="1517099"/>
                  </a:lnTo>
                  <a:lnTo>
                    <a:pt x="268850" y="1527035"/>
                  </a:lnTo>
                  <a:lnTo>
                    <a:pt x="315466" y="1530456"/>
                  </a:lnTo>
                  <a:lnTo>
                    <a:pt x="2599460" y="1530456"/>
                  </a:lnTo>
                  <a:lnTo>
                    <a:pt x="2646076" y="1527035"/>
                  </a:lnTo>
                  <a:lnTo>
                    <a:pt x="2690570" y="1517099"/>
                  </a:lnTo>
                  <a:lnTo>
                    <a:pt x="2732451" y="1501135"/>
                  </a:lnTo>
                  <a:lnTo>
                    <a:pt x="2771234" y="1479631"/>
                  </a:lnTo>
                  <a:lnTo>
                    <a:pt x="2806428" y="1453076"/>
                  </a:lnTo>
                  <a:lnTo>
                    <a:pt x="2837547" y="1421957"/>
                  </a:lnTo>
                  <a:lnTo>
                    <a:pt x="2864102" y="1386763"/>
                  </a:lnTo>
                  <a:lnTo>
                    <a:pt x="2885606" y="1347980"/>
                  </a:lnTo>
                  <a:lnTo>
                    <a:pt x="2901570" y="1306099"/>
                  </a:lnTo>
                  <a:lnTo>
                    <a:pt x="2911506" y="1261606"/>
                  </a:lnTo>
                  <a:lnTo>
                    <a:pt x="2914926" y="1214989"/>
                  </a:lnTo>
                  <a:lnTo>
                    <a:pt x="2914926" y="315466"/>
                  </a:lnTo>
                  <a:lnTo>
                    <a:pt x="2911506" y="268850"/>
                  </a:lnTo>
                  <a:lnTo>
                    <a:pt x="2901570" y="224356"/>
                  </a:lnTo>
                  <a:lnTo>
                    <a:pt x="2885606" y="182475"/>
                  </a:lnTo>
                  <a:lnTo>
                    <a:pt x="2864102" y="143692"/>
                  </a:lnTo>
                  <a:lnTo>
                    <a:pt x="2837547" y="108498"/>
                  </a:lnTo>
                  <a:lnTo>
                    <a:pt x="2806428" y="77379"/>
                  </a:lnTo>
                  <a:lnTo>
                    <a:pt x="2771234" y="50824"/>
                  </a:lnTo>
                  <a:lnTo>
                    <a:pt x="2732451" y="29320"/>
                  </a:lnTo>
                  <a:lnTo>
                    <a:pt x="2690570" y="13356"/>
                  </a:lnTo>
                  <a:lnTo>
                    <a:pt x="2646076" y="3420"/>
                  </a:lnTo>
                  <a:lnTo>
                    <a:pt x="2599460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" name="object 4"/>
            <p:cNvSpPr/>
            <p:nvPr/>
          </p:nvSpPr>
          <p:spPr>
            <a:xfrm>
              <a:off x="1081228" y="2825998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907" y="0"/>
                  </a:moveTo>
                  <a:lnTo>
                    <a:pt x="234504" y="3663"/>
                  </a:lnTo>
                  <a:lnTo>
                    <a:pt x="191433" y="14270"/>
                  </a:lnTo>
                  <a:lnTo>
                    <a:pt x="151272" y="31244"/>
                  </a:lnTo>
                  <a:lnTo>
                    <a:pt x="114596" y="54008"/>
                  </a:lnTo>
                  <a:lnTo>
                    <a:pt x="81981" y="81987"/>
                  </a:lnTo>
                  <a:lnTo>
                    <a:pt x="54004" y="114603"/>
                  </a:lnTo>
                  <a:lnTo>
                    <a:pt x="31242" y="151280"/>
                  </a:lnTo>
                  <a:lnTo>
                    <a:pt x="14269" y="191443"/>
                  </a:lnTo>
                  <a:lnTo>
                    <a:pt x="3663" y="234514"/>
                  </a:lnTo>
                  <a:lnTo>
                    <a:pt x="0" y="279918"/>
                  </a:lnTo>
                  <a:lnTo>
                    <a:pt x="3663" y="325321"/>
                  </a:lnTo>
                  <a:lnTo>
                    <a:pt x="14269" y="368393"/>
                  </a:lnTo>
                  <a:lnTo>
                    <a:pt x="31242" y="408555"/>
                  </a:lnTo>
                  <a:lnTo>
                    <a:pt x="54004" y="445233"/>
                  </a:lnTo>
                  <a:lnTo>
                    <a:pt x="81981" y="477849"/>
                  </a:lnTo>
                  <a:lnTo>
                    <a:pt x="114596" y="505827"/>
                  </a:lnTo>
                  <a:lnTo>
                    <a:pt x="151272" y="528591"/>
                  </a:lnTo>
                  <a:lnTo>
                    <a:pt x="191433" y="545565"/>
                  </a:lnTo>
                  <a:lnTo>
                    <a:pt x="234504" y="556172"/>
                  </a:lnTo>
                  <a:lnTo>
                    <a:pt x="279907" y="559836"/>
                  </a:lnTo>
                  <a:lnTo>
                    <a:pt x="325311" y="556172"/>
                  </a:lnTo>
                  <a:lnTo>
                    <a:pt x="368382" y="545565"/>
                  </a:lnTo>
                  <a:lnTo>
                    <a:pt x="408545" y="528591"/>
                  </a:lnTo>
                  <a:lnTo>
                    <a:pt x="445222" y="505827"/>
                  </a:lnTo>
                  <a:lnTo>
                    <a:pt x="477838" y="477849"/>
                  </a:lnTo>
                  <a:lnTo>
                    <a:pt x="505817" y="445233"/>
                  </a:lnTo>
                  <a:lnTo>
                    <a:pt x="528581" y="408555"/>
                  </a:lnTo>
                  <a:lnTo>
                    <a:pt x="545555" y="368393"/>
                  </a:lnTo>
                  <a:lnTo>
                    <a:pt x="556162" y="325321"/>
                  </a:lnTo>
                  <a:lnTo>
                    <a:pt x="559825" y="279918"/>
                  </a:lnTo>
                  <a:lnTo>
                    <a:pt x="556162" y="234514"/>
                  </a:lnTo>
                  <a:lnTo>
                    <a:pt x="545555" y="191443"/>
                  </a:lnTo>
                  <a:lnTo>
                    <a:pt x="528581" y="151280"/>
                  </a:lnTo>
                  <a:lnTo>
                    <a:pt x="505817" y="114603"/>
                  </a:lnTo>
                  <a:lnTo>
                    <a:pt x="477838" y="81987"/>
                  </a:lnTo>
                  <a:lnTo>
                    <a:pt x="445222" y="54008"/>
                  </a:lnTo>
                  <a:lnTo>
                    <a:pt x="408545" y="31244"/>
                  </a:lnTo>
                  <a:lnTo>
                    <a:pt x="368382" y="14270"/>
                  </a:lnTo>
                  <a:lnTo>
                    <a:pt x="325311" y="3663"/>
                  </a:lnTo>
                  <a:lnTo>
                    <a:pt x="279907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740047" y="1742560"/>
            <a:ext cx="164423" cy="26126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637" b="1" kern="0" spc="-30" dirty="0">
                <a:solidFill>
                  <a:srgbClr val="FFFFFF"/>
                </a:solidFill>
                <a:latin typeface="Verdana"/>
                <a:cs typeface="Verdana"/>
              </a:rPr>
              <a:t>6</a:t>
            </a:r>
            <a:endParaRPr sz="1637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08369" y="1488676"/>
            <a:ext cx="1346956" cy="740998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marR="3081" defTabSz="554492">
              <a:lnSpc>
                <a:spcPct val="99900"/>
              </a:lnSpc>
              <a:spcBef>
                <a:spcPts val="67"/>
              </a:spcBef>
            </a:pPr>
            <a:r>
              <a:rPr sz="1243" b="1" kern="0" spc="-6" dirty="0">
                <a:solidFill>
                  <a:srgbClr val="FFFFFF"/>
                </a:solidFill>
                <a:latin typeface="Verdana"/>
                <a:cs typeface="Verdana"/>
              </a:rPr>
              <a:t>Анализ коммерческих предложений </a:t>
            </a:r>
            <a:r>
              <a:rPr sz="1031" b="1" kern="0" dirty="0">
                <a:solidFill>
                  <a:srgbClr val="FFFFFF"/>
                </a:solidFill>
                <a:latin typeface="Verdana"/>
                <a:cs typeface="Verdana"/>
              </a:rPr>
              <a:t>Запрос</a:t>
            </a:r>
            <a:r>
              <a:rPr sz="1031" b="1" kern="0" spc="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31" b="1" kern="0" spc="-6" dirty="0">
                <a:solidFill>
                  <a:srgbClr val="FFFFFF"/>
                </a:solidFill>
                <a:latin typeface="Verdana"/>
                <a:cs typeface="Verdana"/>
              </a:rPr>
              <a:t>образцов</a:t>
            </a:r>
            <a:endParaRPr sz="1031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789346" y="1377552"/>
            <a:ext cx="8551514" cy="94431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defTabSz="554492">
              <a:lnSpc>
                <a:spcPts val="1816"/>
              </a:lnSpc>
              <a:spcBef>
                <a:spcPts val="64"/>
              </a:spcBef>
            </a:pP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Организатор</a:t>
            </a:r>
            <a:r>
              <a:rPr sz="1546" b="1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b="1" kern="0" spc="-6" dirty="0">
                <a:solidFill>
                  <a:srgbClr val="003B95"/>
                </a:solidFill>
                <a:latin typeface="Verdana"/>
                <a:cs typeface="Verdana"/>
              </a:rPr>
              <a:t>тендера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7468" marR="3081" indent="-130151" defTabSz="554492">
              <a:lnSpc>
                <a:spcPts val="1383"/>
              </a:lnSpc>
              <a:spcBef>
                <a:spcPts val="6"/>
              </a:spcBef>
              <a:buFontTx/>
              <a:buChar char="•"/>
              <a:tabLst>
                <a:tab pos="161727" algn="l"/>
              </a:tabLst>
            </a:pPr>
            <a:r>
              <a:rPr sz="1152" kern="0" spc="-6" dirty="0">
                <a:solidFill>
                  <a:srgbClr val="003B95"/>
                </a:solidFill>
                <a:latin typeface="Verdana"/>
                <a:cs typeface="Verdana"/>
              </a:rPr>
              <a:t>запрашивает</a:t>
            </a:r>
            <a:r>
              <a:rPr sz="1152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152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003B95"/>
                </a:solidFill>
                <a:latin typeface="Verdana"/>
                <a:cs typeface="Verdana"/>
              </a:rPr>
              <a:t>анализирует</a:t>
            </a:r>
            <a:r>
              <a:rPr sz="1152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состав</a:t>
            </a:r>
            <a:r>
              <a:rPr sz="1152" kern="0" spc="-2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продукта,</a:t>
            </a:r>
            <a:r>
              <a:rPr sz="1152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вид</a:t>
            </a:r>
            <a:r>
              <a:rPr sz="1152" kern="0" spc="-2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152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размер</a:t>
            </a:r>
            <a:r>
              <a:rPr sz="1152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упаковки</a:t>
            </a:r>
            <a:r>
              <a:rPr sz="1152" kern="0" spc="-2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при</a:t>
            </a:r>
            <a:r>
              <a:rPr sz="1152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необходимости,</a:t>
            </a:r>
            <a:r>
              <a:rPr sz="1152" kern="0" spc="-2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а</a:t>
            </a:r>
            <a:r>
              <a:rPr sz="1152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также</a:t>
            </a:r>
            <a:r>
              <a:rPr sz="1152" kern="0" spc="-2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003B95"/>
                </a:solidFill>
                <a:latin typeface="Verdana"/>
                <a:cs typeface="Verdana"/>
              </a:rPr>
              <a:t>документы 	подтверждающие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состав</a:t>
            </a:r>
            <a:r>
              <a:rPr sz="1152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152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соответствие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152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требованиям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(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лабораторные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003B95"/>
                </a:solidFill>
                <a:latin typeface="Verdana"/>
                <a:cs typeface="Verdana"/>
              </a:rPr>
              <a:t>исследования).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7852" indent="-130151" defTabSz="554492">
              <a:lnSpc>
                <a:spcPts val="1331"/>
              </a:lnSpc>
              <a:buFontTx/>
              <a:buChar char="•"/>
              <a:tabLst>
                <a:tab pos="137852" algn="l"/>
              </a:tabLst>
            </a:pP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при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оценке</a:t>
            </a:r>
            <a:r>
              <a:rPr sz="1152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ценовых</a:t>
            </a:r>
            <a:r>
              <a:rPr sz="1152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003B95"/>
                </a:solidFill>
                <a:latin typeface="Verdana"/>
                <a:cs typeface="Verdana"/>
              </a:rPr>
              <a:t>предложений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учитывается</a:t>
            </a:r>
            <a:r>
              <a:rPr sz="1152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НДС,</a:t>
            </a:r>
            <a:r>
              <a:rPr sz="1152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затраты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1152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доставку</a:t>
            </a:r>
            <a:r>
              <a:rPr sz="1152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с</a:t>
            </a:r>
            <a:r>
              <a:rPr sz="1152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РЦ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до</a:t>
            </a:r>
            <a:r>
              <a:rPr sz="1152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торговых</a:t>
            </a:r>
            <a:r>
              <a:rPr sz="1152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003B95"/>
                </a:solidFill>
                <a:latin typeface="Verdana"/>
                <a:cs typeface="Verdana"/>
              </a:rPr>
              <a:t>точек.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7852" indent="-130151" defTabSz="554492">
              <a:lnSpc>
                <a:spcPts val="1383"/>
              </a:lnSpc>
              <a:buFontTx/>
              <a:buChar char="•"/>
              <a:tabLst>
                <a:tab pos="137852" algn="l"/>
              </a:tabLst>
            </a:pPr>
            <a:r>
              <a:rPr sz="1152" kern="0" spc="-6" dirty="0">
                <a:solidFill>
                  <a:srgbClr val="003B95"/>
                </a:solidFill>
                <a:latin typeface="Verdana"/>
                <a:cs typeface="Verdana"/>
              </a:rPr>
              <a:t>запрашивает</a:t>
            </a:r>
            <a:r>
              <a:rPr sz="1152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образцы</a:t>
            </a:r>
            <a:r>
              <a:rPr sz="1152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товаров,</a:t>
            </a:r>
            <a:r>
              <a:rPr sz="1152" kern="0" spc="-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003B95"/>
                </a:solidFill>
                <a:latin typeface="Verdana"/>
                <a:cs typeface="Verdana"/>
              </a:rPr>
              <a:t>соответствующих</a:t>
            </a:r>
            <a:r>
              <a:rPr sz="1152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лучшим</a:t>
            </a:r>
            <a:r>
              <a:rPr sz="1152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ценовым</a:t>
            </a:r>
            <a:r>
              <a:rPr sz="1152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003B95"/>
                </a:solidFill>
                <a:latin typeface="Verdana"/>
                <a:cs typeface="Verdana"/>
              </a:rPr>
              <a:t>предложениям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656085" y="2702817"/>
            <a:ext cx="1899909" cy="928391"/>
            <a:chOff x="1081228" y="4457146"/>
            <a:chExt cx="3133090" cy="1530985"/>
          </a:xfrm>
        </p:grpSpPr>
        <p:sp>
          <p:nvSpPr>
            <p:cNvPr id="9" name="object 9"/>
            <p:cNvSpPr/>
            <p:nvPr/>
          </p:nvSpPr>
          <p:spPr>
            <a:xfrm>
              <a:off x="1298920" y="4457146"/>
              <a:ext cx="2915285" cy="1530985"/>
            </a:xfrm>
            <a:custGeom>
              <a:avLst/>
              <a:gdLst/>
              <a:ahLst/>
              <a:cxnLst/>
              <a:rect l="l" t="t" r="r" b="b"/>
              <a:pathLst>
                <a:path w="2915285" h="1530985">
                  <a:moveTo>
                    <a:pt x="2599460" y="0"/>
                  </a:moveTo>
                  <a:lnTo>
                    <a:pt x="315466" y="0"/>
                  </a:lnTo>
                  <a:lnTo>
                    <a:pt x="268850" y="3420"/>
                  </a:lnTo>
                  <a:lnTo>
                    <a:pt x="224356" y="13356"/>
                  </a:lnTo>
                  <a:lnTo>
                    <a:pt x="182475" y="29320"/>
                  </a:lnTo>
                  <a:lnTo>
                    <a:pt x="143692" y="50824"/>
                  </a:lnTo>
                  <a:lnTo>
                    <a:pt x="108498" y="77379"/>
                  </a:lnTo>
                  <a:lnTo>
                    <a:pt x="77379" y="108498"/>
                  </a:lnTo>
                  <a:lnTo>
                    <a:pt x="50824" y="143692"/>
                  </a:lnTo>
                  <a:lnTo>
                    <a:pt x="29320" y="182475"/>
                  </a:lnTo>
                  <a:lnTo>
                    <a:pt x="13356" y="224356"/>
                  </a:lnTo>
                  <a:lnTo>
                    <a:pt x="3420" y="268850"/>
                  </a:lnTo>
                  <a:lnTo>
                    <a:pt x="0" y="315466"/>
                  </a:lnTo>
                  <a:lnTo>
                    <a:pt x="0" y="1214989"/>
                  </a:lnTo>
                  <a:lnTo>
                    <a:pt x="3420" y="1261606"/>
                  </a:lnTo>
                  <a:lnTo>
                    <a:pt x="13356" y="1306099"/>
                  </a:lnTo>
                  <a:lnTo>
                    <a:pt x="29320" y="1347980"/>
                  </a:lnTo>
                  <a:lnTo>
                    <a:pt x="50824" y="1386763"/>
                  </a:lnTo>
                  <a:lnTo>
                    <a:pt x="77379" y="1421957"/>
                  </a:lnTo>
                  <a:lnTo>
                    <a:pt x="108498" y="1453076"/>
                  </a:lnTo>
                  <a:lnTo>
                    <a:pt x="143692" y="1479631"/>
                  </a:lnTo>
                  <a:lnTo>
                    <a:pt x="182475" y="1501135"/>
                  </a:lnTo>
                  <a:lnTo>
                    <a:pt x="224356" y="1517099"/>
                  </a:lnTo>
                  <a:lnTo>
                    <a:pt x="268850" y="1527035"/>
                  </a:lnTo>
                  <a:lnTo>
                    <a:pt x="315466" y="1530456"/>
                  </a:lnTo>
                  <a:lnTo>
                    <a:pt x="2599460" y="1530456"/>
                  </a:lnTo>
                  <a:lnTo>
                    <a:pt x="2646076" y="1527035"/>
                  </a:lnTo>
                  <a:lnTo>
                    <a:pt x="2690570" y="1517099"/>
                  </a:lnTo>
                  <a:lnTo>
                    <a:pt x="2732451" y="1501135"/>
                  </a:lnTo>
                  <a:lnTo>
                    <a:pt x="2771234" y="1479631"/>
                  </a:lnTo>
                  <a:lnTo>
                    <a:pt x="2806428" y="1453076"/>
                  </a:lnTo>
                  <a:lnTo>
                    <a:pt x="2837547" y="1421957"/>
                  </a:lnTo>
                  <a:lnTo>
                    <a:pt x="2864102" y="1386763"/>
                  </a:lnTo>
                  <a:lnTo>
                    <a:pt x="2885606" y="1347980"/>
                  </a:lnTo>
                  <a:lnTo>
                    <a:pt x="2901570" y="1306099"/>
                  </a:lnTo>
                  <a:lnTo>
                    <a:pt x="2911506" y="1261606"/>
                  </a:lnTo>
                  <a:lnTo>
                    <a:pt x="2914926" y="1214989"/>
                  </a:lnTo>
                  <a:lnTo>
                    <a:pt x="2914926" y="315466"/>
                  </a:lnTo>
                  <a:lnTo>
                    <a:pt x="2911506" y="268850"/>
                  </a:lnTo>
                  <a:lnTo>
                    <a:pt x="2901570" y="224356"/>
                  </a:lnTo>
                  <a:lnTo>
                    <a:pt x="2885606" y="182475"/>
                  </a:lnTo>
                  <a:lnTo>
                    <a:pt x="2864102" y="143692"/>
                  </a:lnTo>
                  <a:lnTo>
                    <a:pt x="2837547" y="108498"/>
                  </a:lnTo>
                  <a:lnTo>
                    <a:pt x="2806428" y="77379"/>
                  </a:lnTo>
                  <a:lnTo>
                    <a:pt x="2771234" y="50824"/>
                  </a:lnTo>
                  <a:lnTo>
                    <a:pt x="2732451" y="29320"/>
                  </a:lnTo>
                  <a:lnTo>
                    <a:pt x="2690570" y="13356"/>
                  </a:lnTo>
                  <a:lnTo>
                    <a:pt x="2646076" y="3420"/>
                  </a:lnTo>
                  <a:lnTo>
                    <a:pt x="2599460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081228" y="4942454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907" y="0"/>
                  </a:moveTo>
                  <a:lnTo>
                    <a:pt x="234504" y="3663"/>
                  </a:lnTo>
                  <a:lnTo>
                    <a:pt x="191433" y="14270"/>
                  </a:lnTo>
                  <a:lnTo>
                    <a:pt x="151272" y="31244"/>
                  </a:lnTo>
                  <a:lnTo>
                    <a:pt x="114596" y="54008"/>
                  </a:lnTo>
                  <a:lnTo>
                    <a:pt x="81981" y="81987"/>
                  </a:lnTo>
                  <a:lnTo>
                    <a:pt x="54004" y="114603"/>
                  </a:lnTo>
                  <a:lnTo>
                    <a:pt x="31242" y="151280"/>
                  </a:lnTo>
                  <a:lnTo>
                    <a:pt x="14269" y="191443"/>
                  </a:lnTo>
                  <a:lnTo>
                    <a:pt x="3663" y="234514"/>
                  </a:lnTo>
                  <a:lnTo>
                    <a:pt x="0" y="279918"/>
                  </a:lnTo>
                  <a:lnTo>
                    <a:pt x="3663" y="325321"/>
                  </a:lnTo>
                  <a:lnTo>
                    <a:pt x="14269" y="368393"/>
                  </a:lnTo>
                  <a:lnTo>
                    <a:pt x="31242" y="408555"/>
                  </a:lnTo>
                  <a:lnTo>
                    <a:pt x="54004" y="445233"/>
                  </a:lnTo>
                  <a:lnTo>
                    <a:pt x="81981" y="477849"/>
                  </a:lnTo>
                  <a:lnTo>
                    <a:pt x="114596" y="505827"/>
                  </a:lnTo>
                  <a:lnTo>
                    <a:pt x="151272" y="528591"/>
                  </a:lnTo>
                  <a:lnTo>
                    <a:pt x="191433" y="545565"/>
                  </a:lnTo>
                  <a:lnTo>
                    <a:pt x="234504" y="556172"/>
                  </a:lnTo>
                  <a:lnTo>
                    <a:pt x="279907" y="559836"/>
                  </a:lnTo>
                  <a:lnTo>
                    <a:pt x="325311" y="556172"/>
                  </a:lnTo>
                  <a:lnTo>
                    <a:pt x="368382" y="545565"/>
                  </a:lnTo>
                  <a:lnTo>
                    <a:pt x="408545" y="528591"/>
                  </a:lnTo>
                  <a:lnTo>
                    <a:pt x="445222" y="505827"/>
                  </a:lnTo>
                  <a:lnTo>
                    <a:pt x="477838" y="477849"/>
                  </a:lnTo>
                  <a:lnTo>
                    <a:pt x="505817" y="445233"/>
                  </a:lnTo>
                  <a:lnTo>
                    <a:pt x="528581" y="408555"/>
                  </a:lnTo>
                  <a:lnTo>
                    <a:pt x="545555" y="368393"/>
                  </a:lnTo>
                  <a:lnTo>
                    <a:pt x="556162" y="325321"/>
                  </a:lnTo>
                  <a:lnTo>
                    <a:pt x="559825" y="279918"/>
                  </a:lnTo>
                  <a:lnTo>
                    <a:pt x="556162" y="234514"/>
                  </a:lnTo>
                  <a:lnTo>
                    <a:pt x="545555" y="191443"/>
                  </a:lnTo>
                  <a:lnTo>
                    <a:pt x="528581" y="151280"/>
                  </a:lnTo>
                  <a:lnTo>
                    <a:pt x="505817" y="114603"/>
                  </a:lnTo>
                  <a:lnTo>
                    <a:pt x="477838" y="81987"/>
                  </a:lnTo>
                  <a:lnTo>
                    <a:pt x="445222" y="54008"/>
                  </a:lnTo>
                  <a:lnTo>
                    <a:pt x="408545" y="31244"/>
                  </a:lnTo>
                  <a:lnTo>
                    <a:pt x="368382" y="14270"/>
                  </a:lnTo>
                  <a:lnTo>
                    <a:pt x="325311" y="3663"/>
                  </a:lnTo>
                  <a:lnTo>
                    <a:pt x="279907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740048" y="3025985"/>
            <a:ext cx="164423" cy="26126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637" b="1" kern="0" spc="-30" dirty="0">
                <a:solidFill>
                  <a:srgbClr val="FFFFFF"/>
                </a:solidFill>
                <a:latin typeface="Verdana"/>
                <a:cs typeface="Verdana"/>
              </a:rPr>
              <a:t>7</a:t>
            </a:r>
            <a:endParaRPr sz="1637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97183" y="2761104"/>
            <a:ext cx="1404330" cy="79414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287643" defTabSz="554492">
              <a:lnSpc>
                <a:spcPct val="100499"/>
              </a:lnSpc>
              <a:spcBef>
                <a:spcPts val="58"/>
              </a:spcBef>
            </a:pPr>
            <a:r>
              <a:rPr sz="1243" b="1" kern="0" spc="-6" dirty="0">
                <a:solidFill>
                  <a:srgbClr val="FFFFFF"/>
                </a:solidFill>
                <a:latin typeface="Verdana"/>
                <a:cs typeface="Verdana"/>
              </a:rPr>
              <a:t>Проверка поставщика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1007"/>
              </a:lnSpc>
            </a:pPr>
            <a:r>
              <a:rPr sz="879" kern="0" dirty="0">
                <a:solidFill>
                  <a:srgbClr val="FFFFFF"/>
                </a:solidFill>
                <a:latin typeface="Verdana"/>
                <a:cs typeface="Verdana"/>
              </a:rPr>
              <a:t>службой</a:t>
            </a:r>
            <a:r>
              <a:rPr sz="879" kern="0" spc="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879" kern="0" spc="-6" dirty="0">
                <a:solidFill>
                  <a:srgbClr val="FFFFFF"/>
                </a:solidFill>
                <a:latin typeface="Verdana"/>
                <a:cs typeface="Verdana"/>
              </a:rPr>
              <a:t>безопасности,</a:t>
            </a:r>
            <a:endParaRPr sz="879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5776" defTabSz="554492">
              <a:lnSpc>
                <a:spcPct val="102299"/>
              </a:lnSpc>
              <a:spcBef>
                <a:spcPts val="3"/>
              </a:spcBef>
            </a:pPr>
            <a:r>
              <a:rPr sz="879" kern="0" dirty="0">
                <a:solidFill>
                  <a:srgbClr val="FFFFFF"/>
                </a:solidFill>
                <a:latin typeface="Verdana"/>
                <a:cs typeface="Verdana"/>
              </a:rPr>
              <a:t>возможности</a:t>
            </a:r>
            <a:r>
              <a:rPr sz="879" kern="0" spc="9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879" kern="0" spc="-6" dirty="0">
                <a:solidFill>
                  <a:srgbClr val="FFFFFF"/>
                </a:solidFill>
                <a:latin typeface="Verdana"/>
                <a:cs typeface="Verdana"/>
              </a:rPr>
              <a:t>поставок, </a:t>
            </a:r>
            <a:r>
              <a:rPr sz="879" kern="0" dirty="0">
                <a:solidFill>
                  <a:srgbClr val="FFFFFF"/>
                </a:solidFill>
                <a:latin typeface="Verdana"/>
                <a:cs typeface="Verdana"/>
              </a:rPr>
              <a:t>наличие</a:t>
            </a:r>
            <a:r>
              <a:rPr sz="879" kern="0" spc="8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879" kern="0" spc="-6" dirty="0">
                <a:solidFill>
                  <a:srgbClr val="FFFFFF"/>
                </a:solidFill>
                <a:latin typeface="Verdana"/>
                <a:cs typeface="Verdana"/>
              </a:rPr>
              <a:t>договора</a:t>
            </a:r>
            <a:endParaRPr sz="879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783393" y="2673273"/>
            <a:ext cx="8621981" cy="800048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defTabSz="554492">
              <a:spcBef>
                <a:spcPts val="64"/>
              </a:spcBef>
            </a:pP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Проверка </a:t>
            </a:r>
            <a:r>
              <a:rPr sz="1546" b="1" kern="0" spc="-6" dirty="0">
                <a:solidFill>
                  <a:srgbClr val="003B95"/>
                </a:solidFill>
                <a:latin typeface="Verdana"/>
                <a:cs typeface="Verdana"/>
              </a:rPr>
              <a:t>поставщика: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83676" marR="3081" indent="-176359" defTabSz="554492">
              <a:spcBef>
                <a:spcPts val="3"/>
              </a:spcBef>
              <a:buFontTx/>
              <a:buChar char="•"/>
              <a:tabLst>
                <a:tab pos="215251" algn="l"/>
              </a:tabLst>
            </a:pPr>
            <a:r>
              <a:rPr sz="1200" kern="0" dirty="0">
                <a:solidFill>
                  <a:srgbClr val="003B95"/>
                </a:solidFill>
                <a:latin typeface="Verdana"/>
                <a:cs typeface="Verdana"/>
              </a:rPr>
              <a:t>проверка</a:t>
            </a:r>
            <a:r>
              <a:rPr sz="12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dirty="0">
                <a:solidFill>
                  <a:srgbClr val="003B95"/>
                </a:solidFill>
                <a:latin typeface="Verdana"/>
                <a:cs typeface="Verdana"/>
              </a:rPr>
              <a:t>рисков</a:t>
            </a:r>
            <a:r>
              <a:rPr sz="12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spc="-6" dirty="0">
                <a:solidFill>
                  <a:srgbClr val="003B95"/>
                </a:solidFill>
                <a:latin typeface="Verdana"/>
                <a:cs typeface="Verdana"/>
              </a:rPr>
              <a:t>финансово-</a:t>
            </a:r>
            <a:r>
              <a:rPr sz="1200" kern="0" dirty="0">
                <a:solidFill>
                  <a:srgbClr val="003B95"/>
                </a:solidFill>
                <a:latin typeface="Verdana"/>
                <a:cs typeface="Verdana"/>
              </a:rPr>
              <a:t>хозяйственной</a:t>
            </a:r>
            <a:r>
              <a:rPr sz="1200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dirty="0">
                <a:solidFill>
                  <a:srgbClr val="003B95"/>
                </a:solidFill>
                <a:latin typeface="Verdana"/>
                <a:cs typeface="Verdana"/>
              </a:rPr>
              <a:t>деятельности</a:t>
            </a:r>
            <a:r>
              <a:rPr sz="12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200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dirty="0">
                <a:solidFill>
                  <a:srgbClr val="003B95"/>
                </a:solidFill>
                <a:latin typeface="Verdana"/>
                <a:cs typeface="Verdana"/>
              </a:rPr>
              <a:t>отношении</a:t>
            </a:r>
            <a:r>
              <a:rPr sz="12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spc="-6" dirty="0" err="1">
                <a:solidFill>
                  <a:srgbClr val="003B95"/>
                </a:solidFill>
                <a:latin typeface="Verdana"/>
                <a:cs typeface="Verdana"/>
              </a:rPr>
              <a:t>компании</a:t>
            </a:r>
            <a:r>
              <a:rPr sz="1200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dirty="0" smtClean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200" kern="0" spc="-15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dirty="0" err="1">
                <a:solidFill>
                  <a:srgbClr val="003B95"/>
                </a:solidFill>
                <a:latin typeface="Verdana"/>
                <a:cs typeface="Verdana"/>
              </a:rPr>
              <a:t>ее</a:t>
            </a:r>
            <a:r>
              <a:rPr sz="1200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dirty="0" err="1" smtClean="0">
                <a:solidFill>
                  <a:srgbClr val="003B95"/>
                </a:solidFill>
                <a:latin typeface="Verdana"/>
                <a:cs typeface="Verdana"/>
              </a:rPr>
              <a:t>руководителей</a:t>
            </a:r>
            <a:r>
              <a:rPr lang="ru-RU" sz="1200" kern="0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</a:p>
          <a:p>
            <a:pPr marL="7317" marR="3081" defTabSz="554492">
              <a:spcBef>
                <a:spcPts val="3"/>
              </a:spcBef>
              <a:tabLst>
                <a:tab pos="215251" algn="l"/>
              </a:tabLst>
            </a:pPr>
            <a:r>
              <a:rPr sz="1200" kern="0" dirty="0" smtClean="0">
                <a:solidFill>
                  <a:srgbClr val="003B95"/>
                </a:solidFill>
                <a:latin typeface="Verdana"/>
                <a:cs typeface="Verdana"/>
              </a:rPr>
              <a:t>(</a:t>
            </a:r>
            <a:r>
              <a:rPr sz="1200" kern="0" dirty="0" err="1" smtClean="0">
                <a:solidFill>
                  <a:srgbClr val="003B95"/>
                </a:solidFill>
                <a:latin typeface="Verdana"/>
                <a:cs typeface="Verdana"/>
              </a:rPr>
              <a:t>риски</a:t>
            </a:r>
            <a:r>
              <a:rPr sz="1200" kern="0" spc="-9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dirty="0">
                <a:solidFill>
                  <a:srgbClr val="003B95"/>
                </a:solidFill>
                <a:latin typeface="Verdana"/>
                <a:cs typeface="Verdana"/>
              </a:rPr>
              <a:t>закрытия</a:t>
            </a:r>
            <a:r>
              <a:rPr sz="12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dirty="0">
                <a:solidFill>
                  <a:srgbClr val="003B95"/>
                </a:solidFill>
                <a:latin typeface="Verdana"/>
                <a:cs typeface="Verdana"/>
              </a:rPr>
              <a:t>компании,</a:t>
            </a:r>
            <a:r>
              <a:rPr sz="1200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dirty="0">
                <a:solidFill>
                  <a:srgbClr val="003B95"/>
                </a:solidFill>
                <a:latin typeface="Verdana"/>
                <a:cs typeface="Verdana"/>
              </a:rPr>
              <a:t>приостановке</a:t>
            </a:r>
            <a:r>
              <a:rPr sz="12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spc="-6" dirty="0">
                <a:solidFill>
                  <a:srgbClr val="003B95"/>
                </a:solidFill>
                <a:latin typeface="Verdana"/>
                <a:cs typeface="Verdana"/>
              </a:rPr>
              <a:t>деятельности)</a:t>
            </a:r>
            <a:endParaRPr sz="1200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84061" indent="-176359" defTabSz="554492">
              <a:spcBef>
                <a:spcPts val="9"/>
              </a:spcBef>
              <a:buFontTx/>
              <a:buChar char="•"/>
              <a:tabLst>
                <a:tab pos="184061" algn="l"/>
              </a:tabLst>
            </a:pPr>
            <a:r>
              <a:rPr sz="1200" kern="0" dirty="0">
                <a:solidFill>
                  <a:srgbClr val="003B95"/>
                </a:solidFill>
                <a:latin typeface="Verdana"/>
                <a:cs typeface="Verdana"/>
              </a:rPr>
              <a:t>Проверка</a:t>
            </a:r>
            <a:r>
              <a:rPr sz="1200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dirty="0">
                <a:solidFill>
                  <a:srgbClr val="003B95"/>
                </a:solidFill>
                <a:latin typeface="Verdana"/>
                <a:cs typeface="Verdana"/>
              </a:rPr>
              <a:t>возможности</a:t>
            </a:r>
            <a:r>
              <a:rPr sz="1200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00" kern="0" spc="-6" dirty="0">
                <a:solidFill>
                  <a:srgbClr val="003B95"/>
                </a:solidFill>
                <a:latin typeface="Verdana"/>
                <a:cs typeface="Verdana"/>
              </a:rPr>
              <a:t>поставок</a:t>
            </a:r>
            <a:endParaRPr sz="1200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656086" y="5269661"/>
            <a:ext cx="1923398" cy="928391"/>
            <a:chOff x="1081228" y="8690061"/>
            <a:chExt cx="3171825" cy="1530985"/>
          </a:xfrm>
        </p:grpSpPr>
        <p:sp>
          <p:nvSpPr>
            <p:cNvPr id="15" name="object 15"/>
            <p:cNvSpPr/>
            <p:nvPr/>
          </p:nvSpPr>
          <p:spPr>
            <a:xfrm>
              <a:off x="1337734" y="8690061"/>
              <a:ext cx="2915285" cy="1530985"/>
            </a:xfrm>
            <a:custGeom>
              <a:avLst/>
              <a:gdLst/>
              <a:ahLst/>
              <a:cxnLst/>
              <a:rect l="l" t="t" r="r" b="b"/>
              <a:pathLst>
                <a:path w="2915285" h="1530984">
                  <a:moveTo>
                    <a:pt x="2599460" y="0"/>
                  </a:moveTo>
                  <a:lnTo>
                    <a:pt x="315466" y="0"/>
                  </a:lnTo>
                  <a:lnTo>
                    <a:pt x="268850" y="3420"/>
                  </a:lnTo>
                  <a:lnTo>
                    <a:pt x="224356" y="13356"/>
                  </a:lnTo>
                  <a:lnTo>
                    <a:pt x="182475" y="29320"/>
                  </a:lnTo>
                  <a:lnTo>
                    <a:pt x="143692" y="50824"/>
                  </a:lnTo>
                  <a:lnTo>
                    <a:pt x="108498" y="77379"/>
                  </a:lnTo>
                  <a:lnTo>
                    <a:pt x="77379" y="108498"/>
                  </a:lnTo>
                  <a:lnTo>
                    <a:pt x="50824" y="143692"/>
                  </a:lnTo>
                  <a:lnTo>
                    <a:pt x="29320" y="182475"/>
                  </a:lnTo>
                  <a:lnTo>
                    <a:pt x="13356" y="224356"/>
                  </a:lnTo>
                  <a:lnTo>
                    <a:pt x="3420" y="268850"/>
                  </a:lnTo>
                  <a:lnTo>
                    <a:pt x="0" y="315466"/>
                  </a:lnTo>
                  <a:lnTo>
                    <a:pt x="0" y="1214989"/>
                  </a:lnTo>
                  <a:lnTo>
                    <a:pt x="3420" y="1261606"/>
                  </a:lnTo>
                  <a:lnTo>
                    <a:pt x="13356" y="1306099"/>
                  </a:lnTo>
                  <a:lnTo>
                    <a:pt x="29320" y="1347980"/>
                  </a:lnTo>
                  <a:lnTo>
                    <a:pt x="50824" y="1386763"/>
                  </a:lnTo>
                  <a:lnTo>
                    <a:pt x="77379" y="1421957"/>
                  </a:lnTo>
                  <a:lnTo>
                    <a:pt x="108498" y="1453076"/>
                  </a:lnTo>
                  <a:lnTo>
                    <a:pt x="143692" y="1479631"/>
                  </a:lnTo>
                  <a:lnTo>
                    <a:pt x="182475" y="1501135"/>
                  </a:lnTo>
                  <a:lnTo>
                    <a:pt x="224356" y="1517099"/>
                  </a:lnTo>
                  <a:lnTo>
                    <a:pt x="268850" y="1527035"/>
                  </a:lnTo>
                  <a:lnTo>
                    <a:pt x="315466" y="1530456"/>
                  </a:lnTo>
                  <a:lnTo>
                    <a:pt x="2599460" y="1530456"/>
                  </a:lnTo>
                  <a:lnTo>
                    <a:pt x="2646076" y="1527035"/>
                  </a:lnTo>
                  <a:lnTo>
                    <a:pt x="2690570" y="1517099"/>
                  </a:lnTo>
                  <a:lnTo>
                    <a:pt x="2732451" y="1501135"/>
                  </a:lnTo>
                  <a:lnTo>
                    <a:pt x="2771234" y="1479631"/>
                  </a:lnTo>
                  <a:lnTo>
                    <a:pt x="2806428" y="1453076"/>
                  </a:lnTo>
                  <a:lnTo>
                    <a:pt x="2837547" y="1421957"/>
                  </a:lnTo>
                  <a:lnTo>
                    <a:pt x="2864102" y="1386763"/>
                  </a:lnTo>
                  <a:lnTo>
                    <a:pt x="2885606" y="1347980"/>
                  </a:lnTo>
                  <a:lnTo>
                    <a:pt x="2901570" y="1306099"/>
                  </a:lnTo>
                  <a:lnTo>
                    <a:pt x="2911506" y="1261606"/>
                  </a:lnTo>
                  <a:lnTo>
                    <a:pt x="2914926" y="1214989"/>
                  </a:lnTo>
                  <a:lnTo>
                    <a:pt x="2914926" y="315466"/>
                  </a:lnTo>
                  <a:lnTo>
                    <a:pt x="2911506" y="268850"/>
                  </a:lnTo>
                  <a:lnTo>
                    <a:pt x="2901570" y="224356"/>
                  </a:lnTo>
                  <a:lnTo>
                    <a:pt x="2885606" y="182475"/>
                  </a:lnTo>
                  <a:lnTo>
                    <a:pt x="2864102" y="143692"/>
                  </a:lnTo>
                  <a:lnTo>
                    <a:pt x="2837547" y="108498"/>
                  </a:lnTo>
                  <a:lnTo>
                    <a:pt x="2806428" y="77379"/>
                  </a:lnTo>
                  <a:lnTo>
                    <a:pt x="2771234" y="50824"/>
                  </a:lnTo>
                  <a:lnTo>
                    <a:pt x="2732451" y="29320"/>
                  </a:lnTo>
                  <a:lnTo>
                    <a:pt x="2690570" y="13356"/>
                  </a:lnTo>
                  <a:lnTo>
                    <a:pt x="2646076" y="3420"/>
                  </a:lnTo>
                  <a:lnTo>
                    <a:pt x="2599460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1081228" y="9175368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907" y="0"/>
                  </a:moveTo>
                  <a:lnTo>
                    <a:pt x="234504" y="3663"/>
                  </a:lnTo>
                  <a:lnTo>
                    <a:pt x="191433" y="14270"/>
                  </a:lnTo>
                  <a:lnTo>
                    <a:pt x="151272" y="31244"/>
                  </a:lnTo>
                  <a:lnTo>
                    <a:pt x="114596" y="54008"/>
                  </a:lnTo>
                  <a:lnTo>
                    <a:pt x="81981" y="81987"/>
                  </a:lnTo>
                  <a:lnTo>
                    <a:pt x="54004" y="114603"/>
                  </a:lnTo>
                  <a:lnTo>
                    <a:pt x="31242" y="151280"/>
                  </a:lnTo>
                  <a:lnTo>
                    <a:pt x="14269" y="191443"/>
                  </a:lnTo>
                  <a:lnTo>
                    <a:pt x="3663" y="234514"/>
                  </a:lnTo>
                  <a:lnTo>
                    <a:pt x="0" y="279918"/>
                  </a:lnTo>
                  <a:lnTo>
                    <a:pt x="3663" y="325321"/>
                  </a:lnTo>
                  <a:lnTo>
                    <a:pt x="14269" y="368393"/>
                  </a:lnTo>
                  <a:lnTo>
                    <a:pt x="31242" y="408555"/>
                  </a:lnTo>
                  <a:lnTo>
                    <a:pt x="54004" y="445233"/>
                  </a:lnTo>
                  <a:lnTo>
                    <a:pt x="81981" y="477849"/>
                  </a:lnTo>
                  <a:lnTo>
                    <a:pt x="114596" y="505827"/>
                  </a:lnTo>
                  <a:lnTo>
                    <a:pt x="151272" y="528591"/>
                  </a:lnTo>
                  <a:lnTo>
                    <a:pt x="191433" y="545565"/>
                  </a:lnTo>
                  <a:lnTo>
                    <a:pt x="234504" y="556172"/>
                  </a:lnTo>
                  <a:lnTo>
                    <a:pt x="279907" y="559836"/>
                  </a:lnTo>
                  <a:lnTo>
                    <a:pt x="325311" y="556172"/>
                  </a:lnTo>
                  <a:lnTo>
                    <a:pt x="368382" y="545565"/>
                  </a:lnTo>
                  <a:lnTo>
                    <a:pt x="408545" y="528591"/>
                  </a:lnTo>
                  <a:lnTo>
                    <a:pt x="445222" y="505827"/>
                  </a:lnTo>
                  <a:lnTo>
                    <a:pt x="477838" y="477849"/>
                  </a:lnTo>
                  <a:lnTo>
                    <a:pt x="505817" y="445233"/>
                  </a:lnTo>
                  <a:lnTo>
                    <a:pt x="528581" y="408555"/>
                  </a:lnTo>
                  <a:lnTo>
                    <a:pt x="545555" y="368393"/>
                  </a:lnTo>
                  <a:lnTo>
                    <a:pt x="556162" y="325321"/>
                  </a:lnTo>
                  <a:lnTo>
                    <a:pt x="559825" y="279918"/>
                  </a:lnTo>
                  <a:lnTo>
                    <a:pt x="556162" y="234514"/>
                  </a:lnTo>
                  <a:lnTo>
                    <a:pt x="545555" y="191443"/>
                  </a:lnTo>
                  <a:lnTo>
                    <a:pt x="528581" y="151280"/>
                  </a:lnTo>
                  <a:lnTo>
                    <a:pt x="505817" y="114603"/>
                  </a:lnTo>
                  <a:lnTo>
                    <a:pt x="477838" y="81987"/>
                  </a:lnTo>
                  <a:lnTo>
                    <a:pt x="445222" y="54008"/>
                  </a:lnTo>
                  <a:lnTo>
                    <a:pt x="408545" y="31244"/>
                  </a:lnTo>
                  <a:lnTo>
                    <a:pt x="368382" y="14270"/>
                  </a:lnTo>
                  <a:lnTo>
                    <a:pt x="325311" y="3663"/>
                  </a:lnTo>
                  <a:lnTo>
                    <a:pt x="279907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740051" y="5592826"/>
            <a:ext cx="164423" cy="26126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637" b="1" kern="0" spc="-30" dirty="0">
                <a:solidFill>
                  <a:srgbClr val="FFFFFF"/>
                </a:solidFill>
                <a:latin typeface="Verdana"/>
                <a:cs typeface="Verdana"/>
              </a:rPr>
              <a:t>9</a:t>
            </a:r>
            <a:endParaRPr sz="1637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131988" y="5440805"/>
            <a:ext cx="1351192" cy="521443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marR="3081" defTabSz="554492">
              <a:lnSpc>
                <a:spcPct val="101400"/>
              </a:lnSpc>
              <a:spcBef>
                <a:spcPts val="61"/>
              </a:spcBef>
            </a:pPr>
            <a:r>
              <a:rPr sz="1031" b="1" kern="0" spc="-6" dirty="0">
                <a:solidFill>
                  <a:srgbClr val="FFFFFF"/>
                </a:solidFill>
                <a:latin typeface="Verdana"/>
                <a:cs typeface="Verdana"/>
              </a:rPr>
              <a:t>Дополнительный </a:t>
            </a:r>
            <a:r>
              <a:rPr sz="1243" b="1" kern="0" dirty="0">
                <a:solidFill>
                  <a:srgbClr val="FFFFFF"/>
                </a:solidFill>
                <a:latin typeface="Verdana"/>
                <a:cs typeface="Verdana"/>
              </a:rPr>
              <a:t>этап </a:t>
            </a:r>
            <a:r>
              <a:rPr sz="1243" b="1" kern="0" spc="-6" dirty="0">
                <a:solidFill>
                  <a:srgbClr val="FFFFFF"/>
                </a:solidFill>
                <a:latin typeface="Verdana"/>
                <a:cs typeface="Verdana"/>
              </a:rPr>
              <a:t>торгов </a:t>
            </a:r>
            <a:r>
              <a:rPr sz="1031" kern="0" dirty="0">
                <a:solidFill>
                  <a:srgbClr val="FFFFFF"/>
                </a:solidFill>
                <a:latin typeface="Verdana"/>
                <a:cs typeface="Verdana"/>
              </a:rPr>
              <a:t>(если</a:t>
            </a:r>
            <a:r>
              <a:rPr sz="1031" kern="0" spc="2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31" kern="0" spc="-6" dirty="0">
                <a:solidFill>
                  <a:srgbClr val="FFFFFF"/>
                </a:solidFill>
                <a:latin typeface="Verdana"/>
                <a:cs typeface="Verdana"/>
              </a:rPr>
              <a:t>необходимо)</a:t>
            </a:r>
            <a:endParaRPr sz="1031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806931" y="5321899"/>
            <a:ext cx="6379750" cy="34671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marR="3081" defTabSz="554492">
              <a:spcBef>
                <a:spcPts val="64"/>
              </a:spcBef>
            </a:pPr>
            <a:r>
              <a:rPr sz="1100" b="1" kern="0" dirty="0">
                <a:solidFill>
                  <a:srgbClr val="003B95"/>
                </a:solidFill>
                <a:latin typeface="Verdana"/>
                <a:cs typeface="Verdana"/>
              </a:rPr>
              <a:t>Организатор</a:t>
            </a:r>
            <a:r>
              <a:rPr sz="1100" b="1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b="1" kern="0" dirty="0">
                <a:solidFill>
                  <a:srgbClr val="003B95"/>
                </a:solidFill>
                <a:latin typeface="Verdana"/>
                <a:cs typeface="Verdana"/>
              </a:rPr>
              <a:t>тендера</a:t>
            </a:r>
            <a:r>
              <a:rPr sz="1100" b="1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проводит</a:t>
            </a:r>
            <a:r>
              <a:rPr sz="11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дополнительный</a:t>
            </a:r>
            <a:r>
              <a:rPr sz="1100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этап,</a:t>
            </a:r>
            <a:r>
              <a:rPr sz="1100" kern="0" spc="-12" dirty="0">
                <a:solidFill>
                  <a:srgbClr val="003B95"/>
                </a:solidFill>
                <a:latin typeface="Verdana"/>
                <a:cs typeface="Verdana"/>
              </a:rPr>
              <a:t> если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невозможно</a:t>
            </a:r>
            <a:r>
              <a:rPr sz="1100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выявить</a:t>
            </a:r>
            <a:r>
              <a:rPr sz="11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победителя</a:t>
            </a:r>
            <a:r>
              <a:rPr sz="1100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по</a:t>
            </a:r>
            <a:r>
              <a:rPr sz="11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результатам</a:t>
            </a:r>
            <a:r>
              <a:rPr sz="11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оценки</a:t>
            </a:r>
            <a:r>
              <a:rPr sz="1100" kern="0" spc="-15" dirty="0">
                <a:solidFill>
                  <a:srgbClr val="003B95"/>
                </a:solidFill>
                <a:latin typeface="Verdana"/>
                <a:cs typeface="Verdana"/>
              </a:rPr>
              <a:t> цен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100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качества</a:t>
            </a:r>
            <a:r>
              <a:rPr sz="11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kern="0" dirty="0">
                <a:solidFill>
                  <a:srgbClr val="003B95"/>
                </a:solidFill>
                <a:latin typeface="Verdana"/>
                <a:cs typeface="Verdana"/>
              </a:rPr>
              <a:t>предоставленных</a:t>
            </a:r>
            <a:r>
              <a:rPr sz="1100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00" kern="0" spc="-6" dirty="0">
                <a:solidFill>
                  <a:srgbClr val="003B95"/>
                </a:solidFill>
                <a:latin typeface="Verdana"/>
                <a:cs typeface="Verdana"/>
              </a:rPr>
              <a:t>образцов</a:t>
            </a:r>
            <a:endParaRPr sz="1100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656086" y="3986240"/>
            <a:ext cx="1954203" cy="928391"/>
            <a:chOff x="1081228" y="6573604"/>
            <a:chExt cx="3222625" cy="1530985"/>
          </a:xfrm>
        </p:grpSpPr>
        <p:sp>
          <p:nvSpPr>
            <p:cNvPr id="21" name="object 21"/>
            <p:cNvSpPr/>
            <p:nvPr/>
          </p:nvSpPr>
          <p:spPr>
            <a:xfrm>
              <a:off x="1388493" y="6573604"/>
              <a:ext cx="2915285" cy="1530985"/>
            </a:xfrm>
            <a:custGeom>
              <a:avLst/>
              <a:gdLst/>
              <a:ahLst/>
              <a:cxnLst/>
              <a:rect l="l" t="t" r="r" b="b"/>
              <a:pathLst>
                <a:path w="2915285" h="1530984">
                  <a:moveTo>
                    <a:pt x="2599460" y="0"/>
                  </a:moveTo>
                  <a:lnTo>
                    <a:pt x="315466" y="0"/>
                  </a:lnTo>
                  <a:lnTo>
                    <a:pt x="268850" y="3420"/>
                  </a:lnTo>
                  <a:lnTo>
                    <a:pt x="224356" y="13356"/>
                  </a:lnTo>
                  <a:lnTo>
                    <a:pt x="182475" y="29320"/>
                  </a:lnTo>
                  <a:lnTo>
                    <a:pt x="143692" y="50824"/>
                  </a:lnTo>
                  <a:lnTo>
                    <a:pt x="108498" y="77379"/>
                  </a:lnTo>
                  <a:lnTo>
                    <a:pt x="77379" y="108498"/>
                  </a:lnTo>
                  <a:lnTo>
                    <a:pt x="50824" y="143692"/>
                  </a:lnTo>
                  <a:lnTo>
                    <a:pt x="29320" y="182475"/>
                  </a:lnTo>
                  <a:lnTo>
                    <a:pt x="13356" y="224356"/>
                  </a:lnTo>
                  <a:lnTo>
                    <a:pt x="3420" y="268850"/>
                  </a:lnTo>
                  <a:lnTo>
                    <a:pt x="0" y="315466"/>
                  </a:lnTo>
                  <a:lnTo>
                    <a:pt x="0" y="1214989"/>
                  </a:lnTo>
                  <a:lnTo>
                    <a:pt x="3420" y="1261606"/>
                  </a:lnTo>
                  <a:lnTo>
                    <a:pt x="13356" y="1306099"/>
                  </a:lnTo>
                  <a:lnTo>
                    <a:pt x="29320" y="1347980"/>
                  </a:lnTo>
                  <a:lnTo>
                    <a:pt x="50824" y="1386763"/>
                  </a:lnTo>
                  <a:lnTo>
                    <a:pt x="77379" y="1421957"/>
                  </a:lnTo>
                  <a:lnTo>
                    <a:pt x="108498" y="1453076"/>
                  </a:lnTo>
                  <a:lnTo>
                    <a:pt x="143692" y="1479631"/>
                  </a:lnTo>
                  <a:lnTo>
                    <a:pt x="182475" y="1501135"/>
                  </a:lnTo>
                  <a:lnTo>
                    <a:pt x="224356" y="1517099"/>
                  </a:lnTo>
                  <a:lnTo>
                    <a:pt x="268850" y="1527035"/>
                  </a:lnTo>
                  <a:lnTo>
                    <a:pt x="315466" y="1530456"/>
                  </a:lnTo>
                  <a:lnTo>
                    <a:pt x="2599460" y="1530456"/>
                  </a:lnTo>
                  <a:lnTo>
                    <a:pt x="2646076" y="1527035"/>
                  </a:lnTo>
                  <a:lnTo>
                    <a:pt x="2690570" y="1517099"/>
                  </a:lnTo>
                  <a:lnTo>
                    <a:pt x="2732451" y="1501135"/>
                  </a:lnTo>
                  <a:lnTo>
                    <a:pt x="2771234" y="1479631"/>
                  </a:lnTo>
                  <a:lnTo>
                    <a:pt x="2806428" y="1453076"/>
                  </a:lnTo>
                  <a:lnTo>
                    <a:pt x="2837547" y="1421957"/>
                  </a:lnTo>
                  <a:lnTo>
                    <a:pt x="2864102" y="1386763"/>
                  </a:lnTo>
                  <a:lnTo>
                    <a:pt x="2885606" y="1347980"/>
                  </a:lnTo>
                  <a:lnTo>
                    <a:pt x="2901570" y="1306099"/>
                  </a:lnTo>
                  <a:lnTo>
                    <a:pt x="2911506" y="1261606"/>
                  </a:lnTo>
                  <a:lnTo>
                    <a:pt x="2914926" y="1214989"/>
                  </a:lnTo>
                  <a:lnTo>
                    <a:pt x="2914926" y="315466"/>
                  </a:lnTo>
                  <a:lnTo>
                    <a:pt x="2911506" y="268850"/>
                  </a:lnTo>
                  <a:lnTo>
                    <a:pt x="2901570" y="224356"/>
                  </a:lnTo>
                  <a:lnTo>
                    <a:pt x="2885606" y="182475"/>
                  </a:lnTo>
                  <a:lnTo>
                    <a:pt x="2864102" y="143692"/>
                  </a:lnTo>
                  <a:lnTo>
                    <a:pt x="2837547" y="108498"/>
                  </a:lnTo>
                  <a:lnTo>
                    <a:pt x="2806428" y="77379"/>
                  </a:lnTo>
                  <a:lnTo>
                    <a:pt x="2771234" y="50824"/>
                  </a:lnTo>
                  <a:lnTo>
                    <a:pt x="2732451" y="29320"/>
                  </a:lnTo>
                  <a:lnTo>
                    <a:pt x="2690570" y="13356"/>
                  </a:lnTo>
                  <a:lnTo>
                    <a:pt x="2646076" y="3420"/>
                  </a:lnTo>
                  <a:lnTo>
                    <a:pt x="2599460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1081228" y="7058911"/>
              <a:ext cx="560070" cy="560070"/>
            </a:xfrm>
            <a:custGeom>
              <a:avLst/>
              <a:gdLst/>
              <a:ahLst/>
              <a:cxnLst/>
              <a:rect l="l" t="t" r="r" b="b"/>
              <a:pathLst>
                <a:path w="560069" h="560070">
                  <a:moveTo>
                    <a:pt x="279907" y="0"/>
                  </a:moveTo>
                  <a:lnTo>
                    <a:pt x="234504" y="3663"/>
                  </a:lnTo>
                  <a:lnTo>
                    <a:pt x="191433" y="14270"/>
                  </a:lnTo>
                  <a:lnTo>
                    <a:pt x="151272" y="31244"/>
                  </a:lnTo>
                  <a:lnTo>
                    <a:pt x="114596" y="54008"/>
                  </a:lnTo>
                  <a:lnTo>
                    <a:pt x="81981" y="81987"/>
                  </a:lnTo>
                  <a:lnTo>
                    <a:pt x="54004" y="114603"/>
                  </a:lnTo>
                  <a:lnTo>
                    <a:pt x="31242" y="151280"/>
                  </a:lnTo>
                  <a:lnTo>
                    <a:pt x="14269" y="191443"/>
                  </a:lnTo>
                  <a:lnTo>
                    <a:pt x="3663" y="234514"/>
                  </a:lnTo>
                  <a:lnTo>
                    <a:pt x="0" y="279918"/>
                  </a:lnTo>
                  <a:lnTo>
                    <a:pt x="3663" y="325321"/>
                  </a:lnTo>
                  <a:lnTo>
                    <a:pt x="14269" y="368393"/>
                  </a:lnTo>
                  <a:lnTo>
                    <a:pt x="31242" y="408555"/>
                  </a:lnTo>
                  <a:lnTo>
                    <a:pt x="54004" y="445233"/>
                  </a:lnTo>
                  <a:lnTo>
                    <a:pt x="81981" y="477849"/>
                  </a:lnTo>
                  <a:lnTo>
                    <a:pt x="114596" y="505827"/>
                  </a:lnTo>
                  <a:lnTo>
                    <a:pt x="151272" y="528591"/>
                  </a:lnTo>
                  <a:lnTo>
                    <a:pt x="191433" y="545565"/>
                  </a:lnTo>
                  <a:lnTo>
                    <a:pt x="234504" y="556172"/>
                  </a:lnTo>
                  <a:lnTo>
                    <a:pt x="279907" y="559836"/>
                  </a:lnTo>
                  <a:lnTo>
                    <a:pt x="325311" y="556172"/>
                  </a:lnTo>
                  <a:lnTo>
                    <a:pt x="368382" y="545565"/>
                  </a:lnTo>
                  <a:lnTo>
                    <a:pt x="408545" y="528591"/>
                  </a:lnTo>
                  <a:lnTo>
                    <a:pt x="445222" y="505827"/>
                  </a:lnTo>
                  <a:lnTo>
                    <a:pt x="477838" y="477849"/>
                  </a:lnTo>
                  <a:lnTo>
                    <a:pt x="505817" y="445233"/>
                  </a:lnTo>
                  <a:lnTo>
                    <a:pt x="528581" y="408555"/>
                  </a:lnTo>
                  <a:lnTo>
                    <a:pt x="545555" y="368393"/>
                  </a:lnTo>
                  <a:lnTo>
                    <a:pt x="556162" y="325321"/>
                  </a:lnTo>
                  <a:lnTo>
                    <a:pt x="559825" y="279918"/>
                  </a:lnTo>
                  <a:lnTo>
                    <a:pt x="556162" y="234514"/>
                  </a:lnTo>
                  <a:lnTo>
                    <a:pt x="545555" y="191443"/>
                  </a:lnTo>
                  <a:lnTo>
                    <a:pt x="528581" y="151280"/>
                  </a:lnTo>
                  <a:lnTo>
                    <a:pt x="505817" y="114603"/>
                  </a:lnTo>
                  <a:lnTo>
                    <a:pt x="477838" y="81987"/>
                  </a:lnTo>
                  <a:lnTo>
                    <a:pt x="445222" y="54008"/>
                  </a:lnTo>
                  <a:lnTo>
                    <a:pt x="408545" y="31244"/>
                  </a:lnTo>
                  <a:lnTo>
                    <a:pt x="368382" y="14270"/>
                  </a:lnTo>
                  <a:lnTo>
                    <a:pt x="325311" y="3663"/>
                  </a:lnTo>
                  <a:lnTo>
                    <a:pt x="279907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740053" y="4309404"/>
            <a:ext cx="164423" cy="26126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637" b="1" kern="0" spc="-30" dirty="0">
                <a:solidFill>
                  <a:srgbClr val="FFFFFF"/>
                </a:solidFill>
                <a:latin typeface="Verdana"/>
                <a:cs typeface="Verdana"/>
              </a:rPr>
              <a:t>8</a:t>
            </a:r>
            <a:endParaRPr sz="1637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161503" y="4143019"/>
            <a:ext cx="1048531" cy="58119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defTabSz="554492">
              <a:lnSpc>
                <a:spcPct val="100499"/>
              </a:lnSpc>
              <a:spcBef>
                <a:spcPts val="58"/>
              </a:spcBef>
            </a:pPr>
            <a:r>
              <a:rPr sz="1243" b="1" kern="0" spc="-6" dirty="0">
                <a:solidFill>
                  <a:srgbClr val="FFFFFF"/>
                </a:solidFill>
                <a:latin typeface="Verdana"/>
                <a:cs typeface="Verdana"/>
              </a:rPr>
              <a:t>Оценка образцов/ дегустации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837711" y="3867403"/>
            <a:ext cx="8855329" cy="1023303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 defTabSz="554492">
              <a:spcBef>
                <a:spcPts val="55"/>
              </a:spcBef>
            </a:pP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Для</a:t>
            </a:r>
            <a:r>
              <a:rPr sz="1304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определения</a:t>
            </a:r>
            <a:r>
              <a:rPr sz="1304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соответствия</a:t>
            </a:r>
            <a:r>
              <a:rPr sz="1304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spc="-6" dirty="0">
                <a:solidFill>
                  <a:srgbClr val="003B95"/>
                </a:solidFill>
                <a:latin typeface="Verdana"/>
                <a:cs typeface="Verdana"/>
              </a:rPr>
              <a:t>качества/потребительских</a:t>
            </a:r>
            <a:r>
              <a:rPr sz="1304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свойств</a:t>
            </a:r>
            <a:r>
              <a:rPr sz="1304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предлагаемого</a:t>
            </a:r>
            <a:r>
              <a:rPr sz="1304" kern="0" spc="-6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товара,</a:t>
            </a:r>
            <a:r>
              <a:rPr sz="1304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spc="-6" dirty="0">
                <a:solidFill>
                  <a:srgbClr val="003B95"/>
                </a:solidFill>
                <a:latin typeface="Verdana"/>
                <a:cs typeface="Verdana"/>
              </a:rPr>
              <a:t>проводится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оценка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качества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(экспертные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spc="-6" dirty="0">
                <a:solidFill>
                  <a:srgbClr val="003B95"/>
                </a:solidFill>
                <a:latin typeface="Verdana"/>
                <a:cs typeface="Verdana"/>
              </a:rPr>
              <a:t>дегустации/тесты,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spc="-6" dirty="0">
                <a:solidFill>
                  <a:srgbClr val="003B95"/>
                </a:solidFill>
                <a:latin typeface="Verdana"/>
                <a:cs typeface="Verdana"/>
              </a:rPr>
              <a:t>потребительские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тесты*),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а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spc="-6" dirty="0">
                <a:solidFill>
                  <a:srgbClr val="003B95"/>
                </a:solidFill>
                <a:latin typeface="Verdana"/>
                <a:cs typeface="Verdana"/>
              </a:rPr>
              <a:t>также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тестирование</a:t>
            </a:r>
            <a:r>
              <a:rPr sz="1304" kern="0" spc="-6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304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независимых</a:t>
            </a:r>
            <a:r>
              <a:rPr sz="1304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spc="-6" dirty="0">
                <a:solidFill>
                  <a:srgbClr val="003B95"/>
                </a:solidFill>
                <a:latin typeface="Verdana"/>
                <a:cs typeface="Verdana"/>
              </a:rPr>
              <a:t>аккредитованных</a:t>
            </a:r>
            <a:r>
              <a:rPr sz="1304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экспертных</a:t>
            </a:r>
            <a:r>
              <a:rPr sz="1304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spc="-6" dirty="0">
                <a:solidFill>
                  <a:srgbClr val="003B95"/>
                </a:solidFill>
                <a:latin typeface="Verdana"/>
                <a:cs typeface="Verdana"/>
              </a:rPr>
              <a:t>лабораториях.</a:t>
            </a:r>
            <a:endParaRPr sz="130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924924" defTabSz="554492">
              <a:spcBef>
                <a:spcPts val="58"/>
              </a:spcBef>
            </a:pP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Оценка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качества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проводится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этапе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выбора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поставщика,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так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же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процессе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spc="-12" dirty="0" err="1">
                <a:solidFill>
                  <a:srgbClr val="003B95"/>
                </a:solidFill>
                <a:latin typeface="Verdana"/>
                <a:cs typeface="Verdana"/>
              </a:rPr>
              <a:t>всего</a:t>
            </a:r>
            <a:r>
              <a:rPr sz="1304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 err="1" smtClean="0">
                <a:solidFill>
                  <a:srgbClr val="003B95"/>
                </a:solidFill>
                <a:latin typeface="Verdana"/>
                <a:cs typeface="Verdana"/>
              </a:rPr>
              <a:t>сотрудничества</a:t>
            </a:r>
            <a:endParaRPr sz="970" i="1" kern="0" dirty="0">
              <a:solidFill>
                <a:srgbClr val="003B95"/>
              </a:solidFill>
              <a:latin typeface="Verdana"/>
              <a:cs typeface="Verdana"/>
            </a:endParaRPr>
          </a:p>
        </p:txBody>
      </p:sp>
      <p:sp>
        <p:nvSpPr>
          <p:cNvPr id="26" name="object 26"/>
          <p:cNvSpPr txBox="1">
            <a:spLocks noGrp="1"/>
          </p:cNvSpPr>
          <p:nvPr>
            <p:ph type="title"/>
          </p:nvPr>
        </p:nvSpPr>
        <p:spPr>
          <a:xfrm>
            <a:off x="383608" y="373746"/>
            <a:ext cx="6626879" cy="469373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dirty="0"/>
              <a:t>ТЕНДЕР.</a:t>
            </a:r>
            <a:r>
              <a:rPr spc="-173" dirty="0"/>
              <a:t> </a:t>
            </a:r>
            <a:r>
              <a:rPr sz="2638" b="0" dirty="0"/>
              <a:t>Небиржевые</a:t>
            </a:r>
            <a:r>
              <a:rPr sz="2638" b="0" spc="-79" dirty="0"/>
              <a:t> </a:t>
            </a:r>
            <a:r>
              <a:rPr sz="2638" b="0" spc="-6" dirty="0"/>
              <a:t>позиции</a:t>
            </a:r>
            <a:endParaRPr sz="2638" dirty="0"/>
          </a:p>
        </p:txBody>
      </p:sp>
      <p:grpSp>
        <p:nvGrpSpPr>
          <p:cNvPr id="27" name="object 27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28" name="object 28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0" name="object 30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3" name="object 7"/>
          <p:cNvSpPr txBox="1"/>
          <p:nvPr/>
        </p:nvSpPr>
        <p:spPr>
          <a:xfrm>
            <a:off x="2792918" y="1375178"/>
            <a:ext cx="9117548" cy="94431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defTabSz="554492">
              <a:lnSpc>
                <a:spcPts val="1816"/>
              </a:lnSpc>
              <a:spcBef>
                <a:spcPts val="64"/>
              </a:spcBef>
            </a:pP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Организатор</a:t>
            </a:r>
            <a:r>
              <a:rPr sz="1546" b="1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b="1" kern="0" spc="-6" dirty="0">
                <a:solidFill>
                  <a:srgbClr val="003B95"/>
                </a:solidFill>
                <a:latin typeface="Verdana"/>
                <a:cs typeface="Verdana"/>
              </a:rPr>
              <a:t>тендера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7468" marR="3081" indent="-130151" defTabSz="554492">
              <a:lnSpc>
                <a:spcPts val="1383"/>
              </a:lnSpc>
              <a:spcBef>
                <a:spcPts val="6"/>
              </a:spcBef>
              <a:buFontTx/>
              <a:buChar char="•"/>
              <a:tabLst>
                <a:tab pos="161727" algn="l"/>
              </a:tabLst>
            </a:pPr>
            <a:r>
              <a:rPr sz="1152" u="sng" kern="0" spc="-6" dirty="0">
                <a:solidFill>
                  <a:srgbClr val="003B95"/>
                </a:solidFill>
                <a:latin typeface="Verdana"/>
                <a:cs typeface="Verdana"/>
              </a:rPr>
              <a:t>запрашивает</a:t>
            </a:r>
            <a:r>
              <a:rPr sz="1152" u="sng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152" u="sng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spc="-6" dirty="0">
                <a:solidFill>
                  <a:srgbClr val="003B95"/>
                </a:solidFill>
                <a:latin typeface="Verdana"/>
                <a:cs typeface="Verdana"/>
              </a:rPr>
              <a:t>анализирует</a:t>
            </a:r>
            <a:r>
              <a:rPr sz="1152" u="sng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состав</a:t>
            </a:r>
            <a:r>
              <a:rPr sz="1152" u="sng" kern="0" spc="-2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продукта,</a:t>
            </a:r>
            <a:r>
              <a:rPr sz="1152" u="sng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вид</a:t>
            </a:r>
            <a:r>
              <a:rPr sz="1152" u="sng" kern="0" spc="-2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152" u="sng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размер</a:t>
            </a:r>
            <a:r>
              <a:rPr sz="1152" u="sng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упаковки</a:t>
            </a:r>
            <a:r>
              <a:rPr sz="1152" u="sng" kern="0" spc="-2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при</a:t>
            </a:r>
            <a:r>
              <a:rPr sz="1152" u="sng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необходимости,</a:t>
            </a:r>
            <a:r>
              <a:rPr sz="1152" u="sng" kern="0" spc="-2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а</a:t>
            </a:r>
            <a:r>
              <a:rPr sz="1152" u="sng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также</a:t>
            </a:r>
            <a:r>
              <a:rPr sz="1152" u="sng" kern="0" spc="-2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spc="-6" dirty="0">
                <a:solidFill>
                  <a:srgbClr val="003B95"/>
                </a:solidFill>
                <a:latin typeface="Verdana"/>
                <a:cs typeface="Verdana"/>
              </a:rPr>
              <a:t>документы 	подтверждающие</a:t>
            </a:r>
            <a:r>
              <a:rPr sz="1152" u="sng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состав</a:t>
            </a:r>
            <a:r>
              <a:rPr sz="1152" u="sng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152" u="sng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152" u="sng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соответствие</a:t>
            </a:r>
            <a:r>
              <a:rPr sz="1152" u="sng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152" u="sng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требованиям</a:t>
            </a:r>
            <a:r>
              <a:rPr sz="1152" u="sng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(</a:t>
            </a:r>
            <a:r>
              <a:rPr sz="1152" u="sng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лабораторные</a:t>
            </a:r>
            <a:r>
              <a:rPr sz="1152" u="sng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spc="-6" dirty="0">
                <a:solidFill>
                  <a:srgbClr val="003B95"/>
                </a:solidFill>
                <a:latin typeface="Verdana"/>
                <a:cs typeface="Verdana"/>
              </a:rPr>
              <a:t>исследования).</a:t>
            </a:r>
            <a:endParaRPr sz="1152" u="sng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7852" indent="-130151" defTabSz="554492">
              <a:lnSpc>
                <a:spcPts val="1331"/>
              </a:lnSpc>
              <a:buFontTx/>
              <a:buChar char="•"/>
              <a:tabLst>
                <a:tab pos="137852" algn="l"/>
              </a:tabLst>
            </a:pPr>
            <a:r>
              <a:rPr sz="1152" kern="0" dirty="0">
                <a:solidFill>
                  <a:srgbClr val="003B95"/>
                </a:solidFill>
                <a:latin typeface="Verdana"/>
                <a:cs typeface="Verdana"/>
              </a:rPr>
              <a:t>при оценке ценовых предложений учитывается НДС, затраты на доставку товара с РЦ до торговых точек.</a:t>
            </a:r>
          </a:p>
          <a:p>
            <a:pPr marL="137852" indent="-130151" defTabSz="554492">
              <a:lnSpc>
                <a:spcPts val="1383"/>
              </a:lnSpc>
              <a:buFontTx/>
              <a:buChar char="•"/>
              <a:tabLst>
                <a:tab pos="137852" algn="l"/>
              </a:tabLst>
            </a:pPr>
            <a:r>
              <a:rPr sz="1152" u="sng" kern="0" spc="-6" dirty="0">
                <a:solidFill>
                  <a:srgbClr val="003B95"/>
                </a:solidFill>
                <a:latin typeface="Verdana"/>
                <a:cs typeface="Verdana"/>
              </a:rPr>
              <a:t>запрашивает</a:t>
            </a:r>
            <a:r>
              <a:rPr sz="1152" u="sng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образцы</a:t>
            </a:r>
            <a:r>
              <a:rPr sz="1152" u="sng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товаров,</a:t>
            </a:r>
            <a:r>
              <a:rPr sz="1152" u="sng" kern="0" spc="-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spc="-6" dirty="0">
                <a:solidFill>
                  <a:srgbClr val="003B95"/>
                </a:solidFill>
                <a:latin typeface="Verdana"/>
                <a:cs typeface="Verdana"/>
              </a:rPr>
              <a:t>соответствующих</a:t>
            </a:r>
            <a:r>
              <a:rPr sz="1152" u="sng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лучшим</a:t>
            </a:r>
            <a:r>
              <a:rPr sz="1152" u="sng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dirty="0">
                <a:solidFill>
                  <a:srgbClr val="003B95"/>
                </a:solidFill>
                <a:latin typeface="Verdana"/>
                <a:cs typeface="Verdana"/>
              </a:rPr>
              <a:t>ценовым</a:t>
            </a:r>
            <a:r>
              <a:rPr sz="1152" u="sng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52" u="sng" kern="0" spc="-6" dirty="0">
                <a:solidFill>
                  <a:srgbClr val="003B95"/>
                </a:solidFill>
                <a:latin typeface="Verdana"/>
                <a:cs typeface="Verdana"/>
              </a:rPr>
              <a:t>предложениям</a:t>
            </a:r>
            <a:endParaRPr sz="1152" u="sng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4" name="object 25"/>
          <p:cNvSpPr txBox="1"/>
          <p:nvPr/>
        </p:nvSpPr>
        <p:spPr>
          <a:xfrm>
            <a:off x="2831018" y="3869181"/>
            <a:ext cx="8855329" cy="1023303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 defTabSz="554492">
              <a:spcBef>
                <a:spcPts val="55"/>
              </a:spcBef>
            </a:pP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Для</a:t>
            </a:r>
            <a:r>
              <a:rPr sz="1304" u="sng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определения</a:t>
            </a:r>
            <a:r>
              <a:rPr sz="1304" u="sng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соответствия</a:t>
            </a:r>
            <a:r>
              <a:rPr sz="1304" u="sng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spc="-6" dirty="0">
                <a:solidFill>
                  <a:srgbClr val="003B95"/>
                </a:solidFill>
                <a:latin typeface="Verdana"/>
                <a:cs typeface="Verdana"/>
              </a:rPr>
              <a:t>качества/потребительских</a:t>
            </a:r>
            <a:r>
              <a:rPr sz="1304" u="sng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свойств</a:t>
            </a:r>
            <a:r>
              <a:rPr sz="1304" u="sng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предлагаемого</a:t>
            </a:r>
            <a:r>
              <a:rPr sz="1304" u="sng" kern="0" spc="-6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товара,</a:t>
            </a:r>
            <a:r>
              <a:rPr sz="1304" u="sng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spc="-6" dirty="0">
                <a:solidFill>
                  <a:srgbClr val="003B95"/>
                </a:solidFill>
                <a:latin typeface="Verdana"/>
                <a:cs typeface="Verdana"/>
              </a:rPr>
              <a:t>проводится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оценка</a:t>
            </a:r>
            <a:r>
              <a:rPr sz="1304" u="sng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качества</a:t>
            </a:r>
            <a:r>
              <a:rPr sz="1304" u="sng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304" u="sng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(экспертные</a:t>
            </a:r>
            <a:r>
              <a:rPr sz="1304" u="sng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spc="-6" dirty="0">
                <a:solidFill>
                  <a:srgbClr val="003B95"/>
                </a:solidFill>
                <a:latin typeface="Verdana"/>
                <a:cs typeface="Verdana"/>
              </a:rPr>
              <a:t>дегустации/тесты,</a:t>
            </a:r>
            <a:r>
              <a:rPr sz="1304" u="sng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spc="-6" dirty="0">
                <a:solidFill>
                  <a:srgbClr val="003B95"/>
                </a:solidFill>
                <a:latin typeface="Verdana"/>
                <a:cs typeface="Verdana"/>
              </a:rPr>
              <a:t>потребительские</a:t>
            </a:r>
            <a:r>
              <a:rPr sz="1304" u="sng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тесты*),</a:t>
            </a:r>
            <a:r>
              <a:rPr sz="1304" u="sng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а</a:t>
            </a:r>
            <a:r>
              <a:rPr sz="1304" u="sng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spc="-6" dirty="0">
                <a:solidFill>
                  <a:srgbClr val="003B95"/>
                </a:solidFill>
                <a:latin typeface="Verdana"/>
                <a:cs typeface="Verdana"/>
              </a:rPr>
              <a:t>также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тестирование</a:t>
            </a:r>
            <a:r>
              <a:rPr sz="1304" u="sng" kern="0" spc="-6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304" u="sng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независимых</a:t>
            </a:r>
            <a:r>
              <a:rPr sz="1304" u="sng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spc="-6" dirty="0">
                <a:solidFill>
                  <a:srgbClr val="003B95"/>
                </a:solidFill>
                <a:latin typeface="Verdana"/>
                <a:cs typeface="Verdana"/>
              </a:rPr>
              <a:t>аккредитованных</a:t>
            </a:r>
            <a:r>
              <a:rPr sz="1304" u="sng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dirty="0">
                <a:solidFill>
                  <a:srgbClr val="003B95"/>
                </a:solidFill>
                <a:latin typeface="Verdana"/>
                <a:cs typeface="Verdana"/>
              </a:rPr>
              <a:t>экспертных</a:t>
            </a:r>
            <a:r>
              <a:rPr sz="1304" u="sng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u="sng" kern="0" spc="-6" dirty="0">
                <a:solidFill>
                  <a:srgbClr val="003B95"/>
                </a:solidFill>
                <a:latin typeface="Verdana"/>
                <a:cs typeface="Verdana"/>
              </a:rPr>
              <a:t>лабораториях.</a:t>
            </a:r>
            <a:endParaRPr sz="1304" u="sng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924924" defTabSz="554492">
              <a:spcBef>
                <a:spcPts val="58"/>
              </a:spcBef>
            </a:pP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Оценка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качества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проводится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этапе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выбора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поставщика,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так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же</a:t>
            </a:r>
            <a:r>
              <a:rPr sz="1304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003B95"/>
                </a:solidFill>
                <a:latin typeface="Verdana"/>
                <a:cs typeface="Verdana"/>
              </a:rPr>
              <a:t>процессе</a:t>
            </a:r>
            <a:r>
              <a:rPr sz="1304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04" kern="0" spc="-12" dirty="0" err="1">
                <a:solidFill>
                  <a:srgbClr val="003B95"/>
                </a:solidFill>
                <a:latin typeface="Verdana"/>
                <a:cs typeface="Verdana"/>
              </a:rPr>
              <a:t>всего</a:t>
            </a:r>
            <a:r>
              <a:rPr sz="1304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lang="ru-RU" sz="1304" kern="0" dirty="0" smtClean="0">
                <a:solidFill>
                  <a:srgbClr val="003B95"/>
                </a:solidFill>
                <a:latin typeface="Verdana"/>
                <a:cs typeface="Verdana"/>
              </a:rPr>
              <a:t>сотрудничества.					</a:t>
            </a:r>
            <a:endParaRPr sz="970" i="1" kern="0" dirty="0">
              <a:solidFill>
                <a:srgbClr val="003B95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99728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5" grpId="0"/>
      <p:bldP spid="33" grpId="0"/>
      <p:bldP spid="34" grpId="0"/>
    </p:bld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50590" y="1308067"/>
            <a:ext cx="10893092" cy="448215"/>
          </a:xfrm>
          <a:custGeom>
            <a:avLst/>
            <a:gdLst/>
            <a:ahLst/>
            <a:cxnLst/>
            <a:rect l="l" t="t" r="r" b="b"/>
            <a:pathLst>
              <a:path w="17963515" h="739139">
                <a:moveTo>
                  <a:pt x="17775029" y="0"/>
                </a:moveTo>
                <a:lnTo>
                  <a:pt x="188130" y="0"/>
                </a:lnTo>
                <a:lnTo>
                  <a:pt x="138117" y="6720"/>
                </a:lnTo>
                <a:lnTo>
                  <a:pt x="93176" y="25685"/>
                </a:lnTo>
                <a:lnTo>
                  <a:pt x="55101" y="55101"/>
                </a:lnTo>
                <a:lnTo>
                  <a:pt x="25685" y="93176"/>
                </a:lnTo>
                <a:lnTo>
                  <a:pt x="6720" y="138117"/>
                </a:lnTo>
                <a:lnTo>
                  <a:pt x="0" y="188130"/>
                </a:lnTo>
                <a:lnTo>
                  <a:pt x="0" y="550841"/>
                </a:lnTo>
                <a:lnTo>
                  <a:pt x="6720" y="600854"/>
                </a:lnTo>
                <a:lnTo>
                  <a:pt x="25685" y="645795"/>
                </a:lnTo>
                <a:lnTo>
                  <a:pt x="55101" y="683870"/>
                </a:lnTo>
                <a:lnTo>
                  <a:pt x="93176" y="713287"/>
                </a:lnTo>
                <a:lnTo>
                  <a:pt x="138117" y="732252"/>
                </a:lnTo>
                <a:lnTo>
                  <a:pt x="188130" y="738972"/>
                </a:lnTo>
                <a:lnTo>
                  <a:pt x="17775029" y="738972"/>
                </a:lnTo>
                <a:lnTo>
                  <a:pt x="17825042" y="732252"/>
                </a:lnTo>
                <a:lnTo>
                  <a:pt x="17869982" y="713287"/>
                </a:lnTo>
                <a:lnTo>
                  <a:pt x="17908058" y="683870"/>
                </a:lnTo>
                <a:lnTo>
                  <a:pt x="17937474" y="645795"/>
                </a:lnTo>
                <a:lnTo>
                  <a:pt x="17956439" y="600854"/>
                </a:lnTo>
                <a:lnTo>
                  <a:pt x="17963159" y="550841"/>
                </a:lnTo>
                <a:lnTo>
                  <a:pt x="17963159" y="188130"/>
                </a:lnTo>
                <a:lnTo>
                  <a:pt x="17956439" y="138117"/>
                </a:lnTo>
                <a:lnTo>
                  <a:pt x="17937474" y="93176"/>
                </a:lnTo>
                <a:lnTo>
                  <a:pt x="17908058" y="55101"/>
                </a:lnTo>
                <a:lnTo>
                  <a:pt x="17869982" y="25685"/>
                </a:lnTo>
                <a:lnTo>
                  <a:pt x="17825042" y="6720"/>
                </a:lnTo>
                <a:lnTo>
                  <a:pt x="17775029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660937" y="3668028"/>
            <a:ext cx="1574914" cy="823653"/>
          </a:xfrm>
          <a:custGeom>
            <a:avLst/>
            <a:gdLst/>
            <a:ahLst/>
            <a:cxnLst/>
            <a:rect l="l" t="t" r="r" b="b"/>
            <a:pathLst>
              <a:path w="2597150" h="1358265">
                <a:moveTo>
                  <a:pt x="121127" y="1358042"/>
                </a:moveTo>
                <a:lnTo>
                  <a:pt x="74022" y="1348509"/>
                </a:lnTo>
                <a:lnTo>
                  <a:pt x="35515" y="1322526"/>
                </a:lnTo>
                <a:lnTo>
                  <a:pt x="9533" y="1284019"/>
                </a:lnTo>
                <a:lnTo>
                  <a:pt x="0" y="1236915"/>
                </a:lnTo>
                <a:lnTo>
                  <a:pt x="0" y="121127"/>
                </a:lnTo>
                <a:lnTo>
                  <a:pt x="9533" y="74022"/>
                </a:lnTo>
                <a:lnTo>
                  <a:pt x="35515" y="35515"/>
                </a:lnTo>
                <a:lnTo>
                  <a:pt x="74022" y="9533"/>
                </a:lnTo>
                <a:lnTo>
                  <a:pt x="121127" y="0"/>
                </a:lnTo>
                <a:lnTo>
                  <a:pt x="2475526" y="0"/>
                </a:lnTo>
                <a:lnTo>
                  <a:pt x="2522633" y="9533"/>
                </a:lnTo>
                <a:lnTo>
                  <a:pt x="2561143" y="35515"/>
                </a:lnTo>
                <a:lnTo>
                  <a:pt x="2587129" y="74022"/>
                </a:lnTo>
                <a:lnTo>
                  <a:pt x="2596664" y="121127"/>
                </a:lnTo>
                <a:lnTo>
                  <a:pt x="2596664" y="1236915"/>
                </a:lnTo>
                <a:lnTo>
                  <a:pt x="2587129" y="1284019"/>
                </a:lnTo>
                <a:lnTo>
                  <a:pt x="2561143" y="1322526"/>
                </a:lnTo>
                <a:lnTo>
                  <a:pt x="2522633" y="1348509"/>
                </a:lnTo>
                <a:lnTo>
                  <a:pt x="2475526" y="1358042"/>
                </a:lnTo>
                <a:lnTo>
                  <a:pt x="121127" y="1358042"/>
                </a:lnTo>
                <a:close/>
              </a:path>
            </a:pathLst>
          </a:custGeom>
          <a:ln w="10470">
            <a:solidFill>
              <a:srgbClr val="DADADA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6553" y="3831619"/>
            <a:ext cx="1198321" cy="45520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192917" marR="3081" indent="-185601" defTabSz="554492">
              <a:spcBef>
                <a:spcPts val="58"/>
              </a:spcBef>
            </a:pPr>
            <a:r>
              <a:rPr sz="1455" b="1" kern="0" spc="-6" dirty="0">
                <a:solidFill>
                  <a:srgbClr val="18418F"/>
                </a:solidFill>
                <a:latin typeface="Verdana"/>
                <a:cs typeface="Verdana"/>
              </a:rPr>
              <a:t>Поставщик выбран</a:t>
            </a:r>
            <a:endParaRPr sz="1455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987494" y="4778372"/>
            <a:ext cx="1574914" cy="1137480"/>
          </a:xfrm>
          <a:custGeom>
            <a:avLst/>
            <a:gdLst/>
            <a:ahLst/>
            <a:cxnLst/>
            <a:rect l="l" t="t" r="r" b="b"/>
            <a:pathLst>
              <a:path w="2597150" h="1875790">
                <a:moveTo>
                  <a:pt x="0" y="1733402"/>
                </a:moveTo>
                <a:lnTo>
                  <a:pt x="0" y="142362"/>
                </a:lnTo>
                <a:lnTo>
                  <a:pt x="7257" y="97364"/>
                </a:lnTo>
                <a:lnTo>
                  <a:pt x="27467" y="58284"/>
                </a:lnTo>
                <a:lnTo>
                  <a:pt x="58284" y="27467"/>
                </a:lnTo>
                <a:lnTo>
                  <a:pt x="97364" y="7257"/>
                </a:lnTo>
                <a:lnTo>
                  <a:pt x="142362" y="0"/>
                </a:lnTo>
                <a:lnTo>
                  <a:pt x="2454302" y="0"/>
                </a:lnTo>
                <a:lnTo>
                  <a:pt x="2499300" y="7257"/>
                </a:lnTo>
                <a:lnTo>
                  <a:pt x="2538380" y="27467"/>
                </a:lnTo>
                <a:lnTo>
                  <a:pt x="2569197" y="58284"/>
                </a:lnTo>
                <a:lnTo>
                  <a:pt x="2589406" y="97364"/>
                </a:lnTo>
                <a:lnTo>
                  <a:pt x="2596664" y="142362"/>
                </a:lnTo>
                <a:lnTo>
                  <a:pt x="2596664" y="1733402"/>
                </a:lnTo>
                <a:lnTo>
                  <a:pt x="2589406" y="1778400"/>
                </a:lnTo>
                <a:lnTo>
                  <a:pt x="2569197" y="1817480"/>
                </a:lnTo>
                <a:lnTo>
                  <a:pt x="2538380" y="1848297"/>
                </a:lnTo>
                <a:lnTo>
                  <a:pt x="2499300" y="1868507"/>
                </a:lnTo>
                <a:lnTo>
                  <a:pt x="2454302" y="1875764"/>
                </a:lnTo>
                <a:lnTo>
                  <a:pt x="142362" y="1875764"/>
                </a:lnTo>
                <a:lnTo>
                  <a:pt x="97364" y="1868507"/>
                </a:lnTo>
                <a:lnTo>
                  <a:pt x="58284" y="1848297"/>
                </a:lnTo>
                <a:lnTo>
                  <a:pt x="27467" y="1817480"/>
                </a:lnTo>
                <a:lnTo>
                  <a:pt x="7257" y="1778400"/>
                </a:lnTo>
                <a:lnTo>
                  <a:pt x="0" y="1733402"/>
                </a:lnTo>
                <a:close/>
              </a:path>
            </a:pathLst>
          </a:custGeom>
          <a:ln w="12303">
            <a:solidFill>
              <a:srgbClr val="DADADA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028527" y="4941963"/>
            <a:ext cx="1467096" cy="887757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algn="ctr" defTabSz="554492">
              <a:lnSpc>
                <a:spcPts val="1716"/>
              </a:lnSpc>
              <a:spcBef>
                <a:spcPts val="58"/>
              </a:spcBef>
            </a:pPr>
            <a:r>
              <a:rPr sz="1455" b="1" kern="0" spc="-6" dirty="0">
                <a:solidFill>
                  <a:srgbClr val="18418F"/>
                </a:solidFill>
                <a:latin typeface="Verdana"/>
                <a:cs typeface="Verdana"/>
              </a:rPr>
              <a:t>Договор</a:t>
            </a:r>
            <a:endParaRPr sz="1455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385" algn="ctr" defTabSz="554492">
              <a:lnSpc>
                <a:spcPts val="1322"/>
              </a:lnSpc>
            </a:pPr>
            <a:r>
              <a:rPr sz="1152" b="1" kern="0" spc="-6" dirty="0">
                <a:solidFill>
                  <a:srgbClr val="18418F"/>
                </a:solidFill>
                <a:latin typeface="Verdana"/>
                <a:cs typeface="Verdana"/>
              </a:rPr>
              <a:t>Спецификация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algn="ctr" defTabSz="554492">
              <a:lnSpc>
                <a:spcPts val="988"/>
              </a:lnSpc>
            </a:pPr>
            <a:r>
              <a:rPr sz="849" kern="0" spc="-6" dirty="0">
                <a:solidFill>
                  <a:srgbClr val="18418F"/>
                </a:solidFill>
                <a:latin typeface="Verdana"/>
                <a:cs typeface="Verdana"/>
              </a:rPr>
              <a:t>(Производственный</a:t>
            </a:r>
            <a:r>
              <a:rPr sz="849" kern="0" spc="-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849" kern="0" spc="-6" dirty="0">
                <a:solidFill>
                  <a:srgbClr val="18418F"/>
                </a:solidFill>
                <a:latin typeface="Verdana"/>
                <a:cs typeface="Verdana"/>
              </a:rPr>
              <a:t>лист)</a:t>
            </a:r>
            <a:endParaRPr sz="849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25648" marR="220642" algn="ctr" defTabSz="554492">
              <a:spcBef>
                <a:spcPts val="58"/>
              </a:spcBef>
            </a:pPr>
            <a:r>
              <a:rPr sz="1152" b="1" kern="0" spc="-6" dirty="0">
                <a:solidFill>
                  <a:srgbClr val="18418F"/>
                </a:solidFill>
                <a:latin typeface="Verdana"/>
                <a:cs typeface="Verdana"/>
              </a:rPr>
              <a:t>Аудит поставщика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3314056" y="3668028"/>
            <a:ext cx="1574914" cy="823653"/>
          </a:xfrm>
          <a:custGeom>
            <a:avLst/>
            <a:gdLst/>
            <a:ahLst/>
            <a:cxnLst/>
            <a:rect l="l" t="t" r="r" b="b"/>
            <a:pathLst>
              <a:path w="2597150" h="1358265">
                <a:moveTo>
                  <a:pt x="121127" y="1358042"/>
                </a:moveTo>
                <a:lnTo>
                  <a:pt x="74022" y="1348509"/>
                </a:lnTo>
                <a:lnTo>
                  <a:pt x="35515" y="1322526"/>
                </a:lnTo>
                <a:lnTo>
                  <a:pt x="9533" y="1284019"/>
                </a:lnTo>
                <a:lnTo>
                  <a:pt x="0" y="1236915"/>
                </a:lnTo>
                <a:lnTo>
                  <a:pt x="0" y="121127"/>
                </a:lnTo>
                <a:lnTo>
                  <a:pt x="9533" y="74022"/>
                </a:lnTo>
                <a:lnTo>
                  <a:pt x="35515" y="35515"/>
                </a:lnTo>
                <a:lnTo>
                  <a:pt x="74022" y="9533"/>
                </a:lnTo>
                <a:lnTo>
                  <a:pt x="121127" y="0"/>
                </a:lnTo>
                <a:lnTo>
                  <a:pt x="2475526" y="0"/>
                </a:lnTo>
                <a:lnTo>
                  <a:pt x="2522633" y="9533"/>
                </a:lnTo>
                <a:lnTo>
                  <a:pt x="2561143" y="35515"/>
                </a:lnTo>
                <a:lnTo>
                  <a:pt x="2587129" y="74022"/>
                </a:lnTo>
                <a:lnTo>
                  <a:pt x="2596664" y="121127"/>
                </a:lnTo>
                <a:lnTo>
                  <a:pt x="2596664" y="1236915"/>
                </a:lnTo>
                <a:lnTo>
                  <a:pt x="2587129" y="1284019"/>
                </a:lnTo>
                <a:lnTo>
                  <a:pt x="2561143" y="1322526"/>
                </a:lnTo>
                <a:lnTo>
                  <a:pt x="2522633" y="1348509"/>
                </a:lnTo>
                <a:lnTo>
                  <a:pt x="2475526" y="1358042"/>
                </a:lnTo>
                <a:lnTo>
                  <a:pt x="121127" y="1358042"/>
                </a:lnTo>
                <a:close/>
              </a:path>
            </a:pathLst>
          </a:custGeom>
          <a:ln w="10470">
            <a:solidFill>
              <a:srgbClr val="DADADA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465250" y="3831619"/>
            <a:ext cx="1247609" cy="45520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182520" marR="3081" indent="-175204" defTabSz="554492">
              <a:spcBef>
                <a:spcPts val="58"/>
              </a:spcBef>
            </a:pPr>
            <a:r>
              <a:rPr sz="1455" b="1" kern="0" spc="-6" dirty="0">
                <a:solidFill>
                  <a:srgbClr val="18418F"/>
                </a:solidFill>
                <a:latin typeface="Verdana"/>
                <a:cs typeface="Verdana"/>
              </a:rPr>
              <a:t>Подготовка дизайна</a:t>
            </a:r>
            <a:endParaRPr sz="1455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640616" y="4778373"/>
            <a:ext cx="1574914" cy="823653"/>
          </a:xfrm>
          <a:custGeom>
            <a:avLst/>
            <a:gdLst/>
            <a:ahLst/>
            <a:cxnLst/>
            <a:rect l="l" t="t" r="r" b="b"/>
            <a:pathLst>
              <a:path w="2597150" h="1358265">
                <a:moveTo>
                  <a:pt x="121127" y="1358042"/>
                </a:moveTo>
                <a:lnTo>
                  <a:pt x="74022" y="1348509"/>
                </a:lnTo>
                <a:lnTo>
                  <a:pt x="35515" y="1322526"/>
                </a:lnTo>
                <a:lnTo>
                  <a:pt x="9533" y="1284019"/>
                </a:lnTo>
                <a:lnTo>
                  <a:pt x="0" y="1236915"/>
                </a:lnTo>
                <a:lnTo>
                  <a:pt x="0" y="121127"/>
                </a:lnTo>
                <a:lnTo>
                  <a:pt x="9533" y="74022"/>
                </a:lnTo>
                <a:lnTo>
                  <a:pt x="35515" y="35515"/>
                </a:lnTo>
                <a:lnTo>
                  <a:pt x="74022" y="9533"/>
                </a:lnTo>
                <a:lnTo>
                  <a:pt x="121127" y="0"/>
                </a:lnTo>
                <a:lnTo>
                  <a:pt x="2475526" y="0"/>
                </a:lnTo>
                <a:lnTo>
                  <a:pt x="2522633" y="9533"/>
                </a:lnTo>
                <a:lnTo>
                  <a:pt x="2561143" y="35515"/>
                </a:lnTo>
                <a:lnTo>
                  <a:pt x="2587129" y="74022"/>
                </a:lnTo>
                <a:lnTo>
                  <a:pt x="2596664" y="121127"/>
                </a:lnTo>
                <a:lnTo>
                  <a:pt x="2596664" y="1236915"/>
                </a:lnTo>
                <a:lnTo>
                  <a:pt x="2587129" y="1284019"/>
                </a:lnTo>
                <a:lnTo>
                  <a:pt x="2561143" y="1322526"/>
                </a:lnTo>
                <a:lnTo>
                  <a:pt x="2522633" y="1348509"/>
                </a:lnTo>
                <a:lnTo>
                  <a:pt x="2475526" y="1358042"/>
                </a:lnTo>
                <a:lnTo>
                  <a:pt x="121127" y="1358042"/>
                </a:lnTo>
                <a:close/>
              </a:path>
            </a:pathLst>
          </a:custGeom>
          <a:ln w="10470">
            <a:solidFill>
              <a:srgbClr val="DADADA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903202" y="4941963"/>
            <a:ext cx="1024657" cy="45520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indent="131307" defTabSz="554492">
              <a:spcBef>
                <a:spcPts val="58"/>
              </a:spcBef>
            </a:pPr>
            <a:r>
              <a:rPr sz="1455" b="1" kern="0" spc="-6" dirty="0">
                <a:solidFill>
                  <a:srgbClr val="18418F"/>
                </a:solidFill>
                <a:latin typeface="Verdana"/>
                <a:cs typeface="Verdana"/>
              </a:rPr>
              <a:t>Печать упаковки</a:t>
            </a:r>
            <a:endParaRPr sz="1455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967176" y="3668028"/>
            <a:ext cx="1574914" cy="823653"/>
          </a:xfrm>
          <a:custGeom>
            <a:avLst/>
            <a:gdLst/>
            <a:ahLst/>
            <a:cxnLst/>
            <a:rect l="l" t="t" r="r" b="b"/>
            <a:pathLst>
              <a:path w="2597150" h="1358265">
                <a:moveTo>
                  <a:pt x="121127" y="1358042"/>
                </a:moveTo>
                <a:lnTo>
                  <a:pt x="74022" y="1348509"/>
                </a:lnTo>
                <a:lnTo>
                  <a:pt x="35515" y="1322526"/>
                </a:lnTo>
                <a:lnTo>
                  <a:pt x="9533" y="1284019"/>
                </a:lnTo>
                <a:lnTo>
                  <a:pt x="0" y="1236915"/>
                </a:lnTo>
                <a:lnTo>
                  <a:pt x="0" y="121127"/>
                </a:lnTo>
                <a:lnTo>
                  <a:pt x="9533" y="74022"/>
                </a:lnTo>
                <a:lnTo>
                  <a:pt x="35515" y="35515"/>
                </a:lnTo>
                <a:lnTo>
                  <a:pt x="74022" y="9533"/>
                </a:lnTo>
                <a:lnTo>
                  <a:pt x="121127" y="0"/>
                </a:lnTo>
                <a:lnTo>
                  <a:pt x="2475526" y="0"/>
                </a:lnTo>
                <a:lnTo>
                  <a:pt x="2522633" y="9533"/>
                </a:lnTo>
                <a:lnTo>
                  <a:pt x="2561143" y="35515"/>
                </a:lnTo>
                <a:lnTo>
                  <a:pt x="2587129" y="74022"/>
                </a:lnTo>
                <a:lnTo>
                  <a:pt x="2596664" y="121127"/>
                </a:lnTo>
                <a:lnTo>
                  <a:pt x="2596664" y="1236915"/>
                </a:lnTo>
                <a:lnTo>
                  <a:pt x="2587129" y="1284019"/>
                </a:lnTo>
                <a:lnTo>
                  <a:pt x="2561143" y="1322526"/>
                </a:lnTo>
                <a:lnTo>
                  <a:pt x="2522633" y="1348509"/>
                </a:lnTo>
                <a:lnTo>
                  <a:pt x="2475526" y="1358042"/>
                </a:lnTo>
                <a:lnTo>
                  <a:pt x="121127" y="1358042"/>
                </a:lnTo>
                <a:close/>
              </a:path>
            </a:pathLst>
          </a:custGeom>
          <a:ln w="10470">
            <a:solidFill>
              <a:srgbClr val="DADADA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079432" y="3831619"/>
            <a:ext cx="1325007" cy="57061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316" marR="3081" algn="ctr" defTabSz="554492">
              <a:spcBef>
                <a:spcPts val="58"/>
              </a:spcBef>
            </a:pPr>
            <a:r>
              <a:rPr sz="1455" b="1" kern="0" dirty="0">
                <a:solidFill>
                  <a:srgbClr val="18418F"/>
                </a:solidFill>
                <a:latin typeface="Verdana"/>
                <a:cs typeface="Verdana"/>
              </a:rPr>
              <a:t>Ввод</a:t>
            </a:r>
            <a:r>
              <a:rPr sz="1455" b="1" kern="0" spc="-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18418F"/>
                </a:solidFill>
                <a:latin typeface="Verdana"/>
                <a:cs typeface="Verdana"/>
              </a:rPr>
              <a:t>товара </a:t>
            </a:r>
            <a:r>
              <a:rPr sz="1455" b="1" kern="0" dirty="0">
                <a:solidFill>
                  <a:srgbClr val="18418F"/>
                </a:solidFill>
                <a:latin typeface="Verdana"/>
                <a:cs typeface="Verdana"/>
              </a:rPr>
              <a:t>в</a:t>
            </a:r>
            <a:r>
              <a:rPr sz="1455" b="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18418F"/>
                </a:solidFill>
                <a:latin typeface="Verdana"/>
                <a:cs typeface="Verdana"/>
              </a:rPr>
              <a:t>систему</a:t>
            </a:r>
            <a:endParaRPr sz="1455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algn="ctr" defTabSz="554492">
              <a:lnSpc>
                <a:spcPts val="897"/>
              </a:lnSpc>
            </a:pPr>
            <a:r>
              <a:rPr sz="849" kern="0" dirty="0">
                <a:solidFill>
                  <a:srgbClr val="18418F"/>
                </a:solidFill>
                <a:latin typeface="Verdana"/>
                <a:cs typeface="Verdana"/>
              </a:rPr>
              <a:t>(карта </a:t>
            </a:r>
            <a:r>
              <a:rPr sz="849" kern="0" spc="-6" dirty="0">
                <a:solidFill>
                  <a:srgbClr val="18418F"/>
                </a:solidFill>
                <a:latin typeface="Verdana"/>
                <a:cs typeface="Verdana"/>
              </a:rPr>
              <a:t>ввода)</a:t>
            </a:r>
            <a:endParaRPr sz="849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7293735" y="4778373"/>
            <a:ext cx="1574914" cy="823653"/>
          </a:xfrm>
          <a:custGeom>
            <a:avLst/>
            <a:gdLst/>
            <a:ahLst/>
            <a:cxnLst/>
            <a:rect l="l" t="t" r="r" b="b"/>
            <a:pathLst>
              <a:path w="2597150" h="1358265">
                <a:moveTo>
                  <a:pt x="121127" y="1358042"/>
                </a:moveTo>
                <a:lnTo>
                  <a:pt x="74022" y="1348509"/>
                </a:lnTo>
                <a:lnTo>
                  <a:pt x="35515" y="1322526"/>
                </a:lnTo>
                <a:lnTo>
                  <a:pt x="9533" y="1284019"/>
                </a:lnTo>
                <a:lnTo>
                  <a:pt x="0" y="1236915"/>
                </a:lnTo>
                <a:lnTo>
                  <a:pt x="0" y="121127"/>
                </a:lnTo>
                <a:lnTo>
                  <a:pt x="9533" y="74022"/>
                </a:lnTo>
                <a:lnTo>
                  <a:pt x="35515" y="35515"/>
                </a:lnTo>
                <a:lnTo>
                  <a:pt x="74022" y="9533"/>
                </a:lnTo>
                <a:lnTo>
                  <a:pt x="121127" y="0"/>
                </a:lnTo>
                <a:lnTo>
                  <a:pt x="2475526" y="0"/>
                </a:lnTo>
                <a:lnTo>
                  <a:pt x="2522633" y="9533"/>
                </a:lnTo>
                <a:lnTo>
                  <a:pt x="2561143" y="35515"/>
                </a:lnTo>
                <a:lnTo>
                  <a:pt x="2587129" y="74022"/>
                </a:lnTo>
                <a:lnTo>
                  <a:pt x="2596664" y="121127"/>
                </a:lnTo>
                <a:lnTo>
                  <a:pt x="2596664" y="1236915"/>
                </a:lnTo>
                <a:lnTo>
                  <a:pt x="2587129" y="1284019"/>
                </a:lnTo>
                <a:lnTo>
                  <a:pt x="2561143" y="1322526"/>
                </a:lnTo>
                <a:lnTo>
                  <a:pt x="2522633" y="1348509"/>
                </a:lnTo>
                <a:lnTo>
                  <a:pt x="2475526" y="1358042"/>
                </a:lnTo>
                <a:lnTo>
                  <a:pt x="121127" y="1358042"/>
                </a:lnTo>
                <a:close/>
              </a:path>
            </a:pathLst>
          </a:custGeom>
          <a:ln w="10470">
            <a:solidFill>
              <a:srgbClr val="DADADA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755949" y="5062614"/>
            <a:ext cx="624960" cy="231295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defTabSz="554492">
              <a:spcBef>
                <a:spcPts val="58"/>
              </a:spcBef>
            </a:pPr>
            <a:r>
              <a:rPr sz="1455" b="1" kern="0" spc="-6" dirty="0">
                <a:solidFill>
                  <a:srgbClr val="18418F"/>
                </a:solidFill>
                <a:latin typeface="Verdana"/>
                <a:cs typeface="Verdana"/>
              </a:rPr>
              <a:t>Заказ</a:t>
            </a:r>
            <a:endParaRPr sz="1455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8620295" y="3668028"/>
            <a:ext cx="1574914" cy="823653"/>
          </a:xfrm>
          <a:custGeom>
            <a:avLst/>
            <a:gdLst/>
            <a:ahLst/>
            <a:cxnLst/>
            <a:rect l="l" t="t" r="r" b="b"/>
            <a:pathLst>
              <a:path w="2597150" h="1358265">
                <a:moveTo>
                  <a:pt x="121127" y="1358042"/>
                </a:moveTo>
                <a:lnTo>
                  <a:pt x="74022" y="1348509"/>
                </a:lnTo>
                <a:lnTo>
                  <a:pt x="35515" y="1322526"/>
                </a:lnTo>
                <a:lnTo>
                  <a:pt x="9533" y="1284019"/>
                </a:lnTo>
                <a:lnTo>
                  <a:pt x="0" y="1236915"/>
                </a:lnTo>
                <a:lnTo>
                  <a:pt x="0" y="121127"/>
                </a:lnTo>
                <a:lnTo>
                  <a:pt x="9533" y="74022"/>
                </a:lnTo>
                <a:lnTo>
                  <a:pt x="35515" y="35515"/>
                </a:lnTo>
                <a:lnTo>
                  <a:pt x="74022" y="9533"/>
                </a:lnTo>
                <a:lnTo>
                  <a:pt x="121127" y="0"/>
                </a:lnTo>
                <a:lnTo>
                  <a:pt x="2475526" y="0"/>
                </a:lnTo>
                <a:lnTo>
                  <a:pt x="2522633" y="9533"/>
                </a:lnTo>
                <a:lnTo>
                  <a:pt x="2561143" y="35515"/>
                </a:lnTo>
                <a:lnTo>
                  <a:pt x="2587129" y="74022"/>
                </a:lnTo>
                <a:lnTo>
                  <a:pt x="2596664" y="121127"/>
                </a:lnTo>
                <a:lnTo>
                  <a:pt x="2596664" y="1236915"/>
                </a:lnTo>
                <a:lnTo>
                  <a:pt x="2587129" y="1284019"/>
                </a:lnTo>
                <a:lnTo>
                  <a:pt x="2561143" y="1322526"/>
                </a:lnTo>
                <a:lnTo>
                  <a:pt x="2522633" y="1348509"/>
                </a:lnTo>
                <a:lnTo>
                  <a:pt x="2475526" y="1358042"/>
                </a:lnTo>
                <a:lnTo>
                  <a:pt x="121127" y="1358042"/>
                </a:lnTo>
                <a:close/>
              </a:path>
            </a:pathLst>
          </a:custGeom>
          <a:ln w="10470">
            <a:solidFill>
              <a:srgbClr val="DADADA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641098" y="3831619"/>
            <a:ext cx="1508683" cy="45520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366581" marR="3081" indent="-359265" defTabSz="554492">
              <a:spcBef>
                <a:spcPts val="58"/>
              </a:spcBef>
            </a:pPr>
            <a:r>
              <a:rPr sz="1455" b="1" kern="0" spc="-6" dirty="0">
                <a:solidFill>
                  <a:srgbClr val="18418F"/>
                </a:solidFill>
                <a:latin typeface="Verdana"/>
                <a:cs typeface="Verdana"/>
              </a:rPr>
              <a:t>Производство заказа</a:t>
            </a:r>
            <a:endParaRPr sz="1455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9946850" y="4778369"/>
            <a:ext cx="1574914" cy="940713"/>
          </a:xfrm>
          <a:custGeom>
            <a:avLst/>
            <a:gdLst/>
            <a:ahLst/>
            <a:cxnLst/>
            <a:rect l="l" t="t" r="r" b="b"/>
            <a:pathLst>
              <a:path w="2597150" h="1551304">
                <a:moveTo>
                  <a:pt x="0" y="1421611"/>
                </a:moveTo>
                <a:lnTo>
                  <a:pt x="0" y="129462"/>
                </a:lnTo>
                <a:lnTo>
                  <a:pt x="10172" y="79067"/>
                </a:lnTo>
                <a:lnTo>
                  <a:pt x="37915" y="37916"/>
                </a:lnTo>
                <a:lnTo>
                  <a:pt x="79062" y="10172"/>
                </a:lnTo>
                <a:lnTo>
                  <a:pt x="129451" y="0"/>
                </a:lnTo>
                <a:lnTo>
                  <a:pt x="2467212" y="0"/>
                </a:lnTo>
                <a:lnTo>
                  <a:pt x="2517601" y="10172"/>
                </a:lnTo>
                <a:lnTo>
                  <a:pt x="2558749" y="37916"/>
                </a:lnTo>
                <a:lnTo>
                  <a:pt x="2586491" y="79067"/>
                </a:lnTo>
                <a:lnTo>
                  <a:pt x="2596664" y="129462"/>
                </a:lnTo>
                <a:lnTo>
                  <a:pt x="2596664" y="1421611"/>
                </a:lnTo>
                <a:lnTo>
                  <a:pt x="2586491" y="1472000"/>
                </a:lnTo>
                <a:lnTo>
                  <a:pt x="2558749" y="1513147"/>
                </a:lnTo>
                <a:lnTo>
                  <a:pt x="2517601" y="1540889"/>
                </a:lnTo>
                <a:lnTo>
                  <a:pt x="2467212" y="1551062"/>
                </a:lnTo>
                <a:lnTo>
                  <a:pt x="129451" y="1551062"/>
                </a:lnTo>
                <a:lnTo>
                  <a:pt x="79062" y="1540889"/>
                </a:lnTo>
                <a:lnTo>
                  <a:pt x="37915" y="1513147"/>
                </a:lnTo>
                <a:lnTo>
                  <a:pt x="10172" y="1472000"/>
                </a:lnTo>
                <a:lnTo>
                  <a:pt x="0" y="1421611"/>
                </a:lnTo>
                <a:close/>
              </a:path>
            </a:pathLst>
          </a:custGeom>
          <a:ln w="11193">
            <a:solidFill>
              <a:srgbClr val="DADADA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0210433" y="4941963"/>
            <a:ext cx="1022346" cy="67911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indent="-385" algn="ctr" defTabSz="554492">
              <a:spcBef>
                <a:spcPts val="58"/>
              </a:spcBef>
            </a:pPr>
            <a:r>
              <a:rPr sz="1455" b="1" kern="0" spc="-6" dirty="0">
                <a:solidFill>
                  <a:srgbClr val="18418F"/>
                </a:solidFill>
                <a:latin typeface="Verdana"/>
                <a:cs typeface="Verdana"/>
              </a:rPr>
              <a:t>Поставка товара </a:t>
            </a:r>
            <a:r>
              <a:rPr sz="1455" b="1" kern="0" dirty="0">
                <a:solidFill>
                  <a:srgbClr val="18418F"/>
                </a:solidFill>
                <a:latin typeface="Verdana"/>
                <a:cs typeface="Verdana"/>
              </a:rPr>
              <a:t>на</a:t>
            </a:r>
            <a:r>
              <a:rPr sz="1455" b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18418F"/>
                </a:solidFill>
                <a:latin typeface="Verdana"/>
                <a:cs typeface="Verdana"/>
              </a:rPr>
              <a:t>РЦ/ТК</a:t>
            </a:r>
            <a:endParaRPr sz="1455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850174" y="2145968"/>
            <a:ext cx="10485693" cy="2737039"/>
            <a:chOff x="1401294" y="3538861"/>
            <a:chExt cx="17291685" cy="4513580"/>
          </a:xfrm>
        </p:grpSpPr>
        <p:sp>
          <p:nvSpPr>
            <p:cNvPr id="20" name="object 20"/>
            <p:cNvSpPr/>
            <p:nvPr/>
          </p:nvSpPr>
          <p:spPr>
            <a:xfrm>
              <a:off x="2337562" y="4186751"/>
              <a:ext cx="25400" cy="1873885"/>
            </a:xfrm>
            <a:custGeom>
              <a:avLst/>
              <a:gdLst/>
              <a:ahLst/>
              <a:cxnLst/>
              <a:rect l="l" t="t" r="r" b="b"/>
              <a:pathLst>
                <a:path w="25400" h="1873885">
                  <a:moveTo>
                    <a:pt x="25311" y="1823161"/>
                  </a:moveTo>
                  <a:lnTo>
                    <a:pt x="0" y="1823161"/>
                  </a:lnTo>
                  <a:lnTo>
                    <a:pt x="0" y="1873808"/>
                  </a:lnTo>
                  <a:lnTo>
                    <a:pt x="25311" y="1873808"/>
                  </a:lnTo>
                  <a:lnTo>
                    <a:pt x="25311" y="1823161"/>
                  </a:lnTo>
                  <a:close/>
                </a:path>
                <a:path w="25400" h="1873885">
                  <a:moveTo>
                    <a:pt x="25311" y="1698332"/>
                  </a:moveTo>
                  <a:lnTo>
                    <a:pt x="0" y="1698332"/>
                  </a:lnTo>
                  <a:lnTo>
                    <a:pt x="0" y="1798193"/>
                  </a:lnTo>
                  <a:lnTo>
                    <a:pt x="25311" y="1798193"/>
                  </a:lnTo>
                  <a:lnTo>
                    <a:pt x="25311" y="1698332"/>
                  </a:lnTo>
                  <a:close/>
                </a:path>
                <a:path w="25400" h="1873885">
                  <a:moveTo>
                    <a:pt x="25311" y="1573504"/>
                  </a:moveTo>
                  <a:lnTo>
                    <a:pt x="0" y="1573504"/>
                  </a:lnTo>
                  <a:lnTo>
                    <a:pt x="0" y="1673364"/>
                  </a:lnTo>
                  <a:lnTo>
                    <a:pt x="25311" y="1673364"/>
                  </a:lnTo>
                  <a:lnTo>
                    <a:pt x="25311" y="1573504"/>
                  </a:lnTo>
                  <a:close/>
                </a:path>
                <a:path w="25400" h="1873885">
                  <a:moveTo>
                    <a:pt x="25311" y="1448689"/>
                  </a:moveTo>
                  <a:lnTo>
                    <a:pt x="0" y="1448689"/>
                  </a:lnTo>
                  <a:lnTo>
                    <a:pt x="0" y="1548549"/>
                  </a:lnTo>
                  <a:lnTo>
                    <a:pt x="25311" y="1548549"/>
                  </a:lnTo>
                  <a:lnTo>
                    <a:pt x="25311" y="1448689"/>
                  </a:lnTo>
                  <a:close/>
                </a:path>
                <a:path w="25400" h="1873885">
                  <a:moveTo>
                    <a:pt x="25311" y="1323860"/>
                  </a:moveTo>
                  <a:lnTo>
                    <a:pt x="0" y="1323860"/>
                  </a:lnTo>
                  <a:lnTo>
                    <a:pt x="0" y="1423720"/>
                  </a:lnTo>
                  <a:lnTo>
                    <a:pt x="25311" y="1423720"/>
                  </a:lnTo>
                  <a:lnTo>
                    <a:pt x="25311" y="1323860"/>
                  </a:lnTo>
                  <a:close/>
                </a:path>
                <a:path w="25400" h="1873885">
                  <a:moveTo>
                    <a:pt x="25311" y="1199032"/>
                  </a:moveTo>
                  <a:lnTo>
                    <a:pt x="0" y="1199032"/>
                  </a:lnTo>
                  <a:lnTo>
                    <a:pt x="0" y="1298905"/>
                  </a:lnTo>
                  <a:lnTo>
                    <a:pt x="25311" y="1298905"/>
                  </a:lnTo>
                  <a:lnTo>
                    <a:pt x="25311" y="1199032"/>
                  </a:lnTo>
                  <a:close/>
                </a:path>
                <a:path w="25400" h="1873885">
                  <a:moveTo>
                    <a:pt x="25311" y="1074204"/>
                  </a:moveTo>
                  <a:lnTo>
                    <a:pt x="0" y="1074204"/>
                  </a:lnTo>
                  <a:lnTo>
                    <a:pt x="0" y="1174064"/>
                  </a:lnTo>
                  <a:lnTo>
                    <a:pt x="25311" y="1174064"/>
                  </a:lnTo>
                  <a:lnTo>
                    <a:pt x="25311" y="1074204"/>
                  </a:lnTo>
                  <a:close/>
                </a:path>
                <a:path w="25400" h="1873885">
                  <a:moveTo>
                    <a:pt x="25311" y="949375"/>
                  </a:moveTo>
                  <a:lnTo>
                    <a:pt x="0" y="949375"/>
                  </a:lnTo>
                  <a:lnTo>
                    <a:pt x="0" y="1049235"/>
                  </a:lnTo>
                  <a:lnTo>
                    <a:pt x="25311" y="1049235"/>
                  </a:lnTo>
                  <a:lnTo>
                    <a:pt x="25311" y="949375"/>
                  </a:lnTo>
                  <a:close/>
                </a:path>
                <a:path w="25400" h="1873885">
                  <a:moveTo>
                    <a:pt x="25311" y="824560"/>
                  </a:moveTo>
                  <a:lnTo>
                    <a:pt x="0" y="824560"/>
                  </a:lnTo>
                  <a:lnTo>
                    <a:pt x="0" y="924420"/>
                  </a:lnTo>
                  <a:lnTo>
                    <a:pt x="25311" y="924420"/>
                  </a:lnTo>
                  <a:lnTo>
                    <a:pt x="25311" y="824560"/>
                  </a:lnTo>
                  <a:close/>
                </a:path>
                <a:path w="25400" h="1873885">
                  <a:moveTo>
                    <a:pt x="25311" y="699731"/>
                  </a:moveTo>
                  <a:lnTo>
                    <a:pt x="0" y="699731"/>
                  </a:lnTo>
                  <a:lnTo>
                    <a:pt x="0" y="799592"/>
                  </a:lnTo>
                  <a:lnTo>
                    <a:pt x="25311" y="799592"/>
                  </a:lnTo>
                  <a:lnTo>
                    <a:pt x="25311" y="699731"/>
                  </a:lnTo>
                  <a:close/>
                </a:path>
                <a:path w="25400" h="1873885">
                  <a:moveTo>
                    <a:pt x="25311" y="574916"/>
                  </a:moveTo>
                  <a:lnTo>
                    <a:pt x="0" y="574916"/>
                  </a:lnTo>
                  <a:lnTo>
                    <a:pt x="0" y="674776"/>
                  </a:lnTo>
                  <a:lnTo>
                    <a:pt x="25311" y="674776"/>
                  </a:lnTo>
                  <a:lnTo>
                    <a:pt x="25311" y="574916"/>
                  </a:lnTo>
                  <a:close/>
                </a:path>
                <a:path w="25400" h="1873885">
                  <a:moveTo>
                    <a:pt x="25311" y="450075"/>
                  </a:moveTo>
                  <a:lnTo>
                    <a:pt x="0" y="450075"/>
                  </a:lnTo>
                  <a:lnTo>
                    <a:pt x="0" y="549935"/>
                  </a:lnTo>
                  <a:lnTo>
                    <a:pt x="25311" y="549935"/>
                  </a:lnTo>
                  <a:lnTo>
                    <a:pt x="25311" y="450075"/>
                  </a:lnTo>
                  <a:close/>
                </a:path>
                <a:path w="25400" h="1873885">
                  <a:moveTo>
                    <a:pt x="25311" y="325247"/>
                  </a:moveTo>
                  <a:lnTo>
                    <a:pt x="0" y="325247"/>
                  </a:lnTo>
                  <a:lnTo>
                    <a:pt x="0" y="425119"/>
                  </a:lnTo>
                  <a:lnTo>
                    <a:pt x="25311" y="425119"/>
                  </a:lnTo>
                  <a:lnTo>
                    <a:pt x="25311" y="325247"/>
                  </a:lnTo>
                  <a:close/>
                </a:path>
                <a:path w="25400" h="1873885">
                  <a:moveTo>
                    <a:pt x="25311" y="200431"/>
                  </a:moveTo>
                  <a:lnTo>
                    <a:pt x="0" y="200431"/>
                  </a:lnTo>
                  <a:lnTo>
                    <a:pt x="0" y="300291"/>
                  </a:lnTo>
                  <a:lnTo>
                    <a:pt x="25311" y="300291"/>
                  </a:lnTo>
                  <a:lnTo>
                    <a:pt x="25311" y="200431"/>
                  </a:lnTo>
                  <a:close/>
                </a:path>
                <a:path w="25400" h="1873885">
                  <a:moveTo>
                    <a:pt x="25311" y="75603"/>
                  </a:moveTo>
                  <a:lnTo>
                    <a:pt x="0" y="75603"/>
                  </a:lnTo>
                  <a:lnTo>
                    <a:pt x="0" y="175463"/>
                  </a:lnTo>
                  <a:lnTo>
                    <a:pt x="25311" y="175463"/>
                  </a:lnTo>
                  <a:lnTo>
                    <a:pt x="25311" y="75603"/>
                  </a:lnTo>
                  <a:close/>
                </a:path>
                <a:path w="25400" h="1873885">
                  <a:moveTo>
                    <a:pt x="25311" y="0"/>
                  </a:moveTo>
                  <a:lnTo>
                    <a:pt x="0" y="0"/>
                  </a:lnTo>
                  <a:lnTo>
                    <a:pt x="0" y="50647"/>
                  </a:lnTo>
                  <a:lnTo>
                    <a:pt x="25311" y="50647"/>
                  </a:lnTo>
                  <a:lnTo>
                    <a:pt x="25311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1401294" y="4119273"/>
              <a:ext cx="1945639" cy="732790"/>
            </a:xfrm>
            <a:custGeom>
              <a:avLst/>
              <a:gdLst/>
              <a:ahLst/>
              <a:cxnLst/>
              <a:rect l="l" t="t" r="r" b="b"/>
              <a:pathLst>
                <a:path w="1945639" h="732789">
                  <a:moveTo>
                    <a:pt x="1788270" y="0"/>
                  </a:moveTo>
                  <a:lnTo>
                    <a:pt x="157063" y="0"/>
                  </a:lnTo>
                  <a:lnTo>
                    <a:pt x="107416" y="8007"/>
                  </a:lnTo>
                  <a:lnTo>
                    <a:pt x="64300" y="30304"/>
                  </a:lnTo>
                  <a:lnTo>
                    <a:pt x="30301" y="64304"/>
                  </a:lnTo>
                  <a:lnTo>
                    <a:pt x="8006" y="107420"/>
                  </a:lnTo>
                  <a:lnTo>
                    <a:pt x="0" y="157063"/>
                  </a:lnTo>
                  <a:lnTo>
                    <a:pt x="0" y="575144"/>
                  </a:lnTo>
                  <a:lnTo>
                    <a:pt x="8006" y="624787"/>
                  </a:lnTo>
                  <a:lnTo>
                    <a:pt x="30301" y="667903"/>
                  </a:lnTo>
                  <a:lnTo>
                    <a:pt x="64300" y="701903"/>
                  </a:lnTo>
                  <a:lnTo>
                    <a:pt x="107416" y="724200"/>
                  </a:lnTo>
                  <a:lnTo>
                    <a:pt x="157063" y="732208"/>
                  </a:lnTo>
                  <a:lnTo>
                    <a:pt x="1788270" y="732208"/>
                  </a:lnTo>
                  <a:lnTo>
                    <a:pt x="1837913" y="724200"/>
                  </a:lnTo>
                  <a:lnTo>
                    <a:pt x="1881028" y="701903"/>
                  </a:lnTo>
                  <a:lnTo>
                    <a:pt x="1915028" y="667903"/>
                  </a:lnTo>
                  <a:lnTo>
                    <a:pt x="1937325" y="624787"/>
                  </a:lnTo>
                  <a:lnTo>
                    <a:pt x="1945333" y="575144"/>
                  </a:lnTo>
                  <a:lnTo>
                    <a:pt x="1945333" y="157063"/>
                  </a:lnTo>
                  <a:lnTo>
                    <a:pt x="1937325" y="107420"/>
                  </a:lnTo>
                  <a:lnTo>
                    <a:pt x="1915028" y="64304"/>
                  </a:lnTo>
                  <a:lnTo>
                    <a:pt x="1881028" y="30304"/>
                  </a:lnTo>
                  <a:lnTo>
                    <a:pt x="1837913" y="8007"/>
                  </a:lnTo>
                  <a:lnTo>
                    <a:pt x="1788270" y="0"/>
                  </a:lnTo>
                  <a:close/>
                </a:path>
              </a:pathLst>
            </a:custGeom>
            <a:solidFill>
              <a:srgbClr val="18418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1794210" y="3538861"/>
              <a:ext cx="1125855" cy="1125855"/>
            </a:xfrm>
            <a:custGeom>
              <a:avLst/>
              <a:gdLst/>
              <a:ahLst/>
              <a:cxnLst/>
              <a:rect l="l" t="t" r="r" b="b"/>
              <a:pathLst>
                <a:path w="1125855" h="1125854">
                  <a:moveTo>
                    <a:pt x="562820" y="0"/>
                  </a:moveTo>
                  <a:lnTo>
                    <a:pt x="514258" y="2065"/>
                  </a:lnTo>
                  <a:lnTo>
                    <a:pt x="466842" y="8151"/>
                  </a:lnTo>
                  <a:lnTo>
                    <a:pt x="420743" y="18086"/>
                  </a:lnTo>
                  <a:lnTo>
                    <a:pt x="376129" y="31703"/>
                  </a:lnTo>
                  <a:lnTo>
                    <a:pt x="333169" y="48833"/>
                  </a:lnTo>
                  <a:lnTo>
                    <a:pt x="292031" y="69305"/>
                  </a:lnTo>
                  <a:lnTo>
                    <a:pt x="252886" y="92953"/>
                  </a:lnTo>
                  <a:lnTo>
                    <a:pt x="215901" y="119605"/>
                  </a:lnTo>
                  <a:lnTo>
                    <a:pt x="181246" y="149095"/>
                  </a:lnTo>
                  <a:lnTo>
                    <a:pt x="149090" y="181252"/>
                  </a:lnTo>
                  <a:lnTo>
                    <a:pt x="119601" y="215908"/>
                  </a:lnTo>
                  <a:lnTo>
                    <a:pt x="92949" y="252893"/>
                  </a:lnTo>
                  <a:lnTo>
                    <a:pt x="69303" y="292039"/>
                  </a:lnTo>
                  <a:lnTo>
                    <a:pt x="48831" y="333177"/>
                  </a:lnTo>
                  <a:lnTo>
                    <a:pt x="31702" y="376138"/>
                  </a:lnTo>
                  <a:lnTo>
                    <a:pt x="18086" y="420753"/>
                  </a:lnTo>
                  <a:lnTo>
                    <a:pt x="8150" y="466852"/>
                  </a:lnTo>
                  <a:lnTo>
                    <a:pt x="2065" y="514268"/>
                  </a:lnTo>
                  <a:lnTo>
                    <a:pt x="0" y="562831"/>
                  </a:lnTo>
                  <a:lnTo>
                    <a:pt x="2065" y="611393"/>
                  </a:lnTo>
                  <a:lnTo>
                    <a:pt x="8150" y="658809"/>
                  </a:lnTo>
                  <a:lnTo>
                    <a:pt x="18086" y="704908"/>
                  </a:lnTo>
                  <a:lnTo>
                    <a:pt x="31702" y="749523"/>
                  </a:lnTo>
                  <a:lnTo>
                    <a:pt x="48831" y="792484"/>
                  </a:lnTo>
                  <a:lnTo>
                    <a:pt x="69303" y="833622"/>
                  </a:lnTo>
                  <a:lnTo>
                    <a:pt x="92949" y="872768"/>
                  </a:lnTo>
                  <a:lnTo>
                    <a:pt x="119601" y="909753"/>
                  </a:lnTo>
                  <a:lnTo>
                    <a:pt x="149090" y="944409"/>
                  </a:lnTo>
                  <a:lnTo>
                    <a:pt x="181246" y="976566"/>
                  </a:lnTo>
                  <a:lnTo>
                    <a:pt x="215901" y="1006056"/>
                  </a:lnTo>
                  <a:lnTo>
                    <a:pt x="252886" y="1032708"/>
                  </a:lnTo>
                  <a:lnTo>
                    <a:pt x="292031" y="1056356"/>
                  </a:lnTo>
                  <a:lnTo>
                    <a:pt x="333169" y="1076829"/>
                  </a:lnTo>
                  <a:lnTo>
                    <a:pt x="376129" y="1093958"/>
                  </a:lnTo>
                  <a:lnTo>
                    <a:pt x="420743" y="1107575"/>
                  </a:lnTo>
                  <a:lnTo>
                    <a:pt x="466842" y="1117510"/>
                  </a:lnTo>
                  <a:lnTo>
                    <a:pt x="514258" y="1123596"/>
                  </a:lnTo>
                  <a:lnTo>
                    <a:pt x="562820" y="1125662"/>
                  </a:lnTo>
                  <a:lnTo>
                    <a:pt x="611384" y="1123596"/>
                  </a:lnTo>
                  <a:lnTo>
                    <a:pt x="658801" y="1117510"/>
                  </a:lnTo>
                  <a:lnTo>
                    <a:pt x="704901" y="1107575"/>
                  </a:lnTo>
                  <a:lnTo>
                    <a:pt x="749517" y="1093958"/>
                  </a:lnTo>
                  <a:lnTo>
                    <a:pt x="792478" y="1076829"/>
                  </a:lnTo>
                  <a:lnTo>
                    <a:pt x="833616" y="1056356"/>
                  </a:lnTo>
                  <a:lnTo>
                    <a:pt x="872762" y="1032708"/>
                  </a:lnTo>
                  <a:lnTo>
                    <a:pt x="909747" y="1006056"/>
                  </a:lnTo>
                  <a:lnTo>
                    <a:pt x="944403" y="976566"/>
                  </a:lnTo>
                  <a:lnTo>
                    <a:pt x="976559" y="944409"/>
                  </a:lnTo>
                  <a:lnTo>
                    <a:pt x="1006048" y="909753"/>
                  </a:lnTo>
                  <a:lnTo>
                    <a:pt x="1032701" y="872768"/>
                  </a:lnTo>
                  <a:lnTo>
                    <a:pt x="1056347" y="833622"/>
                  </a:lnTo>
                  <a:lnTo>
                    <a:pt x="1076820" y="792484"/>
                  </a:lnTo>
                  <a:lnTo>
                    <a:pt x="1093948" y="749523"/>
                  </a:lnTo>
                  <a:lnTo>
                    <a:pt x="1107565" y="704908"/>
                  </a:lnTo>
                  <a:lnTo>
                    <a:pt x="1117500" y="658809"/>
                  </a:lnTo>
                  <a:lnTo>
                    <a:pt x="1123585" y="611393"/>
                  </a:lnTo>
                  <a:lnTo>
                    <a:pt x="1125651" y="562831"/>
                  </a:lnTo>
                  <a:lnTo>
                    <a:pt x="1123585" y="514268"/>
                  </a:lnTo>
                  <a:lnTo>
                    <a:pt x="1117500" y="466852"/>
                  </a:lnTo>
                  <a:lnTo>
                    <a:pt x="1107565" y="420753"/>
                  </a:lnTo>
                  <a:lnTo>
                    <a:pt x="1093948" y="376138"/>
                  </a:lnTo>
                  <a:lnTo>
                    <a:pt x="1076820" y="333177"/>
                  </a:lnTo>
                  <a:lnTo>
                    <a:pt x="1056347" y="292039"/>
                  </a:lnTo>
                  <a:lnTo>
                    <a:pt x="1032701" y="252893"/>
                  </a:lnTo>
                  <a:lnTo>
                    <a:pt x="1006048" y="215908"/>
                  </a:lnTo>
                  <a:lnTo>
                    <a:pt x="976559" y="181252"/>
                  </a:lnTo>
                  <a:lnTo>
                    <a:pt x="944403" y="149095"/>
                  </a:lnTo>
                  <a:lnTo>
                    <a:pt x="909747" y="119605"/>
                  </a:lnTo>
                  <a:lnTo>
                    <a:pt x="872762" y="92953"/>
                  </a:lnTo>
                  <a:lnTo>
                    <a:pt x="833616" y="69305"/>
                  </a:lnTo>
                  <a:lnTo>
                    <a:pt x="792478" y="48833"/>
                  </a:lnTo>
                  <a:lnTo>
                    <a:pt x="749517" y="31703"/>
                  </a:lnTo>
                  <a:lnTo>
                    <a:pt x="704901" y="18086"/>
                  </a:lnTo>
                  <a:lnTo>
                    <a:pt x="658801" y="8151"/>
                  </a:lnTo>
                  <a:lnTo>
                    <a:pt x="611384" y="2065"/>
                  </a:lnTo>
                  <a:lnTo>
                    <a:pt x="5628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1891718" y="3636377"/>
              <a:ext cx="930910" cy="930910"/>
            </a:xfrm>
            <a:custGeom>
              <a:avLst/>
              <a:gdLst/>
              <a:ahLst/>
              <a:cxnLst/>
              <a:rect l="l" t="t" r="r" b="b"/>
              <a:pathLst>
                <a:path w="930910" h="930910">
                  <a:moveTo>
                    <a:pt x="465315" y="0"/>
                  </a:moveTo>
                  <a:lnTo>
                    <a:pt x="417739" y="2402"/>
                  </a:lnTo>
                  <a:lnTo>
                    <a:pt x="371538" y="9453"/>
                  </a:lnTo>
                  <a:lnTo>
                    <a:pt x="326944" y="20919"/>
                  </a:lnTo>
                  <a:lnTo>
                    <a:pt x="284193" y="36566"/>
                  </a:lnTo>
                  <a:lnTo>
                    <a:pt x="243518" y="56161"/>
                  </a:lnTo>
                  <a:lnTo>
                    <a:pt x="205153" y="79468"/>
                  </a:lnTo>
                  <a:lnTo>
                    <a:pt x="169331" y="106255"/>
                  </a:lnTo>
                  <a:lnTo>
                    <a:pt x="136287" y="136287"/>
                  </a:lnTo>
                  <a:lnTo>
                    <a:pt x="106255" y="169331"/>
                  </a:lnTo>
                  <a:lnTo>
                    <a:pt x="79468" y="205153"/>
                  </a:lnTo>
                  <a:lnTo>
                    <a:pt x="56161" y="243518"/>
                  </a:lnTo>
                  <a:lnTo>
                    <a:pt x="36566" y="284193"/>
                  </a:lnTo>
                  <a:lnTo>
                    <a:pt x="20919" y="326944"/>
                  </a:lnTo>
                  <a:lnTo>
                    <a:pt x="9453" y="371538"/>
                  </a:lnTo>
                  <a:lnTo>
                    <a:pt x="2402" y="417739"/>
                  </a:lnTo>
                  <a:lnTo>
                    <a:pt x="0" y="465315"/>
                  </a:lnTo>
                  <a:lnTo>
                    <a:pt x="2402" y="512891"/>
                  </a:lnTo>
                  <a:lnTo>
                    <a:pt x="9453" y="559093"/>
                  </a:lnTo>
                  <a:lnTo>
                    <a:pt x="20919" y="603686"/>
                  </a:lnTo>
                  <a:lnTo>
                    <a:pt x="36566" y="646437"/>
                  </a:lnTo>
                  <a:lnTo>
                    <a:pt x="56161" y="687112"/>
                  </a:lnTo>
                  <a:lnTo>
                    <a:pt x="79468" y="725478"/>
                  </a:lnTo>
                  <a:lnTo>
                    <a:pt x="106255" y="761299"/>
                  </a:lnTo>
                  <a:lnTo>
                    <a:pt x="136287" y="794343"/>
                  </a:lnTo>
                  <a:lnTo>
                    <a:pt x="169331" y="824375"/>
                  </a:lnTo>
                  <a:lnTo>
                    <a:pt x="205153" y="851162"/>
                  </a:lnTo>
                  <a:lnTo>
                    <a:pt x="243518" y="874470"/>
                  </a:lnTo>
                  <a:lnTo>
                    <a:pt x="284193" y="894064"/>
                  </a:lnTo>
                  <a:lnTo>
                    <a:pt x="326944" y="909711"/>
                  </a:lnTo>
                  <a:lnTo>
                    <a:pt x="371538" y="921177"/>
                  </a:lnTo>
                  <a:lnTo>
                    <a:pt x="417739" y="928228"/>
                  </a:lnTo>
                  <a:lnTo>
                    <a:pt x="465315" y="930631"/>
                  </a:lnTo>
                  <a:lnTo>
                    <a:pt x="512891" y="928228"/>
                  </a:lnTo>
                  <a:lnTo>
                    <a:pt x="559093" y="921177"/>
                  </a:lnTo>
                  <a:lnTo>
                    <a:pt x="603686" y="909711"/>
                  </a:lnTo>
                  <a:lnTo>
                    <a:pt x="646437" y="894064"/>
                  </a:lnTo>
                  <a:lnTo>
                    <a:pt x="687112" y="874470"/>
                  </a:lnTo>
                  <a:lnTo>
                    <a:pt x="725478" y="851162"/>
                  </a:lnTo>
                  <a:lnTo>
                    <a:pt x="761299" y="824375"/>
                  </a:lnTo>
                  <a:lnTo>
                    <a:pt x="794343" y="794343"/>
                  </a:lnTo>
                  <a:lnTo>
                    <a:pt x="824375" y="761299"/>
                  </a:lnTo>
                  <a:lnTo>
                    <a:pt x="851162" y="725478"/>
                  </a:lnTo>
                  <a:lnTo>
                    <a:pt x="874470" y="687112"/>
                  </a:lnTo>
                  <a:lnTo>
                    <a:pt x="894064" y="646437"/>
                  </a:lnTo>
                  <a:lnTo>
                    <a:pt x="909711" y="603686"/>
                  </a:lnTo>
                  <a:lnTo>
                    <a:pt x="921177" y="559093"/>
                  </a:lnTo>
                  <a:lnTo>
                    <a:pt x="928228" y="512891"/>
                  </a:lnTo>
                  <a:lnTo>
                    <a:pt x="930631" y="465315"/>
                  </a:lnTo>
                  <a:lnTo>
                    <a:pt x="928228" y="417739"/>
                  </a:lnTo>
                  <a:lnTo>
                    <a:pt x="921177" y="371538"/>
                  </a:lnTo>
                  <a:lnTo>
                    <a:pt x="909711" y="326944"/>
                  </a:lnTo>
                  <a:lnTo>
                    <a:pt x="894064" y="284193"/>
                  </a:lnTo>
                  <a:lnTo>
                    <a:pt x="874470" y="243518"/>
                  </a:lnTo>
                  <a:lnTo>
                    <a:pt x="851162" y="205153"/>
                  </a:lnTo>
                  <a:lnTo>
                    <a:pt x="824375" y="169331"/>
                  </a:lnTo>
                  <a:lnTo>
                    <a:pt x="794343" y="136287"/>
                  </a:lnTo>
                  <a:lnTo>
                    <a:pt x="761299" y="106255"/>
                  </a:lnTo>
                  <a:lnTo>
                    <a:pt x="725478" y="79468"/>
                  </a:lnTo>
                  <a:lnTo>
                    <a:pt x="687112" y="56161"/>
                  </a:lnTo>
                  <a:lnTo>
                    <a:pt x="646437" y="36566"/>
                  </a:lnTo>
                  <a:lnTo>
                    <a:pt x="603686" y="20919"/>
                  </a:lnTo>
                  <a:lnTo>
                    <a:pt x="559093" y="9453"/>
                  </a:lnTo>
                  <a:lnTo>
                    <a:pt x="512891" y="2402"/>
                  </a:lnTo>
                  <a:lnTo>
                    <a:pt x="465315" y="0"/>
                  </a:lnTo>
                  <a:close/>
                </a:path>
              </a:pathLst>
            </a:custGeom>
            <a:solidFill>
              <a:srgbClr val="18418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2175500" y="5874055"/>
              <a:ext cx="332740" cy="332740"/>
            </a:xfrm>
            <a:custGeom>
              <a:avLst/>
              <a:gdLst/>
              <a:ahLst/>
              <a:cxnLst/>
              <a:rect l="l" t="t" r="r" b="b"/>
              <a:pathLst>
                <a:path w="332739" h="332739">
                  <a:moveTo>
                    <a:pt x="166225" y="0"/>
                  </a:moveTo>
                  <a:lnTo>
                    <a:pt x="122034" y="5937"/>
                  </a:lnTo>
                  <a:lnTo>
                    <a:pt x="82325" y="22693"/>
                  </a:lnTo>
                  <a:lnTo>
                    <a:pt x="48684" y="48684"/>
                  </a:lnTo>
                  <a:lnTo>
                    <a:pt x="22693" y="82325"/>
                  </a:lnTo>
                  <a:lnTo>
                    <a:pt x="5937" y="122034"/>
                  </a:lnTo>
                  <a:lnTo>
                    <a:pt x="0" y="166225"/>
                  </a:lnTo>
                  <a:lnTo>
                    <a:pt x="5937" y="210416"/>
                  </a:lnTo>
                  <a:lnTo>
                    <a:pt x="22693" y="250124"/>
                  </a:lnTo>
                  <a:lnTo>
                    <a:pt x="48684" y="283766"/>
                  </a:lnTo>
                  <a:lnTo>
                    <a:pt x="82325" y="309757"/>
                  </a:lnTo>
                  <a:lnTo>
                    <a:pt x="122034" y="326513"/>
                  </a:lnTo>
                  <a:lnTo>
                    <a:pt x="166225" y="332450"/>
                  </a:lnTo>
                  <a:lnTo>
                    <a:pt x="210412" y="326513"/>
                  </a:lnTo>
                  <a:lnTo>
                    <a:pt x="250119" y="309757"/>
                  </a:lnTo>
                  <a:lnTo>
                    <a:pt x="283762" y="283766"/>
                  </a:lnTo>
                  <a:lnTo>
                    <a:pt x="309754" y="250124"/>
                  </a:lnTo>
                  <a:lnTo>
                    <a:pt x="326512" y="210416"/>
                  </a:lnTo>
                  <a:lnTo>
                    <a:pt x="332450" y="166225"/>
                  </a:lnTo>
                  <a:lnTo>
                    <a:pt x="326512" y="122034"/>
                  </a:lnTo>
                  <a:lnTo>
                    <a:pt x="309754" y="82325"/>
                  </a:lnTo>
                  <a:lnTo>
                    <a:pt x="283762" y="48684"/>
                  </a:lnTo>
                  <a:lnTo>
                    <a:pt x="250119" y="22693"/>
                  </a:lnTo>
                  <a:lnTo>
                    <a:pt x="210412" y="5937"/>
                  </a:lnTo>
                  <a:lnTo>
                    <a:pt x="1662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2204301" y="5902850"/>
              <a:ext cx="274955" cy="274955"/>
            </a:xfrm>
            <a:custGeom>
              <a:avLst/>
              <a:gdLst/>
              <a:ahLst/>
              <a:cxnLst/>
              <a:rect l="l" t="t" r="r" b="b"/>
              <a:pathLst>
                <a:path w="274955" h="274954">
                  <a:moveTo>
                    <a:pt x="137419" y="0"/>
                  </a:moveTo>
                  <a:lnTo>
                    <a:pt x="93985" y="7006"/>
                  </a:lnTo>
                  <a:lnTo>
                    <a:pt x="56262" y="26515"/>
                  </a:lnTo>
                  <a:lnTo>
                    <a:pt x="26514" y="56264"/>
                  </a:lnTo>
                  <a:lnTo>
                    <a:pt x="7005" y="93990"/>
                  </a:lnTo>
                  <a:lnTo>
                    <a:pt x="0" y="137430"/>
                  </a:lnTo>
                  <a:lnTo>
                    <a:pt x="7005" y="180870"/>
                  </a:lnTo>
                  <a:lnTo>
                    <a:pt x="26514" y="218596"/>
                  </a:lnTo>
                  <a:lnTo>
                    <a:pt x="56262" y="248345"/>
                  </a:lnTo>
                  <a:lnTo>
                    <a:pt x="93985" y="267854"/>
                  </a:lnTo>
                  <a:lnTo>
                    <a:pt x="137419" y="274860"/>
                  </a:lnTo>
                  <a:lnTo>
                    <a:pt x="180859" y="267854"/>
                  </a:lnTo>
                  <a:lnTo>
                    <a:pt x="218585" y="248345"/>
                  </a:lnTo>
                  <a:lnTo>
                    <a:pt x="248334" y="218596"/>
                  </a:lnTo>
                  <a:lnTo>
                    <a:pt x="267844" y="180870"/>
                  </a:lnTo>
                  <a:lnTo>
                    <a:pt x="274850" y="137430"/>
                  </a:lnTo>
                  <a:lnTo>
                    <a:pt x="267844" y="93990"/>
                  </a:lnTo>
                  <a:lnTo>
                    <a:pt x="248334" y="56264"/>
                  </a:lnTo>
                  <a:lnTo>
                    <a:pt x="218585" y="26515"/>
                  </a:lnTo>
                  <a:lnTo>
                    <a:pt x="180859" y="7006"/>
                  </a:lnTo>
                  <a:lnTo>
                    <a:pt x="137419" y="0"/>
                  </a:lnTo>
                  <a:close/>
                </a:path>
              </a:pathLst>
            </a:custGeom>
            <a:solidFill>
              <a:srgbClr val="18418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4533569" y="4186751"/>
              <a:ext cx="25400" cy="3740150"/>
            </a:xfrm>
            <a:custGeom>
              <a:avLst/>
              <a:gdLst/>
              <a:ahLst/>
              <a:cxnLst/>
              <a:rect l="l" t="t" r="r" b="b"/>
              <a:pathLst>
                <a:path w="25400" h="3740150">
                  <a:moveTo>
                    <a:pt x="25323" y="3689299"/>
                  </a:moveTo>
                  <a:lnTo>
                    <a:pt x="0" y="3689299"/>
                  </a:lnTo>
                  <a:lnTo>
                    <a:pt x="0" y="3739946"/>
                  </a:lnTo>
                  <a:lnTo>
                    <a:pt x="25323" y="3739946"/>
                  </a:lnTo>
                  <a:lnTo>
                    <a:pt x="25323" y="3689299"/>
                  </a:lnTo>
                  <a:close/>
                </a:path>
                <a:path w="25400" h="3740150">
                  <a:moveTo>
                    <a:pt x="25323" y="3564699"/>
                  </a:moveTo>
                  <a:lnTo>
                    <a:pt x="0" y="3564699"/>
                  </a:lnTo>
                  <a:lnTo>
                    <a:pt x="0" y="3664381"/>
                  </a:lnTo>
                  <a:lnTo>
                    <a:pt x="25323" y="3664381"/>
                  </a:lnTo>
                  <a:lnTo>
                    <a:pt x="25323" y="3564699"/>
                  </a:lnTo>
                  <a:close/>
                </a:path>
                <a:path w="25400" h="3740150">
                  <a:moveTo>
                    <a:pt x="25323" y="3440074"/>
                  </a:moveTo>
                  <a:lnTo>
                    <a:pt x="0" y="3440074"/>
                  </a:lnTo>
                  <a:lnTo>
                    <a:pt x="0" y="3539756"/>
                  </a:lnTo>
                  <a:lnTo>
                    <a:pt x="25323" y="3539756"/>
                  </a:lnTo>
                  <a:lnTo>
                    <a:pt x="25323" y="3440074"/>
                  </a:lnTo>
                  <a:close/>
                </a:path>
                <a:path w="25400" h="3740150">
                  <a:moveTo>
                    <a:pt x="25323" y="3315462"/>
                  </a:moveTo>
                  <a:lnTo>
                    <a:pt x="0" y="3315462"/>
                  </a:lnTo>
                  <a:lnTo>
                    <a:pt x="0" y="3415157"/>
                  </a:lnTo>
                  <a:lnTo>
                    <a:pt x="25323" y="3415157"/>
                  </a:lnTo>
                  <a:lnTo>
                    <a:pt x="25323" y="3315462"/>
                  </a:lnTo>
                  <a:close/>
                </a:path>
                <a:path w="25400" h="3740150">
                  <a:moveTo>
                    <a:pt x="25323" y="3190862"/>
                  </a:moveTo>
                  <a:lnTo>
                    <a:pt x="0" y="3190862"/>
                  </a:lnTo>
                  <a:lnTo>
                    <a:pt x="0" y="3290544"/>
                  </a:lnTo>
                  <a:lnTo>
                    <a:pt x="25323" y="3290544"/>
                  </a:lnTo>
                  <a:lnTo>
                    <a:pt x="25323" y="3190862"/>
                  </a:lnTo>
                  <a:close/>
                </a:path>
                <a:path w="25400" h="3740150">
                  <a:moveTo>
                    <a:pt x="25323" y="3066237"/>
                  </a:moveTo>
                  <a:lnTo>
                    <a:pt x="0" y="3066237"/>
                  </a:lnTo>
                  <a:lnTo>
                    <a:pt x="0" y="3165932"/>
                  </a:lnTo>
                  <a:lnTo>
                    <a:pt x="25323" y="3165932"/>
                  </a:lnTo>
                  <a:lnTo>
                    <a:pt x="25323" y="3066237"/>
                  </a:lnTo>
                  <a:close/>
                </a:path>
                <a:path w="25400" h="3740150">
                  <a:moveTo>
                    <a:pt x="25323" y="2941637"/>
                  </a:moveTo>
                  <a:lnTo>
                    <a:pt x="0" y="2941637"/>
                  </a:lnTo>
                  <a:lnTo>
                    <a:pt x="0" y="3041319"/>
                  </a:lnTo>
                  <a:lnTo>
                    <a:pt x="25323" y="3041319"/>
                  </a:lnTo>
                  <a:lnTo>
                    <a:pt x="25323" y="2941637"/>
                  </a:lnTo>
                  <a:close/>
                </a:path>
                <a:path w="25400" h="3740150">
                  <a:moveTo>
                    <a:pt x="25323" y="2817025"/>
                  </a:moveTo>
                  <a:lnTo>
                    <a:pt x="0" y="2817025"/>
                  </a:lnTo>
                  <a:lnTo>
                    <a:pt x="0" y="2916707"/>
                  </a:lnTo>
                  <a:lnTo>
                    <a:pt x="25323" y="2916707"/>
                  </a:lnTo>
                  <a:lnTo>
                    <a:pt x="25323" y="2817025"/>
                  </a:lnTo>
                  <a:close/>
                </a:path>
                <a:path w="25400" h="3740150">
                  <a:moveTo>
                    <a:pt x="25323" y="2692412"/>
                  </a:moveTo>
                  <a:lnTo>
                    <a:pt x="0" y="2692412"/>
                  </a:lnTo>
                  <a:lnTo>
                    <a:pt x="0" y="2792095"/>
                  </a:lnTo>
                  <a:lnTo>
                    <a:pt x="25323" y="2792095"/>
                  </a:lnTo>
                  <a:lnTo>
                    <a:pt x="25323" y="2692412"/>
                  </a:lnTo>
                  <a:close/>
                </a:path>
                <a:path w="25400" h="3740150">
                  <a:moveTo>
                    <a:pt x="25323" y="2567800"/>
                  </a:moveTo>
                  <a:lnTo>
                    <a:pt x="0" y="2567800"/>
                  </a:lnTo>
                  <a:lnTo>
                    <a:pt x="0" y="2667482"/>
                  </a:lnTo>
                  <a:lnTo>
                    <a:pt x="25323" y="2667482"/>
                  </a:lnTo>
                  <a:lnTo>
                    <a:pt x="25323" y="2567800"/>
                  </a:lnTo>
                  <a:close/>
                </a:path>
                <a:path w="25400" h="3740150">
                  <a:moveTo>
                    <a:pt x="25323" y="2443175"/>
                  </a:moveTo>
                  <a:lnTo>
                    <a:pt x="0" y="2443175"/>
                  </a:lnTo>
                  <a:lnTo>
                    <a:pt x="0" y="2542870"/>
                  </a:lnTo>
                  <a:lnTo>
                    <a:pt x="25323" y="2542870"/>
                  </a:lnTo>
                  <a:lnTo>
                    <a:pt x="25323" y="2443175"/>
                  </a:lnTo>
                  <a:close/>
                </a:path>
                <a:path w="25400" h="3740150">
                  <a:moveTo>
                    <a:pt x="25323" y="2318575"/>
                  </a:moveTo>
                  <a:lnTo>
                    <a:pt x="0" y="2318575"/>
                  </a:lnTo>
                  <a:lnTo>
                    <a:pt x="0" y="2418257"/>
                  </a:lnTo>
                  <a:lnTo>
                    <a:pt x="25323" y="2418257"/>
                  </a:lnTo>
                  <a:lnTo>
                    <a:pt x="25323" y="2318575"/>
                  </a:lnTo>
                  <a:close/>
                </a:path>
                <a:path w="25400" h="3740150">
                  <a:moveTo>
                    <a:pt x="25323" y="2193963"/>
                  </a:moveTo>
                  <a:lnTo>
                    <a:pt x="0" y="2193963"/>
                  </a:lnTo>
                  <a:lnTo>
                    <a:pt x="0" y="2293658"/>
                  </a:lnTo>
                  <a:lnTo>
                    <a:pt x="25323" y="2293658"/>
                  </a:lnTo>
                  <a:lnTo>
                    <a:pt x="25323" y="2193963"/>
                  </a:lnTo>
                  <a:close/>
                </a:path>
                <a:path w="25400" h="3740150">
                  <a:moveTo>
                    <a:pt x="25323" y="2069363"/>
                  </a:moveTo>
                  <a:lnTo>
                    <a:pt x="0" y="2069363"/>
                  </a:lnTo>
                  <a:lnTo>
                    <a:pt x="0" y="2169045"/>
                  </a:lnTo>
                  <a:lnTo>
                    <a:pt x="25323" y="2169045"/>
                  </a:lnTo>
                  <a:lnTo>
                    <a:pt x="25323" y="2069363"/>
                  </a:lnTo>
                  <a:close/>
                </a:path>
                <a:path w="25400" h="3740150">
                  <a:moveTo>
                    <a:pt x="25323" y="1944738"/>
                  </a:moveTo>
                  <a:lnTo>
                    <a:pt x="0" y="1944738"/>
                  </a:lnTo>
                  <a:lnTo>
                    <a:pt x="0" y="2044420"/>
                  </a:lnTo>
                  <a:lnTo>
                    <a:pt x="25323" y="2044420"/>
                  </a:lnTo>
                  <a:lnTo>
                    <a:pt x="25323" y="1944738"/>
                  </a:lnTo>
                  <a:close/>
                </a:path>
                <a:path w="25400" h="3740150">
                  <a:moveTo>
                    <a:pt x="25323" y="1820125"/>
                  </a:moveTo>
                  <a:lnTo>
                    <a:pt x="0" y="1820125"/>
                  </a:lnTo>
                  <a:lnTo>
                    <a:pt x="0" y="1919808"/>
                  </a:lnTo>
                  <a:lnTo>
                    <a:pt x="25323" y="1919808"/>
                  </a:lnTo>
                  <a:lnTo>
                    <a:pt x="25323" y="1820125"/>
                  </a:lnTo>
                  <a:close/>
                </a:path>
                <a:path w="25400" h="3740150">
                  <a:moveTo>
                    <a:pt x="25323" y="1695513"/>
                  </a:moveTo>
                  <a:lnTo>
                    <a:pt x="0" y="1695513"/>
                  </a:lnTo>
                  <a:lnTo>
                    <a:pt x="0" y="1795208"/>
                  </a:lnTo>
                  <a:lnTo>
                    <a:pt x="25323" y="1795208"/>
                  </a:lnTo>
                  <a:lnTo>
                    <a:pt x="25323" y="1695513"/>
                  </a:lnTo>
                  <a:close/>
                </a:path>
                <a:path w="25400" h="3740150">
                  <a:moveTo>
                    <a:pt x="25323" y="1570901"/>
                  </a:moveTo>
                  <a:lnTo>
                    <a:pt x="0" y="1570901"/>
                  </a:lnTo>
                  <a:lnTo>
                    <a:pt x="0" y="1670596"/>
                  </a:lnTo>
                  <a:lnTo>
                    <a:pt x="25323" y="1670596"/>
                  </a:lnTo>
                  <a:lnTo>
                    <a:pt x="25323" y="1570901"/>
                  </a:lnTo>
                  <a:close/>
                </a:path>
                <a:path w="25400" h="3740150">
                  <a:moveTo>
                    <a:pt x="25323" y="1446288"/>
                  </a:moveTo>
                  <a:lnTo>
                    <a:pt x="0" y="1446288"/>
                  </a:lnTo>
                  <a:lnTo>
                    <a:pt x="0" y="1545983"/>
                  </a:lnTo>
                  <a:lnTo>
                    <a:pt x="25323" y="1545983"/>
                  </a:lnTo>
                  <a:lnTo>
                    <a:pt x="25323" y="1446288"/>
                  </a:lnTo>
                  <a:close/>
                </a:path>
                <a:path w="25400" h="3740150">
                  <a:moveTo>
                    <a:pt x="25323" y="1321676"/>
                  </a:moveTo>
                  <a:lnTo>
                    <a:pt x="0" y="1321676"/>
                  </a:lnTo>
                  <a:lnTo>
                    <a:pt x="0" y="1421371"/>
                  </a:lnTo>
                  <a:lnTo>
                    <a:pt x="25323" y="1421371"/>
                  </a:lnTo>
                  <a:lnTo>
                    <a:pt x="25323" y="1321676"/>
                  </a:lnTo>
                  <a:close/>
                </a:path>
                <a:path w="25400" h="3740150">
                  <a:moveTo>
                    <a:pt x="25323" y="1197063"/>
                  </a:moveTo>
                  <a:lnTo>
                    <a:pt x="0" y="1197063"/>
                  </a:lnTo>
                  <a:lnTo>
                    <a:pt x="0" y="1296758"/>
                  </a:lnTo>
                  <a:lnTo>
                    <a:pt x="25323" y="1296758"/>
                  </a:lnTo>
                  <a:lnTo>
                    <a:pt x="25323" y="1197063"/>
                  </a:lnTo>
                  <a:close/>
                </a:path>
                <a:path w="25400" h="3740150">
                  <a:moveTo>
                    <a:pt x="25323" y="1072451"/>
                  </a:moveTo>
                  <a:lnTo>
                    <a:pt x="0" y="1072451"/>
                  </a:lnTo>
                  <a:lnTo>
                    <a:pt x="0" y="1172146"/>
                  </a:lnTo>
                  <a:lnTo>
                    <a:pt x="25323" y="1172146"/>
                  </a:lnTo>
                  <a:lnTo>
                    <a:pt x="25323" y="1072451"/>
                  </a:lnTo>
                  <a:close/>
                </a:path>
                <a:path w="25400" h="3740150">
                  <a:moveTo>
                    <a:pt x="25323" y="947839"/>
                  </a:moveTo>
                  <a:lnTo>
                    <a:pt x="0" y="947839"/>
                  </a:lnTo>
                  <a:lnTo>
                    <a:pt x="0" y="1047534"/>
                  </a:lnTo>
                  <a:lnTo>
                    <a:pt x="25323" y="1047534"/>
                  </a:lnTo>
                  <a:lnTo>
                    <a:pt x="25323" y="947839"/>
                  </a:lnTo>
                  <a:close/>
                </a:path>
                <a:path w="25400" h="3740150">
                  <a:moveTo>
                    <a:pt x="25323" y="823226"/>
                  </a:moveTo>
                  <a:lnTo>
                    <a:pt x="0" y="823226"/>
                  </a:lnTo>
                  <a:lnTo>
                    <a:pt x="0" y="922921"/>
                  </a:lnTo>
                  <a:lnTo>
                    <a:pt x="25323" y="922921"/>
                  </a:lnTo>
                  <a:lnTo>
                    <a:pt x="25323" y="823226"/>
                  </a:lnTo>
                  <a:close/>
                </a:path>
                <a:path w="25400" h="3740150">
                  <a:moveTo>
                    <a:pt x="25323" y="698639"/>
                  </a:moveTo>
                  <a:lnTo>
                    <a:pt x="0" y="698639"/>
                  </a:lnTo>
                  <a:lnTo>
                    <a:pt x="0" y="798322"/>
                  </a:lnTo>
                  <a:lnTo>
                    <a:pt x="25323" y="798322"/>
                  </a:lnTo>
                  <a:lnTo>
                    <a:pt x="25323" y="698639"/>
                  </a:lnTo>
                  <a:close/>
                </a:path>
                <a:path w="25400" h="3740150">
                  <a:moveTo>
                    <a:pt x="25323" y="574014"/>
                  </a:moveTo>
                  <a:lnTo>
                    <a:pt x="0" y="574014"/>
                  </a:lnTo>
                  <a:lnTo>
                    <a:pt x="0" y="673696"/>
                  </a:lnTo>
                  <a:lnTo>
                    <a:pt x="25323" y="673696"/>
                  </a:lnTo>
                  <a:lnTo>
                    <a:pt x="25323" y="574014"/>
                  </a:lnTo>
                  <a:close/>
                </a:path>
                <a:path w="25400" h="3740150">
                  <a:moveTo>
                    <a:pt x="25323" y="449402"/>
                  </a:moveTo>
                  <a:lnTo>
                    <a:pt x="0" y="449402"/>
                  </a:lnTo>
                  <a:lnTo>
                    <a:pt x="0" y="549084"/>
                  </a:lnTo>
                  <a:lnTo>
                    <a:pt x="25323" y="549084"/>
                  </a:lnTo>
                  <a:lnTo>
                    <a:pt x="25323" y="449402"/>
                  </a:lnTo>
                  <a:close/>
                </a:path>
                <a:path w="25400" h="3740150">
                  <a:moveTo>
                    <a:pt x="25323" y="324777"/>
                  </a:moveTo>
                  <a:lnTo>
                    <a:pt x="0" y="324777"/>
                  </a:lnTo>
                  <a:lnTo>
                    <a:pt x="0" y="424472"/>
                  </a:lnTo>
                  <a:lnTo>
                    <a:pt x="25323" y="424472"/>
                  </a:lnTo>
                  <a:lnTo>
                    <a:pt x="25323" y="324777"/>
                  </a:lnTo>
                  <a:close/>
                </a:path>
                <a:path w="25400" h="3740150">
                  <a:moveTo>
                    <a:pt x="25323" y="200177"/>
                  </a:moveTo>
                  <a:lnTo>
                    <a:pt x="0" y="200177"/>
                  </a:lnTo>
                  <a:lnTo>
                    <a:pt x="0" y="299872"/>
                  </a:lnTo>
                  <a:lnTo>
                    <a:pt x="25323" y="299872"/>
                  </a:lnTo>
                  <a:lnTo>
                    <a:pt x="25323" y="200177"/>
                  </a:lnTo>
                  <a:close/>
                </a:path>
                <a:path w="25400" h="3740150">
                  <a:moveTo>
                    <a:pt x="25323" y="75565"/>
                  </a:moveTo>
                  <a:lnTo>
                    <a:pt x="0" y="75565"/>
                  </a:lnTo>
                  <a:lnTo>
                    <a:pt x="0" y="175260"/>
                  </a:lnTo>
                  <a:lnTo>
                    <a:pt x="25323" y="175260"/>
                  </a:lnTo>
                  <a:lnTo>
                    <a:pt x="25323" y="75565"/>
                  </a:lnTo>
                  <a:close/>
                </a:path>
                <a:path w="25400" h="3740150">
                  <a:moveTo>
                    <a:pt x="25323" y="0"/>
                  </a:moveTo>
                  <a:lnTo>
                    <a:pt x="0" y="0"/>
                  </a:lnTo>
                  <a:lnTo>
                    <a:pt x="0" y="50647"/>
                  </a:lnTo>
                  <a:lnTo>
                    <a:pt x="25323" y="50647"/>
                  </a:lnTo>
                  <a:lnTo>
                    <a:pt x="25323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3596166" y="4119273"/>
              <a:ext cx="1945639" cy="732790"/>
            </a:xfrm>
            <a:custGeom>
              <a:avLst/>
              <a:gdLst/>
              <a:ahLst/>
              <a:cxnLst/>
              <a:rect l="l" t="t" r="r" b="b"/>
              <a:pathLst>
                <a:path w="1945639" h="732789">
                  <a:moveTo>
                    <a:pt x="1788270" y="0"/>
                  </a:moveTo>
                  <a:lnTo>
                    <a:pt x="157063" y="0"/>
                  </a:lnTo>
                  <a:lnTo>
                    <a:pt x="107416" y="8007"/>
                  </a:lnTo>
                  <a:lnTo>
                    <a:pt x="64300" y="30304"/>
                  </a:lnTo>
                  <a:lnTo>
                    <a:pt x="30301" y="64304"/>
                  </a:lnTo>
                  <a:lnTo>
                    <a:pt x="8006" y="107420"/>
                  </a:lnTo>
                  <a:lnTo>
                    <a:pt x="0" y="157063"/>
                  </a:lnTo>
                  <a:lnTo>
                    <a:pt x="0" y="575144"/>
                  </a:lnTo>
                  <a:lnTo>
                    <a:pt x="8006" y="624787"/>
                  </a:lnTo>
                  <a:lnTo>
                    <a:pt x="30301" y="667903"/>
                  </a:lnTo>
                  <a:lnTo>
                    <a:pt x="64300" y="701903"/>
                  </a:lnTo>
                  <a:lnTo>
                    <a:pt x="107416" y="724200"/>
                  </a:lnTo>
                  <a:lnTo>
                    <a:pt x="157063" y="732208"/>
                  </a:lnTo>
                  <a:lnTo>
                    <a:pt x="1788270" y="732208"/>
                  </a:lnTo>
                  <a:lnTo>
                    <a:pt x="1837913" y="724200"/>
                  </a:lnTo>
                  <a:lnTo>
                    <a:pt x="1881028" y="701903"/>
                  </a:lnTo>
                  <a:lnTo>
                    <a:pt x="1915028" y="667903"/>
                  </a:lnTo>
                  <a:lnTo>
                    <a:pt x="1937325" y="624787"/>
                  </a:lnTo>
                  <a:lnTo>
                    <a:pt x="1945333" y="575144"/>
                  </a:lnTo>
                  <a:lnTo>
                    <a:pt x="1945333" y="157063"/>
                  </a:lnTo>
                  <a:lnTo>
                    <a:pt x="1937325" y="107420"/>
                  </a:lnTo>
                  <a:lnTo>
                    <a:pt x="1915028" y="64304"/>
                  </a:lnTo>
                  <a:lnTo>
                    <a:pt x="1881028" y="30304"/>
                  </a:lnTo>
                  <a:lnTo>
                    <a:pt x="1837913" y="8007"/>
                  </a:lnTo>
                  <a:lnTo>
                    <a:pt x="1788270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3989264" y="3538861"/>
              <a:ext cx="1125855" cy="1125855"/>
            </a:xfrm>
            <a:custGeom>
              <a:avLst/>
              <a:gdLst/>
              <a:ahLst/>
              <a:cxnLst/>
              <a:rect l="l" t="t" r="r" b="b"/>
              <a:pathLst>
                <a:path w="1125854" h="1125854">
                  <a:moveTo>
                    <a:pt x="562820" y="0"/>
                  </a:moveTo>
                  <a:lnTo>
                    <a:pt x="514258" y="2065"/>
                  </a:lnTo>
                  <a:lnTo>
                    <a:pt x="466842" y="8151"/>
                  </a:lnTo>
                  <a:lnTo>
                    <a:pt x="420743" y="18086"/>
                  </a:lnTo>
                  <a:lnTo>
                    <a:pt x="376129" y="31703"/>
                  </a:lnTo>
                  <a:lnTo>
                    <a:pt x="333169" y="48833"/>
                  </a:lnTo>
                  <a:lnTo>
                    <a:pt x="292031" y="69305"/>
                  </a:lnTo>
                  <a:lnTo>
                    <a:pt x="252886" y="92953"/>
                  </a:lnTo>
                  <a:lnTo>
                    <a:pt x="215901" y="119605"/>
                  </a:lnTo>
                  <a:lnTo>
                    <a:pt x="181246" y="149095"/>
                  </a:lnTo>
                  <a:lnTo>
                    <a:pt x="149090" y="181252"/>
                  </a:lnTo>
                  <a:lnTo>
                    <a:pt x="119601" y="215908"/>
                  </a:lnTo>
                  <a:lnTo>
                    <a:pt x="92949" y="252893"/>
                  </a:lnTo>
                  <a:lnTo>
                    <a:pt x="69303" y="292039"/>
                  </a:lnTo>
                  <a:lnTo>
                    <a:pt x="48831" y="333177"/>
                  </a:lnTo>
                  <a:lnTo>
                    <a:pt x="31702" y="376138"/>
                  </a:lnTo>
                  <a:lnTo>
                    <a:pt x="18086" y="420753"/>
                  </a:lnTo>
                  <a:lnTo>
                    <a:pt x="8150" y="466852"/>
                  </a:lnTo>
                  <a:lnTo>
                    <a:pt x="2065" y="514268"/>
                  </a:lnTo>
                  <a:lnTo>
                    <a:pt x="0" y="562831"/>
                  </a:lnTo>
                  <a:lnTo>
                    <a:pt x="2065" y="611393"/>
                  </a:lnTo>
                  <a:lnTo>
                    <a:pt x="8150" y="658809"/>
                  </a:lnTo>
                  <a:lnTo>
                    <a:pt x="18086" y="704908"/>
                  </a:lnTo>
                  <a:lnTo>
                    <a:pt x="31702" y="749523"/>
                  </a:lnTo>
                  <a:lnTo>
                    <a:pt x="48831" y="792484"/>
                  </a:lnTo>
                  <a:lnTo>
                    <a:pt x="69303" y="833622"/>
                  </a:lnTo>
                  <a:lnTo>
                    <a:pt x="92949" y="872768"/>
                  </a:lnTo>
                  <a:lnTo>
                    <a:pt x="119601" y="909753"/>
                  </a:lnTo>
                  <a:lnTo>
                    <a:pt x="149090" y="944409"/>
                  </a:lnTo>
                  <a:lnTo>
                    <a:pt x="181246" y="976566"/>
                  </a:lnTo>
                  <a:lnTo>
                    <a:pt x="215901" y="1006056"/>
                  </a:lnTo>
                  <a:lnTo>
                    <a:pt x="252886" y="1032708"/>
                  </a:lnTo>
                  <a:lnTo>
                    <a:pt x="292031" y="1056356"/>
                  </a:lnTo>
                  <a:lnTo>
                    <a:pt x="333169" y="1076829"/>
                  </a:lnTo>
                  <a:lnTo>
                    <a:pt x="376129" y="1093958"/>
                  </a:lnTo>
                  <a:lnTo>
                    <a:pt x="420743" y="1107575"/>
                  </a:lnTo>
                  <a:lnTo>
                    <a:pt x="466842" y="1117510"/>
                  </a:lnTo>
                  <a:lnTo>
                    <a:pt x="514258" y="1123596"/>
                  </a:lnTo>
                  <a:lnTo>
                    <a:pt x="562820" y="1125662"/>
                  </a:lnTo>
                  <a:lnTo>
                    <a:pt x="611384" y="1123596"/>
                  </a:lnTo>
                  <a:lnTo>
                    <a:pt x="658801" y="1117510"/>
                  </a:lnTo>
                  <a:lnTo>
                    <a:pt x="704901" y="1107575"/>
                  </a:lnTo>
                  <a:lnTo>
                    <a:pt x="749517" y="1093958"/>
                  </a:lnTo>
                  <a:lnTo>
                    <a:pt x="792478" y="1076829"/>
                  </a:lnTo>
                  <a:lnTo>
                    <a:pt x="833616" y="1056356"/>
                  </a:lnTo>
                  <a:lnTo>
                    <a:pt x="872762" y="1032708"/>
                  </a:lnTo>
                  <a:lnTo>
                    <a:pt x="909747" y="1006056"/>
                  </a:lnTo>
                  <a:lnTo>
                    <a:pt x="944403" y="976566"/>
                  </a:lnTo>
                  <a:lnTo>
                    <a:pt x="976559" y="944409"/>
                  </a:lnTo>
                  <a:lnTo>
                    <a:pt x="1006048" y="909753"/>
                  </a:lnTo>
                  <a:lnTo>
                    <a:pt x="1032701" y="872768"/>
                  </a:lnTo>
                  <a:lnTo>
                    <a:pt x="1056347" y="833622"/>
                  </a:lnTo>
                  <a:lnTo>
                    <a:pt x="1076820" y="792484"/>
                  </a:lnTo>
                  <a:lnTo>
                    <a:pt x="1093948" y="749523"/>
                  </a:lnTo>
                  <a:lnTo>
                    <a:pt x="1107565" y="704908"/>
                  </a:lnTo>
                  <a:lnTo>
                    <a:pt x="1117500" y="658809"/>
                  </a:lnTo>
                  <a:lnTo>
                    <a:pt x="1123585" y="611393"/>
                  </a:lnTo>
                  <a:lnTo>
                    <a:pt x="1125651" y="562831"/>
                  </a:lnTo>
                  <a:lnTo>
                    <a:pt x="1123585" y="514268"/>
                  </a:lnTo>
                  <a:lnTo>
                    <a:pt x="1117500" y="466852"/>
                  </a:lnTo>
                  <a:lnTo>
                    <a:pt x="1107565" y="420753"/>
                  </a:lnTo>
                  <a:lnTo>
                    <a:pt x="1093948" y="376138"/>
                  </a:lnTo>
                  <a:lnTo>
                    <a:pt x="1076820" y="333177"/>
                  </a:lnTo>
                  <a:lnTo>
                    <a:pt x="1056347" y="292039"/>
                  </a:lnTo>
                  <a:lnTo>
                    <a:pt x="1032701" y="252893"/>
                  </a:lnTo>
                  <a:lnTo>
                    <a:pt x="1006048" y="215908"/>
                  </a:lnTo>
                  <a:lnTo>
                    <a:pt x="976559" y="181252"/>
                  </a:lnTo>
                  <a:lnTo>
                    <a:pt x="944403" y="149095"/>
                  </a:lnTo>
                  <a:lnTo>
                    <a:pt x="909747" y="119605"/>
                  </a:lnTo>
                  <a:lnTo>
                    <a:pt x="872762" y="92953"/>
                  </a:lnTo>
                  <a:lnTo>
                    <a:pt x="833616" y="69305"/>
                  </a:lnTo>
                  <a:lnTo>
                    <a:pt x="792478" y="48833"/>
                  </a:lnTo>
                  <a:lnTo>
                    <a:pt x="749517" y="31703"/>
                  </a:lnTo>
                  <a:lnTo>
                    <a:pt x="704901" y="18086"/>
                  </a:lnTo>
                  <a:lnTo>
                    <a:pt x="658801" y="8151"/>
                  </a:lnTo>
                  <a:lnTo>
                    <a:pt x="611384" y="2065"/>
                  </a:lnTo>
                  <a:lnTo>
                    <a:pt x="5628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4086773" y="3636377"/>
              <a:ext cx="930910" cy="930910"/>
            </a:xfrm>
            <a:custGeom>
              <a:avLst/>
              <a:gdLst/>
              <a:ahLst/>
              <a:cxnLst/>
              <a:rect l="l" t="t" r="r" b="b"/>
              <a:pathLst>
                <a:path w="930910" h="930910">
                  <a:moveTo>
                    <a:pt x="465315" y="0"/>
                  </a:moveTo>
                  <a:lnTo>
                    <a:pt x="417739" y="2402"/>
                  </a:lnTo>
                  <a:lnTo>
                    <a:pt x="371538" y="9453"/>
                  </a:lnTo>
                  <a:lnTo>
                    <a:pt x="326944" y="20919"/>
                  </a:lnTo>
                  <a:lnTo>
                    <a:pt x="284193" y="36566"/>
                  </a:lnTo>
                  <a:lnTo>
                    <a:pt x="243518" y="56161"/>
                  </a:lnTo>
                  <a:lnTo>
                    <a:pt x="205153" y="79468"/>
                  </a:lnTo>
                  <a:lnTo>
                    <a:pt x="169331" y="106255"/>
                  </a:lnTo>
                  <a:lnTo>
                    <a:pt x="136287" y="136287"/>
                  </a:lnTo>
                  <a:lnTo>
                    <a:pt x="106255" y="169331"/>
                  </a:lnTo>
                  <a:lnTo>
                    <a:pt x="79468" y="205153"/>
                  </a:lnTo>
                  <a:lnTo>
                    <a:pt x="56161" y="243518"/>
                  </a:lnTo>
                  <a:lnTo>
                    <a:pt x="36566" y="284193"/>
                  </a:lnTo>
                  <a:lnTo>
                    <a:pt x="20919" y="326944"/>
                  </a:lnTo>
                  <a:lnTo>
                    <a:pt x="9453" y="371538"/>
                  </a:lnTo>
                  <a:lnTo>
                    <a:pt x="2402" y="417739"/>
                  </a:lnTo>
                  <a:lnTo>
                    <a:pt x="0" y="465315"/>
                  </a:lnTo>
                  <a:lnTo>
                    <a:pt x="2402" y="512891"/>
                  </a:lnTo>
                  <a:lnTo>
                    <a:pt x="9453" y="559093"/>
                  </a:lnTo>
                  <a:lnTo>
                    <a:pt x="20919" y="603686"/>
                  </a:lnTo>
                  <a:lnTo>
                    <a:pt x="36566" y="646437"/>
                  </a:lnTo>
                  <a:lnTo>
                    <a:pt x="56161" y="687112"/>
                  </a:lnTo>
                  <a:lnTo>
                    <a:pt x="79468" y="725478"/>
                  </a:lnTo>
                  <a:lnTo>
                    <a:pt x="106255" y="761299"/>
                  </a:lnTo>
                  <a:lnTo>
                    <a:pt x="136287" y="794343"/>
                  </a:lnTo>
                  <a:lnTo>
                    <a:pt x="169331" y="824375"/>
                  </a:lnTo>
                  <a:lnTo>
                    <a:pt x="205153" y="851162"/>
                  </a:lnTo>
                  <a:lnTo>
                    <a:pt x="243518" y="874470"/>
                  </a:lnTo>
                  <a:lnTo>
                    <a:pt x="284193" y="894064"/>
                  </a:lnTo>
                  <a:lnTo>
                    <a:pt x="326944" y="909711"/>
                  </a:lnTo>
                  <a:lnTo>
                    <a:pt x="371538" y="921177"/>
                  </a:lnTo>
                  <a:lnTo>
                    <a:pt x="417739" y="928228"/>
                  </a:lnTo>
                  <a:lnTo>
                    <a:pt x="465315" y="930631"/>
                  </a:lnTo>
                  <a:lnTo>
                    <a:pt x="512891" y="928228"/>
                  </a:lnTo>
                  <a:lnTo>
                    <a:pt x="559093" y="921177"/>
                  </a:lnTo>
                  <a:lnTo>
                    <a:pt x="603686" y="909711"/>
                  </a:lnTo>
                  <a:lnTo>
                    <a:pt x="646437" y="894064"/>
                  </a:lnTo>
                  <a:lnTo>
                    <a:pt x="687112" y="874470"/>
                  </a:lnTo>
                  <a:lnTo>
                    <a:pt x="725478" y="851162"/>
                  </a:lnTo>
                  <a:lnTo>
                    <a:pt x="761299" y="824375"/>
                  </a:lnTo>
                  <a:lnTo>
                    <a:pt x="794343" y="794343"/>
                  </a:lnTo>
                  <a:lnTo>
                    <a:pt x="824375" y="761299"/>
                  </a:lnTo>
                  <a:lnTo>
                    <a:pt x="851162" y="725478"/>
                  </a:lnTo>
                  <a:lnTo>
                    <a:pt x="874470" y="687112"/>
                  </a:lnTo>
                  <a:lnTo>
                    <a:pt x="894064" y="646437"/>
                  </a:lnTo>
                  <a:lnTo>
                    <a:pt x="909711" y="603686"/>
                  </a:lnTo>
                  <a:lnTo>
                    <a:pt x="921177" y="559093"/>
                  </a:lnTo>
                  <a:lnTo>
                    <a:pt x="928228" y="512891"/>
                  </a:lnTo>
                  <a:lnTo>
                    <a:pt x="930631" y="465315"/>
                  </a:lnTo>
                  <a:lnTo>
                    <a:pt x="928228" y="417739"/>
                  </a:lnTo>
                  <a:lnTo>
                    <a:pt x="921177" y="371538"/>
                  </a:lnTo>
                  <a:lnTo>
                    <a:pt x="909711" y="326944"/>
                  </a:lnTo>
                  <a:lnTo>
                    <a:pt x="894064" y="284193"/>
                  </a:lnTo>
                  <a:lnTo>
                    <a:pt x="874470" y="243518"/>
                  </a:lnTo>
                  <a:lnTo>
                    <a:pt x="851162" y="205153"/>
                  </a:lnTo>
                  <a:lnTo>
                    <a:pt x="824375" y="169331"/>
                  </a:lnTo>
                  <a:lnTo>
                    <a:pt x="794343" y="136287"/>
                  </a:lnTo>
                  <a:lnTo>
                    <a:pt x="761299" y="106255"/>
                  </a:lnTo>
                  <a:lnTo>
                    <a:pt x="725478" y="79468"/>
                  </a:lnTo>
                  <a:lnTo>
                    <a:pt x="687112" y="56161"/>
                  </a:lnTo>
                  <a:lnTo>
                    <a:pt x="646437" y="36566"/>
                  </a:lnTo>
                  <a:lnTo>
                    <a:pt x="603686" y="20919"/>
                  </a:lnTo>
                  <a:lnTo>
                    <a:pt x="559093" y="9453"/>
                  </a:lnTo>
                  <a:lnTo>
                    <a:pt x="512891" y="2402"/>
                  </a:lnTo>
                  <a:lnTo>
                    <a:pt x="465315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4371932" y="7719658"/>
              <a:ext cx="332740" cy="332740"/>
            </a:xfrm>
            <a:custGeom>
              <a:avLst/>
              <a:gdLst/>
              <a:ahLst/>
              <a:cxnLst/>
              <a:rect l="l" t="t" r="r" b="b"/>
              <a:pathLst>
                <a:path w="332739" h="332740">
                  <a:moveTo>
                    <a:pt x="166225" y="0"/>
                  </a:moveTo>
                  <a:lnTo>
                    <a:pt x="122034" y="5937"/>
                  </a:lnTo>
                  <a:lnTo>
                    <a:pt x="82325" y="22693"/>
                  </a:lnTo>
                  <a:lnTo>
                    <a:pt x="48684" y="48684"/>
                  </a:lnTo>
                  <a:lnTo>
                    <a:pt x="22693" y="82325"/>
                  </a:lnTo>
                  <a:lnTo>
                    <a:pt x="5937" y="122034"/>
                  </a:lnTo>
                  <a:lnTo>
                    <a:pt x="0" y="166225"/>
                  </a:lnTo>
                  <a:lnTo>
                    <a:pt x="5937" y="210416"/>
                  </a:lnTo>
                  <a:lnTo>
                    <a:pt x="22693" y="250124"/>
                  </a:lnTo>
                  <a:lnTo>
                    <a:pt x="48684" y="283766"/>
                  </a:lnTo>
                  <a:lnTo>
                    <a:pt x="82325" y="309757"/>
                  </a:lnTo>
                  <a:lnTo>
                    <a:pt x="122034" y="326513"/>
                  </a:lnTo>
                  <a:lnTo>
                    <a:pt x="166225" y="332450"/>
                  </a:lnTo>
                  <a:lnTo>
                    <a:pt x="210412" y="326513"/>
                  </a:lnTo>
                  <a:lnTo>
                    <a:pt x="250119" y="309757"/>
                  </a:lnTo>
                  <a:lnTo>
                    <a:pt x="283762" y="283766"/>
                  </a:lnTo>
                  <a:lnTo>
                    <a:pt x="309754" y="250124"/>
                  </a:lnTo>
                  <a:lnTo>
                    <a:pt x="326512" y="210416"/>
                  </a:lnTo>
                  <a:lnTo>
                    <a:pt x="332450" y="166225"/>
                  </a:lnTo>
                  <a:lnTo>
                    <a:pt x="326512" y="122034"/>
                  </a:lnTo>
                  <a:lnTo>
                    <a:pt x="309754" y="82325"/>
                  </a:lnTo>
                  <a:lnTo>
                    <a:pt x="283762" y="48684"/>
                  </a:lnTo>
                  <a:lnTo>
                    <a:pt x="250119" y="22693"/>
                  </a:lnTo>
                  <a:lnTo>
                    <a:pt x="210412" y="5937"/>
                  </a:lnTo>
                  <a:lnTo>
                    <a:pt x="1662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4400732" y="7748453"/>
              <a:ext cx="274955" cy="274955"/>
            </a:xfrm>
            <a:custGeom>
              <a:avLst/>
              <a:gdLst/>
              <a:ahLst/>
              <a:cxnLst/>
              <a:rect l="l" t="t" r="r" b="b"/>
              <a:pathLst>
                <a:path w="274954" h="274954">
                  <a:moveTo>
                    <a:pt x="137419" y="0"/>
                  </a:moveTo>
                  <a:lnTo>
                    <a:pt x="93985" y="7006"/>
                  </a:lnTo>
                  <a:lnTo>
                    <a:pt x="56262" y="26515"/>
                  </a:lnTo>
                  <a:lnTo>
                    <a:pt x="26514" y="56264"/>
                  </a:lnTo>
                  <a:lnTo>
                    <a:pt x="7005" y="93990"/>
                  </a:lnTo>
                  <a:lnTo>
                    <a:pt x="0" y="137430"/>
                  </a:lnTo>
                  <a:lnTo>
                    <a:pt x="7005" y="180870"/>
                  </a:lnTo>
                  <a:lnTo>
                    <a:pt x="26514" y="218596"/>
                  </a:lnTo>
                  <a:lnTo>
                    <a:pt x="56262" y="248345"/>
                  </a:lnTo>
                  <a:lnTo>
                    <a:pt x="93985" y="267854"/>
                  </a:lnTo>
                  <a:lnTo>
                    <a:pt x="137419" y="274860"/>
                  </a:lnTo>
                  <a:lnTo>
                    <a:pt x="180859" y="267854"/>
                  </a:lnTo>
                  <a:lnTo>
                    <a:pt x="218585" y="248345"/>
                  </a:lnTo>
                  <a:lnTo>
                    <a:pt x="248334" y="218596"/>
                  </a:lnTo>
                  <a:lnTo>
                    <a:pt x="267844" y="180870"/>
                  </a:lnTo>
                  <a:lnTo>
                    <a:pt x="274850" y="137430"/>
                  </a:lnTo>
                  <a:lnTo>
                    <a:pt x="267844" y="93990"/>
                  </a:lnTo>
                  <a:lnTo>
                    <a:pt x="248334" y="56264"/>
                  </a:lnTo>
                  <a:lnTo>
                    <a:pt x="218585" y="26515"/>
                  </a:lnTo>
                  <a:lnTo>
                    <a:pt x="180859" y="7006"/>
                  </a:lnTo>
                  <a:lnTo>
                    <a:pt x="137419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6729603" y="4186751"/>
              <a:ext cx="25400" cy="1873885"/>
            </a:xfrm>
            <a:custGeom>
              <a:avLst/>
              <a:gdLst/>
              <a:ahLst/>
              <a:cxnLst/>
              <a:rect l="l" t="t" r="r" b="b"/>
              <a:pathLst>
                <a:path w="25400" h="1873885">
                  <a:moveTo>
                    <a:pt x="25311" y="1823161"/>
                  </a:moveTo>
                  <a:lnTo>
                    <a:pt x="0" y="1823161"/>
                  </a:lnTo>
                  <a:lnTo>
                    <a:pt x="0" y="1873808"/>
                  </a:lnTo>
                  <a:lnTo>
                    <a:pt x="25311" y="1873808"/>
                  </a:lnTo>
                  <a:lnTo>
                    <a:pt x="25311" y="1823161"/>
                  </a:lnTo>
                  <a:close/>
                </a:path>
                <a:path w="25400" h="1873885">
                  <a:moveTo>
                    <a:pt x="25311" y="1698332"/>
                  </a:moveTo>
                  <a:lnTo>
                    <a:pt x="0" y="1698332"/>
                  </a:lnTo>
                  <a:lnTo>
                    <a:pt x="0" y="1798193"/>
                  </a:lnTo>
                  <a:lnTo>
                    <a:pt x="25311" y="1798193"/>
                  </a:lnTo>
                  <a:lnTo>
                    <a:pt x="25311" y="1698332"/>
                  </a:lnTo>
                  <a:close/>
                </a:path>
                <a:path w="25400" h="1873885">
                  <a:moveTo>
                    <a:pt x="25311" y="1573504"/>
                  </a:moveTo>
                  <a:lnTo>
                    <a:pt x="0" y="1573504"/>
                  </a:lnTo>
                  <a:lnTo>
                    <a:pt x="0" y="1673364"/>
                  </a:lnTo>
                  <a:lnTo>
                    <a:pt x="25311" y="1673364"/>
                  </a:lnTo>
                  <a:lnTo>
                    <a:pt x="25311" y="1573504"/>
                  </a:lnTo>
                  <a:close/>
                </a:path>
                <a:path w="25400" h="1873885">
                  <a:moveTo>
                    <a:pt x="25311" y="1448689"/>
                  </a:moveTo>
                  <a:lnTo>
                    <a:pt x="0" y="1448689"/>
                  </a:lnTo>
                  <a:lnTo>
                    <a:pt x="0" y="1548549"/>
                  </a:lnTo>
                  <a:lnTo>
                    <a:pt x="25311" y="1548549"/>
                  </a:lnTo>
                  <a:lnTo>
                    <a:pt x="25311" y="1448689"/>
                  </a:lnTo>
                  <a:close/>
                </a:path>
                <a:path w="25400" h="1873885">
                  <a:moveTo>
                    <a:pt x="25311" y="1323860"/>
                  </a:moveTo>
                  <a:lnTo>
                    <a:pt x="0" y="1323860"/>
                  </a:lnTo>
                  <a:lnTo>
                    <a:pt x="0" y="1423720"/>
                  </a:lnTo>
                  <a:lnTo>
                    <a:pt x="25311" y="1423720"/>
                  </a:lnTo>
                  <a:lnTo>
                    <a:pt x="25311" y="1323860"/>
                  </a:lnTo>
                  <a:close/>
                </a:path>
                <a:path w="25400" h="1873885">
                  <a:moveTo>
                    <a:pt x="25311" y="1199032"/>
                  </a:moveTo>
                  <a:lnTo>
                    <a:pt x="0" y="1199032"/>
                  </a:lnTo>
                  <a:lnTo>
                    <a:pt x="0" y="1298905"/>
                  </a:lnTo>
                  <a:lnTo>
                    <a:pt x="25311" y="1298905"/>
                  </a:lnTo>
                  <a:lnTo>
                    <a:pt x="25311" y="1199032"/>
                  </a:lnTo>
                  <a:close/>
                </a:path>
                <a:path w="25400" h="1873885">
                  <a:moveTo>
                    <a:pt x="25311" y="1074204"/>
                  </a:moveTo>
                  <a:lnTo>
                    <a:pt x="0" y="1074204"/>
                  </a:lnTo>
                  <a:lnTo>
                    <a:pt x="0" y="1174064"/>
                  </a:lnTo>
                  <a:lnTo>
                    <a:pt x="25311" y="1174064"/>
                  </a:lnTo>
                  <a:lnTo>
                    <a:pt x="25311" y="1074204"/>
                  </a:lnTo>
                  <a:close/>
                </a:path>
                <a:path w="25400" h="1873885">
                  <a:moveTo>
                    <a:pt x="25311" y="949375"/>
                  </a:moveTo>
                  <a:lnTo>
                    <a:pt x="0" y="949375"/>
                  </a:lnTo>
                  <a:lnTo>
                    <a:pt x="0" y="1049235"/>
                  </a:lnTo>
                  <a:lnTo>
                    <a:pt x="25311" y="1049235"/>
                  </a:lnTo>
                  <a:lnTo>
                    <a:pt x="25311" y="949375"/>
                  </a:lnTo>
                  <a:close/>
                </a:path>
                <a:path w="25400" h="1873885">
                  <a:moveTo>
                    <a:pt x="25311" y="824560"/>
                  </a:moveTo>
                  <a:lnTo>
                    <a:pt x="0" y="824560"/>
                  </a:lnTo>
                  <a:lnTo>
                    <a:pt x="0" y="924420"/>
                  </a:lnTo>
                  <a:lnTo>
                    <a:pt x="25311" y="924420"/>
                  </a:lnTo>
                  <a:lnTo>
                    <a:pt x="25311" y="824560"/>
                  </a:lnTo>
                  <a:close/>
                </a:path>
                <a:path w="25400" h="1873885">
                  <a:moveTo>
                    <a:pt x="25311" y="699731"/>
                  </a:moveTo>
                  <a:lnTo>
                    <a:pt x="0" y="699731"/>
                  </a:lnTo>
                  <a:lnTo>
                    <a:pt x="0" y="799592"/>
                  </a:lnTo>
                  <a:lnTo>
                    <a:pt x="25311" y="799592"/>
                  </a:lnTo>
                  <a:lnTo>
                    <a:pt x="25311" y="699731"/>
                  </a:lnTo>
                  <a:close/>
                </a:path>
                <a:path w="25400" h="1873885">
                  <a:moveTo>
                    <a:pt x="25311" y="574916"/>
                  </a:moveTo>
                  <a:lnTo>
                    <a:pt x="0" y="574916"/>
                  </a:lnTo>
                  <a:lnTo>
                    <a:pt x="0" y="674776"/>
                  </a:lnTo>
                  <a:lnTo>
                    <a:pt x="25311" y="674776"/>
                  </a:lnTo>
                  <a:lnTo>
                    <a:pt x="25311" y="574916"/>
                  </a:lnTo>
                  <a:close/>
                </a:path>
                <a:path w="25400" h="1873885">
                  <a:moveTo>
                    <a:pt x="25311" y="450075"/>
                  </a:moveTo>
                  <a:lnTo>
                    <a:pt x="0" y="450075"/>
                  </a:lnTo>
                  <a:lnTo>
                    <a:pt x="0" y="549935"/>
                  </a:lnTo>
                  <a:lnTo>
                    <a:pt x="25311" y="549935"/>
                  </a:lnTo>
                  <a:lnTo>
                    <a:pt x="25311" y="450075"/>
                  </a:lnTo>
                  <a:close/>
                </a:path>
                <a:path w="25400" h="1873885">
                  <a:moveTo>
                    <a:pt x="25311" y="325247"/>
                  </a:moveTo>
                  <a:lnTo>
                    <a:pt x="0" y="325247"/>
                  </a:lnTo>
                  <a:lnTo>
                    <a:pt x="0" y="425119"/>
                  </a:lnTo>
                  <a:lnTo>
                    <a:pt x="25311" y="425119"/>
                  </a:lnTo>
                  <a:lnTo>
                    <a:pt x="25311" y="325247"/>
                  </a:lnTo>
                  <a:close/>
                </a:path>
                <a:path w="25400" h="1873885">
                  <a:moveTo>
                    <a:pt x="25311" y="200431"/>
                  </a:moveTo>
                  <a:lnTo>
                    <a:pt x="0" y="200431"/>
                  </a:lnTo>
                  <a:lnTo>
                    <a:pt x="0" y="300291"/>
                  </a:lnTo>
                  <a:lnTo>
                    <a:pt x="25311" y="300291"/>
                  </a:lnTo>
                  <a:lnTo>
                    <a:pt x="25311" y="200431"/>
                  </a:lnTo>
                  <a:close/>
                </a:path>
                <a:path w="25400" h="1873885">
                  <a:moveTo>
                    <a:pt x="25311" y="75603"/>
                  </a:moveTo>
                  <a:lnTo>
                    <a:pt x="0" y="75603"/>
                  </a:lnTo>
                  <a:lnTo>
                    <a:pt x="0" y="175463"/>
                  </a:lnTo>
                  <a:lnTo>
                    <a:pt x="25311" y="175463"/>
                  </a:lnTo>
                  <a:lnTo>
                    <a:pt x="25311" y="75603"/>
                  </a:lnTo>
                  <a:close/>
                </a:path>
                <a:path w="25400" h="1873885">
                  <a:moveTo>
                    <a:pt x="25311" y="0"/>
                  </a:moveTo>
                  <a:lnTo>
                    <a:pt x="0" y="0"/>
                  </a:lnTo>
                  <a:lnTo>
                    <a:pt x="0" y="50647"/>
                  </a:lnTo>
                  <a:lnTo>
                    <a:pt x="25311" y="50647"/>
                  </a:lnTo>
                  <a:lnTo>
                    <a:pt x="25311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5791039" y="4119273"/>
              <a:ext cx="1945639" cy="732790"/>
            </a:xfrm>
            <a:custGeom>
              <a:avLst/>
              <a:gdLst/>
              <a:ahLst/>
              <a:cxnLst/>
              <a:rect l="l" t="t" r="r" b="b"/>
              <a:pathLst>
                <a:path w="1945640" h="732789">
                  <a:moveTo>
                    <a:pt x="1788270" y="0"/>
                  </a:moveTo>
                  <a:lnTo>
                    <a:pt x="157063" y="0"/>
                  </a:lnTo>
                  <a:lnTo>
                    <a:pt x="107416" y="8007"/>
                  </a:lnTo>
                  <a:lnTo>
                    <a:pt x="64300" y="30304"/>
                  </a:lnTo>
                  <a:lnTo>
                    <a:pt x="30301" y="64304"/>
                  </a:lnTo>
                  <a:lnTo>
                    <a:pt x="8006" y="107420"/>
                  </a:lnTo>
                  <a:lnTo>
                    <a:pt x="0" y="157063"/>
                  </a:lnTo>
                  <a:lnTo>
                    <a:pt x="0" y="575144"/>
                  </a:lnTo>
                  <a:lnTo>
                    <a:pt x="8006" y="624787"/>
                  </a:lnTo>
                  <a:lnTo>
                    <a:pt x="30301" y="667903"/>
                  </a:lnTo>
                  <a:lnTo>
                    <a:pt x="64300" y="701903"/>
                  </a:lnTo>
                  <a:lnTo>
                    <a:pt x="107416" y="724200"/>
                  </a:lnTo>
                  <a:lnTo>
                    <a:pt x="157063" y="732208"/>
                  </a:lnTo>
                  <a:lnTo>
                    <a:pt x="1788270" y="732208"/>
                  </a:lnTo>
                  <a:lnTo>
                    <a:pt x="1837913" y="724200"/>
                  </a:lnTo>
                  <a:lnTo>
                    <a:pt x="1881028" y="701903"/>
                  </a:lnTo>
                  <a:lnTo>
                    <a:pt x="1915028" y="667903"/>
                  </a:lnTo>
                  <a:lnTo>
                    <a:pt x="1937325" y="624787"/>
                  </a:lnTo>
                  <a:lnTo>
                    <a:pt x="1945333" y="575144"/>
                  </a:lnTo>
                  <a:lnTo>
                    <a:pt x="1945333" y="157063"/>
                  </a:lnTo>
                  <a:lnTo>
                    <a:pt x="1937325" y="107420"/>
                  </a:lnTo>
                  <a:lnTo>
                    <a:pt x="1915028" y="64304"/>
                  </a:lnTo>
                  <a:lnTo>
                    <a:pt x="1881028" y="30304"/>
                  </a:lnTo>
                  <a:lnTo>
                    <a:pt x="1837913" y="8007"/>
                  </a:lnTo>
                  <a:lnTo>
                    <a:pt x="1788270" y="0"/>
                  </a:lnTo>
                  <a:close/>
                </a:path>
              </a:pathLst>
            </a:custGeom>
            <a:solidFill>
              <a:srgbClr val="0D739B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6184319" y="3538861"/>
              <a:ext cx="1125855" cy="1125855"/>
            </a:xfrm>
            <a:custGeom>
              <a:avLst/>
              <a:gdLst/>
              <a:ahLst/>
              <a:cxnLst/>
              <a:rect l="l" t="t" r="r" b="b"/>
              <a:pathLst>
                <a:path w="1125854" h="1125854">
                  <a:moveTo>
                    <a:pt x="562820" y="0"/>
                  </a:moveTo>
                  <a:lnTo>
                    <a:pt x="514258" y="2065"/>
                  </a:lnTo>
                  <a:lnTo>
                    <a:pt x="466842" y="8151"/>
                  </a:lnTo>
                  <a:lnTo>
                    <a:pt x="420743" y="18086"/>
                  </a:lnTo>
                  <a:lnTo>
                    <a:pt x="376129" y="31703"/>
                  </a:lnTo>
                  <a:lnTo>
                    <a:pt x="333169" y="48833"/>
                  </a:lnTo>
                  <a:lnTo>
                    <a:pt x="292031" y="69305"/>
                  </a:lnTo>
                  <a:lnTo>
                    <a:pt x="252886" y="92953"/>
                  </a:lnTo>
                  <a:lnTo>
                    <a:pt x="215901" y="119605"/>
                  </a:lnTo>
                  <a:lnTo>
                    <a:pt x="181246" y="149095"/>
                  </a:lnTo>
                  <a:lnTo>
                    <a:pt x="149090" y="181252"/>
                  </a:lnTo>
                  <a:lnTo>
                    <a:pt x="119601" y="215908"/>
                  </a:lnTo>
                  <a:lnTo>
                    <a:pt x="92949" y="252893"/>
                  </a:lnTo>
                  <a:lnTo>
                    <a:pt x="69303" y="292039"/>
                  </a:lnTo>
                  <a:lnTo>
                    <a:pt x="48831" y="333177"/>
                  </a:lnTo>
                  <a:lnTo>
                    <a:pt x="31702" y="376138"/>
                  </a:lnTo>
                  <a:lnTo>
                    <a:pt x="18086" y="420753"/>
                  </a:lnTo>
                  <a:lnTo>
                    <a:pt x="8150" y="466852"/>
                  </a:lnTo>
                  <a:lnTo>
                    <a:pt x="2065" y="514268"/>
                  </a:lnTo>
                  <a:lnTo>
                    <a:pt x="0" y="562831"/>
                  </a:lnTo>
                  <a:lnTo>
                    <a:pt x="2065" y="611393"/>
                  </a:lnTo>
                  <a:lnTo>
                    <a:pt x="8150" y="658809"/>
                  </a:lnTo>
                  <a:lnTo>
                    <a:pt x="18086" y="704908"/>
                  </a:lnTo>
                  <a:lnTo>
                    <a:pt x="31702" y="749523"/>
                  </a:lnTo>
                  <a:lnTo>
                    <a:pt x="48831" y="792484"/>
                  </a:lnTo>
                  <a:lnTo>
                    <a:pt x="69303" y="833622"/>
                  </a:lnTo>
                  <a:lnTo>
                    <a:pt x="92949" y="872768"/>
                  </a:lnTo>
                  <a:lnTo>
                    <a:pt x="119601" y="909753"/>
                  </a:lnTo>
                  <a:lnTo>
                    <a:pt x="149090" y="944409"/>
                  </a:lnTo>
                  <a:lnTo>
                    <a:pt x="181246" y="976566"/>
                  </a:lnTo>
                  <a:lnTo>
                    <a:pt x="215901" y="1006056"/>
                  </a:lnTo>
                  <a:lnTo>
                    <a:pt x="252886" y="1032708"/>
                  </a:lnTo>
                  <a:lnTo>
                    <a:pt x="292031" y="1056356"/>
                  </a:lnTo>
                  <a:lnTo>
                    <a:pt x="333169" y="1076829"/>
                  </a:lnTo>
                  <a:lnTo>
                    <a:pt x="376129" y="1093958"/>
                  </a:lnTo>
                  <a:lnTo>
                    <a:pt x="420743" y="1107575"/>
                  </a:lnTo>
                  <a:lnTo>
                    <a:pt x="466842" y="1117510"/>
                  </a:lnTo>
                  <a:lnTo>
                    <a:pt x="514258" y="1123596"/>
                  </a:lnTo>
                  <a:lnTo>
                    <a:pt x="562820" y="1125662"/>
                  </a:lnTo>
                  <a:lnTo>
                    <a:pt x="611384" y="1123596"/>
                  </a:lnTo>
                  <a:lnTo>
                    <a:pt x="658801" y="1117510"/>
                  </a:lnTo>
                  <a:lnTo>
                    <a:pt x="704901" y="1107575"/>
                  </a:lnTo>
                  <a:lnTo>
                    <a:pt x="749517" y="1093958"/>
                  </a:lnTo>
                  <a:lnTo>
                    <a:pt x="792478" y="1076829"/>
                  </a:lnTo>
                  <a:lnTo>
                    <a:pt x="833616" y="1056356"/>
                  </a:lnTo>
                  <a:lnTo>
                    <a:pt x="872762" y="1032708"/>
                  </a:lnTo>
                  <a:lnTo>
                    <a:pt x="909747" y="1006056"/>
                  </a:lnTo>
                  <a:lnTo>
                    <a:pt x="944403" y="976566"/>
                  </a:lnTo>
                  <a:lnTo>
                    <a:pt x="976559" y="944409"/>
                  </a:lnTo>
                  <a:lnTo>
                    <a:pt x="1006048" y="909753"/>
                  </a:lnTo>
                  <a:lnTo>
                    <a:pt x="1032701" y="872768"/>
                  </a:lnTo>
                  <a:lnTo>
                    <a:pt x="1056347" y="833622"/>
                  </a:lnTo>
                  <a:lnTo>
                    <a:pt x="1076820" y="792484"/>
                  </a:lnTo>
                  <a:lnTo>
                    <a:pt x="1093948" y="749523"/>
                  </a:lnTo>
                  <a:lnTo>
                    <a:pt x="1107565" y="704908"/>
                  </a:lnTo>
                  <a:lnTo>
                    <a:pt x="1117500" y="658809"/>
                  </a:lnTo>
                  <a:lnTo>
                    <a:pt x="1123585" y="611393"/>
                  </a:lnTo>
                  <a:lnTo>
                    <a:pt x="1125651" y="562831"/>
                  </a:lnTo>
                  <a:lnTo>
                    <a:pt x="1123585" y="514268"/>
                  </a:lnTo>
                  <a:lnTo>
                    <a:pt x="1117500" y="466852"/>
                  </a:lnTo>
                  <a:lnTo>
                    <a:pt x="1107565" y="420753"/>
                  </a:lnTo>
                  <a:lnTo>
                    <a:pt x="1093948" y="376138"/>
                  </a:lnTo>
                  <a:lnTo>
                    <a:pt x="1076820" y="333177"/>
                  </a:lnTo>
                  <a:lnTo>
                    <a:pt x="1056347" y="292039"/>
                  </a:lnTo>
                  <a:lnTo>
                    <a:pt x="1032701" y="252893"/>
                  </a:lnTo>
                  <a:lnTo>
                    <a:pt x="1006048" y="215908"/>
                  </a:lnTo>
                  <a:lnTo>
                    <a:pt x="976559" y="181252"/>
                  </a:lnTo>
                  <a:lnTo>
                    <a:pt x="944403" y="149095"/>
                  </a:lnTo>
                  <a:lnTo>
                    <a:pt x="909747" y="119605"/>
                  </a:lnTo>
                  <a:lnTo>
                    <a:pt x="872762" y="92953"/>
                  </a:lnTo>
                  <a:lnTo>
                    <a:pt x="833616" y="69305"/>
                  </a:lnTo>
                  <a:lnTo>
                    <a:pt x="792478" y="48833"/>
                  </a:lnTo>
                  <a:lnTo>
                    <a:pt x="749517" y="31703"/>
                  </a:lnTo>
                  <a:lnTo>
                    <a:pt x="704901" y="18086"/>
                  </a:lnTo>
                  <a:lnTo>
                    <a:pt x="658801" y="8151"/>
                  </a:lnTo>
                  <a:lnTo>
                    <a:pt x="611384" y="2065"/>
                  </a:lnTo>
                  <a:lnTo>
                    <a:pt x="5628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6281827" y="3636377"/>
              <a:ext cx="930910" cy="930910"/>
            </a:xfrm>
            <a:custGeom>
              <a:avLst/>
              <a:gdLst/>
              <a:ahLst/>
              <a:cxnLst/>
              <a:rect l="l" t="t" r="r" b="b"/>
              <a:pathLst>
                <a:path w="930909" h="930910">
                  <a:moveTo>
                    <a:pt x="465315" y="0"/>
                  </a:moveTo>
                  <a:lnTo>
                    <a:pt x="417739" y="2402"/>
                  </a:lnTo>
                  <a:lnTo>
                    <a:pt x="371538" y="9453"/>
                  </a:lnTo>
                  <a:lnTo>
                    <a:pt x="326944" y="20919"/>
                  </a:lnTo>
                  <a:lnTo>
                    <a:pt x="284193" y="36566"/>
                  </a:lnTo>
                  <a:lnTo>
                    <a:pt x="243518" y="56161"/>
                  </a:lnTo>
                  <a:lnTo>
                    <a:pt x="205153" y="79468"/>
                  </a:lnTo>
                  <a:lnTo>
                    <a:pt x="169331" y="106255"/>
                  </a:lnTo>
                  <a:lnTo>
                    <a:pt x="136287" y="136287"/>
                  </a:lnTo>
                  <a:lnTo>
                    <a:pt x="106255" y="169331"/>
                  </a:lnTo>
                  <a:lnTo>
                    <a:pt x="79468" y="205153"/>
                  </a:lnTo>
                  <a:lnTo>
                    <a:pt x="56161" y="243518"/>
                  </a:lnTo>
                  <a:lnTo>
                    <a:pt x="36566" y="284193"/>
                  </a:lnTo>
                  <a:lnTo>
                    <a:pt x="20919" y="326944"/>
                  </a:lnTo>
                  <a:lnTo>
                    <a:pt x="9453" y="371538"/>
                  </a:lnTo>
                  <a:lnTo>
                    <a:pt x="2402" y="417739"/>
                  </a:lnTo>
                  <a:lnTo>
                    <a:pt x="0" y="465315"/>
                  </a:lnTo>
                  <a:lnTo>
                    <a:pt x="2402" y="512891"/>
                  </a:lnTo>
                  <a:lnTo>
                    <a:pt x="9453" y="559093"/>
                  </a:lnTo>
                  <a:lnTo>
                    <a:pt x="20919" y="603686"/>
                  </a:lnTo>
                  <a:lnTo>
                    <a:pt x="36566" y="646437"/>
                  </a:lnTo>
                  <a:lnTo>
                    <a:pt x="56161" y="687112"/>
                  </a:lnTo>
                  <a:lnTo>
                    <a:pt x="79468" y="725478"/>
                  </a:lnTo>
                  <a:lnTo>
                    <a:pt x="106255" y="761299"/>
                  </a:lnTo>
                  <a:lnTo>
                    <a:pt x="136287" y="794343"/>
                  </a:lnTo>
                  <a:lnTo>
                    <a:pt x="169331" y="824375"/>
                  </a:lnTo>
                  <a:lnTo>
                    <a:pt x="205153" y="851162"/>
                  </a:lnTo>
                  <a:lnTo>
                    <a:pt x="243518" y="874470"/>
                  </a:lnTo>
                  <a:lnTo>
                    <a:pt x="284193" y="894064"/>
                  </a:lnTo>
                  <a:lnTo>
                    <a:pt x="326944" y="909711"/>
                  </a:lnTo>
                  <a:lnTo>
                    <a:pt x="371538" y="921177"/>
                  </a:lnTo>
                  <a:lnTo>
                    <a:pt x="417739" y="928228"/>
                  </a:lnTo>
                  <a:lnTo>
                    <a:pt x="465315" y="930631"/>
                  </a:lnTo>
                  <a:lnTo>
                    <a:pt x="512891" y="928228"/>
                  </a:lnTo>
                  <a:lnTo>
                    <a:pt x="559093" y="921177"/>
                  </a:lnTo>
                  <a:lnTo>
                    <a:pt x="603686" y="909711"/>
                  </a:lnTo>
                  <a:lnTo>
                    <a:pt x="646437" y="894064"/>
                  </a:lnTo>
                  <a:lnTo>
                    <a:pt x="687112" y="874470"/>
                  </a:lnTo>
                  <a:lnTo>
                    <a:pt x="725478" y="851162"/>
                  </a:lnTo>
                  <a:lnTo>
                    <a:pt x="761299" y="824375"/>
                  </a:lnTo>
                  <a:lnTo>
                    <a:pt x="794343" y="794343"/>
                  </a:lnTo>
                  <a:lnTo>
                    <a:pt x="824375" y="761299"/>
                  </a:lnTo>
                  <a:lnTo>
                    <a:pt x="851162" y="725478"/>
                  </a:lnTo>
                  <a:lnTo>
                    <a:pt x="874470" y="687112"/>
                  </a:lnTo>
                  <a:lnTo>
                    <a:pt x="894064" y="646437"/>
                  </a:lnTo>
                  <a:lnTo>
                    <a:pt x="909711" y="603686"/>
                  </a:lnTo>
                  <a:lnTo>
                    <a:pt x="921177" y="559093"/>
                  </a:lnTo>
                  <a:lnTo>
                    <a:pt x="928228" y="512891"/>
                  </a:lnTo>
                  <a:lnTo>
                    <a:pt x="930631" y="465315"/>
                  </a:lnTo>
                  <a:lnTo>
                    <a:pt x="928228" y="417739"/>
                  </a:lnTo>
                  <a:lnTo>
                    <a:pt x="921177" y="371538"/>
                  </a:lnTo>
                  <a:lnTo>
                    <a:pt x="909711" y="326944"/>
                  </a:lnTo>
                  <a:lnTo>
                    <a:pt x="894064" y="284193"/>
                  </a:lnTo>
                  <a:lnTo>
                    <a:pt x="874470" y="243518"/>
                  </a:lnTo>
                  <a:lnTo>
                    <a:pt x="851162" y="205153"/>
                  </a:lnTo>
                  <a:lnTo>
                    <a:pt x="824375" y="169331"/>
                  </a:lnTo>
                  <a:lnTo>
                    <a:pt x="794343" y="136287"/>
                  </a:lnTo>
                  <a:lnTo>
                    <a:pt x="761299" y="106255"/>
                  </a:lnTo>
                  <a:lnTo>
                    <a:pt x="725478" y="79468"/>
                  </a:lnTo>
                  <a:lnTo>
                    <a:pt x="687112" y="56161"/>
                  </a:lnTo>
                  <a:lnTo>
                    <a:pt x="646437" y="36566"/>
                  </a:lnTo>
                  <a:lnTo>
                    <a:pt x="603686" y="20919"/>
                  </a:lnTo>
                  <a:lnTo>
                    <a:pt x="559093" y="9453"/>
                  </a:lnTo>
                  <a:lnTo>
                    <a:pt x="512891" y="2402"/>
                  </a:lnTo>
                  <a:lnTo>
                    <a:pt x="465315" y="0"/>
                  </a:lnTo>
                  <a:close/>
                </a:path>
              </a:pathLst>
            </a:custGeom>
            <a:solidFill>
              <a:srgbClr val="0D739B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6568364" y="5874055"/>
              <a:ext cx="332740" cy="332740"/>
            </a:xfrm>
            <a:custGeom>
              <a:avLst/>
              <a:gdLst/>
              <a:ahLst/>
              <a:cxnLst/>
              <a:rect l="l" t="t" r="r" b="b"/>
              <a:pathLst>
                <a:path w="332740" h="332739">
                  <a:moveTo>
                    <a:pt x="166225" y="0"/>
                  </a:moveTo>
                  <a:lnTo>
                    <a:pt x="122034" y="5937"/>
                  </a:lnTo>
                  <a:lnTo>
                    <a:pt x="82325" y="22693"/>
                  </a:lnTo>
                  <a:lnTo>
                    <a:pt x="48684" y="48684"/>
                  </a:lnTo>
                  <a:lnTo>
                    <a:pt x="22693" y="82325"/>
                  </a:lnTo>
                  <a:lnTo>
                    <a:pt x="5937" y="122034"/>
                  </a:lnTo>
                  <a:lnTo>
                    <a:pt x="0" y="166225"/>
                  </a:lnTo>
                  <a:lnTo>
                    <a:pt x="5937" y="210416"/>
                  </a:lnTo>
                  <a:lnTo>
                    <a:pt x="22693" y="250124"/>
                  </a:lnTo>
                  <a:lnTo>
                    <a:pt x="48684" y="283766"/>
                  </a:lnTo>
                  <a:lnTo>
                    <a:pt x="82325" y="309757"/>
                  </a:lnTo>
                  <a:lnTo>
                    <a:pt x="122034" y="326513"/>
                  </a:lnTo>
                  <a:lnTo>
                    <a:pt x="166225" y="332450"/>
                  </a:lnTo>
                  <a:lnTo>
                    <a:pt x="210412" y="326513"/>
                  </a:lnTo>
                  <a:lnTo>
                    <a:pt x="250119" y="309757"/>
                  </a:lnTo>
                  <a:lnTo>
                    <a:pt x="283762" y="283766"/>
                  </a:lnTo>
                  <a:lnTo>
                    <a:pt x="309754" y="250124"/>
                  </a:lnTo>
                  <a:lnTo>
                    <a:pt x="326512" y="210416"/>
                  </a:lnTo>
                  <a:lnTo>
                    <a:pt x="332450" y="166225"/>
                  </a:lnTo>
                  <a:lnTo>
                    <a:pt x="326512" y="122034"/>
                  </a:lnTo>
                  <a:lnTo>
                    <a:pt x="309754" y="82325"/>
                  </a:lnTo>
                  <a:lnTo>
                    <a:pt x="283762" y="48684"/>
                  </a:lnTo>
                  <a:lnTo>
                    <a:pt x="250119" y="22693"/>
                  </a:lnTo>
                  <a:lnTo>
                    <a:pt x="210412" y="5937"/>
                  </a:lnTo>
                  <a:lnTo>
                    <a:pt x="1662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6597164" y="5902850"/>
              <a:ext cx="274955" cy="274955"/>
            </a:xfrm>
            <a:custGeom>
              <a:avLst/>
              <a:gdLst/>
              <a:ahLst/>
              <a:cxnLst/>
              <a:rect l="l" t="t" r="r" b="b"/>
              <a:pathLst>
                <a:path w="274954" h="274954">
                  <a:moveTo>
                    <a:pt x="137419" y="0"/>
                  </a:moveTo>
                  <a:lnTo>
                    <a:pt x="93985" y="7006"/>
                  </a:lnTo>
                  <a:lnTo>
                    <a:pt x="56262" y="26515"/>
                  </a:lnTo>
                  <a:lnTo>
                    <a:pt x="26514" y="56264"/>
                  </a:lnTo>
                  <a:lnTo>
                    <a:pt x="7005" y="93990"/>
                  </a:lnTo>
                  <a:lnTo>
                    <a:pt x="0" y="137430"/>
                  </a:lnTo>
                  <a:lnTo>
                    <a:pt x="7005" y="180870"/>
                  </a:lnTo>
                  <a:lnTo>
                    <a:pt x="26514" y="218596"/>
                  </a:lnTo>
                  <a:lnTo>
                    <a:pt x="56262" y="248345"/>
                  </a:lnTo>
                  <a:lnTo>
                    <a:pt x="93985" y="267854"/>
                  </a:lnTo>
                  <a:lnTo>
                    <a:pt x="137419" y="274860"/>
                  </a:lnTo>
                  <a:lnTo>
                    <a:pt x="180859" y="267854"/>
                  </a:lnTo>
                  <a:lnTo>
                    <a:pt x="218585" y="248345"/>
                  </a:lnTo>
                  <a:lnTo>
                    <a:pt x="248334" y="218596"/>
                  </a:lnTo>
                  <a:lnTo>
                    <a:pt x="267844" y="180870"/>
                  </a:lnTo>
                  <a:lnTo>
                    <a:pt x="274850" y="137430"/>
                  </a:lnTo>
                  <a:lnTo>
                    <a:pt x="267844" y="93990"/>
                  </a:lnTo>
                  <a:lnTo>
                    <a:pt x="248334" y="56264"/>
                  </a:lnTo>
                  <a:lnTo>
                    <a:pt x="218585" y="26515"/>
                  </a:lnTo>
                  <a:lnTo>
                    <a:pt x="180859" y="7006"/>
                  </a:lnTo>
                  <a:lnTo>
                    <a:pt x="137419" y="0"/>
                  </a:lnTo>
                  <a:close/>
                </a:path>
              </a:pathLst>
            </a:custGeom>
            <a:solidFill>
              <a:srgbClr val="0D739B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8925623" y="4186751"/>
              <a:ext cx="25400" cy="3740150"/>
            </a:xfrm>
            <a:custGeom>
              <a:avLst/>
              <a:gdLst/>
              <a:ahLst/>
              <a:cxnLst/>
              <a:rect l="l" t="t" r="r" b="b"/>
              <a:pathLst>
                <a:path w="25400" h="3740150">
                  <a:moveTo>
                    <a:pt x="25311" y="3689299"/>
                  </a:moveTo>
                  <a:lnTo>
                    <a:pt x="0" y="3689299"/>
                  </a:lnTo>
                  <a:lnTo>
                    <a:pt x="0" y="3739946"/>
                  </a:lnTo>
                  <a:lnTo>
                    <a:pt x="25311" y="3739946"/>
                  </a:lnTo>
                  <a:lnTo>
                    <a:pt x="25311" y="3689299"/>
                  </a:lnTo>
                  <a:close/>
                </a:path>
                <a:path w="25400" h="3740150">
                  <a:moveTo>
                    <a:pt x="25311" y="3564699"/>
                  </a:moveTo>
                  <a:lnTo>
                    <a:pt x="0" y="3564699"/>
                  </a:lnTo>
                  <a:lnTo>
                    <a:pt x="0" y="3664381"/>
                  </a:lnTo>
                  <a:lnTo>
                    <a:pt x="25311" y="3664381"/>
                  </a:lnTo>
                  <a:lnTo>
                    <a:pt x="25311" y="3564699"/>
                  </a:lnTo>
                  <a:close/>
                </a:path>
                <a:path w="25400" h="3740150">
                  <a:moveTo>
                    <a:pt x="25311" y="3440074"/>
                  </a:moveTo>
                  <a:lnTo>
                    <a:pt x="0" y="3440074"/>
                  </a:lnTo>
                  <a:lnTo>
                    <a:pt x="0" y="3539756"/>
                  </a:lnTo>
                  <a:lnTo>
                    <a:pt x="25311" y="3539756"/>
                  </a:lnTo>
                  <a:lnTo>
                    <a:pt x="25311" y="3440074"/>
                  </a:lnTo>
                  <a:close/>
                </a:path>
                <a:path w="25400" h="3740150">
                  <a:moveTo>
                    <a:pt x="25311" y="3315462"/>
                  </a:moveTo>
                  <a:lnTo>
                    <a:pt x="0" y="3315462"/>
                  </a:lnTo>
                  <a:lnTo>
                    <a:pt x="0" y="3415157"/>
                  </a:lnTo>
                  <a:lnTo>
                    <a:pt x="25311" y="3415157"/>
                  </a:lnTo>
                  <a:lnTo>
                    <a:pt x="25311" y="3315462"/>
                  </a:lnTo>
                  <a:close/>
                </a:path>
                <a:path w="25400" h="3740150">
                  <a:moveTo>
                    <a:pt x="25311" y="3190862"/>
                  </a:moveTo>
                  <a:lnTo>
                    <a:pt x="0" y="3190862"/>
                  </a:lnTo>
                  <a:lnTo>
                    <a:pt x="0" y="3290544"/>
                  </a:lnTo>
                  <a:lnTo>
                    <a:pt x="25311" y="3290544"/>
                  </a:lnTo>
                  <a:lnTo>
                    <a:pt x="25311" y="3190862"/>
                  </a:lnTo>
                  <a:close/>
                </a:path>
                <a:path w="25400" h="3740150">
                  <a:moveTo>
                    <a:pt x="25311" y="3066237"/>
                  </a:moveTo>
                  <a:lnTo>
                    <a:pt x="0" y="3066237"/>
                  </a:lnTo>
                  <a:lnTo>
                    <a:pt x="0" y="3165932"/>
                  </a:lnTo>
                  <a:lnTo>
                    <a:pt x="25311" y="3165932"/>
                  </a:lnTo>
                  <a:lnTo>
                    <a:pt x="25311" y="3066237"/>
                  </a:lnTo>
                  <a:close/>
                </a:path>
                <a:path w="25400" h="3740150">
                  <a:moveTo>
                    <a:pt x="25311" y="2941637"/>
                  </a:moveTo>
                  <a:lnTo>
                    <a:pt x="0" y="2941637"/>
                  </a:lnTo>
                  <a:lnTo>
                    <a:pt x="0" y="3041319"/>
                  </a:lnTo>
                  <a:lnTo>
                    <a:pt x="25311" y="3041319"/>
                  </a:lnTo>
                  <a:lnTo>
                    <a:pt x="25311" y="2941637"/>
                  </a:lnTo>
                  <a:close/>
                </a:path>
                <a:path w="25400" h="3740150">
                  <a:moveTo>
                    <a:pt x="25311" y="2817025"/>
                  </a:moveTo>
                  <a:lnTo>
                    <a:pt x="0" y="2817025"/>
                  </a:lnTo>
                  <a:lnTo>
                    <a:pt x="0" y="2916707"/>
                  </a:lnTo>
                  <a:lnTo>
                    <a:pt x="25311" y="2916707"/>
                  </a:lnTo>
                  <a:lnTo>
                    <a:pt x="25311" y="2817025"/>
                  </a:lnTo>
                  <a:close/>
                </a:path>
                <a:path w="25400" h="3740150">
                  <a:moveTo>
                    <a:pt x="25311" y="2692412"/>
                  </a:moveTo>
                  <a:lnTo>
                    <a:pt x="0" y="2692412"/>
                  </a:lnTo>
                  <a:lnTo>
                    <a:pt x="0" y="2792095"/>
                  </a:lnTo>
                  <a:lnTo>
                    <a:pt x="25311" y="2792095"/>
                  </a:lnTo>
                  <a:lnTo>
                    <a:pt x="25311" y="2692412"/>
                  </a:lnTo>
                  <a:close/>
                </a:path>
                <a:path w="25400" h="3740150">
                  <a:moveTo>
                    <a:pt x="25311" y="2567800"/>
                  </a:moveTo>
                  <a:lnTo>
                    <a:pt x="0" y="2567800"/>
                  </a:lnTo>
                  <a:lnTo>
                    <a:pt x="0" y="2667482"/>
                  </a:lnTo>
                  <a:lnTo>
                    <a:pt x="25311" y="2667482"/>
                  </a:lnTo>
                  <a:lnTo>
                    <a:pt x="25311" y="2567800"/>
                  </a:lnTo>
                  <a:close/>
                </a:path>
                <a:path w="25400" h="3740150">
                  <a:moveTo>
                    <a:pt x="25311" y="2443175"/>
                  </a:moveTo>
                  <a:lnTo>
                    <a:pt x="0" y="2443175"/>
                  </a:lnTo>
                  <a:lnTo>
                    <a:pt x="0" y="2542870"/>
                  </a:lnTo>
                  <a:lnTo>
                    <a:pt x="25311" y="2542870"/>
                  </a:lnTo>
                  <a:lnTo>
                    <a:pt x="25311" y="2443175"/>
                  </a:lnTo>
                  <a:close/>
                </a:path>
                <a:path w="25400" h="3740150">
                  <a:moveTo>
                    <a:pt x="25311" y="2318575"/>
                  </a:moveTo>
                  <a:lnTo>
                    <a:pt x="0" y="2318575"/>
                  </a:lnTo>
                  <a:lnTo>
                    <a:pt x="0" y="2418257"/>
                  </a:lnTo>
                  <a:lnTo>
                    <a:pt x="25311" y="2418257"/>
                  </a:lnTo>
                  <a:lnTo>
                    <a:pt x="25311" y="2318575"/>
                  </a:lnTo>
                  <a:close/>
                </a:path>
                <a:path w="25400" h="3740150">
                  <a:moveTo>
                    <a:pt x="25311" y="2193963"/>
                  </a:moveTo>
                  <a:lnTo>
                    <a:pt x="0" y="2193963"/>
                  </a:lnTo>
                  <a:lnTo>
                    <a:pt x="0" y="2293658"/>
                  </a:lnTo>
                  <a:lnTo>
                    <a:pt x="25311" y="2293658"/>
                  </a:lnTo>
                  <a:lnTo>
                    <a:pt x="25311" y="2193963"/>
                  </a:lnTo>
                  <a:close/>
                </a:path>
                <a:path w="25400" h="3740150">
                  <a:moveTo>
                    <a:pt x="25311" y="2069363"/>
                  </a:moveTo>
                  <a:lnTo>
                    <a:pt x="0" y="2069363"/>
                  </a:lnTo>
                  <a:lnTo>
                    <a:pt x="0" y="2169045"/>
                  </a:lnTo>
                  <a:lnTo>
                    <a:pt x="25311" y="2169045"/>
                  </a:lnTo>
                  <a:lnTo>
                    <a:pt x="25311" y="2069363"/>
                  </a:lnTo>
                  <a:close/>
                </a:path>
                <a:path w="25400" h="3740150">
                  <a:moveTo>
                    <a:pt x="25311" y="1944738"/>
                  </a:moveTo>
                  <a:lnTo>
                    <a:pt x="0" y="1944738"/>
                  </a:lnTo>
                  <a:lnTo>
                    <a:pt x="0" y="2044420"/>
                  </a:lnTo>
                  <a:lnTo>
                    <a:pt x="25311" y="2044420"/>
                  </a:lnTo>
                  <a:lnTo>
                    <a:pt x="25311" y="1944738"/>
                  </a:lnTo>
                  <a:close/>
                </a:path>
                <a:path w="25400" h="3740150">
                  <a:moveTo>
                    <a:pt x="25311" y="1820125"/>
                  </a:moveTo>
                  <a:lnTo>
                    <a:pt x="0" y="1820125"/>
                  </a:lnTo>
                  <a:lnTo>
                    <a:pt x="0" y="1919808"/>
                  </a:lnTo>
                  <a:lnTo>
                    <a:pt x="25311" y="1919808"/>
                  </a:lnTo>
                  <a:lnTo>
                    <a:pt x="25311" y="1820125"/>
                  </a:lnTo>
                  <a:close/>
                </a:path>
                <a:path w="25400" h="3740150">
                  <a:moveTo>
                    <a:pt x="25311" y="1695513"/>
                  </a:moveTo>
                  <a:lnTo>
                    <a:pt x="0" y="1695513"/>
                  </a:lnTo>
                  <a:lnTo>
                    <a:pt x="0" y="1795208"/>
                  </a:lnTo>
                  <a:lnTo>
                    <a:pt x="25311" y="1795208"/>
                  </a:lnTo>
                  <a:lnTo>
                    <a:pt x="25311" y="1695513"/>
                  </a:lnTo>
                  <a:close/>
                </a:path>
                <a:path w="25400" h="3740150">
                  <a:moveTo>
                    <a:pt x="25311" y="1570901"/>
                  </a:moveTo>
                  <a:lnTo>
                    <a:pt x="0" y="1570901"/>
                  </a:lnTo>
                  <a:lnTo>
                    <a:pt x="0" y="1670596"/>
                  </a:lnTo>
                  <a:lnTo>
                    <a:pt x="25311" y="1670596"/>
                  </a:lnTo>
                  <a:lnTo>
                    <a:pt x="25311" y="1570901"/>
                  </a:lnTo>
                  <a:close/>
                </a:path>
                <a:path w="25400" h="3740150">
                  <a:moveTo>
                    <a:pt x="25311" y="1446288"/>
                  </a:moveTo>
                  <a:lnTo>
                    <a:pt x="0" y="1446288"/>
                  </a:lnTo>
                  <a:lnTo>
                    <a:pt x="0" y="1545983"/>
                  </a:lnTo>
                  <a:lnTo>
                    <a:pt x="25311" y="1545983"/>
                  </a:lnTo>
                  <a:lnTo>
                    <a:pt x="25311" y="1446288"/>
                  </a:lnTo>
                  <a:close/>
                </a:path>
                <a:path w="25400" h="3740150">
                  <a:moveTo>
                    <a:pt x="25311" y="1321676"/>
                  </a:moveTo>
                  <a:lnTo>
                    <a:pt x="0" y="1321676"/>
                  </a:lnTo>
                  <a:lnTo>
                    <a:pt x="0" y="1421371"/>
                  </a:lnTo>
                  <a:lnTo>
                    <a:pt x="25311" y="1421371"/>
                  </a:lnTo>
                  <a:lnTo>
                    <a:pt x="25311" y="1321676"/>
                  </a:lnTo>
                  <a:close/>
                </a:path>
                <a:path w="25400" h="3740150">
                  <a:moveTo>
                    <a:pt x="25311" y="1197063"/>
                  </a:moveTo>
                  <a:lnTo>
                    <a:pt x="0" y="1197063"/>
                  </a:lnTo>
                  <a:lnTo>
                    <a:pt x="0" y="1296758"/>
                  </a:lnTo>
                  <a:lnTo>
                    <a:pt x="25311" y="1296758"/>
                  </a:lnTo>
                  <a:lnTo>
                    <a:pt x="25311" y="1197063"/>
                  </a:lnTo>
                  <a:close/>
                </a:path>
                <a:path w="25400" h="3740150">
                  <a:moveTo>
                    <a:pt x="25311" y="1072451"/>
                  </a:moveTo>
                  <a:lnTo>
                    <a:pt x="0" y="1072451"/>
                  </a:lnTo>
                  <a:lnTo>
                    <a:pt x="0" y="1172146"/>
                  </a:lnTo>
                  <a:lnTo>
                    <a:pt x="25311" y="1172146"/>
                  </a:lnTo>
                  <a:lnTo>
                    <a:pt x="25311" y="1072451"/>
                  </a:lnTo>
                  <a:close/>
                </a:path>
                <a:path w="25400" h="3740150">
                  <a:moveTo>
                    <a:pt x="25311" y="947839"/>
                  </a:moveTo>
                  <a:lnTo>
                    <a:pt x="0" y="947839"/>
                  </a:lnTo>
                  <a:lnTo>
                    <a:pt x="0" y="1047534"/>
                  </a:lnTo>
                  <a:lnTo>
                    <a:pt x="25311" y="1047534"/>
                  </a:lnTo>
                  <a:lnTo>
                    <a:pt x="25311" y="947839"/>
                  </a:lnTo>
                  <a:close/>
                </a:path>
                <a:path w="25400" h="3740150">
                  <a:moveTo>
                    <a:pt x="25311" y="823226"/>
                  </a:moveTo>
                  <a:lnTo>
                    <a:pt x="0" y="823226"/>
                  </a:lnTo>
                  <a:lnTo>
                    <a:pt x="0" y="922921"/>
                  </a:lnTo>
                  <a:lnTo>
                    <a:pt x="25311" y="922921"/>
                  </a:lnTo>
                  <a:lnTo>
                    <a:pt x="25311" y="823226"/>
                  </a:lnTo>
                  <a:close/>
                </a:path>
                <a:path w="25400" h="3740150">
                  <a:moveTo>
                    <a:pt x="25311" y="698639"/>
                  </a:moveTo>
                  <a:lnTo>
                    <a:pt x="0" y="698639"/>
                  </a:lnTo>
                  <a:lnTo>
                    <a:pt x="0" y="798322"/>
                  </a:lnTo>
                  <a:lnTo>
                    <a:pt x="25311" y="798322"/>
                  </a:lnTo>
                  <a:lnTo>
                    <a:pt x="25311" y="698639"/>
                  </a:lnTo>
                  <a:close/>
                </a:path>
                <a:path w="25400" h="3740150">
                  <a:moveTo>
                    <a:pt x="25311" y="574014"/>
                  </a:moveTo>
                  <a:lnTo>
                    <a:pt x="0" y="574014"/>
                  </a:lnTo>
                  <a:lnTo>
                    <a:pt x="0" y="673696"/>
                  </a:lnTo>
                  <a:lnTo>
                    <a:pt x="25311" y="673696"/>
                  </a:lnTo>
                  <a:lnTo>
                    <a:pt x="25311" y="574014"/>
                  </a:lnTo>
                  <a:close/>
                </a:path>
                <a:path w="25400" h="3740150">
                  <a:moveTo>
                    <a:pt x="25311" y="449402"/>
                  </a:moveTo>
                  <a:lnTo>
                    <a:pt x="0" y="449402"/>
                  </a:lnTo>
                  <a:lnTo>
                    <a:pt x="0" y="549084"/>
                  </a:lnTo>
                  <a:lnTo>
                    <a:pt x="25311" y="549084"/>
                  </a:lnTo>
                  <a:lnTo>
                    <a:pt x="25311" y="449402"/>
                  </a:lnTo>
                  <a:close/>
                </a:path>
                <a:path w="25400" h="3740150">
                  <a:moveTo>
                    <a:pt x="25311" y="324777"/>
                  </a:moveTo>
                  <a:lnTo>
                    <a:pt x="0" y="324777"/>
                  </a:lnTo>
                  <a:lnTo>
                    <a:pt x="0" y="424472"/>
                  </a:lnTo>
                  <a:lnTo>
                    <a:pt x="25311" y="424472"/>
                  </a:lnTo>
                  <a:lnTo>
                    <a:pt x="25311" y="324777"/>
                  </a:lnTo>
                  <a:close/>
                </a:path>
                <a:path w="25400" h="3740150">
                  <a:moveTo>
                    <a:pt x="25311" y="200177"/>
                  </a:moveTo>
                  <a:lnTo>
                    <a:pt x="0" y="200177"/>
                  </a:lnTo>
                  <a:lnTo>
                    <a:pt x="0" y="299872"/>
                  </a:lnTo>
                  <a:lnTo>
                    <a:pt x="25311" y="299872"/>
                  </a:lnTo>
                  <a:lnTo>
                    <a:pt x="25311" y="200177"/>
                  </a:lnTo>
                  <a:close/>
                </a:path>
                <a:path w="25400" h="3740150">
                  <a:moveTo>
                    <a:pt x="25311" y="75565"/>
                  </a:moveTo>
                  <a:lnTo>
                    <a:pt x="0" y="75565"/>
                  </a:lnTo>
                  <a:lnTo>
                    <a:pt x="0" y="175260"/>
                  </a:lnTo>
                  <a:lnTo>
                    <a:pt x="25311" y="175260"/>
                  </a:lnTo>
                  <a:lnTo>
                    <a:pt x="25311" y="75565"/>
                  </a:lnTo>
                  <a:close/>
                </a:path>
                <a:path w="25400" h="3740150">
                  <a:moveTo>
                    <a:pt x="25311" y="0"/>
                  </a:moveTo>
                  <a:lnTo>
                    <a:pt x="0" y="0"/>
                  </a:lnTo>
                  <a:lnTo>
                    <a:pt x="0" y="50647"/>
                  </a:lnTo>
                  <a:lnTo>
                    <a:pt x="25311" y="50647"/>
                  </a:lnTo>
                  <a:lnTo>
                    <a:pt x="25311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7985912" y="4119273"/>
              <a:ext cx="1945639" cy="732790"/>
            </a:xfrm>
            <a:custGeom>
              <a:avLst/>
              <a:gdLst/>
              <a:ahLst/>
              <a:cxnLst/>
              <a:rect l="l" t="t" r="r" b="b"/>
              <a:pathLst>
                <a:path w="1945640" h="732789">
                  <a:moveTo>
                    <a:pt x="1788270" y="0"/>
                  </a:moveTo>
                  <a:lnTo>
                    <a:pt x="157063" y="0"/>
                  </a:lnTo>
                  <a:lnTo>
                    <a:pt x="107416" y="8007"/>
                  </a:lnTo>
                  <a:lnTo>
                    <a:pt x="64300" y="30304"/>
                  </a:lnTo>
                  <a:lnTo>
                    <a:pt x="30301" y="64304"/>
                  </a:lnTo>
                  <a:lnTo>
                    <a:pt x="8006" y="107420"/>
                  </a:lnTo>
                  <a:lnTo>
                    <a:pt x="0" y="157063"/>
                  </a:lnTo>
                  <a:lnTo>
                    <a:pt x="0" y="575144"/>
                  </a:lnTo>
                  <a:lnTo>
                    <a:pt x="8006" y="624787"/>
                  </a:lnTo>
                  <a:lnTo>
                    <a:pt x="30301" y="667903"/>
                  </a:lnTo>
                  <a:lnTo>
                    <a:pt x="64300" y="701903"/>
                  </a:lnTo>
                  <a:lnTo>
                    <a:pt x="107416" y="724200"/>
                  </a:lnTo>
                  <a:lnTo>
                    <a:pt x="157063" y="732208"/>
                  </a:lnTo>
                  <a:lnTo>
                    <a:pt x="1788270" y="732208"/>
                  </a:lnTo>
                  <a:lnTo>
                    <a:pt x="1837913" y="724200"/>
                  </a:lnTo>
                  <a:lnTo>
                    <a:pt x="1881028" y="701903"/>
                  </a:lnTo>
                  <a:lnTo>
                    <a:pt x="1915028" y="667903"/>
                  </a:lnTo>
                  <a:lnTo>
                    <a:pt x="1937325" y="624787"/>
                  </a:lnTo>
                  <a:lnTo>
                    <a:pt x="1945333" y="575144"/>
                  </a:lnTo>
                  <a:lnTo>
                    <a:pt x="1945333" y="157063"/>
                  </a:lnTo>
                  <a:lnTo>
                    <a:pt x="1937325" y="107420"/>
                  </a:lnTo>
                  <a:lnTo>
                    <a:pt x="1915028" y="64304"/>
                  </a:lnTo>
                  <a:lnTo>
                    <a:pt x="1881028" y="30304"/>
                  </a:lnTo>
                  <a:lnTo>
                    <a:pt x="1837913" y="8007"/>
                  </a:lnTo>
                  <a:lnTo>
                    <a:pt x="1788270" y="0"/>
                  </a:lnTo>
                  <a:close/>
                </a:path>
              </a:pathLst>
            </a:custGeom>
            <a:solidFill>
              <a:srgbClr val="0E999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8379373" y="3538861"/>
              <a:ext cx="1125855" cy="1125855"/>
            </a:xfrm>
            <a:custGeom>
              <a:avLst/>
              <a:gdLst/>
              <a:ahLst/>
              <a:cxnLst/>
              <a:rect l="l" t="t" r="r" b="b"/>
              <a:pathLst>
                <a:path w="1125854" h="1125854">
                  <a:moveTo>
                    <a:pt x="562820" y="0"/>
                  </a:moveTo>
                  <a:lnTo>
                    <a:pt x="514258" y="2065"/>
                  </a:lnTo>
                  <a:lnTo>
                    <a:pt x="466842" y="8151"/>
                  </a:lnTo>
                  <a:lnTo>
                    <a:pt x="420743" y="18086"/>
                  </a:lnTo>
                  <a:lnTo>
                    <a:pt x="376129" y="31703"/>
                  </a:lnTo>
                  <a:lnTo>
                    <a:pt x="333169" y="48833"/>
                  </a:lnTo>
                  <a:lnTo>
                    <a:pt x="292031" y="69305"/>
                  </a:lnTo>
                  <a:lnTo>
                    <a:pt x="252886" y="92953"/>
                  </a:lnTo>
                  <a:lnTo>
                    <a:pt x="215901" y="119605"/>
                  </a:lnTo>
                  <a:lnTo>
                    <a:pt x="181246" y="149095"/>
                  </a:lnTo>
                  <a:lnTo>
                    <a:pt x="149090" y="181252"/>
                  </a:lnTo>
                  <a:lnTo>
                    <a:pt x="119601" y="215908"/>
                  </a:lnTo>
                  <a:lnTo>
                    <a:pt x="92949" y="252893"/>
                  </a:lnTo>
                  <a:lnTo>
                    <a:pt x="69303" y="292039"/>
                  </a:lnTo>
                  <a:lnTo>
                    <a:pt x="48831" y="333177"/>
                  </a:lnTo>
                  <a:lnTo>
                    <a:pt x="31702" y="376138"/>
                  </a:lnTo>
                  <a:lnTo>
                    <a:pt x="18086" y="420753"/>
                  </a:lnTo>
                  <a:lnTo>
                    <a:pt x="8150" y="466852"/>
                  </a:lnTo>
                  <a:lnTo>
                    <a:pt x="2065" y="514268"/>
                  </a:lnTo>
                  <a:lnTo>
                    <a:pt x="0" y="562831"/>
                  </a:lnTo>
                  <a:lnTo>
                    <a:pt x="2065" y="611393"/>
                  </a:lnTo>
                  <a:lnTo>
                    <a:pt x="8150" y="658809"/>
                  </a:lnTo>
                  <a:lnTo>
                    <a:pt x="18086" y="704908"/>
                  </a:lnTo>
                  <a:lnTo>
                    <a:pt x="31702" y="749523"/>
                  </a:lnTo>
                  <a:lnTo>
                    <a:pt x="48831" y="792484"/>
                  </a:lnTo>
                  <a:lnTo>
                    <a:pt x="69303" y="833622"/>
                  </a:lnTo>
                  <a:lnTo>
                    <a:pt x="92949" y="872768"/>
                  </a:lnTo>
                  <a:lnTo>
                    <a:pt x="119601" y="909753"/>
                  </a:lnTo>
                  <a:lnTo>
                    <a:pt x="149090" y="944409"/>
                  </a:lnTo>
                  <a:lnTo>
                    <a:pt x="181246" y="976566"/>
                  </a:lnTo>
                  <a:lnTo>
                    <a:pt x="215901" y="1006056"/>
                  </a:lnTo>
                  <a:lnTo>
                    <a:pt x="252886" y="1032708"/>
                  </a:lnTo>
                  <a:lnTo>
                    <a:pt x="292031" y="1056356"/>
                  </a:lnTo>
                  <a:lnTo>
                    <a:pt x="333169" y="1076829"/>
                  </a:lnTo>
                  <a:lnTo>
                    <a:pt x="376129" y="1093958"/>
                  </a:lnTo>
                  <a:lnTo>
                    <a:pt x="420743" y="1107575"/>
                  </a:lnTo>
                  <a:lnTo>
                    <a:pt x="466842" y="1117510"/>
                  </a:lnTo>
                  <a:lnTo>
                    <a:pt x="514258" y="1123596"/>
                  </a:lnTo>
                  <a:lnTo>
                    <a:pt x="562820" y="1125662"/>
                  </a:lnTo>
                  <a:lnTo>
                    <a:pt x="611384" y="1123596"/>
                  </a:lnTo>
                  <a:lnTo>
                    <a:pt x="658801" y="1117510"/>
                  </a:lnTo>
                  <a:lnTo>
                    <a:pt x="704901" y="1107575"/>
                  </a:lnTo>
                  <a:lnTo>
                    <a:pt x="749517" y="1093958"/>
                  </a:lnTo>
                  <a:lnTo>
                    <a:pt x="792478" y="1076829"/>
                  </a:lnTo>
                  <a:lnTo>
                    <a:pt x="833616" y="1056356"/>
                  </a:lnTo>
                  <a:lnTo>
                    <a:pt x="872762" y="1032708"/>
                  </a:lnTo>
                  <a:lnTo>
                    <a:pt x="909747" y="1006056"/>
                  </a:lnTo>
                  <a:lnTo>
                    <a:pt x="944403" y="976566"/>
                  </a:lnTo>
                  <a:lnTo>
                    <a:pt x="976559" y="944409"/>
                  </a:lnTo>
                  <a:lnTo>
                    <a:pt x="1006048" y="909753"/>
                  </a:lnTo>
                  <a:lnTo>
                    <a:pt x="1032701" y="872768"/>
                  </a:lnTo>
                  <a:lnTo>
                    <a:pt x="1056347" y="833622"/>
                  </a:lnTo>
                  <a:lnTo>
                    <a:pt x="1076820" y="792484"/>
                  </a:lnTo>
                  <a:lnTo>
                    <a:pt x="1093948" y="749523"/>
                  </a:lnTo>
                  <a:lnTo>
                    <a:pt x="1107565" y="704908"/>
                  </a:lnTo>
                  <a:lnTo>
                    <a:pt x="1117500" y="658809"/>
                  </a:lnTo>
                  <a:lnTo>
                    <a:pt x="1123585" y="611393"/>
                  </a:lnTo>
                  <a:lnTo>
                    <a:pt x="1125651" y="562831"/>
                  </a:lnTo>
                  <a:lnTo>
                    <a:pt x="1123585" y="514268"/>
                  </a:lnTo>
                  <a:lnTo>
                    <a:pt x="1117500" y="466852"/>
                  </a:lnTo>
                  <a:lnTo>
                    <a:pt x="1107565" y="420753"/>
                  </a:lnTo>
                  <a:lnTo>
                    <a:pt x="1093948" y="376138"/>
                  </a:lnTo>
                  <a:lnTo>
                    <a:pt x="1076820" y="333177"/>
                  </a:lnTo>
                  <a:lnTo>
                    <a:pt x="1056347" y="292039"/>
                  </a:lnTo>
                  <a:lnTo>
                    <a:pt x="1032701" y="252893"/>
                  </a:lnTo>
                  <a:lnTo>
                    <a:pt x="1006048" y="215908"/>
                  </a:lnTo>
                  <a:lnTo>
                    <a:pt x="976559" y="181252"/>
                  </a:lnTo>
                  <a:lnTo>
                    <a:pt x="944403" y="149095"/>
                  </a:lnTo>
                  <a:lnTo>
                    <a:pt x="909747" y="119605"/>
                  </a:lnTo>
                  <a:lnTo>
                    <a:pt x="872762" y="92953"/>
                  </a:lnTo>
                  <a:lnTo>
                    <a:pt x="833616" y="69305"/>
                  </a:lnTo>
                  <a:lnTo>
                    <a:pt x="792478" y="48833"/>
                  </a:lnTo>
                  <a:lnTo>
                    <a:pt x="749517" y="31703"/>
                  </a:lnTo>
                  <a:lnTo>
                    <a:pt x="704901" y="18086"/>
                  </a:lnTo>
                  <a:lnTo>
                    <a:pt x="658801" y="8151"/>
                  </a:lnTo>
                  <a:lnTo>
                    <a:pt x="611384" y="2065"/>
                  </a:lnTo>
                  <a:lnTo>
                    <a:pt x="5628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8476881" y="3636377"/>
              <a:ext cx="930910" cy="930910"/>
            </a:xfrm>
            <a:custGeom>
              <a:avLst/>
              <a:gdLst/>
              <a:ahLst/>
              <a:cxnLst/>
              <a:rect l="l" t="t" r="r" b="b"/>
              <a:pathLst>
                <a:path w="930909" h="930910">
                  <a:moveTo>
                    <a:pt x="465315" y="0"/>
                  </a:moveTo>
                  <a:lnTo>
                    <a:pt x="417739" y="2402"/>
                  </a:lnTo>
                  <a:lnTo>
                    <a:pt x="371538" y="9453"/>
                  </a:lnTo>
                  <a:lnTo>
                    <a:pt x="326944" y="20919"/>
                  </a:lnTo>
                  <a:lnTo>
                    <a:pt x="284193" y="36566"/>
                  </a:lnTo>
                  <a:lnTo>
                    <a:pt x="243518" y="56161"/>
                  </a:lnTo>
                  <a:lnTo>
                    <a:pt x="205153" y="79468"/>
                  </a:lnTo>
                  <a:lnTo>
                    <a:pt x="169331" y="106255"/>
                  </a:lnTo>
                  <a:lnTo>
                    <a:pt x="136287" y="136287"/>
                  </a:lnTo>
                  <a:lnTo>
                    <a:pt x="106255" y="169331"/>
                  </a:lnTo>
                  <a:lnTo>
                    <a:pt x="79468" y="205153"/>
                  </a:lnTo>
                  <a:lnTo>
                    <a:pt x="56161" y="243518"/>
                  </a:lnTo>
                  <a:lnTo>
                    <a:pt x="36566" y="284193"/>
                  </a:lnTo>
                  <a:lnTo>
                    <a:pt x="20919" y="326944"/>
                  </a:lnTo>
                  <a:lnTo>
                    <a:pt x="9453" y="371538"/>
                  </a:lnTo>
                  <a:lnTo>
                    <a:pt x="2402" y="417739"/>
                  </a:lnTo>
                  <a:lnTo>
                    <a:pt x="0" y="465315"/>
                  </a:lnTo>
                  <a:lnTo>
                    <a:pt x="2402" y="512891"/>
                  </a:lnTo>
                  <a:lnTo>
                    <a:pt x="9453" y="559093"/>
                  </a:lnTo>
                  <a:lnTo>
                    <a:pt x="20919" y="603686"/>
                  </a:lnTo>
                  <a:lnTo>
                    <a:pt x="36566" y="646437"/>
                  </a:lnTo>
                  <a:lnTo>
                    <a:pt x="56161" y="687112"/>
                  </a:lnTo>
                  <a:lnTo>
                    <a:pt x="79468" y="725478"/>
                  </a:lnTo>
                  <a:lnTo>
                    <a:pt x="106255" y="761299"/>
                  </a:lnTo>
                  <a:lnTo>
                    <a:pt x="136287" y="794343"/>
                  </a:lnTo>
                  <a:lnTo>
                    <a:pt x="169331" y="824375"/>
                  </a:lnTo>
                  <a:lnTo>
                    <a:pt x="205153" y="851162"/>
                  </a:lnTo>
                  <a:lnTo>
                    <a:pt x="243518" y="874470"/>
                  </a:lnTo>
                  <a:lnTo>
                    <a:pt x="284193" y="894064"/>
                  </a:lnTo>
                  <a:lnTo>
                    <a:pt x="326944" y="909711"/>
                  </a:lnTo>
                  <a:lnTo>
                    <a:pt x="371538" y="921177"/>
                  </a:lnTo>
                  <a:lnTo>
                    <a:pt x="417739" y="928228"/>
                  </a:lnTo>
                  <a:lnTo>
                    <a:pt x="465315" y="930631"/>
                  </a:lnTo>
                  <a:lnTo>
                    <a:pt x="512891" y="928228"/>
                  </a:lnTo>
                  <a:lnTo>
                    <a:pt x="559093" y="921177"/>
                  </a:lnTo>
                  <a:lnTo>
                    <a:pt x="603686" y="909711"/>
                  </a:lnTo>
                  <a:lnTo>
                    <a:pt x="646437" y="894064"/>
                  </a:lnTo>
                  <a:lnTo>
                    <a:pt x="687112" y="874470"/>
                  </a:lnTo>
                  <a:lnTo>
                    <a:pt x="725478" y="851162"/>
                  </a:lnTo>
                  <a:lnTo>
                    <a:pt x="761299" y="824375"/>
                  </a:lnTo>
                  <a:lnTo>
                    <a:pt x="794343" y="794343"/>
                  </a:lnTo>
                  <a:lnTo>
                    <a:pt x="824375" y="761299"/>
                  </a:lnTo>
                  <a:lnTo>
                    <a:pt x="851162" y="725478"/>
                  </a:lnTo>
                  <a:lnTo>
                    <a:pt x="874470" y="687112"/>
                  </a:lnTo>
                  <a:lnTo>
                    <a:pt x="894064" y="646437"/>
                  </a:lnTo>
                  <a:lnTo>
                    <a:pt x="909711" y="603686"/>
                  </a:lnTo>
                  <a:lnTo>
                    <a:pt x="921177" y="559093"/>
                  </a:lnTo>
                  <a:lnTo>
                    <a:pt x="928228" y="512891"/>
                  </a:lnTo>
                  <a:lnTo>
                    <a:pt x="930631" y="465315"/>
                  </a:lnTo>
                  <a:lnTo>
                    <a:pt x="928228" y="417739"/>
                  </a:lnTo>
                  <a:lnTo>
                    <a:pt x="921177" y="371538"/>
                  </a:lnTo>
                  <a:lnTo>
                    <a:pt x="909711" y="326944"/>
                  </a:lnTo>
                  <a:lnTo>
                    <a:pt x="894064" y="284193"/>
                  </a:lnTo>
                  <a:lnTo>
                    <a:pt x="874470" y="243518"/>
                  </a:lnTo>
                  <a:lnTo>
                    <a:pt x="851162" y="205153"/>
                  </a:lnTo>
                  <a:lnTo>
                    <a:pt x="824375" y="169331"/>
                  </a:lnTo>
                  <a:lnTo>
                    <a:pt x="794343" y="136287"/>
                  </a:lnTo>
                  <a:lnTo>
                    <a:pt x="761299" y="106255"/>
                  </a:lnTo>
                  <a:lnTo>
                    <a:pt x="725478" y="79468"/>
                  </a:lnTo>
                  <a:lnTo>
                    <a:pt x="687112" y="56161"/>
                  </a:lnTo>
                  <a:lnTo>
                    <a:pt x="646437" y="36566"/>
                  </a:lnTo>
                  <a:lnTo>
                    <a:pt x="603686" y="20919"/>
                  </a:lnTo>
                  <a:lnTo>
                    <a:pt x="559093" y="9453"/>
                  </a:lnTo>
                  <a:lnTo>
                    <a:pt x="512891" y="2402"/>
                  </a:lnTo>
                  <a:lnTo>
                    <a:pt x="465315" y="0"/>
                  </a:lnTo>
                  <a:close/>
                </a:path>
              </a:pathLst>
            </a:custGeom>
            <a:solidFill>
              <a:srgbClr val="0E999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8764796" y="7719658"/>
              <a:ext cx="332740" cy="332740"/>
            </a:xfrm>
            <a:custGeom>
              <a:avLst/>
              <a:gdLst/>
              <a:ahLst/>
              <a:cxnLst/>
              <a:rect l="l" t="t" r="r" b="b"/>
              <a:pathLst>
                <a:path w="332740" h="332740">
                  <a:moveTo>
                    <a:pt x="166225" y="0"/>
                  </a:moveTo>
                  <a:lnTo>
                    <a:pt x="122034" y="5937"/>
                  </a:lnTo>
                  <a:lnTo>
                    <a:pt x="82325" y="22693"/>
                  </a:lnTo>
                  <a:lnTo>
                    <a:pt x="48684" y="48684"/>
                  </a:lnTo>
                  <a:lnTo>
                    <a:pt x="22693" y="82325"/>
                  </a:lnTo>
                  <a:lnTo>
                    <a:pt x="5937" y="122034"/>
                  </a:lnTo>
                  <a:lnTo>
                    <a:pt x="0" y="166225"/>
                  </a:lnTo>
                  <a:lnTo>
                    <a:pt x="5937" y="210416"/>
                  </a:lnTo>
                  <a:lnTo>
                    <a:pt x="22693" y="250124"/>
                  </a:lnTo>
                  <a:lnTo>
                    <a:pt x="48684" y="283766"/>
                  </a:lnTo>
                  <a:lnTo>
                    <a:pt x="82325" y="309757"/>
                  </a:lnTo>
                  <a:lnTo>
                    <a:pt x="122034" y="326513"/>
                  </a:lnTo>
                  <a:lnTo>
                    <a:pt x="166225" y="332450"/>
                  </a:lnTo>
                  <a:lnTo>
                    <a:pt x="210412" y="326513"/>
                  </a:lnTo>
                  <a:lnTo>
                    <a:pt x="250119" y="309757"/>
                  </a:lnTo>
                  <a:lnTo>
                    <a:pt x="283762" y="283766"/>
                  </a:lnTo>
                  <a:lnTo>
                    <a:pt x="309754" y="250124"/>
                  </a:lnTo>
                  <a:lnTo>
                    <a:pt x="326512" y="210416"/>
                  </a:lnTo>
                  <a:lnTo>
                    <a:pt x="332450" y="166225"/>
                  </a:lnTo>
                  <a:lnTo>
                    <a:pt x="326512" y="122034"/>
                  </a:lnTo>
                  <a:lnTo>
                    <a:pt x="309754" y="82325"/>
                  </a:lnTo>
                  <a:lnTo>
                    <a:pt x="283762" y="48684"/>
                  </a:lnTo>
                  <a:lnTo>
                    <a:pt x="250119" y="22693"/>
                  </a:lnTo>
                  <a:lnTo>
                    <a:pt x="210412" y="5937"/>
                  </a:lnTo>
                  <a:lnTo>
                    <a:pt x="1662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8793596" y="7748453"/>
              <a:ext cx="274955" cy="274955"/>
            </a:xfrm>
            <a:custGeom>
              <a:avLst/>
              <a:gdLst/>
              <a:ahLst/>
              <a:cxnLst/>
              <a:rect l="l" t="t" r="r" b="b"/>
              <a:pathLst>
                <a:path w="274954" h="274954">
                  <a:moveTo>
                    <a:pt x="137419" y="0"/>
                  </a:moveTo>
                  <a:lnTo>
                    <a:pt x="93985" y="7006"/>
                  </a:lnTo>
                  <a:lnTo>
                    <a:pt x="56262" y="26515"/>
                  </a:lnTo>
                  <a:lnTo>
                    <a:pt x="26514" y="56264"/>
                  </a:lnTo>
                  <a:lnTo>
                    <a:pt x="7005" y="93990"/>
                  </a:lnTo>
                  <a:lnTo>
                    <a:pt x="0" y="137430"/>
                  </a:lnTo>
                  <a:lnTo>
                    <a:pt x="7005" y="180870"/>
                  </a:lnTo>
                  <a:lnTo>
                    <a:pt x="26514" y="218596"/>
                  </a:lnTo>
                  <a:lnTo>
                    <a:pt x="56262" y="248345"/>
                  </a:lnTo>
                  <a:lnTo>
                    <a:pt x="93985" y="267854"/>
                  </a:lnTo>
                  <a:lnTo>
                    <a:pt x="137419" y="274860"/>
                  </a:lnTo>
                  <a:lnTo>
                    <a:pt x="180859" y="267854"/>
                  </a:lnTo>
                  <a:lnTo>
                    <a:pt x="218585" y="248345"/>
                  </a:lnTo>
                  <a:lnTo>
                    <a:pt x="248334" y="218596"/>
                  </a:lnTo>
                  <a:lnTo>
                    <a:pt x="267844" y="180870"/>
                  </a:lnTo>
                  <a:lnTo>
                    <a:pt x="274850" y="137430"/>
                  </a:lnTo>
                  <a:lnTo>
                    <a:pt x="267844" y="93990"/>
                  </a:lnTo>
                  <a:lnTo>
                    <a:pt x="248334" y="56264"/>
                  </a:lnTo>
                  <a:lnTo>
                    <a:pt x="218585" y="26515"/>
                  </a:lnTo>
                  <a:lnTo>
                    <a:pt x="180859" y="7006"/>
                  </a:lnTo>
                  <a:lnTo>
                    <a:pt x="137419" y="0"/>
                  </a:lnTo>
                  <a:close/>
                </a:path>
              </a:pathLst>
            </a:custGeom>
            <a:solidFill>
              <a:srgbClr val="0E999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11098911" y="4186751"/>
              <a:ext cx="25400" cy="1873885"/>
            </a:xfrm>
            <a:custGeom>
              <a:avLst/>
              <a:gdLst/>
              <a:ahLst/>
              <a:cxnLst/>
              <a:rect l="l" t="t" r="r" b="b"/>
              <a:pathLst>
                <a:path w="25400" h="1873885">
                  <a:moveTo>
                    <a:pt x="25323" y="1823161"/>
                  </a:moveTo>
                  <a:lnTo>
                    <a:pt x="0" y="1823161"/>
                  </a:lnTo>
                  <a:lnTo>
                    <a:pt x="0" y="1873808"/>
                  </a:lnTo>
                  <a:lnTo>
                    <a:pt x="25323" y="1873808"/>
                  </a:lnTo>
                  <a:lnTo>
                    <a:pt x="25323" y="1823161"/>
                  </a:lnTo>
                  <a:close/>
                </a:path>
                <a:path w="25400" h="1873885">
                  <a:moveTo>
                    <a:pt x="25323" y="1698332"/>
                  </a:moveTo>
                  <a:lnTo>
                    <a:pt x="0" y="1698332"/>
                  </a:lnTo>
                  <a:lnTo>
                    <a:pt x="0" y="1798193"/>
                  </a:lnTo>
                  <a:lnTo>
                    <a:pt x="25323" y="1798193"/>
                  </a:lnTo>
                  <a:lnTo>
                    <a:pt x="25323" y="1698332"/>
                  </a:lnTo>
                  <a:close/>
                </a:path>
                <a:path w="25400" h="1873885">
                  <a:moveTo>
                    <a:pt x="25323" y="1573504"/>
                  </a:moveTo>
                  <a:lnTo>
                    <a:pt x="0" y="1573504"/>
                  </a:lnTo>
                  <a:lnTo>
                    <a:pt x="0" y="1673364"/>
                  </a:lnTo>
                  <a:lnTo>
                    <a:pt x="25323" y="1673364"/>
                  </a:lnTo>
                  <a:lnTo>
                    <a:pt x="25323" y="1573504"/>
                  </a:lnTo>
                  <a:close/>
                </a:path>
                <a:path w="25400" h="1873885">
                  <a:moveTo>
                    <a:pt x="25323" y="1448689"/>
                  </a:moveTo>
                  <a:lnTo>
                    <a:pt x="0" y="1448689"/>
                  </a:lnTo>
                  <a:lnTo>
                    <a:pt x="0" y="1548549"/>
                  </a:lnTo>
                  <a:lnTo>
                    <a:pt x="25323" y="1548549"/>
                  </a:lnTo>
                  <a:lnTo>
                    <a:pt x="25323" y="1448689"/>
                  </a:lnTo>
                  <a:close/>
                </a:path>
                <a:path w="25400" h="1873885">
                  <a:moveTo>
                    <a:pt x="25323" y="1323860"/>
                  </a:moveTo>
                  <a:lnTo>
                    <a:pt x="0" y="1323860"/>
                  </a:lnTo>
                  <a:lnTo>
                    <a:pt x="0" y="1423720"/>
                  </a:lnTo>
                  <a:lnTo>
                    <a:pt x="25323" y="1423720"/>
                  </a:lnTo>
                  <a:lnTo>
                    <a:pt x="25323" y="1323860"/>
                  </a:lnTo>
                  <a:close/>
                </a:path>
                <a:path w="25400" h="1873885">
                  <a:moveTo>
                    <a:pt x="25323" y="1199032"/>
                  </a:moveTo>
                  <a:lnTo>
                    <a:pt x="0" y="1199032"/>
                  </a:lnTo>
                  <a:lnTo>
                    <a:pt x="0" y="1298905"/>
                  </a:lnTo>
                  <a:lnTo>
                    <a:pt x="25323" y="1298905"/>
                  </a:lnTo>
                  <a:lnTo>
                    <a:pt x="25323" y="1199032"/>
                  </a:lnTo>
                  <a:close/>
                </a:path>
                <a:path w="25400" h="1873885">
                  <a:moveTo>
                    <a:pt x="25323" y="1074204"/>
                  </a:moveTo>
                  <a:lnTo>
                    <a:pt x="0" y="1074204"/>
                  </a:lnTo>
                  <a:lnTo>
                    <a:pt x="0" y="1174064"/>
                  </a:lnTo>
                  <a:lnTo>
                    <a:pt x="25323" y="1174064"/>
                  </a:lnTo>
                  <a:lnTo>
                    <a:pt x="25323" y="1074204"/>
                  </a:lnTo>
                  <a:close/>
                </a:path>
                <a:path w="25400" h="1873885">
                  <a:moveTo>
                    <a:pt x="25323" y="949375"/>
                  </a:moveTo>
                  <a:lnTo>
                    <a:pt x="0" y="949375"/>
                  </a:lnTo>
                  <a:lnTo>
                    <a:pt x="0" y="1049235"/>
                  </a:lnTo>
                  <a:lnTo>
                    <a:pt x="25323" y="1049235"/>
                  </a:lnTo>
                  <a:lnTo>
                    <a:pt x="25323" y="949375"/>
                  </a:lnTo>
                  <a:close/>
                </a:path>
                <a:path w="25400" h="1873885">
                  <a:moveTo>
                    <a:pt x="25323" y="824560"/>
                  </a:moveTo>
                  <a:lnTo>
                    <a:pt x="0" y="824560"/>
                  </a:lnTo>
                  <a:lnTo>
                    <a:pt x="0" y="924420"/>
                  </a:lnTo>
                  <a:lnTo>
                    <a:pt x="25323" y="924420"/>
                  </a:lnTo>
                  <a:lnTo>
                    <a:pt x="25323" y="824560"/>
                  </a:lnTo>
                  <a:close/>
                </a:path>
                <a:path w="25400" h="1873885">
                  <a:moveTo>
                    <a:pt x="25323" y="699731"/>
                  </a:moveTo>
                  <a:lnTo>
                    <a:pt x="0" y="699731"/>
                  </a:lnTo>
                  <a:lnTo>
                    <a:pt x="0" y="799592"/>
                  </a:lnTo>
                  <a:lnTo>
                    <a:pt x="25323" y="799592"/>
                  </a:lnTo>
                  <a:lnTo>
                    <a:pt x="25323" y="699731"/>
                  </a:lnTo>
                  <a:close/>
                </a:path>
                <a:path w="25400" h="1873885">
                  <a:moveTo>
                    <a:pt x="25323" y="574916"/>
                  </a:moveTo>
                  <a:lnTo>
                    <a:pt x="0" y="574916"/>
                  </a:lnTo>
                  <a:lnTo>
                    <a:pt x="0" y="674776"/>
                  </a:lnTo>
                  <a:lnTo>
                    <a:pt x="25323" y="674776"/>
                  </a:lnTo>
                  <a:lnTo>
                    <a:pt x="25323" y="574916"/>
                  </a:lnTo>
                  <a:close/>
                </a:path>
                <a:path w="25400" h="1873885">
                  <a:moveTo>
                    <a:pt x="25323" y="450075"/>
                  </a:moveTo>
                  <a:lnTo>
                    <a:pt x="0" y="450075"/>
                  </a:lnTo>
                  <a:lnTo>
                    <a:pt x="0" y="549935"/>
                  </a:lnTo>
                  <a:lnTo>
                    <a:pt x="25323" y="549935"/>
                  </a:lnTo>
                  <a:lnTo>
                    <a:pt x="25323" y="450075"/>
                  </a:lnTo>
                  <a:close/>
                </a:path>
                <a:path w="25400" h="1873885">
                  <a:moveTo>
                    <a:pt x="25323" y="325247"/>
                  </a:moveTo>
                  <a:lnTo>
                    <a:pt x="0" y="325247"/>
                  </a:lnTo>
                  <a:lnTo>
                    <a:pt x="0" y="425119"/>
                  </a:lnTo>
                  <a:lnTo>
                    <a:pt x="25323" y="425119"/>
                  </a:lnTo>
                  <a:lnTo>
                    <a:pt x="25323" y="325247"/>
                  </a:lnTo>
                  <a:close/>
                </a:path>
                <a:path w="25400" h="1873885">
                  <a:moveTo>
                    <a:pt x="25323" y="200431"/>
                  </a:moveTo>
                  <a:lnTo>
                    <a:pt x="0" y="200431"/>
                  </a:lnTo>
                  <a:lnTo>
                    <a:pt x="0" y="300291"/>
                  </a:lnTo>
                  <a:lnTo>
                    <a:pt x="25323" y="300291"/>
                  </a:lnTo>
                  <a:lnTo>
                    <a:pt x="25323" y="200431"/>
                  </a:lnTo>
                  <a:close/>
                </a:path>
                <a:path w="25400" h="1873885">
                  <a:moveTo>
                    <a:pt x="25323" y="75603"/>
                  </a:moveTo>
                  <a:lnTo>
                    <a:pt x="0" y="75603"/>
                  </a:lnTo>
                  <a:lnTo>
                    <a:pt x="0" y="175463"/>
                  </a:lnTo>
                  <a:lnTo>
                    <a:pt x="25323" y="175463"/>
                  </a:lnTo>
                  <a:lnTo>
                    <a:pt x="25323" y="75603"/>
                  </a:lnTo>
                  <a:close/>
                </a:path>
                <a:path w="25400" h="1873885">
                  <a:moveTo>
                    <a:pt x="25323" y="0"/>
                  </a:moveTo>
                  <a:lnTo>
                    <a:pt x="0" y="0"/>
                  </a:lnTo>
                  <a:lnTo>
                    <a:pt x="0" y="50647"/>
                  </a:lnTo>
                  <a:lnTo>
                    <a:pt x="25323" y="50647"/>
                  </a:lnTo>
                  <a:lnTo>
                    <a:pt x="25323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10162651" y="4119273"/>
              <a:ext cx="1945639" cy="732790"/>
            </a:xfrm>
            <a:custGeom>
              <a:avLst/>
              <a:gdLst/>
              <a:ahLst/>
              <a:cxnLst/>
              <a:rect l="l" t="t" r="r" b="b"/>
              <a:pathLst>
                <a:path w="1945640" h="732789">
                  <a:moveTo>
                    <a:pt x="1788270" y="0"/>
                  </a:moveTo>
                  <a:lnTo>
                    <a:pt x="157063" y="0"/>
                  </a:lnTo>
                  <a:lnTo>
                    <a:pt x="107416" y="8007"/>
                  </a:lnTo>
                  <a:lnTo>
                    <a:pt x="64300" y="30304"/>
                  </a:lnTo>
                  <a:lnTo>
                    <a:pt x="30301" y="64304"/>
                  </a:lnTo>
                  <a:lnTo>
                    <a:pt x="8006" y="107420"/>
                  </a:lnTo>
                  <a:lnTo>
                    <a:pt x="0" y="157063"/>
                  </a:lnTo>
                  <a:lnTo>
                    <a:pt x="0" y="575144"/>
                  </a:lnTo>
                  <a:lnTo>
                    <a:pt x="8006" y="624787"/>
                  </a:lnTo>
                  <a:lnTo>
                    <a:pt x="30301" y="667903"/>
                  </a:lnTo>
                  <a:lnTo>
                    <a:pt x="64300" y="701903"/>
                  </a:lnTo>
                  <a:lnTo>
                    <a:pt x="107416" y="724200"/>
                  </a:lnTo>
                  <a:lnTo>
                    <a:pt x="157063" y="732208"/>
                  </a:lnTo>
                  <a:lnTo>
                    <a:pt x="1788270" y="732208"/>
                  </a:lnTo>
                  <a:lnTo>
                    <a:pt x="1837913" y="724200"/>
                  </a:lnTo>
                  <a:lnTo>
                    <a:pt x="1881028" y="701903"/>
                  </a:lnTo>
                  <a:lnTo>
                    <a:pt x="1915028" y="667903"/>
                  </a:lnTo>
                  <a:lnTo>
                    <a:pt x="1937325" y="624787"/>
                  </a:lnTo>
                  <a:lnTo>
                    <a:pt x="1945333" y="575144"/>
                  </a:lnTo>
                  <a:lnTo>
                    <a:pt x="1945333" y="157063"/>
                  </a:lnTo>
                  <a:lnTo>
                    <a:pt x="1937325" y="107420"/>
                  </a:lnTo>
                  <a:lnTo>
                    <a:pt x="1915028" y="64304"/>
                  </a:lnTo>
                  <a:lnTo>
                    <a:pt x="1881028" y="30304"/>
                  </a:lnTo>
                  <a:lnTo>
                    <a:pt x="1837913" y="8007"/>
                  </a:lnTo>
                  <a:lnTo>
                    <a:pt x="1788270" y="0"/>
                  </a:lnTo>
                  <a:close/>
                </a:path>
              </a:pathLst>
            </a:custGeom>
            <a:solidFill>
              <a:srgbClr val="109963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10555569" y="3538861"/>
              <a:ext cx="1125855" cy="1125855"/>
            </a:xfrm>
            <a:custGeom>
              <a:avLst/>
              <a:gdLst/>
              <a:ahLst/>
              <a:cxnLst/>
              <a:rect l="l" t="t" r="r" b="b"/>
              <a:pathLst>
                <a:path w="1125854" h="1125854">
                  <a:moveTo>
                    <a:pt x="562820" y="0"/>
                  </a:moveTo>
                  <a:lnTo>
                    <a:pt x="514258" y="2065"/>
                  </a:lnTo>
                  <a:lnTo>
                    <a:pt x="466842" y="8151"/>
                  </a:lnTo>
                  <a:lnTo>
                    <a:pt x="420743" y="18086"/>
                  </a:lnTo>
                  <a:lnTo>
                    <a:pt x="376129" y="31703"/>
                  </a:lnTo>
                  <a:lnTo>
                    <a:pt x="333169" y="48833"/>
                  </a:lnTo>
                  <a:lnTo>
                    <a:pt x="292031" y="69305"/>
                  </a:lnTo>
                  <a:lnTo>
                    <a:pt x="252886" y="92953"/>
                  </a:lnTo>
                  <a:lnTo>
                    <a:pt x="215901" y="119605"/>
                  </a:lnTo>
                  <a:lnTo>
                    <a:pt x="181246" y="149095"/>
                  </a:lnTo>
                  <a:lnTo>
                    <a:pt x="149090" y="181252"/>
                  </a:lnTo>
                  <a:lnTo>
                    <a:pt x="119601" y="215908"/>
                  </a:lnTo>
                  <a:lnTo>
                    <a:pt x="92949" y="252893"/>
                  </a:lnTo>
                  <a:lnTo>
                    <a:pt x="69303" y="292039"/>
                  </a:lnTo>
                  <a:lnTo>
                    <a:pt x="48831" y="333177"/>
                  </a:lnTo>
                  <a:lnTo>
                    <a:pt x="31702" y="376138"/>
                  </a:lnTo>
                  <a:lnTo>
                    <a:pt x="18086" y="420753"/>
                  </a:lnTo>
                  <a:lnTo>
                    <a:pt x="8150" y="466852"/>
                  </a:lnTo>
                  <a:lnTo>
                    <a:pt x="2065" y="514268"/>
                  </a:lnTo>
                  <a:lnTo>
                    <a:pt x="0" y="562831"/>
                  </a:lnTo>
                  <a:lnTo>
                    <a:pt x="2065" y="611393"/>
                  </a:lnTo>
                  <a:lnTo>
                    <a:pt x="8150" y="658809"/>
                  </a:lnTo>
                  <a:lnTo>
                    <a:pt x="18086" y="704908"/>
                  </a:lnTo>
                  <a:lnTo>
                    <a:pt x="31702" y="749523"/>
                  </a:lnTo>
                  <a:lnTo>
                    <a:pt x="48831" y="792484"/>
                  </a:lnTo>
                  <a:lnTo>
                    <a:pt x="69303" y="833622"/>
                  </a:lnTo>
                  <a:lnTo>
                    <a:pt x="92949" y="872768"/>
                  </a:lnTo>
                  <a:lnTo>
                    <a:pt x="119601" y="909753"/>
                  </a:lnTo>
                  <a:lnTo>
                    <a:pt x="149090" y="944409"/>
                  </a:lnTo>
                  <a:lnTo>
                    <a:pt x="181246" y="976566"/>
                  </a:lnTo>
                  <a:lnTo>
                    <a:pt x="215901" y="1006056"/>
                  </a:lnTo>
                  <a:lnTo>
                    <a:pt x="252886" y="1032708"/>
                  </a:lnTo>
                  <a:lnTo>
                    <a:pt x="292031" y="1056356"/>
                  </a:lnTo>
                  <a:lnTo>
                    <a:pt x="333169" y="1076829"/>
                  </a:lnTo>
                  <a:lnTo>
                    <a:pt x="376129" y="1093958"/>
                  </a:lnTo>
                  <a:lnTo>
                    <a:pt x="420743" y="1107575"/>
                  </a:lnTo>
                  <a:lnTo>
                    <a:pt x="466842" y="1117510"/>
                  </a:lnTo>
                  <a:lnTo>
                    <a:pt x="514258" y="1123596"/>
                  </a:lnTo>
                  <a:lnTo>
                    <a:pt x="562820" y="1125662"/>
                  </a:lnTo>
                  <a:lnTo>
                    <a:pt x="611384" y="1123596"/>
                  </a:lnTo>
                  <a:lnTo>
                    <a:pt x="658801" y="1117510"/>
                  </a:lnTo>
                  <a:lnTo>
                    <a:pt x="704901" y="1107575"/>
                  </a:lnTo>
                  <a:lnTo>
                    <a:pt x="749517" y="1093958"/>
                  </a:lnTo>
                  <a:lnTo>
                    <a:pt x="792478" y="1076829"/>
                  </a:lnTo>
                  <a:lnTo>
                    <a:pt x="833616" y="1056356"/>
                  </a:lnTo>
                  <a:lnTo>
                    <a:pt x="872762" y="1032708"/>
                  </a:lnTo>
                  <a:lnTo>
                    <a:pt x="909747" y="1006056"/>
                  </a:lnTo>
                  <a:lnTo>
                    <a:pt x="944403" y="976566"/>
                  </a:lnTo>
                  <a:lnTo>
                    <a:pt x="976559" y="944409"/>
                  </a:lnTo>
                  <a:lnTo>
                    <a:pt x="1006048" y="909753"/>
                  </a:lnTo>
                  <a:lnTo>
                    <a:pt x="1032701" y="872768"/>
                  </a:lnTo>
                  <a:lnTo>
                    <a:pt x="1056347" y="833622"/>
                  </a:lnTo>
                  <a:lnTo>
                    <a:pt x="1076820" y="792484"/>
                  </a:lnTo>
                  <a:lnTo>
                    <a:pt x="1093948" y="749523"/>
                  </a:lnTo>
                  <a:lnTo>
                    <a:pt x="1107565" y="704908"/>
                  </a:lnTo>
                  <a:lnTo>
                    <a:pt x="1117500" y="658809"/>
                  </a:lnTo>
                  <a:lnTo>
                    <a:pt x="1123585" y="611393"/>
                  </a:lnTo>
                  <a:lnTo>
                    <a:pt x="1125651" y="562831"/>
                  </a:lnTo>
                  <a:lnTo>
                    <a:pt x="1123585" y="514268"/>
                  </a:lnTo>
                  <a:lnTo>
                    <a:pt x="1117500" y="466852"/>
                  </a:lnTo>
                  <a:lnTo>
                    <a:pt x="1107565" y="420753"/>
                  </a:lnTo>
                  <a:lnTo>
                    <a:pt x="1093948" y="376138"/>
                  </a:lnTo>
                  <a:lnTo>
                    <a:pt x="1076820" y="333177"/>
                  </a:lnTo>
                  <a:lnTo>
                    <a:pt x="1056347" y="292039"/>
                  </a:lnTo>
                  <a:lnTo>
                    <a:pt x="1032701" y="252893"/>
                  </a:lnTo>
                  <a:lnTo>
                    <a:pt x="1006048" y="215908"/>
                  </a:lnTo>
                  <a:lnTo>
                    <a:pt x="976559" y="181252"/>
                  </a:lnTo>
                  <a:lnTo>
                    <a:pt x="944403" y="149095"/>
                  </a:lnTo>
                  <a:lnTo>
                    <a:pt x="909747" y="119605"/>
                  </a:lnTo>
                  <a:lnTo>
                    <a:pt x="872762" y="92953"/>
                  </a:lnTo>
                  <a:lnTo>
                    <a:pt x="833616" y="69305"/>
                  </a:lnTo>
                  <a:lnTo>
                    <a:pt x="792478" y="48833"/>
                  </a:lnTo>
                  <a:lnTo>
                    <a:pt x="749517" y="31703"/>
                  </a:lnTo>
                  <a:lnTo>
                    <a:pt x="704901" y="18086"/>
                  </a:lnTo>
                  <a:lnTo>
                    <a:pt x="658801" y="8151"/>
                  </a:lnTo>
                  <a:lnTo>
                    <a:pt x="611384" y="2065"/>
                  </a:lnTo>
                  <a:lnTo>
                    <a:pt x="5628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10653075" y="3636377"/>
              <a:ext cx="930910" cy="930910"/>
            </a:xfrm>
            <a:custGeom>
              <a:avLst/>
              <a:gdLst/>
              <a:ahLst/>
              <a:cxnLst/>
              <a:rect l="l" t="t" r="r" b="b"/>
              <a:pathLst>
                <a:path w="930909" h="930910">
                  <a:moveTo>
                    <a:pt x="465315" y="0"/>
                  </a:moveTo>
                  <a:lnTo>
                    <a:pt x="417739" y="2402"/>
                  </a:lnTo>
                  <a:lnTo>
                    <a:pt x="371538" y="9453"/>
                  </a:lnTo>
                  <a:lnTo>
                    <a:pt x="326944" y="20919"/>
                  </a:lnTo>
                  <a:lnTo>
                    <a:pt x="284193" y="36566"/>
                  </a:lnTo>
                  <a:lnTo>
                    <a:pt x="243518" y="56161"/>
                  </a:lnTo>
                  <a:lnTo>
                    <a:pt x="205153" y="79468"/>
                  </a:lnTo>
                  <a:lnTo>
                    <a:pt x="169331" y="106255"/>
                  </a:lnTo>
                  <a:lnTo>
                    <a:pt x="136287" y="136287"/>
                  </a:lnTo>
                  <a:lnTo>
                    <a:pt x="106255" y="169331"/>
                  </a:lnTo>
                  <a:lnTo>
                    <a:pt x="79468" y="205153"/>
                  </a:lnTo>
                  <a:lnTo>
                    <a:pt x="56161" y="243518"/>
                  </a:lnTo>
                  <a:lnTo>
                    <a:pt x="36566" y="284193"/>
                  </a:lnTo>
                  <a:lnTo>
                    <a:pt x="20919" y="326944"/>
                  </a:lnTo>
                  <a:lnTo>
                    <a:pt x="9453" y="371538"/>
                  </a:lnTo>
                  <a:lnTo>
                    <a:pt x="2402" y="417739"/>
                  </a:lnTo>
                  <a:lnTo>
                    <a:pt x="0" y="465315"/>
                  </a:lnTo>
                  <a:lnTo>
                    <a:pt x="2402" y="512891"/>
                  </a:lnTo>
                  <a:lnTo>
                    <a:pt x="9453" y="559093"/>
                  </a:lnTo>
                  <a:lnTo>
                    <a:pt x="20919" y="603686"/>
                  </a:lnTo>
                  <a:lnTo>
                    <a:pt x="36566" y="646437"/>
                  </a:lnTo>
                  <a:lnTo>
                    <a:pt x="56161" y="687112"/>
                  </a:lnTo>
                  <a:lnTo>
                    <a:pt x="79468" y="725478"/>
                  </a:lnTo>
                  <a:lnTo>
                    <a:pt x="106255" y="761299"/>
                  </a:lnTo>
                  <a:lnTo>
                    <a:pt x="136287" y="794343"/>
                  </a:lnTo>
                  <a:lnTo>
                    <a:pt x="169331" y="824375"/>
                  </a:lnTo>
                  <a:lnTo>
                    <a:pt x="205153" y="851162"/>
                  </a:lnTo>
                  <a:lnTo>
                    <a:pt x="243518" y="874470"/>
                  </a:lnTo>
                  <a:lnTo>
                    <a:pt x="284193" y="894064"/>
                  </a:lnTo>
                  <a:lnTo>
                    <a:pt x="326944" y="909711"/>
                  </a:lnTo>
                  <a:lnTo>
                    <a:pt x="371538" y="921177"/>
                  </a:lnTo>
                  <a:lnTo>
                    <a:pt x="417739" y="928228"/>
                  </a:lnTo>
                  <a:lnTo>
                    <a:pt x="465315" y="930631"/>
                  </a:lnTo>
                  <a:lnTo>
                    <a:pt x="512891" y="928228"/>
                  </a:lnTo>
                  <a:lnTo>
                    <a:pt x="559093" y="921177"/>
                  </a:lnTo>
                  <a:lnTo>
                    <a:pt x="603686" y="909711"/>
                  </a:lnTo>
                  <a:lnTo>
                    <a:pt x="646437" y="894064"/>
                  </a:lnTo>
                  <a:lnTo>
                    <a:pt x="687112" y="874470"/>
                  </a:lnTo>
                  <a:lnTo>
                    <a:pt x="725478" y="851162"/>
                  </a:lnTo>
                  <a:lnTo>
                    <a:pt x="761299" y="824375"/>
                  </a:lnTo>
                  <a:lnTo>
                    <a:pt x="794343" y="794343"/>
                  </a:lnTo>
                  <a:lnTo>
                    <a:pt x="824375" y="761299"/>
                  </a:lnTo>
                  <a:lnTo>
                    <a:pt x="851162" y="725478"/>
                  </a:lnTo>
                  <a:lnTo>
                    <a:pt x="874470" y="687112"/>
                  </a:lnTo>
                  <a:lnTo>
                    <a:pt x="894064" y="646437"/>
                  </a:lnTo>
                  <a:lnTo>
                    <a:pt x="909711" y="603686"/>
                  </a:lnTo>
                  <a:lnTo>
                    <a:pt x="921177" y="559093"/>
                  </a:lnTo>
                  <a:lnTo>
                    <a:pt x="928228" y="512891"/>
                  </a:lnTo>
                  <a:lnTo>
                    <a:pt x="930631" y="465315"/>
                  </a:lnTo>
                  <a:lnTo>
                    <a:pt x="928228" y="417739"/>
                  </a:lnTo>
                  <a:lnTo>
                    <a:pt x="921177" y="371538"/>
                  </a:lnTo>
                  <a:lnTo>
                    <a:pt x="909711" y="326944"/>
                  </a:lnTo>
                  <a:lnTo>
                    <a:pt x="894064" y="284193"/>
                  </a:lnTo>
                  <a:lnTo>
                    <a:pt x="874470" y="243518"/>
                  </a:lnTo>
                  <a:lnTo>
                    <a:pt x="851162" y="205153"/>
                  </a:lnTo>
                  <a:lnTo>
                    <a:pt x="824375" y="169331"/>
                  </a:lnTo>
                  <a:lnTo>
                    <a:pt x="794343" y="136287"/>
                  </a:lnTo>
                  <a:lnTo>
                    <a:pt x="761299" y="106255"/>
                  </a:lnTo>
                  <a:lnTo>
                    <a:pt x="725478" y="79468"/>
                  </a:lnTo>
                  <a:lnTo>
                    <a:pt x="687112" y="56161"/>
                  </a:lnTo>
                  <a:lnTo>
                    <a:pt x="646437" y="36566"/>
                  </a:lnTo>
                  <a:lnTo>
                    <a:pt x="603686" y="20919"/>
                  </a:lnTo>
                  <a:lnTo>
                    <a:pt x="559093" y="9453"/>
                  </a:lnTo>
                  <a:lnTo>
                    <a:pt x="512891" y="2402"/>
                  </a:lnTo>
                  <a:lnTo>
                    <a:pt x="465315" y="0"/>
                  </a:lnTo>
                  <a:close/>
                </a:path>
              </a:pathLst>
            </a:custGeom>
            <a:solidFill>
              <a:srgbClr val="109963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10936858" y="5874055"/>
              <a:ext cx="332740" cy="332740"/>
            </a:xfrm>
            <a:custGeom>
              <a:avLst/>
              <a:gdLst/>
              <a:ahLst/>
              <a:cxnLst/>
              <a:rect l="l" t="t" r="r" b="b"/>
              <a:pathLst>
                <a:path w="332740" h="332739">
                  <a:moveTo>
                    <a:pt x="166225" y="0"/>
                  </a:moveTo>
                  <a:lnTo>
                    <a:pt x="122034" y="5937"/>
                  </a:lnTo>
                  <a:lnTo>
                    <a:pt x="82325" y="22693"/>
                  </a:lnTo>
                  <a:lnTo>
                    <a:pt x="48684" y="48684"/>
                  </a:lnTo>
                  <a:lnTo>
                    <a:pt x="22693" y="82325"/>
                  </a:lnTo>
                  <a:lnTo>
                    <a:pt x="5937" y="122034"/>
                  </a:lnTo>
                  <a:lnTo>
                    <a:pt x="0" y="166225"/>
                  </a:lnTo>
                  <a:lnTo>
                    <a:pt x="5937" y="210416"/>
                  </a:lnTo>
                  <a:lnTo>
                    <a:pt x="22693" y="250124"/>
                  </a:lnTo>
                  <a:lnTo>
                    <a:pt x="48684" y="283766"/>
                  </a:lnTo>
                  <a:lnTo>
                    <a:pt x="82325" y="309757"/>
                  </a:lnTo>
                  <a:lnTo>
                    <a:pt x="122034" y="326513"/>
                  </a:lnTo>
                  <a:lnTo>
                    <a:pt x="166225" y="332450"/>
                  </a:lnTo>
                  <a:lnTo>
                    <a:pt x="210412" y="326513"/>
                  </a:lnTo>
                  <a:lnTo>
                    <a:pt x="250119" y="309757"/>
                  </a:lnTo>
                  <a:lnTo>
                    <a:pt x="283762" y="283766"/>
                  </a:lnTo>
                  <a:lnTo>
                    <a:pt x="309754" y="250124"/>
                  </a:lnTo>
                  <a:lnTo>
                    <a:pt x="326512" y="210416"/>
                  </a:lnTo>
                  <a:lnTo>
                    <a:pt x="332450" y="166225"/>
                  </a:lnTo>
                  <a:lnTo>
                    <a:pt x="326512" y="122034"/>
                  </a:lnTo>
                  <a:lnTo>
                    <a:pt x="309754" y="82325"/>
                  </a:lnTo>
                  <a:lnTo>
                    <a:pt x="283762" y="48684"/>
                  </a:lnTo>
                  <a:lnTo>
                    <a:pt x="250119" y="22693"/>
                  </a:lnTo>
                  <a:lnTo>
                    <a:pt x="210412" y="5937"/>
                  </a:lnTo>
                  <a:lnTo>
                    <a:pt x="1662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10965658" y="5902850"/>
              <a:ext cx="274955" cy="274955"/>
            </a:xfrm>
            <a:custGeom>
              <a:avLst/>
              <a:gdLst/>
              <a:ahLst/>
              <a:cxnLst/>
              <a:rect l="l" t="t" r="r" b="b"/>
              <a:pathLst>
                <a:path w="274954" h="274954">
                  <a:moveTo>
                    <a:pt x="137419" y="0"/>
                  </a:moveTo>
                  <a:lnTo>
                    <a:pt x="93985" y="7006"/>
                  </a:lnTo>
                  <a:lnTo>
                    <a:pt x="56262" y="26515"/>
                  </a:lnTo>
                  <a:lnTo>
                    <a:pt x="26514" y="56264"/>
                  </a:lnTo>
                  <a:lnTo>
                    <a:pt x="7005" y="93990"/>
                  </a:lnTo>
                  <a:lnTo>
                    <a:pt x="0" y="137430"/>
                  </a:lnTo>
                  <a:lnTo>
                    <a:pt x="7005" y="180870"/>
                  </a:lnTo>
                  <a:lnTo>
                    <a:pt x="26514" y="218596"/>
                  </a:lnTo>
                  <a:lnTo>
                    <a:pt x="56262" y="248345"/>
                  </a:lnTo>
                  <a:lnTo>
                    <a:pt x="93985" y="267854"/>
                  </a:lnTo>
                  <a:lnTo>
                    <a:pt x="137419" y="274860"/>
                  </a:lnTo>
                  <a:lnTo>
                    <a:pt x="180859" y="267854"/>
                  </a:lnTo>
                  <a:lnTo>
                    <a:pt x="218585" y="248345"/>
                  </a:lnTo>
                  <a:lnTo>
                    <a:pt x="248334" y="218596"/>
                  </a:lnTo>
                  <a:lnTo>
                    <a:pt x="267844" y="180870"/>
                  </a:lnTo>
                  <a:lnTo>
                    <a:pt x="274850" y="137430"/>
                  </a:lnTo>
                  <a:lnTo>
                    <a:pt x="267844" y="93990"/>
                  </a:lnTo>
                  <a:lnTo>
                    <a:pt x="248334" y="56264"/>
                  </a:lnTo>
                  <a:lnTo>
                    <a:pt x="218585" y="26515"/>
                  </a:lnTo>
                  <a:lnTo>
                    <a:pt x="180859" y="7006"/>
                  </a:lnTo>
                  <a:lnTo>
                    <a:pt x="137419" y="0"/>
                  </a:lnTo>
                  <a:close/>
                </a:path>
              </a:pathLst>
            </a:custGeom>
            <a:solidFill>
              <a:srgbClr val="109963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13294932" y="4186751"/>
              <a:ext cx="25400" cy="3740150"/>
            </a:xfrm>
            <a:custGeom>
              <a:avLst/>
              <a:gdLst/>
              <a:ahLst/>
              <a:cxnLst/>
              <a:rect l="l" t="t" r="r" b="b"/>
              <a:pathLst>
                <a:path w="25400" h="3740150">
                  <a:moveTo>
                    <a:pt x="25311" y="3689299"/>
                  </a:moveTo>
                  <a:lnTo>
                    <a:pt x="0" y="3689299"/>
                  </a:lnTo>
                  <a:lnTo>
                    <a:pt x="0" y="3739946"/>
                  </a:lnTo>
                  <a:lnTo>
                    <a:pt x="25311" y="3739946"/>
                  </a:lnTo>
                  <a:lnTo>
                    <a:pt x="25311" y="3689299"/>
                  </a:lnTo>
                  <a:close/>
                </a:path>
                <a:path w="25400" h="3740150">
                  <a:moveTo>
                    <a:pt x="25311" y="3564699"/>
                  </a:moveTo>
                  <a:lnTo>
                    <a:pt x="0" y="3564699"/>
                  </a:lnTo>
                  <a:lnTo>
                    <a:pt x="0" y="3664381"/>
                  </a:lnTo>
                  <a:lnTo>
                    <a:pt x="25311" y="3664381"/>
                  </a:lnTo>
                  <a:lnTo>
                    <a:pt x="25311" y="3564699"/>
                  </a:lnTo>
                  <a:close/>
                </a:path>
                <a:path w="25400" h="3740150">
                  <a:moveTo>
                    <a:pt x="25311" y="3440074"/>
                  </a:moveTo>
                  <a:lnTo>
                    <a:pt x="0" y="3440074"/>
                  </a:lnTo>
                  <a:lnTo>
                    <a:pt x="0" y="3539756"/>
                  </a:lnTo>
                  <a:lnTo>
                    <a:pt x="25311" y="3539756"/>
                  </a:lnTo>
                  <a:lnTo>
                    <a:pt x="25311" y="3440074"/>
                  </a:lnTo>
                  <a:close/>
                </a:path>
                <a:path w="25400" h="3740150">
                  <a:moveTo>
                    <a:pt x="25311" y="3315462"/>
                  </a:moveTo>
                  <a:lnTo>
                    <a:pt x="0" y="3315462"/>
                  </a:lnTo>
                  <a:lnTo>
                    <a:pt x="0" y="3415157"/>
                  </a:lnTo>
                  <a:lnTo>
                    <a:pt x="25311" y="3415157"/>
                  </a:lnTo>
                  <a:lnTo>
                    <a:pt x="25311" y="3315462"/>
                  </a:lnTo>
                  <a:close/>
                </a:path>
                <a:path w="25400" h="3740150">
                  <a:moveTo>
                    <a:pt x="25311" y="3190862"/>
                  </a:moveTo>
                  <a:lnTo>
                    <a:pt x="0" y="3190862"/>
                  </a:lnTo>
                  <a:lnTo>
                    <a:pt x="0" y="3290544"/>
                  </a:lnTo>
                  <a:lnTo>
                    <a:pt x="25311" y="3290544"/>
                  </a:lnTo>
                  <a:lnTo>
                    <a:pt x="25311" y="3190862"/>
                  </a:lnTo>
                  <a:close/>
                </a:path>
                <a:path w="25400" h="3740150">
                  <a:moveTo>
                    <a:pt x="25311" y="3066237"/>
                  </a:moveTo>
                  <a:lnTo>
                    <a:pt x="0" y="3066237"/>
                  </a:lnTo>
                  <a:lnTo>
                    <a:pt x="0" y="3165932"/>
                  </a:lnTo>
                  <a:lnTo>
                    <a:pt x="25311" y="3165932"/>
                  </a:lnTo>
                  <a:lnTo>
                    <a:pt x="25311" y="3066237"/>
                  </a:lnTo>
                  <a:close/>
                </a:path>
                <a:path w="25400" h="3740150">
                  <a:moveTo>
                    <a:pt x="25311" y="2941637"/>
                  </a:moveTo>
                  <a:lnTo>
                    <a:pt x="0" y="2941637"/>
                  </a:lnTo>
                  <a:lnTo>
                    <a:pt x="0" y="3041319"/>
                  </a:lnTo>
                  <a:lnTo>
                    <a:pt x="25311" y="3041319"/>
                  </a:lnTo>
                  <a:lnTo>
                    <a:pt x="25311" y="2941637"/>
                  </a:lnTo>
                  <a:close/>
                </a:path>
                <a:path w="25400" h="3740150">
                  <a:moveTo>
                    <a:pt x="25311" y="2817025"/>
                  </a:moveTo>
                  <a:lnTo>
                    <a:pt x="0" y="2817025"/>
                  </a:lnTo>
                  <a:lnTo>
                    <a:pt x="0" y="2916707"/>
                  </a:lnTo>
                  <a:lnTo>
                    <a:pt x="25311" y="2916707"/>
                  </a:lnTo>
                  <a:lnTo>
                    <a:pt x="25311" y="2817025"/>
                  </a:lnTo>
                  <a:close/>
                </a:path>
                <a:path w="25400" h="3740150">
                  <a:moveTo>
                    <a:pt x="25311" y="2692412"/>
                  </a:moveTo>
                  <a:lnTo>
                    <a:pt x="0" y="2692412"/>
                  </a:lnTo>
                  <a:lnTo>
                    <a:pt x="0" y="2792095"/>
                  </a:lnTo>
                  <a:lnTo>
                    <a:pt x="25311" y="2792095"/>
                  </a:lnTo>
                  <a:lnTo>
                    <a:pt x="25311" y="2692412"/>
                  </a:lnTo>
                  <a:close/>
                </a:path>
                <a:path w="25400" h="3740150">
                  <a:moveTo>
                    <a:pt x="25311" y="2567800"/>
                  </a:moveTo>
                  <a:lnTo>
                    <a:pt x="0" y="2567800"/>
                  </a:lnTo>
                  <a:lnTo>
                    <a:pt x="0" y="2667482"/>
                  </a:lnTo>
                  <a:lnTo>
                    <a:pt x="25311" y="2667482"/>
                  </a:lnTo>
                  <a:lnTo>
                    <a:pt x="25311" y="2567800"/>
                  </a:lnTo>
                  <a:close/>
                </a:path>
                <a:path w="25400" h="3740150">
                  <a:moveTo>
                    <a:pt x="25311" y="2443175"/>
                  </a:moveTo>
                  <a:lnTo>
                    <a:pt x="0" y="2443175"/>
                  </a:lnTo>
                  <a:lnTo>
                    <a:pt x="0" y="2542870"/>
                  </a:lnTo>
                  <a:lnTo>
                    <a:pt x="25311" y="2542870"/>
                  </a:lnTo>
                  <a:lnTo>
                    <a:pt x="25311" y="2443175"/>
                  </a:lnTo>
                  <a:close/>
                </a:path>
                <a:path w="25400" h="3740150">
                  <a:moveTo>
                    <a:pt x="25311" y="2318575"/>
                  </a:moveTo>
                  <a:lnTo>
                    <a:pt x="0" y="2318575"/>
                  </a:lnTo>
                  <a:lnTo>
                    <a:pt x="0" y="2418257"/>
                  </a:lnTo>
                  <a:lnTo>
                    <a:pt x="25311" y="2418257"/>
                  </a:lnTo>
                  <a:lnTo>
                    <a:pt x="25311" y="2318575"/>
                  </a:lnTo>
                  <a:close/>
                </a:path>
                <a:path w="25400" h="3740150">
                  <a:moveTo>
                    <a:pt x="25311" y="2193963"/>
                  </a:moveTo>
                  <a:lnTo>
                    <a:pt x="0" y="2193963"/>
                  </a:lnTo>
                  <a:lnTo>
                    <a:pt x="0" y="2293658"/>
                  </a:lnTo>
                  <a:lnTo>
                    <a:pt x="25311" y="2293658"/>
                  </a:lnTo>
                  <a:lnTo>
                    <a:pt x="25311" y="2193963"/>
                  </a:lnTo>
                  <a:close/>
                </a:path>
                <a:path w="25400" h="3740150">
                  <a:moveTo>
                    <a:pt x="25311" y="2069363"/>
                  </a:moveTo>
                  <a:lnTo>
                    <a:pt x="0" y="2069363"/>
                  </a:lnTo>
                  <a:lnTo>
                    <a:pt x="0" y="2169045"/>
                  </a:lnTo>
                  <a:lnTo>
                    <a:pt x="25311" y="2169045"/>
                  </a:lnTo>
                  <a:lnTo>
                    <a:pt x="25311" y="2069363"/>
                  </a:lnTo>
                  <a:close/>
                </a:path>
                <a:path w="25400" h="3740150">
                  <a:moveTo>
                    <a:pt x="25311" y="1944738"/>
                  </a:moveTo>
                  <a:lnTo>
                    <a:pt x="0" y="1944738"/>
                  </a:lnTo>
                  <a:lnTo>
                    <a:pt x="0" y="2044420"/>
                  </a:lnTo>
                  <a:lnTo>
                    <a:pt x="25311" y="2044420"/>
                  </a:lnTo>
                  <a:lnTo>
                    <a:pt x="25311" y="1944738"/>
                  </a:lnTo>
                  <a:close/>
                </a:path>
                <a:path w="25400" h="3740150">
                  <a:moveTo>
                    <a:pt x="25311" y="1820125"/>
                  </a:moveTo>
                  <a:lnTo>
                    <a:pt x="0" y="1820125"/>
                  </a:lnTo>
                  <a:lnTo>
                    <a:pt x="0" y="1919808"/>
                  </a:lnTo>
                  <a:lnTo>
                    <a:pt x="25311" y="1919808"/>
                  </a:lnTo>
                  <a:lnTo>
                    <a:pt x="25311" y="1820125"/>
                  </a:lnTo>
                  <a:close/>
                </a:path>
                <a:path w="25400" h="3740150">
                  <a:moveTo>
                    <a:pt x="25311" y="1695513"/>
                  </a:moveTo>
                  <a:lnTo>
                    <a:pt x="0" y="1695513"/>
                  </a:lnTo>
                  <a:lnTo>
                    <a:pt x="0" y="1795208"/>
                  </a:lnTo>
                  <a:lnTo>
                    <a:pt x="25311" y="1795208"/>
                  </a:lnTo>
                  <a:lnTo>
                    <a:pt x="25311" y="1695513"/>
                  </a:lnTo>
                  <a:close/>
                </a:path>
                <a:path w="25400" h="3740150">
                  <a:moveTo>
                    <a:pt x="25311" y="1570901"/>
                  </a:moveTo>
                  <a:lnTo>
                    <a:pt x="0" y="1570901"/>
                  </a:lnTo>
                  <a:lnTo>
                    <a:pt x="0" y="1670596"/>
                  </a:lnTo>
                  <a:lnTo>
                    <a:pt x="25311" y="1670596"/>
                  </a:lnTo>
                  <a:lnTo>
                    <a:pt x="25311" y="1570901"/>
                  </a:lnTo>
                  <a:close/>
                </a:path>
                <a:path w="25400" h="3740150">
                  <a:moveTo>
                    <a:pt x="25311" y="1446288"/>
                  </a:moveTo>
                  <a:lnTo>
                    <a:pt x="0" y="1446288"/>
                  </a:lnTo>
                  <a:lnTo>
                    <a:pt x="0" y="1545983"/>
                  </a:lnTo>
                  <a:lnTo>
                    <a:pt x="25311" y="1545983"/>
                  </a:lnTo>
                  <a:lnTo>
                    <a:pt x="25311" y="1446288"/>
                  </a:lnTo>
                  <a:close/>
                </a:path>
                <a:path w="25400" h="3740150">
                  <a:moveTo>
                    <a:pt x="25311" y="1321676"/>
                  </a:moveTo>
                  <a:lnTo>
                    <a:pt x="0" y="1321676"/>
                  </a:lnTo>
                  <a:lnTo>
                    <a:pt x="0" y="1421371"/>
                  </a:lnTo>
                  <a:lnTo>
                    <a:pt x="25311" y="1421371"/>
                  </a:lnTo>
                  <a:lnTo>
                    <a:pt x="25311" y="1321676"/>
                  </a:lnTo>
                  <a:close/>
                </a:path>
                <a:path w="25400" h="3740150">
                  <a:moveTo>
                    <a:pt x="25311" y="1197063"/>
                  </a:moveTo>
                  <a:lnTo>
                    <a:pt x="0" y="1197063"/>
                  </a:lnTo>
                  <a:lnTo>
                    <a:pt x="0" y="1296758"/>
                  </a:lnTo>
                  <a:lnTo>
                    <a:pt x="25311" y="1296758"/>
                  </a:lnTo>
                  <a:lnTo>
                    <a:pt x="25311" y="1197063"/>
                  </a:lnTo>
                  <a:close/>
                </a:path>
                <a:path w="25400" h="3740150">
                  <a:moveTo>
                    <a:pt x="25311" y="1072451"/>
                  </a:moveTo>
                  <a:lnTo>
                    <a:pt x="0" y="1072451"/>
                  </a:lnTo>
                  <a:lnTo>
                    <a:pt x="0" y="1172146"/>
                  </a:lnTo>
                  <a:lnTo>
                    <a:pt x="25311" y="1172146"/>
                  </a:lnTo>
                  <a:lnTo>
                    <a:pt x="25311" y="1072451"/>
                  </a:lnTo>
                  <a:close/>
                </a:path>
                <a:path w="25400" h="3740150">
                  <a:moveTo>
                    <a:pt x="25311" y="947839"/>
                  </a:moveTo>
                  <a:lnTo>
                    <a:pt x="0" y="947839"/>
                  </a:lnTo>
                  <a:lnTo>
                    <a:pt x="0" y="1047534"/>
                  </a:lnTo>
                  <a:lnTo>
                    <a:pt x="25311" y="1047534"/>
                  </a:lnTo>
                  <a:lnTo>
                    <a:pt x="25311" y="947839"/>
                  </a:lnTo>
                  <a:close/>
                </a:path>
                <a:path w="25400" h="3740150">
                  <a:moveTo>
                    <a:pt x="25311" y="823226"/>
                  </a:moveTo>
                  <a:lnTo>
                    <a:pt x="0" y="823226"/>
                  </a:lnTo>
                  <a:lnTo>
                    <a:pt x="0" y="922921"/>
                  </a:lnTo>
                  <a:lnTo>
                    <a:pt x="25311" y="922921"/>
                  </a:lnTo>
                  <a:lnTo>
                    <a:pt x="25311" y="823226"/>
                  </a:lnTo>
                  <a:close/>
                </a:path>
                <a:path w="25400" h="3740150">
                  <a:moveTo>
                    <a:pt x="25311" y="698639"/>
                  </a:moveTo>
                  <a:lnTo>
                    <a:pt x="0" y="698639"/>
                  </a:lnTo>
                  <a:lnTo>
                    <a:pt x="0" y="798322"/>
                  </a:lnTo>
                  <a:lnTo>
                    <a:pt x="25311" y="798322"/>
                  </a:lnTo>
                  <a:lnTo>
                    <a:pt x="25311" y="698639"/>
                  </a:lnTo>
                  <a:close/>
                </a:path>
                <a:path w="25400" h="3740150">
                  <a:moveTo>
                    <a:pt x="25311" y="574014"/>
                  </a:moveTo>
                  <a:lnTo>
                    <a:pt x="0" y="574014"/>
                  </a:lnTo>
                  <a:lnTo>
                    <a:pt x="0" y="673696"/>
                  </a:lnTo>
                  <a:lnTo>
                    <a:pt x="25311" y="673696"/>
                  </a:lnTo>
                  <a:lnTo>
                    <a:pt x="25311" y="574014"/>
                  </a:lnTo>
                  <a:close/>
                </a:path>
                <a:path w="25400" h="3740150">
                  <a:moveTo>
                    <a:pt x="25311" y="449402"/>
                  </a:moveTo>
                  <a:lnTo>
                    <a:pt x="0" y="449402"/>
                  </a:lnTo>
                  <a:lnTo>
                    <a:pt x="0" y="549084"/>
                  </a:lnTo>
                  <a:lnTo>
                    <a:pt x="25311" y="549084"/>
                  </a:lnTo>
                  <a:lnTo>
                    <a:pt x="25311" y="449402"/>
                  </a:lnTo>
                  <a:close/>
                </a:path>
                <a:path w="25400" h="3740150">
                  <a:moveTo>
                    <a:pt x="25311" y="324777"/>
                  </a:moveTo>
                  <a:lnTo>
                    <a:pt x="0" y="324777"/>
                  </a:lnTo>
                  <a:lnTo>
                    <a:pt x="0" y="424472"/>
                  </a:lnTo>
                  <a:lnTo>
                    <a:pt x="25311" y="424472"/>
                  </a:lnTo>
                  <a:lnTo>
                    <a:pt x="25311" y="324777"/>
                  </a:lnTo>
                  <a:close/>
                </a:path>
                <a:path w="25400" h="3740150">
                  <a:moveTo>
                    <a:pt x="25311" y="200177"/>
                  </a:moveTo>
                  <a:lnTo>
                    <a:pt x="0" y="200177"/>
                  </a:lnTo>
                  <a:lnTo>
                    <a:pt x="0" y="299872"/>
                  </a:lnTo>
                  <a:lnTo>
                    <a:pt x="25311" y="299872"/>
                  </a:lnTo>
                  <a:lnTo>
                    <a:pt x="25311" y="200177"/>
                  </a:lnTo>
                  <a:close/>
                </a:path>
                <a:path w="25400" h="3740150">
                  <a:moveTo>
                    <a:pt x="25311" y="75565"/>
                  </a:moveTo>
                  <a:lnTo>
                    <a:pt x="0" y="75565"/>
                  </a:lnTo>
                  <a:lnTo>
                    <a:pt x="0" y="175260"/>
                  </a:lnTo>
                  <a:lnTo>
                    <a:pt x="25311" y="175260"/>
                  </a:lnTo>
                  <a:lnTo>
                    <a:pt x="25311" y="75565"/>
                  </a:lnTo>
                  <a:close/>
                </a:path>
                <a:path w="25400" h="3740150">
                  <a:moveTo>
                    <a:pt x="25311" y="0"/>
                  </a:moveTo>
                  <a:lnTo>
                    <a:pt x="0" y="0"/>
                  </a:lnTo>
                  <a:lnTo>
                    <a:pt x="0" y="50647"/>
                  </a:lnTo>
                  <a:lnTo>
                    <a:pt x="25311" y="50647"/>
                  </a:lnTo>
                  <a:lnTo>
                    <a:pt x="25311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12357524" y="4119273"/>
              <a:ext cx="1945639" cy="732790"/>
            </a:xfrm>
            <a:custGeom>
              <a:avLst/>
              <a:gdLst/>
              <a:ahLst/>
              <a:cxnLst/>
              <a:rect l="l" t="t" r="r" b="b"/>
              <a:pathLst>
                <a:path w="1945640" h="732789">
                  <a:moveTo>
                    <a:pt x="1788270" y="0"/>
                  </a:moveTo>
                  <a:lnTo>
                    <a:pt x="157063" y="0"/>
                  </a:lnTo>
                  <a:lnTo>
                    <a:pt x="107416" y="8007"/>
                  </a:lnTo>
                  <a:lnTo>
                    <a:pt x="64300" y="30304"/>
                  </a:lnTo>
                  <a:lnTo>
                    <a:pt x="30301" y="64304"/>
                  </a:lnTo>
                  <a:lnTo>
                    <a:pt x="8006" y="107420"/>
                  </a:lnTo>
                  <a:lnTo>
                    <a:pt x="0" y="157063"/>
                  </a:lnTo>
                  <a:lnTo>
                    <a:pt x="0" y="575144"/>
                  </a:lnTo>
                  <a:lnTo>
                    <a:pt x="8006" y="624787"/>
                  </a:lnTo>
                  <a:lnTo>
                    <a:pt x="30301" y="667903"/>
                  </a:lnTo>
                  <a:lnTo>
                    <a:pt x="64300" y="701903"/>
                  </a:lnTo>
                  <a:lnTo>
                    <a:pt x="107416" y="724200"/>
                  </a:lnTo>
                  <a:lnTo>
                    <a:pt x="157063" y="732208"/>
                  </a:lnTo>
                  <a:lnTo>
                    <a:pt x="1788270" y="732208"/>
                  </a:lnTo>
                  <a:lnTo>
                    <a:pt x="1837913" y="724200"/>
                  </a:lnTo>
                  <a:lnTo>
                    <a:pt x="1881028" y="701903"/>
                  </a:lnTo>
                  <a:lnTo>
                    <a:pt x="1915028" y="667903"/>
                  </a:lnTo>
                  <a:lnTo>
                    <a:pt x="1937325" y="624787"/>
                  </a:lnTo>
                  <a:lnTo>
                    <a:pt x="1945333" y="575144"/>
                  </a:lnTo>
                  <a:lnTo>
                    <a:pt x="1945333" y="157063"/>
                  </a:lnTo>
                  <a:lnTo>
                    <a:pt x="1937325" y="107420"/>
                  </a:lnTo>
                  <a:lnTo>
                    <a:pt x="1915028" y="64304"/>
                  </a:lnTo>
                  <a:lnTo>
                    <a:pt x="1881028" y="30304"/>
                  </a:lnTo>
                  <a:lnTo>
                    <a:pt x="1837913" y="8007"/>
                  </a:lnTo>
                  <a:lnTo>
                    <a:pt x="1788270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12750621" y="3538861"/>
              <a:ext cx="1125855" cy="1125855"/>
            </a:xfrm>
            <a:custGeom>
              <a:avLst/>
              <a:gdLst/>
              <a:ahLst/>
              <a:cxnLst/>
              <a:rect l="l" t="t" r="r" b="b"/>
              <a:pathLst>
                <a:path w="1125855" h="1125854">
                  <a:moveTo>
                    <a:pt x="562820" y="0"/>
                  </a:moveTo>
                  <a:lnTo>
                    <a:pt x="514258" y="2065"/>
                  </a:lnTo>
                  <a:lnTo>
                    <a:pt x="466842" y="8151"/>
                  </a:lnTo>
                  <a:lnTo>
                    <a:pt x="420743" y="18086"/>
                  </a:lnTo>
                  <a:lnTo>
                    <a:pt x="376129" y="31703"/>
                  </a:lnTo>
                  <a:lnTo>
                    <a:pt x="333169" y="48833"/>
                  </a:lnTo>
                  <a:lnTo>
                    <a:pt x="292031" y="69305"/>
                  </a:lnTo>
                  <a:lnTo>
                    <a:pt x="252886" y="92953"/>
                  </a:lnTo>
                  <a:lnTo>
                    <a:pt x="215901" y="119605"/>
                  </a:lnTo>
                  <a:lnTo>
                    <a:pt x="181246" y="149095"/>
                  </a:lnTo>
                  <a:lnTo>
                    <a:pt x="149090" y="181252"/>
                  </a:lnTo>
                  <a:lnTo>
                    <a:pt x="119601" y="215908"/>
                  </a:lnTo>
                  <a:lnTo>
                    <a:pt x="92949" y="252893"/>
                  </a:lnTo>
                  <a:lnTo>
                    <a:pt x="69303" y="292039"/>
                  </a:lnTo>
                  <a:lnTo>
                    <a:pt x="48831" y="333177"/>
                  </a:lnTo>
                  <a:lnTo>
                    <a:pt x="31702" y="376138"/>
                  </a:lnTo>
                  <a:lnTo>
                    <a:pt x="18086" y="420753"/>
                  </a:lnTo>
                  <a:lnTo>
                    <a:pt x="8150" y="466852"/>
                  </a:lnTo>
                  <a:lnTo>
                    <a:pt x="2065" y="514268"/>
                  </a:lnTo>
                  <a:lnTo>
                    <a:pt x="0" y="562831"/>
                  </a:lnTo>
                  <a:lnTo>
                    <a:pt x="2065" y="611393"/>
                  </a:lnTo>
                  <a:lnTo>
                    <a:pt x="8150" y="658809"/>
                  </a:lnTo>
                  <a:lnTo>
                    <a:pt x="18086" y="704908"/>
                  </a:lnTo>
                  <a:lnTo>
                    <a:pt x="31702" y="749523"/>
                  </a:lnTo>
                  <a:lnTo>
                    <a:pt x="48831" y="792484"/>
                  </a:lnTo>
                  <a:lnTo>
                    <a:pt x="69303" y="833622"/>
                  </a:lnTo>
                  <a:lnTo>
                    <a:pt x="92949" y="872768"/>
                  </a:lnTo>
                  <a:lnTo>
                    <a:pt x="119601" y="909753"/>
                  </a:lnTo>
                  <a:lnTo>
                    <a:pt x="149090" y="944409"/>
                  </a:lnTo>
                  <a:lnTo>
                    <a:pt x="181246" y="976566"/>
                  </a:lnTo>
                  <a:lnTo>
                    <a:pt x="215901" y="1006056"/>
                  </a:lnTo>
                  <a:lnTo>
                    <a:pt x="252886" y="1032708"/>
                  </a:lnTo>
                  <a:lnTo>
                    <a:pt x="292031" y="1056356"/>
                  </a:lnTo>
                  <a:lnTo>
                    <a:pt x="333169" y="1076829"/>
                  </a:lnTo>
                  <a:lnTo>
                    <a:pt x="376129" y="1093958"/>
                  </a:lnTo>
                  <a:lnTo>
                    <a:pt x="420743" y="1107575"/>
                  </a:lnTo>
                  <a:lnTo>
                    <a:pt x="466842" y="1117510"/>
                  </a:lnTo>
                  <a:lnTo>
                    <a:pt x="514258" y="1123596"/>
                  </a:lnTo>
                  <a:lnTo>
                    <a:pt x="562820" y="1125662"/>
                  </a:lnTo>
                  <a:lnTo>
                    <a:pt x="611384" y="1123596"/>
                  </a:lnTo>
                  <a:lnTo>
                    <a:pt x="658801" y="1117510"/>
                  </a:lnTo>
                  <a:lnTo>
                    <a:pt x="704901" y="1107575"/>
                  </a:lnTo>
                  <a:lnTo>
                    <a:pt x="749517" y="1093958"/>
                  </a:lnTo>
                  <a:lnTo>
                    <a:pt x="792478" y="1076829"/>
                  </a:lnTo>
                  <a:lnTo>
                    <a:pt x="833616" y="1056356"/>
                  </a:lnTo>
                  <a:lnTo>
                    <a:pt x="872762" y="1032708"/>
                  </a:lnTo>
                  <a:lnTo>
                    <a:pt x="909747" y="1006056"/>
                  </a:lnTo>
                  <a:lnTo>
                    <a:pt x="944403" y="976566"/>
                  </a:lnTo>
                  <a:lnTo>
                    <a:pt x="976559" y="944409"/>
                  </a:lnTo>
                  <a:lnTo>
                    <a:pt x="1006048" y="909753"/>
                  </a:lnTo>
                  <a:lnTo>
                    <a:pt x="1032701" y="872768"/>
                  </a:lnTo>
                  <a:lnTo>
                    <a:pt x="1056347" y="833622"/>
                  </a:lnTo>
                  <a:lnTo>
                    <a:pt x="1076820" y="792484"/>
                  </a:lnTo>
                  <a:lnTo>
                    <a:pt x="1093948" y="749523"/>
                  </a:lnTo>
                  <a:lnTo>
                    <a:pt x="1107565" y="704908"/>
                  </a:lnTo>
                  <a:lnTo>
                    <a:pt x="1117500" y="658809"/>
                  </a:lnTo>
                  <a:lnTo>
                    <a:pt x="1123585" y="611393"/>
                  </a:lnTo>
                  <a:lnTo>
                    <a:pt x="1125651" y="562831"/>
                  </a:lnTo>
                  <a:lnTo>
                    <a:pt x="1123585" y="514268"/>
                  </a:lnTo>
                  <a:lnTo>
                    <a:pt x="1117500" y="466852"/>
                  </a:lnTo>
                  <a:lnTo>
                    <a:pt x="1107565" y="420753"/>
                  </a:lnTo>
                  <a:lnTo>
                    <a:pt x="1093948" y="376138"/>
                  </a:lnTo>
                  <a:lnTo>
                    <a:pt x="1076820" y="333177"/>
                  </a:lnTo>
                  <a:lnTo>
                    <a:pt x="1056347" y="292039"/>
                  </a:lnTo>
                  <a:lnTo>
                    <a:pt x="1032701" y="252893"/>
                  </a:lnTo>
                  <a:lnTo>
                    <a:pt x="1006048" y="215908"/>
                  </a:lnTo>
                  <a:lnTo>
                    <a:pt x="976559" y="181252"/>
                  </a:lnTo>
                  <a:lnTo>
                    <a:pt x="944403" y="149095"/>
                  </a:lnTo>
                  <a:lnTo>
                    <a:pt x="909747" y="119605"/>
                  </a:lnTo>
                  <a:lnTo>
                    <a:pt x="872762" y="92953"/>
                  </a:lnTo>
                  <a:lnTo>
                    <a:pt x="833616" y="69305"/>
                  </a:lnTo>
                  <a:lnTo>
                    <a:pt x="792478" y="48833"/>
                  </a:lnTo>
                  <a:lnTo>
                    <a:pt x="749517" y="31703"/>
                  </a:lnTo>
                  <a:lnTo>
                    <a:pt x="704901" y="18086"/>
                  </a:lnTo>
                  <a:lnTo>
                    <a:pt x="658801" y="8151"/>
                  </a:lnTo>
                  <a:lnTo>
                    <a:pt x="611384" y="2065"/>
                  </a:lnTo>
                  <a:lnTo>
                    <a:pt x="5628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12848131" y="3636377"/>
              <a:ext cx="930910" cy="930910"/>
            </a:xfrm>
            <a:custGeom>
              <a:avLst/>
              <a:gdLst/>
              <a:ahLst/>
              <a:cxnLst/>
              <a:rect l="l" t="t" r="r" b="b"/>
              <a:pathLst>
                <a:path w="930909" h="930910">
                  <a:moveTo>
                    <a:pt x="465315" y="0"/>
                  </a:moveTo>
                  <a:lnTo>
                    <a:pt x="417739" y="2402"/>
                  </a:lnTo>
                  <a:lnTo>
                    <a:pt x="371538" y="9453"/>
                  </a:lnTo>
                  <a:lnTo>
                    <a:pt x="326944" y="20919"/>
                  </a:lnTo>
                  <a:lnTo>
                    <a:pt x="284193" y="36566"/>
                  </a:lnTo>
                  <a:lnTo>
                    <a:pt x="243518" y="56161"/>
                  </a:lnTo>
                  <a:lnTo>
                    <a:pt x="205153" y="79468"/>
                  </a:lnTo>
                  <a:lnTo>
                    <a:pt x="169331" y="106255"/>
                  </a:lnTo>
                  <a:lnTo>
                    <a:pt x="136287" y="136287"/>
                  </a:lnTo>
                  <a:lnTo>
                    <a:pt x="106255" y="169331"/>
                  </a:lnTo>
                  <a:lnTo>
                    <a:pt x="79468" y="205153"/>
                  </a:lnTo>
                  <a:lnTo>
                    <a:pt x="56161" y="243518"/>
                  </a:lnTo>
                  <a:lnTo>
                    <a:pt x="36566" y="284193"/>
                  </a:lnTo>
                  <a:lnTo>
                    <a:pt x="20919" y="326944"/>
                  </a:lnTo>
                  <a:lnTo>
                    <a:pt x="9453" y="371538"/>
                  </a:lnTo>
                  <a:lnTo>
                    <a:pt x="2402" y="417739"/>
                  </a:lnTo>
                  <a:lnTo>
                    <a:pt x="0" y="465315"/>
                  </a:lnTo>
                  <a:lnTo>
                    <a:pt x="2402" y="512891"/>
                  </a:lnTo>
                  <a:lnTo>
                    <a:pt x="9453" y="559093"/>
                  </a:lnTo>
                  <a:lnTo>
                    <a:pt x="20919" y="603686"/>
                  </a:lnTo>
                  <a:lnTo>
                    <a:pt x="36566" y="646437"/>
                  </a:lnTo>
                  <a:lnTo>
                    <a:pt x="56161" y="687112"/>
                  </a:lnTo>
                  <a:lnTo>
                    <a:pt x="79468" y="725478"/>
                  </a:lnTo>
                  <a:lnTo>
                    <a:pt x="106255" y="761299"/>
                  </a:lnTo>
                  <a:lnTo>
                    <a:pt x="136287" y="794343"/>
                  </a:lnTo>
                  <a:lnTo>
                    <a:pt x="169331" y="824375"/>
                  </a:lnTo>
                  <a:lnTo>
                    <a:pt x="205153" y="851162"/>
                  </a:lnTo>
                  <a:lnTo>
                    <a:pt x="243518" y="874470"/>
                  </a:lnTo>
                  <a:lnTo>
                    <a:pt x="284193" y="894064"/>
                  </a:lnTo>
                  <a:lnTo>
                    <a:pt x="326944" y="909711"/>
                  </a:lnTo>
                  <a:lnTo>
                    <a:pt x="371538" y="921177"/>
                  </a:lnTo>
                  <a:lnTo>
                    <a:pt x="417739" y="928228"/>
                  </a:lnTo>
                  <a:lnTo>
                    <a:pt x="465315" y="930631"/>
                  </a:lnTo>
                  <a:lnTo>
                    <a:pt x="512891" y="928228"/>
                  </a:lnTo>
                  <a:lnTo>
                    <a:pt x="559093" y="921177"/>
                  </a:lnTo>
                  <a:lnTo>
                    <a:pt x="603686" y="909711"/>
                  </a:lnTo>
                  <a:lnTo>
                    <a:pt x="646437" y="894064"/>
                  </a:lnTo>
                  <a:lnTo>
                    <a:pt x="687112" y="874470"/>
                  </a:lnTo>
                  <a:lnTo>
                    <a:pt x="725478" y="851162"/>
                  </a:lnTo>
                  <a:lnTo>
                    <a:pt x="761299" y="824375"/>
                  </a:lnTo>
                  <a:lnTo>
                    <a:pt x="794343" y="794343"/>
                  </a:lnTo>
                  <a:lnTo>
                    <a:pt x="824375" y="761299"/>
                  </a:lnTo>
                  <a:lnTo>
                    <a:pt x="851162" y="725478"/>
                  </a:lnTo>
                  <a:lnTo>
                    <a:pt x="874470" y="687112"/>
                  </a:lnTo>
                  <a:lnTo>
                    <a:pt x="894064" y="646437"/>
                  </a:lnTo>
                  <a:lnTo>
                    <a:pt x="909711" y="603686"/>
                  </a:lnTo>
                  <a:lnTo>
                    <a:pt x="921177" y="559093"/>
                  </a:lnTo>
                  <a:lnTo>
                    <a:pt x="928228" y="512891"/>
                  </a:lnTo>
                  <a:lnTo>
                    <a:pt x="930631" y="465315"/>
                  </a:lnTo>
                  <a:lnTo>
                    <a:pt x="928228" y="417739"/>
                  </a:lnTo>
                  <a:lnTo>
                    <a:pt x="921177" y="371538"/>
                  </a:lnTo>
                  <a:lnTo>
                    <a:pt x="909711" y="326944"/>
                  </a:lnTo>
                  <a:lnTo>
                    <a:pt x="894064" y="284193"/>
                  </a:lnTo>
                  <a:lnTo>
                    <a:pt x="874470" y="243518"/>
                  </a:lnTo>
                  <a:lnTo>
                    <a:pt x="851162" y="205153"/>
                  </a:lnTo>
                  <a:lnTo>
                    <a:pt x="824375" y="169331"/>
                  </a:lnTo>
                  <a:lnTo>
                    <a:pt x="794343" y="136287"/>
                  </a:lnTo>
                  <a:lnTo>
                    <a:pt x="761299" y="106255"/>
                  </a:lnTo>
                  <a:lnTo>
                    <a:pt x="725478" y="79468"/>
                  </a:lnTo>
                  <a:lnTo>
                    <a:pt x="687112" y="56161"/>
                  </a:lnTo>
                  <a:lnTo>
                    <a:pt x="646437" y="36566"/>
                  </a:lnTo>
                  <a:lnTo>
                    <a:pt x="603686" y="20919"/>
                  </a:lnTo>
                  <a:lnTo>
                    <a:pt x="559093" y="9453"/>
                  </a:lnTo>
                  <a:lnTo>
                    <a:pt x="512891" y="2402"/>
                  </a:lnTo>
                  <a:lnTo>
                    <a:pt x="465315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13133291" y="7719658"/>
              <a:ext cx="332740" cy="332740"/>
            </a:xfrm>
            <a:custGeom>
              <a:avLst/>
              <a:gdLst/>
              <a:ahLst/>
              <a:cxnLst/>
              <a:rect l="l" t="t" r="r" b="b"/>
              <a:pathLst>
                <a:path w="332740" h="332740">
                  <a:moveTo>
                    <a:pt x="166225" y="0"/>
                  </a:moveTo>
                  <a:lnTo>
                    <a:pt x="122034" y="5937"/>
                  </a:lnTo>
                  <a:lnTo>
                    <a:pt x="82325" y="22693"/>
                  </a:lnTo>
                  <a:lnTo>
                    <a:pt x="48684" y="48684"/>
                  </a:lnTo>
                  <a:lnTo>
                    <a:pt x="22693" y="82325"/>
                  </a:lnTo>
                  <a:lnTo>
                    <a:pt x="5937" y="122034"/>
                  </a:lnTo>
                  <a:lnTo>
                    <a:pt x="0" y="166225"/>
                  </a:lnTo>
                  <a:lnTo>
                    <a:pt x="5937" y="210416"/>
                  </a:lnTo>
                  <a:lnTo>
                    <a:pt x="22693" y="250124"/>
                  </a:lnTo>
                  <a:lnTo>
                    <a:pt x="48684" y="283766"/>
                  </a:lnTo>
                  <a:lnTo>
                    <a:pt x="82325" y="309757"/>
                  </a:lnTo>
                  <a:lnTo>
                    <a:pt x="122034" y="326513"/>
                  </a:lnTo>
                  <a:lnTo>
                    <a:pt x="166225" y="332450"/>
                  </a:lnTo>
                  <a:lnTo>
                    <a:pt x="210412" y="326513"/>
                  </a:lnTo>
                  <a:lnTo>
                    <a:pt x="250119" y="309757"/>
                  </a:lnTo>
                  <a:lnTo>
                    <a:pt x="283762" y="283766"/>
                  </a:lnTo>
                  <a:lnTo>
                    <a:pt x="309754" y="250124"/>
                  </a:lnTo>
                  <a:lnTo>
                    <a:pt x="326512" y="210416"/>
                  </a:lnTo>
                  <a:lnTo>
                    <a:pt x="332450" y="166225"/>
                  </a:lnTo>
                  <a:lnTo>
                    <a:pt x="326512" y="122034"/>
                  </a:lnTo>
                  <a:lnTo>
                    <a:pt x="309754" y="82325"/>
                  </a:lnTo>
                  <a:lnTo>
                    <a:pt x="283762" y="48684"/>
                  </a:lnTo>
                  <a:lnTo>
                    <a:pt x="250119" y="22693"/>
                  </a:lnTo>
                  <a:lnTo>
                    <a:pt x="210412" y="5937"/>
                  </a:lnTo>
                  <a:lnTo>
                    <a:pt x="1662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13162091" y="7748453"/>
              <a:ext cx="274955" cy="274955"/>
            </a:xfrm>
            <a:custGeom>
              <a:avLst/>
              <a:gdLst/>
              <a:ahLst/>
              <a:cxnLst/>
              <a:rect l="l" t="t" r="r" b="b"/>
              <a:pathLst>
                <a:path w="274955" h="274954">
                  <a:moveTo>
                    <a:pt x="137419" y="0"/>
                  </a:moveTo>
                  <a:lnTo>
                    <a:pt x="93985" y="7006"/>
                  </a:lnTo>
                  <a:lnTo>
                    <a:pt x="56262" y="26515"/>
                  </a:lnTo>
                  <a:lnTo>
                    <a:pt x="26514" y="56264"/>
                  </a:lnTo>
                  <a:lnTo>
                    <a:pt x="7005" y="93990"/>
                  </a:lnTo>
                  <a:lnTo>
                    <a:pt x="0" y="137430"/>
                  </a:lnTo>
                  <a:lnTo>
                    <a:pt x="7005" y="180870"/>
                  </a:lnTo>
                  <a:lnTo>
                    <a:pt x="26514" y="218596"/>
                  </a:lnTo>
                  <a:lnTo>
                    <a:pt x="56262" y="248345"/>
                  </a:lnTo>
                  <a:lnTo>
                    <a:pt x="93985" y="267854"/>
                  </a:lnTo>
                  <a:lnTo>
                    <a:pt x="137419" y="274860"/>
                  </a:lnTo>
                  <a:lnTo>
                    <a:pt x="180859" y="267854"/>
                  </a:lnTo>
                  <a:lnTo>
                    <a:pt x="218585" y="248345"/>
                  </a:lnTo>
                  <a:lnTo>
                    <a:pt x="248334" y="218596"/>
                  </a:lnTo>
                  <a:lnTo>
                    <a:pt x="267844" y="180870"/>
                  </a:lnTo>
                  <a:lnTo>
                    <a:pt x="274850" y="137430"/>
                  </a:lnTo>
                  <a:lnTo>
                    <a:pt x="267844" y="93990"/>
                  </a:lnTo>
                  <a:lnTo>
                    <a:pt x="248334" y="56264"/>
                  </a:lnTo>
                  <a:lnTo>
                    <a:pt x="218585" y="26515"/>
                  </a:lnTo>
                  <a:lnTo>
                    <a:pt x="180859" y="7006"/>
                  </a:lnTo>
                  <a:lnTo>
                    <a:pt x="137419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15490952" y="4186751"/>
              <a:ext cx="25400" cy="1873885"/>
            </a:xfrm>
            <a:custGeom>
              <a:avLst/>
              <a:gdLst/>
              <a:ahLst/>
              <a:cxnLst/>
              <a:rect l="l" t="t" r="r" b="b"/>
              <a:pathLst>
                <a:path w="25400" h="1873885">
                  <a:moveTo>
                    <a:pt x="25323" y="1823161"/>
                  </a:moveTo>
                  <a:lnTo>
                    <a:pt x="0" y="1823161"/>
                  </a:lnTo>
                  <a:lnTo>
                    <a:pt x="0" y="1873808"/>
                  </a:lnTo>
                  <a:lnTo>
                    <a:pt x="25323" y="1873808"/>
                  </a:lnTo>
                  <a:lnTo>
                    <a:pt x="25323" y="1823161"/>
                  </a:lnTo>
                  <a:close/>
                </a:path>
                <a:path w="25400" h="1873885">
                  <a:moveTo>
                    <a:pt x="25323" y="1698332"/>
                  </a:moveTo>
                  <a:lnTo>
                    <a:pt x="0" y="1698332"/>
                  </a:lnTo>
                  <a:lnTo>
                    <a:pt x="0" y="1798193"/>
                  </a:lnTo>
                  <a:lnTo>
                    <a:pt x="25323" y="1798193"/>
                  </a:lnTo>
                  <a:lnTo>
                    <a:pt x="25323" y="1698332"/>
                  </a:lnTo>
                  <a:close/>
                </a:path>
                <a:path w="25400" h="1873885">
                  <a:moveTo>
                    <a:pt x="25323" y="1573504"/>
                  </a:moveTo>
                  <a:lnTo>
                    <a:pt x="0" y="1573504"/>
                  </a:lnTo>
                  <a:lnTo>
                    <a:pt x="0" y="1673364"/>
                  </a:lnTo>
                  <a:lnTo>
                    <a:pt x="25323" y="1673364"/>
                  </a:lnTo>
                  <a:lnTo>
                    <a:pt x="25323" y="1573504"/>
                  </a:lnTo>
                  <a:close/>
                </a:path>
                <a:path w="25400" h="1873885">
                  <a:moveTo>
                    <a:pt x="25323" y="1448689"/>
                  </a:moveTo>
                  <a:lnTo>
                    <a:pt x="0" y="1448689"/>
                  </a:lnTo>
                  <a:lnTo>
                    <a:pt x="0" y="1548549"/>
                  </a:lnTo>
                  <a:lnTo>
                    <a:pt x="25323" y="1548549"/>
                  </a:lnTo>
                  <a:lnTo>
                    <a:pt x="25323" y="1448689"/>
                  </a:lnTo>
                  <a:close/>
                </a:path>
                <a:path w="25400" h="1873885">
                  <a:moveTo>
                    <a:pt x="25323" y="1323860"/>
                  </a:moveTo>
                  <a:lnTo>
                    <a:pt x="0" y="1323860"/>
                  </a:lnTo>
                  <a:lnTo>
                    <a:pt x="0" y="1423720"/>
                  </a:lnTo>
                  <a:lnTo>
                    <a:pt x="25323" y="1423720"/>
                  </a:lnTo>
                  <a:lnTo>
                    <a:pt x="25323" y="1323860"/>
                  </a:lnTo>
                  <a:close/>
                </a:path>
                <a:path w="25400" h="1873885">
                  <a:moveTo>
                    <a:pt x="25323" y="1199032"/>
                  </a:moveTo>
                  <a:lnTo>
                    <a:pt x="0" y="1199032"/>
                  </a:lnTo>
                  <a:lnTo>
                    <a:pt x="0" y="1298905"/>
                  </a:lnTo>
                  <a:lnTo>
                    <a:pt x="25323" y="1298905"/>
                  </a:lnTo>
                  <a:lnTo>
                    <a:pt x="25323" y="1199032"/>
                  </a:lnTo>
                  <a:close/>
                </a:path>
                <a:path w="25400" h="1873885">
                  <a:moveTo>
                    <a:pt x="25323" y="1074204"/>
                  </a:moveTo>
                  <a:lnTo>
                    <a:pt x="0" y="1074204"/>
                  </a:lnTo>
                  <a:lnTo>
                    <a:pt x="0" y="1174064"/>
                  </a:lnTo>
                  <a:lnTo>
                    <a:pt x="25323" y="1174064"/>
                  </a:lnTo>
                  <a:lnTo>
                    <a:pt x="25323" y="1074204"/>
                  </a:lnTo>
                  <a:close/>
                </a:path>
                <a:path w="25400" h="1873885">
                  <a:moveTo>
                    <a:pt x="25323" y="949375"/>
                  </a:moveTo>
                  <a:lnTo>
                    <a:pt x="0" y="949375"/>
                  </a:lnTo>
                  <a:lnTo>
                    <a:pt x="0" y="1049235"/>
                  </a:lnTo>
                  <a:lnTo>
                    <a:pt x="25323" y="1049235"/>
                  </a:lnTo>
                  <a:lnTo>
                    <a:pt x="25323" y="949375"/>
                  </a:lnTo>
                  <a:close/>
                </a:path>
                <a:path w="25400" h="1873885">
                  <a:moveTo>
                    <a:pt x="25323" y="824560"/>
                  </a:moveTo>
                  <a:lnTo>
                    <a:pt x="0" y="824560"/>
                  </a:lnTo>
                  <a:lnTo>
                    <a:pt x="0" y="924420"/>
                  </a:lnTo>
                  <a:lnTo>
                    <a:pt x="25323" y="924420"/>
                  </a:lnTo>
                  <a:lnTo>
                    <a:pt x="25323" y="824560"/>
                  </a:lnTo>
                  <a:close/>
                </a:path>
                <a:path w="25400" h="1873885">
                  <a:moveTo>
                    <a:pt x="25323" y="699731"/>
                  </a:moveTo>
                  <a:lnTo>
                    <a:pt x="0" y="699731"/>
                  </a:lnTo>
                  <a:lnTo>
                    <a:pt x="0" y="799592"/>
                  </a:lnTo>
                  <a:lnTo>
                    <a:pt x="25323" y="799592"/>
                  </a:lnTo>
                  <a:lnTo>
                    <a:pt x="25323" y="699731"/>
                  </a:lnTo>
                  <a:close/>
                </a:path>
                <a:path w="25400" h="1873885">
                  <a:moveTo>
                    <a:pt x="25323" y="574916"/>
                  </a:moveTo>
                  <a:lnTo>
                    <a:pt x="0" y="574916"/>
                  </a:lnTo>
                  <a:lnTo>
                    <a:pt x="0" y="674776"/>
                  </a:lnTo>
                  <a:lnTo>
                    <a:pt x="25323" y="674776"/>
                  </a:lnTo>
                  <a:lnTo>
                    <a:pt x="25323" y="574916"/>
                  </a:lnTo>
                  <a:close/>
                </a:path>
                <a:path w="25400" h="1873885">
                  <a:moveTo>
                    <a:pt x="25323" y="450075"/>
                  </a:moveTo>
                  <a:lnTo>
                    <a:pt x="0" y="450075"/>
                  </a:lnTo>
                  <a:lnTo>
                    <a:pt x="0" y="549935"/>
                  </a:lnTo>
                  <a:lnTo>
                    <a:pt x="25323" y="549935"/>
                  </a:lnTo>
                  <a:lnTo>
                    <a:pt x="25323" y="450075"/>
                  </a:lnTo>
                  <a:close/>
                </a:path>
                <a:path w="25400" h="1873885">
                  <a:moveTo>
                    <a:pt x="25323" y="325247"/>
                  </a:moveTo>
                  <a:lnTo>
                    <a:pt x="0" y="325247"/>
                  </a:lnTo>
                  <a:lnTo>
                    <a:pt x="0" y="425119"/>
                  </a:lnTo>
                  <a:lnTo>
                    <a:pt x="25323" y="425119"/>
                  </a:lnTo>
                  <a:lnTo>
                    <a:pt x="25323" y="325247"/>
                  </a:lnTo>
                  <a:close/>
                </a:path>
                <a:path w="25400" h="1873885">
                  <a:moveTo>
                    <a:pt x="25323" y="200431"/>
                  </a:moveTo>
                  <a:lnTo>
                    <a:pt x="0" y="200431"/>
                  </a:lnTo>
                  <a:lnTo>
                    <a:pt x="0" y="300291"/>
                  </a:lnTo>
                  <a:lnTo>
                    <a:pt x="25323" y="300291"/>
                  </a:lnTo>
                  <a:lnTo>
                    <a:pt x="25323" y="200431"/>
                  </a:lnTo>
                  <a:close/>
                </a:path>
                <a:path w="25400" h="1873885">
                  <a:moveTo>
                    <a:pt x="25323" y="75603"/>
                  </a:moveTo>
                  <a:lnTo>
                    <a:pt x="0" y="75603"/>
                  </a:lnTo>
                  <a:lnTo>
                    <a:pt x="0" y="175463"/>
                  </a:lnTo>
                  <a:lnTo>
                    <a:pt x="25323" y="175463"/>
                  </a:lnTo>
                  <a:lnTo>
                    <a:pt x="25323" y="75603"/>
                  </a:lnTo>
                  <a:close/>
                </a:path>
                <a:path w="25400" h="1873885">
                  <a:moveTo>
                    <a:pt x="25323" y="0"/>
                  </a:moveTo>
                  <a:lnTo>
                    <a:pt x="0" y="0"/>
                  </a:lnTo>
                  <a:lnTo>
                    <a:pt x="0" y="50647"/>
                  </a:lnTo>
                  <a:lnTo>
                    <a:pt x="25323" y="50647"/>
                  </a:lnTo>
                  <a:lnTo>
                    <a:pt x="25323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14552397" y="4119273"/>
              <a:ext cx="1945639" cy="732790"/>
            </a:xfrm>
            <a:custGeom>
              <a:avLst/>
              <a:gdLst/>
              <a:ahLst/>
              <a:cxnLst/>
              <a:rect l="l" t="t" r="r" b="b"/>
              <a:pathLst>
                <a:path w="1945640" h="732789">
                  <a:moveTo>
                    <a:pt x="1788270" y="0"/>
                  </a:moveTo>
                  <a:lnTo>
                    <a:pt x="157063" y="0"/>
                  </a:lnTo>
                  <a:lnTo>
                    <a:pt x="107416" y="8007"/>
                  </a:lnTo>
                  <a:lnTo>
                    <a:pt x="64300" y="30304"/>
                  </a:lnTo>
                  <a:lnTo>
                    <a:pt x="30301" y="64304"/>
                  </a:lnTo>
                  <a:lnTo>
                    <a:pt x="8006" y="107420"/>
                  </a:lnTo>
                  <a:lnTo>
                    <a:pt x="0" y="157063"/>
                  </a:lnTo>
                  <a:lnTo>
                    <a:pt x="0" y="575144"/>
                  </a:lnTo>
                  <a:lnTo>
                    <a:pt x="8006" y="624787"/>
                  </a:lnTo>
                  <a:lnTo>
                    <a:pt x="30301" y="667903"/>
                  </a:lnTo>
                  <a:lnTo>
                    <a:pt x="64300" y="701903"/>
                  </a:lnTo>
                  <a:lnTo>
                    <a:pt x="107416" y="724200"/>
                  </a:lnTo>
                  <a:lnTo>
                    <a:pt x="157063" y="732208"/>
                  </a:lnTo>
                  <a:lnTo>
                    <a:pt x="1788270" y="732208"/>
                  </a:lnTo>
                  <a:lnTo>
                    <a:pt x="1837913" y="724200"/>
                  </a:lnTo>
                  <a:lnTo>
                    <a:pt x="1881028" y="701903"/>
                  </a:lnTo>
                  <a:lnTo>
                    <a:pt x="1915028" y="667903"/>
                  </a:lnTo>
                  <a:lnTo>
                    <a:pt x="1937325" y="624787"/>
                  </a:lnTo>
                  <a:lnTo>
                    <a:pt x="1945333" y="575144"/>
                  </a:lnTo>
                  <a:lnTo>
                    <a:pt x="1945333" y="157063"/>
                  </a:lnTo>
                  <a:lnTo>
                    <a:pt x="1937325" y="107420"/>
                  </a:lnTo>
                  <a:lnTo>
                    <a:pt x="1915028" y="64304"/>
                  </a:lnTo>
                  <a:lnTo>
                    <a:pt x="1881028" y="30304"/>
                  </a:lnTo>
                  <a:lnTo>
                    <a:pt x="1837913" y="8007"/>
                  </a:lnTo>
                  <a:lnTo>
                    <a:pt x="1788270" y="0"/>
                  </a:lnTo>
                  <a:close/>
                </a:path>
              </a:pathLst>
            </a:custGeom>
            <a:solidFill>
              <a:srgbClr val="75AA3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object 58"/>
            <p:cNvSpPr/>
            <p:nvPr/>
          </p:nvSpPr>
          <p:spPr>
            <a:xfrm>
              <a:off x="14945677" y="3538861"/>
              <a:ext cx="1125855" cy="1125855"/>
            </a:xfrm>
            <a:custGeom>
              <a:avLst/>
              <a:gdLst/>
              <a:ahLst/>
              <a:cxnLst/>
              <a:rect l="l" t="t" r="r" b="b"/>
              <a:pathLst>
                <a:path w="1125855" h="1125854">
                  <a:moveTo>
                    <a:pt x="562820" y="0"/>
                  </a:moveTo>
                  <a:lnTo>
                    <a:pt x="514258" y="2065"/>
                  </a:lnTo>
                  <a:lnTo>
                    <a:pt x="466842" y="8151"/>
                  </a:lnTo>
                  <a:lnTo>
                    <a:pt x="420743" y="18086"/>
                  </a:lnTo>
                  <a:lnTo>
                    <a:pt x="376129" y="31703"/>
                  </a:lnTo>
                  <a:lnTo>
                    <a:pt x="333169" y="48833"/>
                  </a:lnTo>
                  <a:lnTo>
                    <a:pt x="292031" y="69305"/>
                  </a:lnTo>
                  <a:lnTo>
                    <a:pt x="252886" y="92953"/>
                  </a:lnTo>
                  <a:lnTo>
                    <a:pt x="215901" y="119605"/>
                  </a:lnTo>
                  <a:lnTo>
                    <a:pt x="181246" y="149095"/>
                  </a:lnTo>
                  <a:lnTo>
                    <a:pt x="149090" y="181252"/>
                  </a:lnTo>
                  <a:lnTo>
                    <a:pt x="119601" y="215908"/>
                  </a:lnTo>
                  <a:lnTo>
                    <a:pt x="92949" y="252893"/>
                  </a:lnTo>
                  <a:lnTo>
                    <a:pt x="69303" y="292039"/>
                  </a:lnTo>
                  <a:lnTo>
                    <a:pt x="48831" y="333177"/>
                  </a:lnTo>
                  <a:lnTo>
                    <a:pt x="31702" y="376138"/>
                  </a:lnTo>
                  <a:lnTo>
                    <a:pt x="18086" y="420753"/>
                  </a:lnTo>
                  <a:lnTo>
                    <a:pt x="8150" y="466852"/>
                  </a:lnTo>
                  <a:lnTo>
                    <a:pt x="2065" y="514268"/>
                  </a:lnTo>
                  <a:lnTo>
                    <a:pt x="0" y="562831"/>
                  </a:lnTo>
                  <a:lnTo>
                    <a:pt x="2065" y="611393"/>
                  </a:lnTo>
                  <a:lnTo>
                    <a:pt x="8150" y="658809"/>
                  </a:lnTo>
                  <a:lnTo>
                    <a:pt x="18086" y="704908"/>
                  </a:lnTo>
                  <a:lnTo>
                    <a:pt x="31702" y="749523"/>
                  </a:lnTo>
                  <a:lnTo>
                    <a:pt x="48831" y="792484"/>
                  </a:lnTo>
                  <a:lnTo>
                    <a:pt x="69303" y="833622"/>
                  </a:lnTo>
                  <a:lnTo>
                    <a:pt x="92949" y="872768"/>
                  </a:lnTo>
                  <a:lnTo>
                    <a:pt x="119601" y="909753"/>
                  </a:lnTo>
                  <a:lnTo>
                    <a:pt x="149090" y="944409"/>
                  </a:lnTo>
                  <a:lnTo>
                    <a:pt x="181246" y="976566"/>
                  </a:lnTo>
                  <a:lnTo>
                    <a:pt x="215901" y="1006056"/>
                  </a:lnTo>
                  <a:lnTo>
                    <a:pt x="252886" y="1032708"/>
                  </a:lnTo>
                  <a:lnTo>
                    <a:pt x="292031" y="1056356"/>
                  </a:lnTo>
                  <a:lnTo>
                    <a:pt x="333169" y="1076829"/>
                  </a:lnTo>
                  <a:lnTo>
                    <a:pt x="376129" y="1093958"/>
                  </a:lnTo>
                  <a:lnTo>
                    <a:pt x="420743" y="1107575"/>
                  </a:lnTo>
                  <a:lnTo>
                    <a:pt x="466842" y="1117510"/>
                  </a:lnTo>
                  <a:lnTo>
                    <a:pt x="514258" y="1123596"/>
                  </a:lnTo>
                  <a:lnTo>
                    <a:pt x="562820" y="1125662"/>
                  </a:lnTo>
                  <a:lnTo>
                    <a:pt x="611384" y="1123596"/>
                  </a:lnTo>
                  <a:lnTo>
                    <a:pt x="658801" y="1117510"/>
                  </a:lnTo>
                  <a:lnTo>
                    <a:pt x="704901" y="1107575"/>
                  </a:lnTo>
                  <a:lnTo>
                    <a:pt x="749517" y="1093958"/>
                  </a:lnTo>
                  <a:lnTo>
                    <a:pt x="792478" y="1076829"/>
                  </a:lnTo>
                  <a:lnTo>
                    <a:pt x="833616" y="1056356"/>
                  </a:lnTo>
                  <a:lnTo>
                    <a:pt x="872762" y="1032708"/>
                  </a:lnTo>
                  <a:lnTo>
                    <a:pt x="909747" y="1006056"/>
                  </a:lnTo>
                  <a:lnTo>
                    <a:pt x="944403" y="976566"/>
                  </a:lnTo>
                  <a:lnTo>
                    <a:pt x="976559" y="944409"/>
                  </a:lnTo>
                  <a:lnTo>
                    <a:pt x="1006048" y="909753"/>
                  </a:lnTo>
                  <a:lnTo>
                    <a:pt x="1032701" y="872768"/>
                  </a:lnTo>
                  <a:lnTo>
                    <a:pt x="1056347" y="833622"/>
                  </a:lnTo>
                  <a:lnTo>
                    <a:pt x="1076820" y="792484"/>
                  </a:lnTo>
                  <a:lnTo>
                    <a:pt x="1093948" y="749523"/>
                  </a:lnTo>
                  <a:lnTo>
                    <a:pt x="1107565" y="704908"/>
                  </a:lnTo>
                  <a:lnTo>
                    <a:pt x="1117500" y="658809"/>
                  </a:lnTo>
                  <a:lnTo>
                    <a:pt x="1123585" y="611393"/>
                  </a:lnTo>
                  <a:lnTo>
                    <a:pt x="1125651" y="562831"/>
                  </a:lnTo>
                  <a:lnTo>
                    <a:pt x="1123585" y="514268"/>
                  </a:lnTo>
                  <a:lnTo>
                    <a:pt x="1117500" y="466852"/>
                  </a:lnTo>
                  <a:lnTo>
                    <a:pt x="1107565" y="420753"/>
                  </a:lnTo>
                  <a:lnTo>
                    <a:pt x="1093948" y="376138"/>
                  </a:lnTo>
                  <a:lnTo>
                    <a:pt x="1076820" y="333177"/>
                  </a:lnTo>
                  <a:lnTo>
                    <a:pt x="1056347" y="292039"/>
                  </a:lnTo>
                  <a:lnTo>
                    <a:pt x="1032701" y="252893"/>
                  </a:lnTo>
                  <a:lnTo>
                    <a:pt x="1006048" y="215908"/>
                  </a:lnTo>
                  <a:lnTo>
                    <a:pt x="976559" y="181252"/>
                  </a:lnTo>
                  <a:lnTo>
                    <a:pt x="944403" y="149095"/>
                  </a:lnTo>
                  <a:lnTo>
                    <a:pt x="909747" y="119605"/>
                  </a:lnTo>
                  <a:lnTo>
                    <a:pt x="872762" y="92953"/>
                  </a:lnTo>
                  <a:lnTo>
                    <a:pt x="833616" y="69305"/>
                  </a:lnTo>
                  <a:lnTo>
                    <a:pt x="792478" y="48833"/>
                  </a:lnTo>
                  <a:lnTo>
                    <a:pt x="749517" y="31703"/>
                  </a:lnTo>
                  <a:lnTo>
                    <a:pt x="704901" y="18086"/>
                  </a:lnTo>
                  <a:lnTo>
                    <a:pt x="658801" y="8151"/>
                  </a:lnTo>
                  <a:lnTo>
                    <a:pt x="611384" y="2065"/>
                  </a:lnTo>
                  <a:lnTo>
                    <a:pt x="5628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object 59"/>
            <p:cNvSpPr/>
            <p:nvPr/>
          </p:nvSpPr>
          <p:spPr>
            <a:xfrm>
              <a:off x="15043185" y="3636377"/>
              <a:ext cx="930910" cy="930910"/>
            </a:xfrm>
            <a:custGeom>
              <a:avLst/>
              <a:gdLst/>
              <a:ahLst/>
              <a:cxnLst/>
              <a:rect l="l" t="t" r="r" b="b"/>
              <a:pathLst>
                <a:path w="930909" h="930910">
                  <a:moveTo>
                    <a:pt x="465315" y="0"/>
                  </a:moveTo>
                  <a:lnTo>
                    <a:pt x="417739" y="2402"/>
                  </a:lnTo>
                  <a:lnTo>
                    <a:pt x="371538" y="9453"/>
                  </a:lnTo>
                  <a:lnTo>
                    <a:pt x="326944" y="20919"/>
                  </a:lnTo>
                  <a:lnTo>
                    <a:pt x="284193" y="36566"/>
                  </a:lnTo>
                  <a:lnTo>
                    <a:pt x="243518" y="56161"/>
                  </a:lnTo>
                  <a:lnTo>
                    <a:pt x="205153" y="79468"/>
                  </a:lnTo>
                  <a:lnTo>
                    <a:pt x="169331" y="106255"/>
                  </a:lnTo>
                  <a:lnTo>
                    <a:pt x="136287" y="136287"/>
                  </a:lnTo>
                  <a:lnTo>
                    <a:pt x="106255" y="169331"/>
                  </a:lnTo>
                  <a:lnTo>
                    <a:pt x="79468" y="205153"/>
                  </a:lnTo>
                  <a:lnTo>
                    <a:pt x="56161" y="243518"/>
                  </a:lnTo>
                  <a:lnTo>
                    <a:pt x="36566" y="284193"/>
                  </a:lnTo>
                  <a:lnTo>
                    <a:pt x="20919" y="326944"/>
                  </a:lnTo>
                  <a:lnTo>
                    <a:pt x="9453" y="371538"/>
                  </a:lnTo>
                  <a:lnTo>
                    <a:pt x="2402" y="417739"/>
                  </a:lnTo>
                  <a:lnTo>
                    <a:pt x="0" y="465315"/>
                  </a:lnTo>
                  <a:lnTo>
                    <a:pt x="2402" y="512891"/>
                  </a:lnTo>
                  <a:lnTo>
                    <a:pt x="9453" y="559093"/>
                  </a:lnTo>
                  <a:lnTo>
                    <a:pt x="20919" y="603686"/>
                  </a:lnTo>
                  <a:lnTo>
                    <a:pt x="36566" y="646437"/>
                  </a:lnTo>
                  <a:lnTo>
                    <a:pt x="56161" y="687112"/>
                  </a:lnTo>
                  <a:lnTo>
                    <a:pt x="79468" y="725478"/>
                  </a:lnTo>
                  <a:lnTo>
                    <a:pt x="106255" y="761299"/>
                  </a:lnTo>
                  <a:lnTo>
                    <a:pt x="136287" y="794343"/>
                  </a:lnTo>
                  <a:lnTo>
                    <a:pt x="169331" y="824375"/>
                  </a:lnTo>
                  <a:lnTo>
                    <a:pt x="205153" y="851162"/>
                  </a:lnTo>
                  <a:lnTo>
                    <a:pt x="243518" y="874470"/>
                  </a:lnTo>
                  <a:lnTo>
                    <a:pt x="284193" y="894064"/>
                  </a:lnTo>
                  <a:lnTo>
                    <a:pt x="326944" y="909711"/>
                  </a:lnTo>
                  <a:lnTo>
                    <a:pt x="371538" y="921177"/>
                  </a:lnTo>
                  <a:lnTo>
                    <a:pt x="417739" y="928228"/>
                  </a:lnTo>
                  <a:lnTo>
                    <a:pt x="465315" y="930631"/>
                  </a:lnTo>
                  <a:lnTo>
                    <a:pt x="512891" y="928228"/>
                  </a:lnTo>
                  <a:lnTo>
                    <a:pt x="559093" y="921177"/>
                  </a:lnTo>
                  <a:lnTo>
                    <a:pt x="603686" y="909711"/>
                  </a:lnTo>
                  <a:lnTo>
                    <a:pt x="646437" y="894064"/>
                  </a:lnTo>
                  <a:lnTo>
                    <a:pt x="687112" y="874470"/>
                  </a:lnTo>
                  <a:lnTo>
                    <a:pt x="725478" y="851162"/>
                  </a:lnTo>
                  <a:lnTo>
                    <a:pt x="761299" y="824375"/>
                  </a:lnTo>
                  <a:lnTo>
                    <a:pt x="794343" y="794343"/>
                  </a:lnTo>
                  <a:lnTo>
                    <a:pt x="824375" y="761299"/>
                  </a:lnTo>
                  <a:lnTo>
                    <a:pt x="851162" y="725478"/>
                  </a:lnTo>
                  <a:lnTo>
                    <a:pt x="874470" y="687112"/>
                  </a:lnTo>
                  <a:lnTo>
                    <a:pt x="894064" y="646437"/>
                  </a:lnTo>
                  <a:lnTo>
                    <a:pt x="909711" y="603686"/>
                  </a:lnTo>
                  <a:lnTo>
                    <a:pt x="921177" y="559093"/>
                  </a:lnTo>
                  <a:lnTo>
                    <a:pt x="928228" y="512891"/>
                  </a:lnTo>
                  <a:lnTo>
                    <a:pt x="930631" y="465315"/>
                  </a:lnTo>
                  <a:lnTo>
                    <a:pt x="928228" y="417739"/>
                  </a:lnTo>
                  <a:lnTo>
                    <a:pt x="921177" y="371538"/>
                  </a:lnTo>
                  <a:lnTo>
                    <a:pt x="909711" y="326944"/>
                  </a:lnTo>
                  <a:lnTo>
                    <a:pt x="894064" y="284193"/>
                  </a:lnTo>
                  <a:lnTo>
                    <a:pt x="874470" y="243518"/>
                  </a:lnTo>
                  <a:lnTo>
                    <a:pt x="851162" y="205153"/>
                  </a:lnTo>
                  <a:lnTo>
                    <a:pt x="824375" y="169331"/>
                  </a:lnTo>
                  <a:lnTo>
                    <a:pt x="794343" y="136287"/>
                  </a:lnTo>
                  <a:lnTo>
                    <a:pt x="761299" y="106255"/>
                  </a:lnTo>
                  <a:lnTo>
                    <a:pt x="725478" y="79468"/>
                  </a:lnTo>
                  <a:lnTo>
                    <a:pt x="687112" y="56161"/>
                  </a:lnTo>
                  <a:lnTo>
                    <a:pt x="646437" y="36566"/>
                  </a:lnTo>
                  <a:lnTo>
                    <a:pt x="603686" y="20919"/>
                  </a:lnTo>
                  <a:lnTo>
                    <a:pt x="559093" y="9453"/>
                  </a:lnTo>
                  <a:lnTo>
                    <a:pt x="512891" y="2402"/>
                  </a:lnTo>
                  <a:lnTo>
                    <a:pt x="465315" y="0"/>
                  </a:lnTo>
                  <a:close/>
                </a:path>
              </a:pathLst>
            </a:custGeom>
            <a:solidFill>
              <a:srgbClr val="75AA3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15329723" y="5874055"/>
              <a:ext cx="332740" cy="332740"/>
            </a:xfrm>
            <a:custGeom>
              <a:avLst/>
              <a:gdLst/>
              <a:ahLst/>
              <a:cxnLst/>
              <a:rect l="l" t="t" r="r" b="b"/>
              <a:pathLst>
                <a:path w="332740" h="332739">
                  <a:moveTo>
                    <a:pt x="166225" y="0"/>
                  </a:moveTo>
                  <a:lnTo>
                    <a:pt x="122034" y="5937"/>
                  </a:lnTo>
                  <a:lnTo>
                    <a:pt x="82325" y="22693"/>
                  </a:lnTo>
                  <a:lnTo>
                    <a:pt x="48684" y="48684"/>
                  </a:lnTo>
                  <a:lnTo>
                    <a:pt x="22693" y="82325"/>
                  </a:lnTo>
                  <a:lnTo>
                    <a:pt x="5937" y="122034"/>
                  </a:lnTo>
                  <a:lnTo>
                    <a:pt x="0" y="166225"/>
                  </a:lnTo>
                  <a:lnTo>
                    <a:pt x="5937" y="210416"/>
                  </a:lnTo>
                  <a:lnTo>
                    <a:pt x="22693" y="250124"/>
                  </a:lnTo>
                  <a:lnTo>
                    <a:pt x="48684" y="283766"/>
                  </a:lnTo>
                  <a:lnTo>
                    <a:pt x="82325" y="309757"/>
                  </a:lnTo>
                  <a:lnTo>
                    <a:pt x="122034" y="326513"/>
                  </a:lnTo>
                  <a:lnTo>
                    <a:pt x="166225" y="332450"/>
                  </a:lnTo>
                  <a:lnTo>
                    <a:pt x="210412" y="326513"/>
                  </a:lnTo>
                  <a:lnTo>
                    <a:pt x="250119" y="309757"/>
                  </a:lnTo>
                  <a:lnTo>
                    <a:pt x="283762" y="283766"/>
                  </a:lnTo>
                  <a:lnTo>
                    <a:pt x="309754" y="250124"/>
                  </a:lnTo>
                  <a:lnTo>
                    <a:pt x="326512" y="210416"/>
                  </a:lnTo>
                  <a:lnTo>
                    <a:pt x="332450" y="166225"/>
                  </a:lnTo>
                  <a:lnTo>
                    <a:pt x="326512" y="122034"/>
                  </a:lnTo>
                  <a:lnTo>
                    <a:pt x="309754" y="82325"/>
                  </a:lnTo>
                  <a:lnTo>
                    <a:pt x="283762" y="48684"/>
                  </a:lnTo>
                  <a:lnTo>
                    <a:pt x="250119" y="22693"/>
                  </a:lnTo>
                  <a:lnTo>
                    <a:pt x="210412" y="5937"/>
                  </a:lnTo>
                  <a:lnTo>
                    <a:pt x="1662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object 61"/>
            <p:cNvSpPr/>
            <p:nvPr/>
          </p:nvSpPr>
          <p:spPr>
            <a:xfrm>
              <a:off x="15358523" y="5902850"/>
              <a:ext cx="274955" cy="274955"/>
            </a:xfrm>
            <a:custGeom>
              <a:avLst/>
              <a:gdLst/>
              <a:ahLst/>
              <a:cxnLst/>
              <a:rect l="l" t="t" r="r" b="b"/>
              <a:pathLst>
                <a:path w="274955" h="274954">
                  <a:moveTo>
                    <a:pt x="137419" y="0"/>
                  </a:moveTo>
                  <a:lnTo>
                    <a:pt x="93985" y="7006"/>
                  </a:lnTo>
                  <a:lnTo>
                    <a:pt x="56262" y="26515"/>
                  </a:lnTo>
                  <a:lnTo>
                    <a:pt x="26514" y="56264"/>
                  </a:lnTo>
                  <a:lnTo>
                    <a:pt x="7005" y="93990"/>
                  </a:lnTo>
                  <a:lnTo>
                    <a:pt x="0" y="137430"/>
                  </a:lnTo>
                  <a:lnTo>
                    <a:pt x="7005" y="180870"/>
                  </a:lnTo>
                  <a:lnTo>
                    <a:pt x="26514" y="218596"/>
                  </a:lnTo>
                  <a:lnTo>
                    <a:pt x="56262" y="248345"/>
                  </a:lnTo>
                  <a:lnTo>
                    <a:pt x="93985" y="267854"/>
                  </a:lnTo>
                  <a:lnTo>
                    <a:pt x="137419" y="274860"/>
                  </a:lnTo>
                  <a:lnTo>
                    <a:pt x="180859" y="267854"/>
                  </a:lnTo>
                  <a:lnTo>
                    <a:pt x="218585" y="248345"/>
                  </a:lnTo>
                  <a:lnTo>
                    <a:pt x="248334" y="218596"/>
                  </a:lnTo>
                  <a:lnTo>
                    <a:pt x="267844" y="180870"/>
                  </a:lnTo>
                  <a:lnTo>
                    <a:pt x="274850" y="137430"/>
                  </a:lnTo>
                  <a:lnTo>
                    <a:pt x="267844" y="93990"/>
                  </a:lnTo>
                  <a:lnTo>
                    <a:pt x="248334" y="56264"/>
                  </a:lnTo>
                  <a:lnTo>
                    <a:pt x="218585" y="26515"/>
                  </a:lnTo>
                  <a:lnTo>
                    <a:pt x="180859" y="7006"/>
                  </a:lnTo>
                  <a:lnTo>
                    <a:pt x="137419" y="0"/>
                  </a:lnTo>
                  <a:close/>
                </a:path>
              </a:pathLst>
            </a:custGeom>
            <a:solidFill>
              <a:srgbClr val="75AA3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object 62"/>
            <p:cNvSpPr/>
            <p:nvPr/>
          </p:nvSpPr>
          <p:spPr>
            <a:xfrm>
              <a:off x="17686973" y="4186751"/>
              <a:ext cx="25400" cy="3740150"/>
            </a:xfrm>
            <a:custGeom>
              <a:avLst/>
              <a:gdLst/>
              <a:ahLst/>
              <a:cxnLst/>
              <a:rect l="l" t="t" r="r" b="b"/>
              <a:pathLst>
                <a:path w="25400" h="3740150">
                  <a:moveTo>
                    <a:pt x="25323" y="3689299"/>
                  </a:moveTo>
                  <a:lnTo>
                    <a:pt x="0" y="3689299"/>
                  </a:lnTo>
                  <a:lnTo>
                    <a:pt x="0" y="3739946"/>
                  </a:lnTo>
                  <a:lnTo>
                    <a:pt x="25323" y="3739946"/>
                  </a:lnTo>
                  <a:lnTo>
                    <a:pt x="25323" y="3689299"/>
                  </a:lnTo>
                  <a:close/>
                </a:path>
                <a:path w="25400" h="3740150">
                  <a:moveTo>
                    <a:pt x="25323" y="3564699"/>
                  </a:moveTo>
                  <a:lnTo>
                    <a:pt x="0" y="3564699"/>
                  </a:lnTo>
                  <a:lnTo>
                    <a:pt x="0" y="3664381"/>
                  </a:lnTo>
                  <a:lnTo>
                    <a:pt x="25323" y="3664381"/>
                  </a:lnTo>
                  <a:lnTo>
                    <a:pt x="25323" y="3564699"/>
                  </a:lnTo>
                  <a:close/>
                </a:path>
                <a:path w="25400" h="3740150">
                  <a:moveTo>
                    <a:pt x="25323" y="3440074"/>
                  </a:moveTo>
                  <a:lnTo>
                    <a:pt x="0" y="3440074"/>
                  </a:lnTo>
                  <a:lnTo>
                    <a:pt x="0" y="3539756"/>
                  </a:lnTo>
                  <a:lnTo>
                    <a:pt x="25323" y="3539756"/>
                  </a:lnTo>
                  <a:lnTo>
                    <a:pt x="25323" y="3440074"/>
                  </a:lnTo>
                  <a:close/>
                </a:path>
                <a:path w="25400" h="3740150">
                  <a:moveTo>
                    <a:pt x="25323" y="3315462"/>
                  </a:moveTo>
                  <a:lnTo>
                    <a:pt x="0" y="3315462"/>
                  </a:lnTo>
                  <a:lnTo>
                    <a:pt x="0" y="3415157"/>
                  </a:lnTo>
                  <a:lnTo>
                    <a:pt x="25323" y="3415157"/>
                  </a:lnTo>
                  <a:lnTo>
                    <a:pt x="25323" y="3315462"/>
                  </a:lnTo>
                  <a:close/>
                </a:path>
                <a:path w="25400" h="3740150">
                  <a:moveTo>
                    <a:pt x="25323" y="3190862"/>
                  </a:moveTo>
                  <a:lnTo>
                    <a:pt x="0" y="3190862"/>
                  </a:lnTo>
                  <a:lnTo>
                    <a:pt x="0" y="3290544"/>
                  </a:lnTo>
                  <a:lnTo>
                    <a:pt x="25323" y="3290544"/>
                  </a:lnTo>
                  <a:lnTo>
                    <a:pt x="25323" y="3190862"/>
                  </a:lnTo>
                  <a:close/>
                </a:path>
                <a:path w="25400" h="3740150">
                  <a:moveTo>
                    <a:pt x="25323" y="3066237"/>
                  </a:moveTo>
                  <a:lnTo>
                    <a:pt x="0" y="3066237"/>
                  </a:lnTo>
                  <a:lnTo>
                    <a:pt x="0" y="3165932"/>
                  </a:lnTo>
                  <a:lnTo>
                    <a:pt x="25323" y="3165932"/>
                  </a:lnTo>
                  <a:lnTo>
                    <a:pt x="25323" y="3066237"/>
                  </a:lnTo>
                  <a:close/>
                </a:path>
                <a:path w="25400" h="3740150">
                  <a:moveTo>
                    <a:pt x="25323" y="2941637"/>
                  </a:moveTo>
                  <a:lnTo>
                    <a:pt x="0" y="2941637"/>
                  </a:lnTo>
                  <a:lnTo>
                    <a:pt x="0" y="3041319"/>
                  </a:lnTo>
                  <a:lnTo>
                    <a:pt x="25323" y="3041319"/>
                  </a:lnTo>
                  <a:lnTo>
                    <a:pt x="25323" y="2941637"/>
                  </a:lnTo>
                  <a:close/>
                </a:path>
                <a:path w="25400" h="3740150">
                  <a:moveTo>
                    <a:pt x="25323" y="2817025"/>
                  </a:moveTo>
                  <a:lnTo>
                    <a:pt x="0" y="2817025"/>
                  </a:lnTo>
                  <a:lnTo>
                    <a:pt x="0" y="2916707"/>
                  </a:lnTo>
                  <a:lnTo>
                    <a:pt x="25323" y="2916707"/>
                  </a:lnTo>
                  <a:lnTo>
                    <a:pt x="25323" y="2817025"/>
                  </a:lnTo>
                  <a:close/>
                </a:path>
                <a:path w="25400" h="3740150">
                  <a:moveTo>
                    <a:pt x="25323" y="2692412"/>
                  </a:moveTo>
                  <a:lnTo>
                    <a:pt x="0" y="2692412"/>
                  </a:lnTo>
                  <a:lnTo>
                    <a:pt x="0" y="2792095"/>
                  </a:lnTo>
                  <a:lnTo>
                    <a:pt x="25323" y="2792095"/>
                  </a:lnTo>
                  <a:lnTo>
                    <a:pt x="25323" y="2692412"/>
                  </a:lnTo>
                  <a:close/>
                </a:path>
                <a:path w="25400" h="3740150">
                  <a:moveTo>
                    <a:pt x="25323" y="2567800"/>
                  </a:moveTo>
                  <a:lnTo>
                    <a:pt x="0" y="2567800"/>
                  </a:lnTo>
                  <a:lnTo>
                    <a:pt x="0" y="2667482"/>
                  </a:lnTo>
                  <a:lnTo>
                    <a:pt x="25323" y="2667482"/>
                  </a:lnTo>
                  <a:lnTo>
                    <a:pt x="25323" y="2567800"/>
                  </a:lnTo>
                  <a:close/>
                </a:path>
                <a:path w="25400" h="3740150">
                  <a:moveTo>
                    <a:pt x="25323" y="2443175"/>
                  </a:moveTo>
                  <a:lnTo>
                    <a:pt x="0" y="2443175"/>
                  </a:lnTo>
                  <a:lnTo>
                    <a:pt x="0" y="2542870"/>
                  </a:lnTo>
                  <a:lnTo>
                    <a:pt x="25323" y="2542870"/>
                  </a:lnTo>
                  <a:lnTo>
                    <a:pt x="25323" y="2443175"/>
                  </a:lnTo>
                  <a:close/>
                </a:path>
                <a:path w="25400" h="3740150">
                  <a:moveTo>
                    <a:pt x="25323" y="2318575"/>
                  </a:moveTo>
                  <a:lnTo>
                    <a:pt x="0" y="2318575"/>
                  </a:lnTo>
                  <a:lnTo>
                    <a:pt x="0" y="2418257"/>
                  </a:lnTo>
                  <a:lnTo>
                    <a:pt x="25323" y="2418257"/>
                  </a:lnTo>
                  <a:lnTo>
                    <a:pt x="25323" y="2318575"/>
                  </a:lnTo>
                  <a:close/>
                </a:path>
                <a:path w="25400" h="3740150">
                  <a:moveTo>
                    <a:pt x="25323" y="2193963"/>
                  </a:moveTo>
                  <a:lnTo>
                    <a:pt x="0" y="2193963"/>
                  </a:lnTo>
                  <a:lnTo>
                    <a:pt x="0" y="2293658"/>
                  </a:lnTo>
                  <a:lnTo>
                    <a:pt x="25323" y="2293658"/>
                  </a:lnTo>
                  <a:lnTo>
                    <a:pt x="25323" y="2193963"/>
                  </a:lnTo>
                  <a:close/>
                </a:path>
                <a:path w="25400" h="3740150">
                  <a:moveTo>
                    <a:pt x="25323" y="2069363"/>
                  </a:moveTo>
                  <a:lnTo>
                    <a:pt x="0" y="2069363"/>
                  </a:lnTo>
                  <a:lnTo>
                    <a:pt x="0" y="2169045"/>
                  </a:lnTo>
                  <a:lnTo>
                    <a:pt x="25323" y="2169045"/>
                  </a:lnTo>
                  <a:lnTo>
                    <a:pt x="25323" y="2069363"/>
                  </a:lnTo>
                  <a:close/>
                </a:path>
                <a:path w="25400" h="3740150">
                  <a:moveTo>
                    <a:pt x="25323" y="1944738"/>
                  </a:moveTo>
                  <a:lnTo>
                    <a:pt x="0" y="1944738"/>
                  </a:lnTo>
                  <a:lnTo>
                    <a:pt x="0" y="2044420"/>
                  </a:lnTo>
                  <a:lnTo>
                    <a:pt x="25323" y="2044420"/>
                  </a:lnTo>
                  <a:lnTo>
                    <a:pt x="25323" y="1944738"/>
                  </a:lnTo>
                  <a:close/>
                </a:path>
                <a:path w="25400" h="3740150">
                  <a:moveTo>
                    <a:pt x="25323" y="1820125"/>
                  </a:moveTo>
                  <a:lnTo>
                    <a:pt x="0" y="1820125"/>
                  </a:lnTo>
                  <a:lnTo>
                    <a:pt x="0" y="1919808"/>
                  </a:lnTo>
                  <a:lnTo>
                    <a:pt x="25323" y="1919808"/>
                  </a:lnTo>
                  <a:lnTo>
                    <a:pt x="25323" y="1820125"/>
                  </a:lnTo>
                  <a:close/>
                </a:path>
                <a:path w="25400" h="3740150">
                  <a:moveTo>
                    <a:pt x="25323" y="1695513"/>
                  </a:moveTo>
                  <a:lnTo>
                    <a:pt x="0" y="1695513"/>
                  </a:lnTo>
                  <a:lnTo>
                    <a:pt x="0" y="1795208"/>
                  </a:lnTo>
                  <a:lnTo>
                    <a:pt x="25323" y="1795208"/>
                  </a:lnTo>
                  <a:lnTo>
                    <a:pt x="25323" y="1695513"/>
                  </a:lnTo>
                  <a:close/>
                </a:path>
                <a:path w="25400" h="3740150">
                  <a:moveTo>
                    <a:pt x="25323" y="1570901"/>
                  </a:moveTo>
                  <a:lnTo>
                    <a:pt x="0" y="1570901"/>
                  </a:lnTo>
                  <a:lnTo>
                    <a:pt x="0" y="1670596"/>
                  </a:lnTo>
                  <a:lnTo>
                    <a:pt x="25323" y="1670596"/>
                  </a:lnTo>
                  <a:lnTo>
                    <a:pt x="25323" y="1570901"/>
                  </a:lnTo>
                  <a:close/>
                </a:path>
                <a:path w="25400" h="3740150">
                  <a:moveTo>
                    <a:pt x="25323" y="1446288"/>
                  </a:moveTo>
                  <a:lnTo>
                    <a:pt x="0" y="1446288"/>
                  </a:lnTo>
                  <a:lnTo>
                    <a:pt x="0" y="1545983"/>
                  </a:lnTo>
                  <a:lnTo>
                    <a:pt x="25323" y="1545983"/>
                  </a:lnTo>
                  <a:lnTo>
                    <a:pt x="25323" y="1446288"/>
                  </a:lnTo>
                  <a:close/>
                </a:path>
                <a:path w="25400" h="3740150">
                  <a:moveTo>
                    <a:pt x="25323" y="1321676"/>
                  </a:moveTo>
                  <a:lnTo>
                    <a:pt x="0" y="1321676"/>
                  </a:lnTo>
                  <a:lnTo>
                    <a:pt x="0" y="1421371"/>
                  </a:lnTo>
                  <a:lnTo>
                    <a:pt x="25323" y="1421371"/>
                  </a:lnTo>
                  <a:lnTo>
                    <a:pt x="25323" y="1321676"/>
                  </a:lnTo>
                  <a:close/>
                </a:path>
                <a:path w="25400" h="3740150">
                  <a:moveTo>
                    <a:pt x="25323" y="1197063"/>
                  </a:moveTo>
                  <a:lnTo>
                    <a:pt x="0" y="1197063"/>
                  </a:lnTo>
                  <a:lnTo>
                    <a:pt x="0" y="1296758"/>
                  </a:lnTo>
                  <a:lnTo>
                    <a:pt x="25323" y="1296758"/>
                  </a:lnTo>
                  <a:lnTo>
                    <a:pt x="25323" y="1197063"/>
                  </a:lnTo>
                  <a:close/>
                </a:path>
                <a:path w="25400" h="3740150">
                  <a:moveTo>
                    <a:pt x="25323" y="1072451"/>
                  </a:moveTo>
                  <a:lnTo>
                    <a:pt x="0" y="1072451"/>
                  </a:lnTo>
                  <a:lnTo>
                    <a:pt x="0" y="1172146"/>
                  </a:lnTo>
                  <a:lnTo>
                    <a:pt x="25323" y="1172146"/>
                  </a:lnTo>
                  <a:lnTo>
                    <a:pt x="25323" y="1072451"/>
                  </a:lnTo>
                  <a:close/>
                </a:path>
                <a:path w="25400" h="3740150">
                  <a:moveTo>
                    <a:pt x="25323" y="947839"/>
                  </a:moveTo>
                  <a:lnTo>
                    <a:pt x="0" y="947839"/>
                  </a:lnTo>
                  <a:lnTo>
                    <a:pt x="0" y="1047534"/>
                  </a:lnTo>
                  <a:lnTo>
                    <a:pt x="25323" y="1047534"/>
                  </a:lnTo>
                  <a:lnTo>
                    <a:pt x="25323" y="947839"/>
                  </a:lnTo>
                  <a:close/>
                </a:path>
                <a:path w="25400" h="3740150">
                  <a:moveTo>
                    <a:pt x="25323" y="823226"/>
                  </a:moveTo>
                  <a:lnTo>
                    <a:pt x="0" y="823226"/>
                  </a:lnTo>
                  <a:lnTo>
                    <a:pt x="0" y="922921"/>
                  </a:lnTo>
                  <a:lnTo>
                    <a:pt x="25323" y="922921"/>
                  </a:lnTo>
                  <a:lnTo>
                    <a:pt x="25323" y="823226"/>
                  </a:lnTo>
                  <a:close/>
                </a:path>
                <a:path w="25400" h="3740150">
                  <a:moveTo>
                    <a:pt x="25323" y="698639"/>
                  </a:moveTo>
                  <a:lnTo>
                    <a:pt x="0" y="698639"/>
                  </a:lnTo>
                  <a:lnTo>
                    <a:pt x="0" y="798322"/>
                  </a:lnTo>
                  <a:lnTo>
                    <a:pt x="25323" y="798322"/>
                  </a:lnTo>
                  <a:lnTo>
                    <a:pt x="25323" y="698639"/>
                  </a:lnTo>
                  <a:close/>
                </a:path>
                <a:path w="25400" h="3740150">
                  <a:moveTo>
                    <a:pt x="25323" y="574014"/>
                  </a:moveTo>
                  <a:lnTo>
                    <a:pt x="0" y="574014"/>
                  </a:lnTo>
                  <a:lnTo>
                    <a:pt x="0" y="673696"/>
                  </a:lnTo>
                  <a:lnTo>
                    <a:pt x="25323" y="673696"/>
                  </a:lnTo>
                  <a:lnTo>
                    <a:pt x="25323" y="574014"/>
                  </a:lnTo>
                  <a:close/>
                </a:path>
                <a:path w="25400" h="3740150">
                  <a:moveTo>
                    <a:pt x="25323" y="449402"/>
                  </a:moveTo>
                  <a:lnTo>
                    <a:pt x="0" y="449402"/>
                  </a:lnTo>
                  <a:lnTo>
                    <a:pt x="0" y="549084"/>
                  </a:lnTo>
                  <a:lnTo>
                    <a:pt x="25323" y="549084"/>
                  </a:lnTo>
                  <a:lnTo>
                    <a:pt x="25323" y="449402"/>
                  </a:lnTo>
                  <a:close/>
                </a:path>
                <a:path w="25400" h="3740150">
                  <a:moveTo>
                    <a:pt x="25323" y="324777"/>
                  </a:moveTo>
                  <a:lnTo>
                    <a:pt x="0" y="324777"/>
                  </a:lnTo>
                  <a:lnTo>
                    <a:pt x="0" y="424472"/>
                  </a:lnTo>
                  <a:lnTo>
                    <a:pt x="25323" y="424472"/>
                  </a:lnTo>
                  <a:lnTo>
                    <a:pt x="25323" y="324777"/>
                  </a:lnTo>
                  <a:close/>
                </a:path>
                <a:path w="25400" h="3740150">
                  <a:moveTo>
                    <a:pt x="25323" y="200177"/>
                  </a:moveTo>
                  <a:lnTo>
                    <a:pt x="0" y="200177"/>
                  </a:lnTo>
                  <a:lnTo>
                    <a:pt x="0" y="299872"/>
                  </a:lnTo>
                  <a:lnTo>
                    <a:pt x="25323" y="299872"/>
                  </a:lnTo>
                  <a:lnTo>
                    <a:pt x="25323" y="200177"/>
                  </a:lnTo>
                  <a:close/>
                </a:path>
                <a:path w="25400" h="3740150">
                  <a:moveTo>
                    <a:pt x="25323" y="75565"/>
                  </a:moveTo>
                  <a:lnTo>
                    <a:pt x="0" y="75565"/>
                  </a:lnTo>
                  <a:lnTo>
                    <a:pt x="0" y="175260"/>
                  </a:lnTo>
                  <a:lnTo>
                    <a:pt x="25323" y="175260"/>
                  </a:lnTo>
                  <a:lnTo>
                    <a:pt x="25323" y="75565"/>
                  </a:lnTo>
                  <a:close/>
                </a:path>
                <a:path w="25400" h="3740150">
                  <a:moveTo>
                    <a:pt x="25323" y="0"/>
                  </a:moveTo>
                  <a:lnTo>
                    <a:pt x="0" y="0"/>
                  </a:lnTo>
                  <a:lnTo>
                    <a:pt x="0" y="50647"/>
                  </a:lnTo>
                  <a:lnTo>
                    <a:pt x="25323" y="50647"/>
                  </a:lnTo>
                  <a:lnTo>
                    <a:pt x="25323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object 63"/>
            <p:cNvSpPr/>
            <p:nvPr/>
          </p:nvSpPr>
          <p:spPr>
            <a:xfrm>
              <a:off x="16747270" y="4119273"/>
              <a:ext cx="1945639" cy="732790"/>
            </a:xfrm>
            <a:custGeom>
              <a:avLst/>
              <a:gdLst/>
              <a:ahLst/>
              <a:cxnLst/>
              <a:rect l="l" t="t" r="r" b="b"/>
              <a:pathLst>
                <a:path w="1945640" h="732789">
                  <a:moveTo>
                    <a:pt x="1788270" y="0"/>
                  </a:moveTo>
                  <a:lnTo>
                    <a:pt x="157063" y="0"/>
                  </a:lnTo>
                  <a:lnTo>
                    <a:pt x="107416" y="8007"/>
                  </a:lnTo>
                  <a:lnTo>
                    <a:pt x="64300" y="30304"/>
                  </a:lnTo>
                  <a:lnTo>
                    <a:pt x="30301" y="64304"/>
                  </a:lnTo>
                  <a:lnTo>
                    <a:pt x="8006" y="107420"/>
                  </a:lnTo>
                  <a:lnTo>
                    <a:pt x="0" y="157063"/>
                  </a:lnTo>
                  <a:lnTo>
                    <a:pt x="0" y="575144"/>
                  </a:lnTo>
                  <a:lnTo>
                    <a:pt x="8006" y="624787"/>
                  </a:lnTo>
                  <a:lnTo>
                    <a:pt x="30301" y="667903"/>
                  </a:lnTo>
                  <a:lnTo>
                    <a:pt x="64300" y="701903"/>
                  </a:lnTo>
                  <a:lnTo>
                    <a:pt x="107416" y="724200"/>
                  </a:lnTo>
                  <a:lnTo>
                    <a:pt x="157063" y="732208"/>
                  </a:lnTo>
                  <a:lnTo>
                    <a:pt x="1788270" y="732208"/>
                  </a:lnTo>
                  <a:lnTo>
                    <a:pt x="1837913" y="724200"/>
                  </a:lnTo>
                  <a:lnTo>
                    <a:pt x="1881028" y="701903"/>
                  </a:lnTo>
                  <a:lnTo>
                    <a:pt x="1915028" y="667903"/>
                  </a:lnTo>
                  <a:lnTo>
                    <a:pt x="1937325" y="624787"/>
                  </a:lnTo>
                  <a:lnTo>
                    <a:pt x="1945333" y="575144"/>
                  </a:lnTo>
                  <a:lnTo>
                    <a:pt x="1945333" y="157063"/>
                  </a:lnTo>
                  <a:lnTo>
                    <a:pt x="1937325" y="107420"/>
                  </a:lnTo>
                  <a:lnTo>
                    <a:pt x="1915028" y="64304"/>
                  </a:lnTo>
                  <a:lnTo>
                    <a:pt x="1881028" y="30304"/>
                  </a:lnTo>
                  <a:lnTo>
                    <a:pt x="1837913" y="8007"/>
                  </a:lnTo>
                  <a:lnTo>
                    <a:pt x="1788270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object 64"/>
            <p:cNvSpPr/>
            <p:nvPr/>
          </p:nvSpPr>
          <p:spPr>
            <a:xfrm>
              <a:off x="17140732" y="3538861"/>
              <a:ext cx="1125855" cy="1125855"/>
            </a:xfrm>
            <a:custGeom>
              <a:avLst/>
              <a:gdLst/>
              <a:ahLst/>
              <a:cxnLst/>
              <a:rect l="l" t="t" r="r" b="b"/>
              <a:pathLst>
                <a:path w="1125855" h="1125854">
                  <a:moveTo>
                    <a:pt x="562820" y="0"/>
                  </a:moveTo>
                  <a:lnTo>
                    <a:pt x="514258" y="2065"/>
                  </a:lnTo>
                  <a:lnTo>
                    <a:pt x="466842" y="8151"/>
                  </a:lnTo>
                  <a:lnTo>
                    <a:pt x="420743" y="18086"/>
                  </a:lnTo>
                  <a:lnTo>
                    <a:pt x="376129" y="31703"/>
                  </a:lnTo>
                  <a:lnTo>
                    <a:pt x="333169" y="48833"/>
                  </a:lnTo>
                  <a:lnTo>
                    <a:pt x="292031" y="69305"/>
                  </a:lnTo>
                  <a:lnTo>
                    <a:pt x="252886" y="92953"/>
                  </a:lnTo>
                  <a:lnTo>
                    <a:pt x="215901" y="119605"/>
                  </a:lnTo>
                  <a:lnTo>
                    <a:pt x="181246" y="149095"/>
                  </a:lnTo>
                  <a:lnTo>
                    <a:pt x="149090" y="181252"/>
                  </a:lnTo>
                  <a:lnTo>
                    <a:pt x="119601" y="215908"/>
                  </a:lnTo>
                  <a:lnTo>
                    <a:pt x="92949" y="252893"/>
                  </a:lnTo>
                  <a:lnTo>
                    <a:pt x="69303" y="292039"/>
                  </a:lnTo>
                  <a:lnTo>
                    <a:pt x="48831" y="333177"/>
                  </a:lnTo>
                  <a:lnTo>
                    <a:pt x="31702" y="376138"/>
                  </a:lnTo>
                  <a:lnTo>
                    <a:pt x="18086" y="420753"/>
                  </a:lnTo>
                  <a:lnTo>
                    <a:pt x="8150" y="466852"/>
                  </a:lnTo>
                  <a:lnTo>
                    <a:pt x="2065" y="514268"/>
                  </a:lnTo>
                  <a:lnTo>
                    <a:pt x="0" y="562831"/>
                  </a:lnTo>
                  <a:lnTo>
                    <a:pt x="2065" y="611393"/>
                  </a:lnTo>
                  <a:lnTo>
                    <a:pt x="8150" y="658809"/>
                  </a:lnTo>
                  <a:lnTo>
                    <a:pt x="18086" y="704908"/>
                  </a:lnTo>
                  <a:lnTo>
                    <a:pt x="31702" y="749523"/>
                  </a:lnTo>
                  <a:lnTo>
                    <a:pt x="48831" y="792484"/>
                  </a:lnTo>
                  <a:lnTo>
                    <a:pt x="69303" y="833622"/>
                  </a:lnTo>
                  <a:lnTo>
                    <a:pt x="92949" y="872768"/>
                  </a:lnTo>
                  <a:lnTo>
                    <a:pt x="119601" y="909753"/>
                  </a:lnTo>
                  <a:lnTo>
                    <a:pt x="149090" y="944409"/>
                  </a:lnTo>
                  <a:lnTo>
                    <a:pt x="181246" y="976566"/>
                  </a:lnTo>
                  <a:lnTo>
                    <a:pt x="215901" y="1006056"/>
                  </a:lnTo>
                  <a:lnTo>
                    <a:pt x="252886" y="1032708"/>
                  </a:lnTo>
                  <a:lnTo>
                    <a:pt x="292031" y="1056356"/>
                  </a:lnTo>
                  <a:lnTo>
                    <a:pt x="333169" y="1076829"/>
                  </a:lnTo>
                  <a:lnTo>
                    <a:pt x="376129" y="1093958"/>
                  </a:lnTo>
                  <a:lnTo>
                    <a:pt x="420743" y="1107575"/>
                  </a:lnTo>
                  <a:lnTo>
                    <a:pt x="466842" y="1117510"/>
                  </a:lnTo>
                  <a:lnTo>
                    <a:pt x="514258" y="1123596"/>
                  </a:lnTo>
                  <a:lnTo>
                    <a:pt x="562820" y="1125662"/>
                  </a:lnTo>
                  <a:lnTo>
                    <a:pt x="611384" y="1123596"/>
                  </a:lnTo>
                  <a:lnTo>
                    <a:pt x="658801" y="1117510"/>
                  </a:lnTo>
                  <a:lnTo>
                    <a:pt x="704901" y="1107575"/>
                  </a:lnTo>
                  <a:lnTo>
                    <a:pt x="749517" y="1093958"/>
                  </a:lnTo>
                  <a:lnTo>
                    <a:pt x="792478" y="1076829"/>
                  </a:lnTo>
                  <a:lnTo>
                    <a:pt x="833616" y="1056356"/>
                  </a:lnTo>
                  <a:lnTo>
                    <a:pt x="872762" y="1032708"/>
                  </a:lnTo>
                  <a:lnTo>
                    <a:pt x="909747" y="1006056"/>
                  </a:lnTo>
                  <a:lnTo>
                    <a:pt x="944403" y="976566"/>
                  </a:lnTo>
                  <a:lnTo>
                    <a:pt x="976559" y="944409"/>
                  </a:lnTo>
                  <a:lnTo>
                    <a:pt x="1006048" y="909753"/>
                  </a:lnTo>
                  <a:lnTo>
                    <a:pt x="1032701" y="872768"/>
                  </a:lnTo>
                  <a:lnTo>
                    <a:pt x="1056347" y="833622"/>
                  </a:lnTo>
                  <a:lnTo>
                    <a:pt x="1076820" y="792484"/>
                  </a:lnTo>
                  <a:lnTo>
                    <a:pt x="1093948" y="749523"/>
                  </a:lnTo>
                  <a:lnTo>
                    <a:pt x="1107565" y="704908"/>
                  </a:lnTo>
                  <a:lnTo>
                    <a:pt x="1117500" y="658809"/>
                  </a:lnTo>
                  <a:lnTo>
                    <a:pt x="1123585" y="611393"/>
                  </a:lnTo>
                  <a:lnTo>
                    <a:pt x="1125651" y="562831"/>
                  </a:lnTo>
                  <a:lnTo>
                    <a:pt x="1123585" y="514268"/>
                  </a:lnTo>
                  <a:lnTo>
                    <a:pt x="1117500" y="466852"/>
                  </a:lnTo>
                  <a:lnTo>
                    <a:pt x="1107565" y="420753"/>
                  </a:lnTo>
                  <a:lnTo>
                    <a:pt x="1093948" y="376138"/>
                  </a:lnTo>
                  <a:lnTo>
                    <a:pt x="1076820" y="333177"/>
                  </a:lnTo>
                  <a:lnTo>
                    <a:pt x="1056347" y="292039"/>
                  </a:lnTo>
                  <a:lnTo>
                    <a:pt x="1032701" y="252893"/>
                  </a:lnTo>
                  <a:lnTo>
                    <a:pt x="1006048" y="215908"/>
                  </a:lnTo>
                  <a:lnTo>
                    <a:pt x="976559" y="181252"/>
                  </a:lnTo>
                  <a:lnTo>
                    <a:pt x="944403" y="149095"/>
                  </a:lnTo>
                  <a:lnTo>
                    <a:pt x="909747" y="119605"/>
                  </a:lnTo>
                  <a:lnTo>
                    <a:pt x="872762" y="92953"/>
                  </a:lnTo>
                  <a:lnTo>
                    <a:pt x="833616" y="69305"/>
                  </a:lnTo>
                  <a:lnTo>
                    <a:pt x="792478" y="48833"/>
                  </a:lnTo>
                  <a:lnTo>
                    <a:pt x="749517" y="31703"/>
                  </a:lnTo>
                  <a:lnTo>
                    <a:pt x="704901" y="18086"/>
                  </a:lnTo>
                  <a:lnTo>
                    <a:pt x="658801" y="8151"/>
                  </a:lnTo>
                  <a:lnTo>
                    <a:pt x="611384" y="2065"/>
                  </a:lnTo>
                  <a:lnTo>
                    <a:pt x="5628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object 65"/>
            <p:cNvSpPr/>
            <p:nvPr/>
          </p:nvSpPr>
          <p:spPr>
            <a:xfrm>
              <a:off x="17238241" y="3636377"/>
              <a:ext cx="930910" cy="930910"/>
            </a:xfrm>
            <a:custGeom>
              <a:avLst/>
              <a:gdLst/>
              <a:ahLst/>
              <a:cxnLst/>
              <a:rect l="l" t="t" r="r" b="b"/>
              <a:pathLst>
                <a:path w="930909" h="930910">
                  <a:moveTo>
                    <a:pt x="465315" y="0"/>
                  </a:moveTo>
                  <a:lnTo>
                    <a:pt x="417739" y="2402"/>
                  </a:lnTo>
                  <a:lnTo>
                    <a:pt x="371538" y="9453"/>
                  </a:lnTo>
                  <a:lnTo>
                    <a:pt x="326944" y="20919"/>
                  </a:lnTo>
                  <a:lnTo>
                    <a:pt x="284193" y="36566"/>
                  </a:lnTo>
                  <a:lnTo>
                    <a:pt x="243518" y="56161"/>
                  </a:lnTo>
                  <a:lnTo>
                    <a:pt x="205153" y="79468"/>
                  </a:lnTo>
                  <a:lnTo>
                    <a:pt x="169331" y="106255"/>
                  </a:lnTo>
                  <a:lnTo>
                    <a:pt x="136287" y="136287"/>
                  </a:lnTo>
                  <a:lnTo>
                    <a:pt x="106255" y="169331"/>
                  </a:lnTo>
                  <a:lnTo>
                    <a:pt x="79468" y="205153"/>
                  </a:lnTo>
                  <a:lnTo>
                    <a:pt x="56161" y="243518"/>
                  </a:lnTo>
                  <a:lnTo>
                    <a:pt x="36566" y="284193"/>
                  </a:lnTo>
                  <a:lnTo>
                    <a:pt x="20919" y="326944"/>
                  </a:lnTo>
                  <a:lnTo>
                    <a:pt x="9453" y="371538"/>
                  </a:lnTo>
                  <a:lnTo>
                    <a:pt x="2402" y="417739"/>
                  </a:lnTo>
                  <a:lnTo>
                    <a:pt x="0" y="465315"/>
                  </a:lnTo>
                  <a:lnTo>
                    <a:pt x="2402" y="512891"/>
                  </a:lnTo>
                  <a:lnTo>
                    <a:pt x="9453" y="559093"/>
                  </a:lnTo>
                  <a:lnTo>
                    <a:pt x="20919" y="603686"/>
                  </a:lnTo>
                  <a:lnTo>
                    <a:pt x="36566" y="646437"/>
                  </a:lnTo>
                  <a:lnTo>
                    <a:pt x="56161" y="687112"/>
                  </a:lnTo>
                  <a:lnTo>
                    <a:pt x="79468" y="725478"/>
                  </a:lnTo>
                  <a:lnTo>
                    <a:pt x="106255" y="761299"/>
                  </a:lnTo>
                  <a:lnTo>
                    <a:pt x="136287" y="794343"/>
                  </a:lnTo>
                  <a:lnTo>
                    <a:pt x="169331" y="824375"/>
                  </a:lnTo>
                  <a:lnTo>
                    <a:pt x="205153" y="851162"/>
                  </a:lnTo>
                  <a:lnTo>
                    <a:pt x="243518" y="874470"/>
                  </a:lnTo>
                  <a:lnTo>
                    <a:pt x="284193" y="894064"/>
                  </a:lnTo>
                  <a:lnTo>
                    <a:pt x="326944" y="909711"/>
                  </a:lnTo>
                  <a:lnTo>
                    <a:pt x="371538" y="921177"/>
                  </a:lnTo>
                  <a:lnTo>
                    <a:pt x="417739" y="928228"/>
                  </a:lnTo>
                  <a:lnTo>
                    <a:pt x="465315" y="930631"/>
                  </a:lnTo>
                  <a:lnTo>
                    <a:pt x="512891" y="928228"/>
                  </a:lnTo>
                  <a:lnTo>
                    <a:pt x="559093" y="921177"/>
                  </a:lnTo>
                  <a:lnTo>
                    <a:pt x="603686" y="909711"/>
                  </a:lnTo>
                  <a:lnTo>
                    <a:pt x="646437" y="894064"/>
                  </a:lnTo>
                  <a:lnTo>
                    <a:pt x="687112" y="874470"/>
                  </a:lnTo>
                  <a:lnTo>
                    <a:pt x="725478" y="851162"/>
                  </a:lnTo>
                  <a:lnTo>
                    <a:pt x="761299" y="824375"/>
                  </a:lnTo>
                  <a:lnTo>
                    <a:pt x="794343" y="794343"/>
                  </a:lnTo>
                  <a:lnTo>
                    <a:pt x="824375" y="761299"/>
                  </a:lnTo>
                  <a:lnTo>
                    <a:pt x="851162" y="725478"/>
                  </a:lnTo>
                  <a:lnTo>
                    <a:pt x="874470" y="687112"/>
                  </a:lnTo>
                  <a:lnTo>
                    <a:pt x="894064" y="646437"/>
                  </a:lnTo>
                  <a:lnTo>
                    <a:pt x="909711" y="603686"/>
                  </a:lnTo>
                  <a:lnTo>
                    <a:pt x="921177" y="559093"/>
                  </a:lnTo>
                  <a:lnTo>
                    <a:pt x="928228" y="512891"/>
                  </a:lnTo>
                  <a:lnTo>
                    <a:pt x="930631" y="465315"/>
                  </a:lnTo>
                  <a:lnTo>
                    <a:pt x="928228" y="417739"/>
                  </a:lnTo>
                  <a:lnTo>
                    <a:pt x="921177" y="371538"/>
                  </a:lnTo>
                  <a:lnTo>
                    <a:pt x="909711" y="326944"/>
                  </a:lnTo>
                  <a:lnTo>
                    <a:pt x="894064" y="284193"/>
                  </a:lnTo>
                  <a:lnTo>
                    <a:pt x="874470" y="243518"/>
                  </a:lnTo>
                  <a:lnTo>
                    <a:pt x="851162" y="205153"/>
                  </a:lnTo>
                  <a:lnTo>
                    <a:pt x="824375" y="169331"/>
                  </a:lnTo>
                  <a:lnTo>
                    <a:pt x="794343" y="136287"/>
                  </a:lnTo>
                  <a:lnTo>
                    <a:pt x="761299" y="106255"/>
                  </a:lnTo>
                  <a:lnTo>
                    <a:pt x="725478" y="79468"/>
                  </a:lnTo>
                  <a:lnTo>
                    <a:pt x="687112" y="56161"/>
                  </a:lnTo>
                  <a:lnTo>
                    <a:pt x="646437" y="36566"/>
                  </a:lnTo>
                  <a:lnTo>
                    <a:pt x="603686" y="20919"/>
                  </a:lnTo>
                  <a:lnTo>
                    <a:pt x="559093" y="9453"/>
                  </a:lnTo>
                  <a:lnTo>
                    <a:pt x="512891" y="2402"/>
                  </a:lnTo>
                  <a:lnTo>
                    <a:pt x="465315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object 66"/>
            <p:cNvSpPr/>
            <p:nvPr/>
          </p:nvSpPr>
          <p:spPr>
            <a:xfrm>
              <a:off x="17526153" y="7719658"/>
              <a:ext cx="332740" cy="332740"/>
            </a:xfrm>
            <a:custGeom>
              <a:avLst/>
              <a:gdLst/>
              <a:ahLst/>
              <a:cxnLst/>
              <a:rect l="l" t="t" r="r" b="b"/>
              <a:pathLst>
                <a:path w="332740" h="332740">
                  <a:moveTo>
                    <a:pt x="166225" y="0"/>
                  </a:moveTo>
                  <a:lnTo>
                    <a:pt x="122034" y="5937"/>
                  </a:lnTo>
                  <a:lnTo>
                    <a:pt x="82325" y="22693"/>
                  </a:lnTo>
                  <a:lnTo>
                    <a:pt x="48684" y="48684"/>
                  </a:lnTo>
                  <a:lnTo>
                    <a:pt x="22693" y="82325"/>
                  </a:lnTo>
                  <a:lnTo>
                    <a:pt x="5937" y="122034"/>
                  </a:lnTo>
                  <a:lnTo>
                    <a:pt x="0" y="166225"/>
                  </a:lnTo>
                  <a:lnTo>
                    <a:pt x="5937" y="210416"/>
                  </a:lnTo>
                  <a:lnTo>
                    <a:pt x="22693" y="250124"/>
                  </a:lnTo>
                  <a:lnTo>
                    <a:pt x="48684" y="283766"/>
                  </a:lnTo>
                  <a:lnTo>
                    <a:pt x="82325" y="309757"/>
                  </a:lnTo>
                  <a:lnTo>
                    <a:pt x="122034" y="326513"/>
                  </a:lnTo>
                  <a:lnTo>
                    <a:pt x="166225" y="332450"/>
                  </a:lnTo>
                  <a:lnTo>
                    <a:pt x="210412" y="326513"/>
                  </a:lnTo>
                  <a:lnTo>
                    <a:pt x="250119" y="309757"/>
                  </a:lnTo>
                  <a:lnTo>
                    <a:pt x="283762" y="283766"/>
                  </a:lnTo>
                  <a:lnTo>
                    <a:pt x="309754" y="250124"/>
                  </a:lnTo>
                  <a:lnTo>
                    <a:pt x="326512" y="210416"/>
                  </a:lnTo>
                  <a:lnTo>
                    <a:pt x="332450" y="166225"/>
                  </a:lnTo>
                  <a:lnTo>
                    <a:pt x="326512" y="122034"/>
                  </a:lnTo>
                  <a:lnTo>
                    <a:pt x="309754" y="82325"/>
                  </a:lnTo>
                  <a:lnTo>
                    <a:pt x="283762" y="48684"/>
                  </a:lnTo>
                  <a:lnTo>
                    <a:pt x="250119" y="22693"/>
                  </a:lnTo>
                  <a:lnTo>
                    <a:pt x="210412" y="5937"/>
                  </a:lnTo>
                  <a:lnTo>
                    <a:pt x="1662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object 67"/>
            <p:cNvSpPr/>
            <p:nvPr/>
          </p:nvSpPr>
          <p:spPr>
            <a:xfrm>
              <a:off x="17554955" y="7748453"/>
              <a:ext cx="274955" cy="274955"/>
            </a:xfrm>
            <a:custGeom>
              <a:avLst/>
              <a:gdLst/>
              <a:ahLst/>
              <a:cxnLst/>
              <a:rect l="l" t="t" r="r" b="b"/>
              <a:pathLst>
                <a:path w="274955" h="274954">
                  <a:moveTo>
                    <a:pt x="137419" y="0"/>
                  </a:moveTo>
                  <a:lnTo>
                    <a:pt x="93985" y="7006"/>
                  </a:lnTo>
                  <a:lnTo>
                    <a:pt x="56262" y="26515"/>
                  </a:lnTo>
                  <a:lnTo>
                    <a:pt x="26514" y="56264"/>
                  </a:lnTo>
                  <a:lnTo>
                    <a:pt x="7005" y="93990"/>
                  </a:lnTo>
                  <a:lnTo>
                    <a:pt x="0" y="137430"/>
                  </a:lnTo>
                  <a:lnTo>
                    <a:pt x="7005" y="180870"/>
                  </a:lnTo>
                  <a:lnTo>
                    <a:pt x="26514" y="218596"/>
                  </a:lnTo>
                  <a:lnTo>
                    <a:pt x="56262" y="248345"/>
                  </a:lnTo>
                  <a:lnTo>
                    <a:pt x="93985" y="267854"/>
                  </a:lnTo>
                  <a:lnTo>
                    <a:pt x="137419" y="274860"/>
                  </a:lnTo>
                  <a:lnTo>
                    <a:pt x="180859" y="267854"/>
                  </a:lnTo>
                  <a:lnTo>
                    <a:pt x="218585" y="248345"/>
                  </a:lnTo>
                  <a:lnTo>
                    <a:pt x="248334" y="218596"/>
                  </a:lnTo>
                  <a:lnTo>
                    <a:pt x="267844" y="180870"/>
                  </a:lnTo>
                  <a:lnTo>
                    <a:pt x="274850" y="137430"/>
                  </a:lnTo>
                  <a:lnTo>
                    <a:pt x="267844" y="93990"/>
                  </a:lnTo>
                  <a:lnTo>
                    <a:pt x="248334" y="56264"/>
                  </a:lnTo>
                  <a:lnTo>
                    <a:pt x="218585" y="26515"/>
                  </a:lnTo>
                  <a:lnTo>
                    <a:pt x="180859" y="7006"/>
                  </a:lnTo>
                  <a:lnTo>
                    <a:pt x="137419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8" name="object 68"/>
          <p:cNvSpPr txBox="1"/>
          <p:nvPr/>
        </p:nvSpPr>
        <p:spPr>
          <a:xfrm>
            <a:off x="857890" y="1397748"/>
            <a:ext cx="10469136" cy="1341672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defTabSz="554492">
              <a:spcBef>
                <a:spcPts val="64"/>
              </a:spcBef>
            </a:pPr>
            <a:r>
              <a:rPr sz="1395" b="1" kern="0" dirty="0">
                <a:solidFill>
                  <a:srgbClr val="18418F"/>
                </a:solidFill>
                <a:latin typeface="Verdana"/>
                <a:cs typeface="Verdana"/>
              </a:rPr>
              <a:t>ПОСЛЕ</a:t>
            </a:r>
            <a:r>
              <a:rPr sz="1395" b="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18418F"/>
                </a:solidFill>
                <a:latin typeface="Verdana"/>
                <a:cs typeface="Verdana"/>
              </a:rPr>
              <a:t>СОГЛАСОВАНИЯ</a:t>
            </a:r>
            <a:r>
              <a:rPr sz="1395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18418F"/>
                </a:solidFill>
                <a:latin typeface="Verdana"/>
                <a:cs typeface="Verdana"/>
              </a:rPr>
              <a:t>ЦЕН</a:t>
            </a:r>
            <a:r>
              <a:rPr sz="1395" b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sz="1395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18418F"/>
                </a:solidFill>
                <a:latin typeface="Verdana"/>
                <a:cs typeface="Verdana"/>
              </a:rPr>
              <a:t>ВЫБОРА</a:t>
            </a:r>
            <a:r>
              <a:rPr sz="1395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18418F"/>
                </a:solidFill>
                <a:latin typeface="Verdana"/>
                <a:cs typeface="Verdana"/>
              </a:rPr>
              <a:t>ПОСТАВЩИКА</a:t>
            </a:r>
            <a:r>
              <a:rPr sz="1395" b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18418F"/>
                </a:solidFill>
                <a:latin typeface="Verdana"/>
                <a:cs typeface="Verdana"/>
              </a:rPr>
              <a:t>НАЧИНАЕТСЯ</a:t>
            </a:r>
            <a:r>
              <a:rPr sz="1395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18418F"/>
                </a:solidFill>
                <a:latin typeface="Verdana"/>
                <a:cs typeface="Verdana"/>
              </a:rPr>
              <a:t>ПРОЦЕСС</a:t>
            </a:r>
            <a:r>
              <a:rPr sz="1395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18418F"/>
                </a:solidFill>
                <a:latin typeface="Verdana"/>
                <a:cs typeface="Verdana"/>
              </a:rPr>
              <a:t>ВВОДА</a:t>
            </a:r>
            <a:r>
              <a:rPr sz="1395" b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18418F"/>
                </a:solidFill>
                <a:latin typeface="Verdana"/>
                <a:cs typeface="Verdana"/>
              </a:rPr>
              <a:t>ТОВАРА</a:t>
            </a:r>
            <a:r>
              <a:rPr sz="1395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18418F"/>
                </a:solidFill>
                <a:latin typeface="Verdana"/>
                <a:cs typeface="Verdana"/>
              </a:rPr>
              <a:t>В</a:t>
            </a:r>
            <a:r>
              <a:rPr sz="1395" b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95" b="1" kern="0" spc="-12" dirty="0">
                <a:solidFill>
                  <a:srgbClr val="18418F"/>
                </a:solidFill>
                <a:latin typeface="Verdana"/>
                <a:cs typeface="Verdana"/>
              </a:rPr>
              <a:t>СЕТЬ</a:t>
            </a:r>
            <a:endParaRPr sz="1395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defTabSz="554492"/>
            <a:endParaRPr sz="1395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defTabSz="554492"/>
            <a:endParaRPr sz="1395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defTabSz="554492">
              <a:spcBef>
                <a:spcPts val="69"/>
              </a:spcBef>
            </a:pPr>
            <a:endParaRPr sz="1395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432812" defTabSz="554492">
              <a:spcBef>
                <a:spcPts val="3"/>
              </a:spcBef>
              <a:tabLst>
                <a:tab pos="1756662" algn="l"/>
                <a:tab pos="3098225" algn="l"/>
                <a:tab pos="4423615" algn="l"/>
                <a:tab pos="5753626" algn="l"/>
                <a:tab pos="7081327" algn="l"/>
                <a:tab pos="8411723" algn="l"/>
                <a:tab pos="9742504" algn="l"/>
              </a:tabLst>
            </a:pPr>
            <a:r>
              <a:rPr sz="3002" b="1" kern="0" spc="-3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3002" b="1" kern="0" dirty="0">
                <a:solidFill>
                  <a:srgbClr val="FFFFFF"/>
                </a:solidFill>
                <a:latin typeface="Verdana"/>
                <a:cs typeface="Verdana"/>
              </a:rPr>
              <a:t>	</a:t>
            </a:r>
            <a:r>
              <a:rPr sz="3002" b="1" kern="0" spc="-30" dirty="0">
                <a:solidFill>
                  <a:srgbClr val="FFFFFF"/>
                </a:solidFill>
                <a:latin typeface="Verdana"/>
                <a:cs typeface="Verdana"/>
              </a:rPr>
              <a:t>1</a:t>
            </a:r>
            <a:r>
              <a:rPr sz="3002" b="1" kern="0" dirty="0">
                <a:solidFill>
                  <a:srgbClr val="FFFFFF"/>
                </a:solidFill>
                <a:latin typeface="Verdana"/>
                <a:cs typeface="Verdana"/>
              </a:rPr>
              <a:t>	</a:t>
            </a:r>
            <a:r>
              <a:rPr sz="3002" b="1" kern="0" spc="-30" dirty="0">
                <a:solidFill>
                  <a:srgbClr val="FFFFFF"/>
                </a:solidFill>
                <a:latin typeface="Verdana"/>
                <a:cs typeface="Verdana"/>
              </a:rPr>
              <a:t>2</a:t>
            </a:r>
            <a:r>
              <a:rPr sz="3002" b="1" kern="0" dirty="0">
                <a:solidFill>
                  <a:srgbClr val="FFFFFF"/>
                </a:solidFill>
                <a:latin typeface="Verdana"/>
                <a:cs typeface="Verdana"/>
              </a:rPr>
              <a:t>	</a:t>
            </a:r>
            <a:r>
              <a:rPr sz="3002" b="1" kern="0" spc="-30" dirty="0">
                <a:solidFill>
                  <a:srgbClr val="FFFFFF"/>
                </a:solidFill>
                <a:latin typeface="Verdana"/>
                <a:cs typeface="Verdana"/>
              </a:rPr>
              <a:t>3</a:t>
            </a:r>
            <a:r>
              <a:rPr sz="3002" b="1" kern="0" dirty="0">
                <a:solidFill>
                  <a:srgbClr val="FFFFFF"/>
                </a:solidFill>
                <a:latin typeface="Verdana"/>
                <a:cs typeface="Verdana"/>
              </a:rPr>
              <a:t>	</a:t>
            </a:r>
            <a:r>
              <a:rPr sz="3002" b="1" kern="0" spc="-30" dirty="0">
                <a:solidFill>
                  <a:srgbClr val="FFFFFF"/>
                </a:solidFill>
                <a:latin typeface="Verdana"/>
                <a:cs typeface="Verdana"/>
              </a:rPr>
              <a:t>4</a:t>
            </a:r>
            <a:r>
              <a:rPr sz="3002" b="1" kern="0" dirty="0">
                <a:solidFill>
                  <a:srgbClr val="FFFFFF"/>
                </a:solidFill>
                <a:latin typeface="Verdana"/>
                <a:cs typeface="Verdana"/>
              </a:rPr>
              <a:t>	</a:t>
            </a:r>
            <a:r>
              <a:rPr sz="3002" b="1" kern="0" spc="-30" dirty="0">
                <a:solidFill>
                  <a:srgbClr val="FFFFFF"/>
                </a:solidFill>
                <a:latin typeface="Verdana"/>
                <a:cs typeface="Verdana"/>
              </a:rPr>
              <a:t>5</a:t>
            </a:r>
            <a:r>
              <a:rPr sz="3002" b="1" kern="0" dirty="0">
                <a:solidFill>
                  <a:srgbClr val="FFFFFF"/>
                </a:solidFill>
                <a:latin typeface="Verdana"/>
                <a:cs typeface="Verdana"/>
              </a:rPr>
              <a:t>	</a:t>
            </a:r>
            <a:r>
              <a:rPr sz="3002" b="1" kern="0" spc="-30" dirty="0">
                <a:solidFill>
                  <a:srgbClr val="FFFFFF"/>
                </a:solidFill>
                <a:latin typeface="Verdana"/>
                <a:cs typeface="Verdana"/>
              </a:rPr>
              <a:t>6</a:t>
            </a:r>
            <a:r>
              <a:rPr sz="3002" b="1" kern="0" dirty="0">
                <a:solidFill>
                  <a:srgbClr val="FFFFFF"/>
                </a:solidFill>
                <a:latin typeface="Verdana"/>
                <a:cs typeface="Verdana"/>
              </a:rPr>
              <a:t>	</a:t>
            </a:r>
            <a:r>
              <a:rPr sz="3002" b="1" kern="0" spc="-30" dirty="0">
                <a:solidFill>
                  <a:srgbClr val="FFFFFF"/>
                </a:solidFill>
                <a:latin typeface="Verdana"/>
                <a:cs typeface="Verdana"/>
              </a:rPr>
              <a:t>7</a:t>
            </a:r>
            <a:endParaRPr sz="300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9" name="object 69"/>
          <p:cNvSpPr txBox="1">
            <a:spLocks noGrp="1"/>
          </p:cNvSpPr>
          <p:nvPr>
            <p:ph type="title"/>
          </p:nvPr>
        </p:nvSpPr>
        <p:spPr>
          <a:xfrm>
            <a:off x="383608" y="373746"/>
            <a:ext cx="6626879" cy="469373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dirty="0"/>
              <a:t>ВВОД</a:t>
            </a:r>
            <a:r>
              <a:rPr spc="-82" dirty="0"/>
              <a:t> </a:t>
            </a:r>
            <a:r>
              <a:rPr dirty="0" smtClean="0"/>
              <a:t>ТОВАРА</a:t>
            </a:r>
            <a:r>
              <a:rPr lang="ru-RU" dirty="0" smtClean="0"/>
              <a:t> СТМ</a:t>
            </a:r>
            <a:endParaRPr sz="2638" dirty="0"/>
          </a:p>
        </p:txBody>
      </p:sp>
      <p:grpSp>
        <p:nvGrpSpPr>
          <p:cNvPr id="70" name="object 70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71" name="object 71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" name="object 72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3" name="object 73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6" name="Овал 75"/>
          <p:cNvSpPr/>
          <p:nvPr/>
        </p:nvSpPr>
        <p:spPr>
          <a:xfrm>
            <a:off x="1733628" y="4597677"/>
            <a:ext cx="2097661" cy="1521157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Овал 76"/>
          <p:cNvSpPr/>
          <p:nvPr/>
        </p:nvSpPr>
        <p:spPr>
          <a:xfrm>
            <a:off x="5723726" y="3294257"/>
            <a:ext cx="2097661" cy="1521157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2882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animBg="1"/>
      <p:bldP spid="77" grpId="0" animBg="1"/>
    </p:bld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727432" y="1767498"/>
            <a:ext cx="164423" cy="26126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637" b="1" kern="0" spc="-3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endParaRPr sz="1637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95726" y="1685010"/>
            <a:ext cx="1032743" cy="389928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defTabSz="554492">
              <a:lnSpc>
                <a:spcPct val="100499"/>
              </a:lnSpc>
              <a:spcBef>
                <a:spcPts val="58"/>
              </a:spcBef>
            </a:pPr>
            <a:r>
              <a:rPr sz="1243" b="1" kern="0" spc="-6" dirty="0">
                <a:solidFill>
                  <a:srgbClr val="FFFFFF"/>
                </a:solidFill>
                <a:latin typeface="Verdana"/>
                <a:cs typeface="Verdana"/>
              </a:rPr>
              <a:t>Поставщик выбран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27432" y="3036101"/>
            <a:ext cx="164423" cy="26126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637" b="1" kern="0" spc="-30" dirty="0">
                <a:solidFill>
                  <a:srgbClr val="FFFFFF"/>
                </a:solidFill>
                <a:latin typeface="Verdana"/>
                <a:cs typeface="Verdana"/>
              </a:rPr>
              <a:t>1</a:t>
            </a:r>
            <a:endParaRPr sz="1637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84540" y="2758519"/>
            <a:ext cx="1296512" cy="801707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66231" defTabSz="554492">
              <a:lnSpc>
                <a:spcPct val="100800"/>
              </a:lnSpc>
              <a:spcBef>
                <a:spcPts val="58"/>
              </a:spcBef>
            </a:pPr>
            <a:r>
              <a:rPr sz="1092" b="1" kern="0" spc="-6" dirty="0">
                <a:solidFill>
                  <a:srgbClr val="FFFFFF"/>
                </a:solidFill>
                <a:latin typeface="Verdana"/>
                <a:cs typeface="Verdana"/>
              </a:rPr>
              <a:t>Договор Спецификация</a:t>
            </a:r>
            <a:endParaRPr sz="109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828"/>
              </a:lnSpc>
            </a:pPr>
            <a:r>
              <a:rPr sz="728" kern="0" dirty="0">
                <a:solidFill>
                  <a:srgbClr val="FFFFFF"/>
                </a:solidFill>
                <a:latin typeface="Verdana"/>
                <a:cs typeface="Verdana"/>
              </a:rPr>
              <a:t>(Производственный</a:t>
            </a:r>
            <a:r>
              <a:rPr sz="728" kern="0" spc="19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728" kern="0" spc="-6" dirty="0">
                <a:solidFill>
                  <a:srgbClr val="FFFFFF"/>
                </a:solidFill>
                <a:latin typeface="Verdana"/>
                <a:cs typeface="Verdana"/>
              </a:rPr>
              <a:t>лист)</a:t>
            </a:r>
            <a:endParaRPr sz="728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12286" defTabSz="554492">
              <a:lnSpc>
                <a:spcPct val="100800"/>
              </a:lnSpc>
              <a:spcBef>
                <a:spcPts val="73"/>
              </a:spcBef>
            </a:pPr>
            <a:r>
              <a:rPr sz="1092" b="1" kern="0" spc="-6" dirty="0">
                <a:solidFill>
                  <a:srgbClr val="FFFFFF"/>
                </a:solidFill>
                <a:latin typeface="Verdana"/>
                <a:cs typeface="Verdana"/>
              </a:rPr>
              <a:t>Аудит поставщика</a:t>
            </a:r>
            <a:endParaRPr sz="109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27435" y="5572295"/>
            <a:ext cx="164423" cy="26126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637" b="1" kern="0" spc="-30" dirty="0">
                <a:solidFill>
                  <a:srgbClr val="FFFFFF"/>
                </a:solidFill>
                <a:latin typeface="Verdana"/>
                <a:cs typeface="Verdana"/>
              </a:rPr>
              <a:t>2</a:t>
            </a:r>
            <a:endParaRPr sz="1637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727433" y="1266764"/>
            <a:ext cx="10961364" cy="4048991"/>
            <a:chOff x="5660102" y="2661948"/>
            <a:chExt cx="2879128" cy="2184856"/>
          </a:xfrm>
        </p:grpSpPr>
        <p:sp>
          <p:nvSpPr>
            <p:cNvPr id="22" name="object 22"/>
            <p:cNvSpPr/>
            <p:nvPr/>
          </p:nvSpPr>
          <p:spPr>
            <a:xfrm>
              <a:off x="5660102" y="2661948"/>
              <a:ext cx="2879128" cy="2184856"/>
            </a:xfrm>
            <a:custGeom>
              <a:avLst/>
              <a:gdLst/>
              <a:ahLst/>
              <a:cxnLst/>
              <a:rect l="l" t="t" r="r" b="b"/>
              <a:pathLst>
                <a:path w="4747894" h="3602990">
                  <a:moveTo>
                    <a:pt x="4593231" y="0"/>
                  </a:moveTo>
                  <a:lnTo>
                    <a:pt x="154131" y="0"/>
                  </a:lnTo>
                  <a:lnTo>
                    <a:pt x="105416" y="7858"/>
                  </a:lnTo>
                  <a:lnTo>
                    <a:pt x="63106" y="29740"/>
                  </a:lnTo>
                  <a:lnTo>
                    <a:pt x="29740" y="63106"/>
                  </a:lnTo>
                  <a:lnTo>
                    <a:pt x="7858" y="105416"/>
                  </a:lnTo>
                  <a:lnTo>
                    <a:pt x="0" y="154131"/>
                  </a:lnTo>
                  <a:lnTo>
                    <a:pt x="0" y="3448240"/>
                  </a:lnTo>
                  <a:lnTo>
                    <a:pt x="7858" y="3496959"/>
                  </a:lnTo>
                  <a:lnTo>
                    <a:pt x="29740" y="3539270"/>
                  </a:lnTo>
                  <a:lnTo>
                    <a:pt x="63106" y="3572634"/>
                  </a:lnTo>
                  <a:lnTo>
                    <a:pt x="105416" y="3594514"/>
                  </a:lnTo>
                  <a:lnTo>
                    <a:pt x="154131" y="3602371"/>
                  </a:lnTo>
                  <a:lnTo>
                    <a:pt x="4593231" y="3602371"/>
                  </a:lnTo>
                  <a:lnTo>
                    <a:pt x="4641946" y="3594514"/>
                  </a:lnTo>
                  <a:lnTo>
                    <a:pt x="4684257" y="3572634"/>
                  </a:lnTo>
                  <a:lnTo>
                    <a:pt x="4717622" y="3539270"/>
                  </a:lnTo>
                  <a:lnTo>
                    <a:pt x="4739504" y="3496959"/>
                  </a:lnTo>
                  <a:lnTo>
                    <a:pt x="4747363" y="3448240"/>
                  </a:lnTo>
                  <a:lnTo>
                    <a:pt x="4747363" y="154131"/>
                  </a:lnTo>
                  <a:lnTo>
                    <a:pt x="4739504" y="105416"/>
                  </a:lnTo>
                  <a:lnTo>
                    <a:pt x="4717622" y="63106"/>
                  </a:lnTo>
                  <a:lnTo>
                    <a:pt x="4684257" y="29740"/>
                  </a:lnTo>
                  <a:lnTo>
                    <a:pt x="4641946" y="7858"/>
                  </a:lnTo>
                  <a:lnTo>
                    <a:pt x="4593231" y="0"/>
                  </a:lnTo>
                  <a:close/>
                </a:path>
              </a:pathLst>
            </a:custGeom>
            <a:solidFill>
              <a:srgbClr val="ECECE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object 23"/>
            <p:cNvSpPr txBox="1"/>
            <p:nvPr/>
          </p:nvSpPr>
          <p:spPr>
            <a:xfrm>
              <a:off x="5797088" y="2992839"/>
              <a:ext cx="2733584" cy="1491287"/>
            </a:xfrm>
            <a:prstGeom prst="rect">
              <a:avLst/>
            </a:prstGeom>
          </p:spPr>
          <p:txBody>
            <a:bodyPr vert="horz" wrap="square" lIns="0" tIns="8086" rIns="0" bIns="0" rtlCol="0">
              <a:spAutoFit/>
            </a:bodyPr>
            <a:lstStyle/>
            <a:p>
              <a:pPr marL="7701" defTabSz="554492">
                <a:spcBef>
                  <a:spcPts val="64"/>
                </a:spcBef>
                <a:spcAft>
                  <a:spcPts val="1200"/>
                </a:spcAft>
              </a:pPr>
              <a:r>
                <a:rPr sz="1546" b="1" kern="0" spc="-6" dirty="0" smtClean="0">
                  <a:solidFill>
                    <a:srgbClr val="003B95"/>
                  </a:solidFill>
                  <a:latin typeface="Verdana"/>
                  <a:cs typeface="Verdana"/>
                </a:rPr>
                <a:t>СПЕЦИФИКАЦИЯ</a:t>
              </a:r>
              <a:r>
                <a:rPr lang="ru-RU" sz="1546" b="1" kern="0" spc="-6" dirty="0" smtClean="0">
                  <a:solidFill>
                    <a:srgbClr val="003B95"/>
                  </a:solidFill>
                  <a:latin typeface="Verdana"/>
                  <a:cs typeface="Verdana"/>
                </a:rPr>
                <a:t> / ПРОИЗВОДСТВЕННЫЙ ЛИСТ (ПЛ)</a:t>
              </a:r>
              <a:endParaRPr sz="1546" b="1" kern="0" dirty="0">
                <a:solidFill>
                  <a:sysClr val="windowText" lastClr="000000"/>
                </a:solidFill>
                <a:latin typeface="Verdana"/>
                <a:cs typeface="Verdana"/>
              </a:endParaRPr>
            </a:p>
            <a:p>
              <a:pPr marL="350601" marR="3081" indent="-342900" defTabSz="554492">
                <a:lnSpc>
                  <a:spcPct val="103099"/>
                </a:lnSpc>
                <a:spcBef>
                  <a:spcPts val="916"/>
                </a:spcBef>
                <a:buFont typeface="Arial" panose="020B0604020202020204" pitchFamily="34" charset="0"/>
                <a:buChar char="•"/>
              </a:pPr>
              <a:r>
                <a:rPr lang="ru-RU" sz="2000" kern="0" dirty="0" smtClean="0">
                  <a:solidFill>
                    <a:srgbClr val="003B95"/>
                  </a:solidFill>
                  <a:latin typeface="Verdana"/>
                  <a:cs typeface="Verdana"/>
                </a:rPr>
                <a:t>Содержит все требования</a:t>
              </a:r>
              <a:r>
                <a:rPr lang="ru-RU" sz="2000" kern="0" spc="-3" dirty="0" smtClean="0">
                  <a:solidFill>
                    <a:srgbClr val="003B95"/>
                  </a:solidFill>
                  <a:latin typeface="Verdana"/>
                  <a:cs typeface="Verdana"/>
                </a:rPr>
                <a:t> </a:t>
              </a:r>
              <a:r>
                <a:rPr lang="ru-RU" sz="2000" kern="0" dirty="0">
                  <a:solidFill>
                    <a:srgbClr val="003B95"/>
                  </a:solidFill>
                  <a:latin typeface="Verdana"/>
                  <a:cs typeface="Verdana"/>
                </a:rPr>
                <a:t>к</a:t>
              </a:r>
              <a:r>
                <a:rPr lang="ru-RU" sz="2000" kern="0" spc="-3" dirty="0">
                  <a:solidFill>
                    <a:srgbClr val="003B95"/>
                  </a:solidFill>
                  <a:latin typeface="Verdana"/>
                  <a:cs typeface="Verdana"/>
                </a:rPr>
                <a:t> </a:t>
              </a:r>
              <a:r>
                <a:rPr lang="ru-RU" sz="2000" kern="0" dirty="0">
                  <a:solidFill>
                    <a:srgbClr val="003B95"/>
                  </a:solidFill>
                  <a:latin typeface="Verdana"/>
                  <a:cs typeface="Verdana"/>
                </a:rPr>
                <a:t>товару</a:t>
              </a:r>
              <a:r>
                <a:rPr lang="ru-RU" sz="2000" kern="0" spc="-3" dirty="0">
                  <a:solidFill>
                    <a:srgbClr val="003B95"/>
                  </a:solidFill>
                  <a:latin typeface="Verdana"/>
                  <a:cs typeface="Verdana"/>
                </a:rPr>
                <a:t> </a:t>
              </a:r>
              <a:r>
                <a:rPr lang="ru-RU" sz="2000" kern="0" spc="-3" dirty="0" smtClean="0">
                  <a:solidFill>
                    <a:srgbClr val="003B95"/>
                  </a:solidFill>
                  <a:latin typeface="Verdana"/>
                  <a:cs typeface="Verdana"/>
                </a:rPr>
                <a:t>и методики контроля.</a:t>
              </a:r>
            </a:p>
            <a:p>
              <a:pPr marL="350601" marR="3081" indent="-342900" defTabSz="554492">
                <a:lnSpc>
                  <a:spcPct val="103099"/>
                </a:lnSpc>
                <a:spcBef>
                  <a:spcPts val="916"/>
                </a:spcBef>
                <a:buFont typeface="Arial" panose="020B0604020202020204" pitchFamily="34" charset="0"/>
                <a:buChar char="•"/>
              </a:pPr>
              <a:r>
                <a:rPr lang="ru-RU" sz="2000" kern="0" spc="-3" dirty="0" smtClean="0">
                  <a:solidFill>
                    <a:srgbClr val="003B95"/>
                  </a:solidFill>
                  <a:latin typeface="Verdana"/>
                  <a:cs typeface="Verdana"/>
                </a:rPr>
                <a:t>Является неотъемлемой частью договора поставки, подписывается аналогично.</a:t>
              </a:r>
              <a:endParaRPr lang="ru-RU" sz="2000" kern="0" spc="-3" dirty="0">
                <a:solidFill>
                  <a:srgbClr val="003B95"/>
                </a:solidFill>
                <a:latin typeface="Verdana"/>
                <a:cs typeface="Verdana"/>
              </a:endParaRPr>
            </a:p>
            <a:p>
              <a:pPr marL="350601" marR="3081" indent="-342900" defTabSz="554492">
                <a:lnSpc>
                  <a:spcPct val="103099"/>
                </a:lnSpc>
                <a:spcBef>
                  <a:spcPts val="916"/>
                </a:spcBef>
                <a:buFont typeface="Arial" panose="020B0604020202020204" pitchFamily="34" charset="0"/>
                <a:buChar char="•"/>
              </a:pPr>
              <a:r>
                <a:rPr lang="ru-RU" sz="2000" kern="0" dirty="0" smtClean="0">
                  <a:solidFill>
                    <a:srgbClr val="003B95"/>
                  </a:solidFill>
                  <a:latin typeface="Verdana"/>
                  <a:cs typeface="Verdana"/>
                </a:rPr>
                <a:t>Не</a:t>
              </a:r>
              <a:r>
                <a:rPr lang="ru-RU" sz="2000" kern="0" spc="-9" dirty="0" smtClean="0">
                  <a:solidFill>
                    <a:srgbClr val="003B95"/>
                  </a:solidFill>
                  <a:latin typeface="Verdana"/>
                  <a:cs typeface="Verdana"/>
                </a:rPr>
                <a:t> </a:t>
              </a:r>
              <a:r>
                <a:rPr lang="ru-RU" sz="2000" kern="0" dirty="0" smtClean="0">
                  <a:solidFill>
                    <a:srgbClr val="003B95"/>
                  </a:solidFill>
                  <a:latin typeface="Verdana"/>
                  <a:cs typeface="Verdana"/>
                </a:rPr>
                <a:t>может</a:t>
              </a:r>
              <a:r>
                <a:rPr lang="ru-RU" sz="2000" kern="0" spc="-6" dirty="0" smtClean="0">
                  <a:solidFill>
                    <a:srgbClr val="003B95"/>
                  </a:solidFill>
                  <a:latin typeface="Verdana"/>
                  <a:cs typeface="Verdana"/>
                </a:rPr>
                <a:t> </a:t>
              </a:r>
              <a:r>
                <a:rPr lang="ru-RU" sz="2000" kern="0" dirty="0">
                  <a:solidFill>
                    <a:srgbClr val="003B95"/>
                  </a:solidFill>
                  <a:latin typeface="Verdana"/>
                  <a:cs typeface="Verdana"/>
                </a:rPr>
                <a:t>быть</a:t>
              </a:r>
              <a:r>
                <a:rPr lang="ru-RU" sz="2000" kern="0" spc="-9" dirty="0">
                  <a:solidFill>
                    <a:srgbClr val="003B95"/>
                  </a:solidFill>
                  <a:latin typeface="Verdana"/>
                  <a:cs typeface="Verdana"/>
                </a:rPr>
                <a:t> </a:t>
              </a:r>
              <a:r>
                <a:rPr lang="ru-RU" sz="2000" kern="0" spc="-15" dirty="0" smtClean="0">
                  <a:solidFill>
                    <a:srgbClr val="003B95"/>
                  </a:solidFill>
                  <a:latin typeface="Verdana"/>
                  <a:cs typeface="Verdana"/>
                </a:rPr>
                <a:t>из</a:t>
              </a:r>
              <a:r>
                <a:rPr lang="ru-RU" sz="2000" kern="0" dirty="0" smtClean="0">
                  <a:solidFill>
                    <a:srgbClr val="003B95"/>
                  </a:solidFill>
                  <a:latin typeface="Verdana"/>
                  <a:cs typeface="Verdana"/>
                </a:rPr>
                <a:t>менен</a:t>
              </a:r>
              <a:r>
                <a:rPr lang="ru-RU" sz="2000" kern="0" spc="-3" dirty="0" smtClean="0">
                  <a:solidFill>
                    <a:srgbClr val="003B95"/>
                  </a:solidFill>
                  <a:latin typeface="Verdana"/>
                  <a:cs typeface="Verdana"/>
                </a:rPr>
                <a:t> </a:t>
              </a:r>
              <a:r>
                <a:rPr lang="ru-RU" sz="2000" kern="0" dirty="0">
                  <a:solidFill>
                    <a:srgbClr val="003B95"/>
                  </a:solidFill>
                  <a:latin typeface="Verdana"/>
                  <a:cs typeface="Verdana"/>
                </a:rPr>
                <a:t>в одностороннем </a:t>
              </a:r>
              <a:r>
                <a:rPr lang="ru-RU" sz="2000" kern="0" dirty="0" smtClean="0">
                  <a:solidFill>
                    <a:srgbClr val="003B95"/>
                  </a:solidFill>
                  <a:latin typeface="Verdana"/>
                  <a:cs typeface="Verdana"/>
                </a:rPr>
                <a:t>порядке.</a:t>
              </a:r>
              <a:endParaRPr lang="ru-RU" sz="2000" kern="0" spc="-6" dirty="0" smtClean="0">
                <a:solidFill>
                  <a:srgbClr val="003B95"/>
                </a:solidFill>
                <a:latin typeface="Verdana"/>
                <a:cs typeface="Verdana"/>
              </a:endParaRPr>
            </a:p>
            <a:p>
              <a:pPr marL="350601" marR="3081" indent="-342900" defTabSz="554492">
                <a:lnSpc>
                  <a:spcPct val="103099"/>
                </a:lnSpc>
                <a:spcBef>
                  <a:spcPts val="916"/>
                </a:spcBef>
                <a:buFont typeface="Arial" panose="020B0604020202020204" pitchFamily="34" charset="0"/>
                <a:buChar char="•"/>
              </a:pPr>
              <a:r>
                <a:rPr lang="ru-RU" sz="2000" kern="0" dirty="0" smtClean="0">
                  <a:solidFill>
                    <a:srgbClr val="003B95"/>
                  </a:solidFill>
                  <a:latin typeface="Verdana"/>
                  <a:cs typeface="Verdana"/>
                </a:rPr>
                <a:t>Используется для проверки соответствия качества продукта или его потребительских свойств, в </a:t>
              </a:r>
              <a:r>
                <a:rPr lang="ru-RU" sz="2000" kern="0" dirty="0" err="1" smtClean="0">
                  <a:solidFill>
                    <a:srgbClr val="003B95"/>
                  </a:solidFill>
                  <a:latin typeface="Verdana"/>
                  <a:cs typeface="Verdana"/>
                </a:rPr>
                <a:t>т.ч</a:t>
              </a:r>
              <a:r>
                <a:rPr lang="ru-RU" sz="2000" kern="0" dirty="0" smtClean="0">
                  <a:solidFill>
                    <a:srgbClr val="003B95"/>
                  </a:solidFill>
                  <a:latin typeface="Verdana"/>
                  <a:cs typeface="Verdana"/>
                </a:rPr>
                <a:t>. в аккредитованных лабораториях</a:t>
              </a:r>
              <a:r>
                <a:rPr lang="ru-RU" sz="2000" kern="0" spc="-21" dirty="0" smtClean="0">
                  <a:solidFill>
                    <a:srgbClr val="003B95"/>
                  </a:solidFill>
                  <a:latin typeface="Verdana"/>
                  <a:cs typeface="Verdana"/>
                </a:rPr>
                <a:t>.</a:t>
              </a:r>
              <a:endParaRPr lang="ru-RU" sz="2000" kern="0" dirty="0">
                <a:solidFill>
                  <a:sysClr val="windowText" lastClr="000000"/>
                </a:solidFill>
                <a:latin typeface="Verdana"/>
                <a:cs typeface="Verdana"/>
              </a:endParaRPr>
            </a:p>
          </p:txBody>
        </p:sp>
      </p:grpSp>
      <p:sp>
        <p:nvSpPr>
          <p:cNvPr id="27" name="object 27"/>
          <p:cNvSpPr txBox="1">
            <a:spLocks noGrp="1"/>
          </p:cNvSpPr>
          <p:nvPr>
            <p:ph type="title"/>
          </p:nvPr>
        </p:nvSpPr>
        <p:spPr>
          <a:xfrm>
            <a:off x="383608" y="373746"/>
            <a:ext cx="6626879" cy="469373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lang="ru-RU" dirty="0"/>
              <a:t>ВВОД</a:t>
            </a:r>
            <a:r>
              <a:rPr lang="ru-RU" spc="-82" dirty="0"/>
              <a:t> </a:t>
            </a:r>
            <a:r>
              <a:rPr lang="ru-RU" dirty="0"/>
              <a:t>ТОВАРА СТМ</a:t>
            </a:r>
            <a:endParaRPr sz="2638" dirty="0"/>
          </a:p>
        </p:txBody>
      </p:sp>
      <p:grpSp>
        <p:nvGrpSpPr>
          <p:cNvPr id="28" name="object 28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29" name="object 29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object 31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445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58078" y="1223869"/>
            <a:ext cx="10881540" cy="450911"/>
          </a:xfrm>
          <a:custGeom>
            <a:avLst/>
            <a:gdLst/>
            <a:ahLst/>
            <a:cxnLst/>
            <a:rect l="l" t="t" r="r" b="b"/>
            <a:pathLst>
              <a:path w="17944465" h="743585">
                <a:moveTo>
                  <a:pt x="17810766" y="0"/>
                </a:moveTo>
                <a:lnTo>
                  <a:pt x="133629" y="0"/>
                </a:lnTo>
                <a:lnTo>
                  <a:pt x="91393" y="6812"/>
                </a:lnTo>
                <a:lnTo>
                  <a:pt x="54710" y="25783"/>
                </a:lnTo>
                <a:lnTo>
                  <a:pt x="25783" y="54710"/>
                </a:lnTo>
                <a:lnTo>
                  <a:pt x="6812" y="91393"/>
                </a:lnTo>
                <a:lnTo>
                  <a:pt x="0" y="133629"/>
                </a:lnTo>
                <a:lnTo>
                  <a:pt x="0" y="609918"/>
                </a:lnTo>
                <a:lnTo>
                  <a:pt x="6812" y="652154"/>
                </a:lnTo>
                <a:lnTo>
                  <a:pt x="25783" y="688837"/>
                </a:lnTo>
                <a:lnTo>
                  <a:pt x="54710" y="717764"/>
                </a:lnTo>
                <a:lnTo>
                  <a:pt x="91393" y="736735"/>
                </a:lnTo>
                <a:lnTo>
                  <a:pt x="133629" y="743548"/>
                </a:lnTo>
                <a:lnTo>
                  <a:pt x="17810766" y="743548"/>
                </a:lnTo>
                <a:lnTo>
                  <a:pt x="17853006" y="736735"/>
                </a:lnTo>
                <a:lnTo>
                  <a:pt x="17889689" y="717764"/>
                </a:lnTo>
                <a:lnTo>
                  <a:pt x="17918615" y="688837"/>
                </a:lnTo>
                <a:lnTo>
                  <a:pt x="17937584" y="652154"/>
                </a:lnTo>
                <a:lnTo>
                  <a:pt x="17944396" y="609918"/>
                </a:lnTo>
                <a:lnTo>
                  <a:pt x="17944396" y="133629"/>
                </a:lnTo>
                <a:lnTo>
                  <a:pt x="17937584" y="91393"/>
                </a:lnTo>
                <a:lnTo>
                  <a:pt x="17918615" y="54710"/>
                </a:lnTo>
                <a:lnTo>
                  <a:pt x="17889689" y="25783"/>
                </a:lnTo>
                <a:lnTo>
                  <a:pt x="17853006" y="6812"/>
                </a:lnTo>
                <a:lnTo>
                  <a:pt x="17810766" y="0"/>
                </a:lnTo>
                <a:close/>
              </a:path>
            </a:pathLst>
          </a:custGeom>
          <a:solidFill>
            <a:srgbClr val="3CAC6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object 3"/>
          <p:cNvSpPr txBox="1"/>
          <p:nvPr/>
        </p:nvSpPr>
        <p:spPr>
          <a:xfrm>
            <a:off x="1594239" y="1241449"/>
            <a:ext cx="9003579" cy="391873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algn="ctr">
              <a:spcBef>
                <a:spcPts val="73"/>
              </a:spcBef>
            </a:pPr>
            <a:r>
              <a:rPr sz="2486" b="1" dirty="0">
                <a:solidFill>
                  <a:srgbClr val="FFFFFF"/>
                </a:solidFill>
                <a:latin typeface="Verdana"/>
                <a:cs typeface="Verdana"/>
              </a:rPr>
              <a:t>Процесс</a:t>
            </a:r>
            <a:r>
              <a:rPr sz="2486" b="1" spc="-1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2486" b="1" dirty="0" err="1">
                <a:solidFill>
                  <a:srgbClr val="FFFFFF"/>
                </a:solidFill>
                <a:latin typeface="Verdana"/>
                <a:cs typeface="Verdana"/>
              </a:rPr>
              <a:t>подготовки</a:t>
            </a:r>
            <a:r>
              <a:rPr sz="2486" b="1" spc="-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2486" b="1" dirty="0">
                <a:solidFill>
                  <a:srgbClr val="FFFFFF"/>
                </a:solidFill>
                <a:latin typeface="Verdana"/>
                <a:cs typeface="Verdana"/>
              </a:rPr>
              <a:t>ПЛ</a:t>
            </a:r>
            <a:endParaRPr sz="2486" dirty="0">
              <a:latin typeface="Verdana"/>
              <a:cs typeface="Verdana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825894" y="2946310"/>
            <a:ext cx="8528796" cy="1430515"/>
          </a:xfrm>
          <a:custGeom>
            <a:avLst/>
            <a:gdLst/>
            <a:ahLst/>
            <a:cxnLst/>
            <a:rect l="l" t="t" r="r" b="b"/>
            <a:pathLst>
              <a:path w="14064615" h="2359025">
                <a:moveTo>
                  <a:pt x="0" y="1134583"/>
                </a:moveTo>
                <a:lnTo>
                  <a:pt x="2582675" y="2358744"/>
                </a:lnTo>
                <a:lnTo>
                  <a:pt x="4851852" y="29852"/>
                </a:lnTo>
                <a:lnTo>
                  <a:pt x="7041722" y="2273239"/>
                </a:lnTo>
                <a:lnTo>
                  <a:pt x="9196128" y="0"/>
                </a:lnTo>
                <a:lnTo>
                  <a:pt x="11405589" y="2343813"/>
                </a:lnTo>
                <a:lnTo>
                  <a:pt x="14064451" y="1186435"/>
                </a:lnTo>
              </a:path>
            </a:pathLst>
          </a:custGeom>
          <a:ln w="14837">
            <a:solidFill>
              <a:srgbClr val="0A4DAC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85209" y="3003283"/>
            <a:ext cx="1348035" cy="1348035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695549" y="3006727"/>
            <a:ext cx="1348034" cy="1348034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780629" y="2337597"/>
            <a:ext cx="6660700" cy="2676203"/>
          </a:xfrm>
          <a:prstGeom prst="rect">
            <a:avLst/>
          </a:prstGeom>
        </p:spPr>
      </p:pic>
      <p:sp>
        <p:nvSpPr>
          <p:cNvPr id="9" name="object 9"/>
          <p:cNvSpPr/>
          <p:nvPr/>
        </p:nvSpPr>
        <p:spPr>
          <a:xfrm>
            <a:off x="3438467" y="2526456"/>
            <a:ext cx="0" cy="1366979"/>
          </a:xfrm>
          <a:custGeom>
            <a:avLst/>
            <a:gdLst/>
            <a:ahLst/>
            <a:cxnLst/>
            <a:rect l="l" t="t" r="r" b="b"/>
            <a:pathLst>
              <a:path h="2254250">
                <a:moveTo>
                  <a:pt x="0" y="0"/>
                </a:moveTo>
                <a:lnTo>
                  <a:pt x="0" y="2253659"/>
                </a:lnTo>
              </a:path>
            </a:pathLst>
          </a:custGeom>
          <a:ln w="18522">
            <a:solidFill>
              <a:srgbClr val="9D9D9C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0" name="object 1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413126" y="2502383"/>
            <a:ext cx="50682" cy="50682"/>
          </a:xfrm>
          <a:prstGeom prst="rect">
            <a:avLst/>
          </a:prstGeom>
        </p:spPr>
      </p:pic>
      <p:pic>
        <p:nvPicPr>
          <p:cNvPr id="11" name="object 11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413126" y="3866473"/>
            <a:ext cx="50682" cy="50682"/>
          </a:xfrm>
          <a:prstGeom prst="rect">
            <a:avLst/>
          </a:prstGeom>
        </p:spPr>
      </p:pic>
      <p:sp>
        <p:nvSpPr>
          <p:cNvPr id="12" name="object 12"/>
          <p:cNvSpPr/>
          <p:nvPr/>
        </p:nvSpPr>
        <p:spPr>
          <a:xfrm>
            <a:off x="6094803" y="2526456"/>
            <a:ext cx="0" cy="1366979"/>
          </a:xfrm>
          <a:custGeom>
            <a:avLst/>
            <a:gdLst/>
            <a:ahLst/>
            <a:cxnLst/>
            <a:rect l="l" t="t" r="r" b="b"/>
            <a:pathLst>
              <a:path h="2254250">
                <a:moveTo>
                  <a:pt x="0" y="0"/>
                </a:moveTo>
                <a:lnTo>
                  <a:pt x="0" y="2253659"/>
                </a:lnTo>
              </a:path>
            </a:pathLst>
          </a:custGeom>
          <a:ln w="18522">
            <a:solidFill>
              <a:srgbClr val="9D9D9C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3" name="object 1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6069461" y="2502383"/>
            <a:ext cx="50682" cy="50682"/>
          </a:xfrm>
          <a:prstGeom prst="rect">
            <a:avLst/>
          </a:prstGeom>
        </p:spPr>
      </p:pic>
      <p:pic>
        <p:nvPicPr>
          <p:cNvPr id="14" name="object 1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6069461" y="3866473"/>
            <a:ext cx="50682" cy="50682"/>
          </a:xfrm>
          <a:prstGeom prst="rect">
            <a:avLst/>
          </a:prstGeom>
        </p:spPr>
      </p:pic>
      <p:sp>
        <p:nvSpPr>
          <p:cNvPr id="15" name="object 15"/>
          <p:cNvSpPr/>
          <p:nvPr/>
        </p:nvSpPr>
        <p:spPr>
          <a:xfrm>
            <a:off x="8751130" y="2526456"/>
            <a:ext cx="0" cy="1366979"/>
          </a:xfrm>
          <a:custGeom>
            <a:avLst/>
            <a:gdLst/>
            <a:ahLst/>
            <a:cxnLst/>
            <a:rect l="l" t="t" r="r" b="b"/>
            <a:pathLst>
              <a:path h="2254250">
                <a:moveTo>
                  <a:pt x="0" y="0"/>
                </a:moveTo>
                <a:lnTo>
                  <a:pt x="0" y="2253659"/>
                </a:lnTo>
              </a:path>
            </a:pathLst>
          </a:custGeom>
          <a:ln w="18522">
            <a:solidFill>
              <a:srgbClr val="9D9D9C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6" name="object 1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725789" y="2502383"/>
            <a:ext cx="50682" cy="50682"/>
          </a:xfrm>
          <a:prstGeom prst="rect">
            <a:avLst/>
          </a:prstGeom>
        </p:spPr>
      </p:pic>
      <p:pic>
        <p:nvPicPr>
          <p:cNvPr id="17" name="object 1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725789" y="3866473"/>
            <a:ext cx="50682" cy="50682"/>
          </a:xfrm>
          <a:prstGeom prst="rect">
            <a:avLst/>
          </a:prstGeom>
        </p:spPr>
      </p:pic>
      <p:sp>
        <p:nvSpPr>
          <p:cNvPr id="18" name="object 18"/>
          <p:cNvSpPr/>
          <p:nvPr/>
        </p:nvSpPr>
        <p:spPr>
          <a:xfrm>
            <a:off x="4772821" y="3413563"/>
            <a:ext cx="0" cy="1411647"/>
          </a:xfrm>
          <a:custGeom>
            <a:avLst/>
            <a:gdLst/>
            <a:ahLst/>
            <a:cxnLst/>
            <a:rect l="l" t="t" r="r" b="b"/>
            <a:pathLst>
              <a:path h="2327909">
                <a:moveTo>
                  <a:pt x="0" y="0"/>
                </a:moveTo>
                <a:lnTo>
                  <a:pt x="0" y="2327772"/>
                </a:lnTo>
              </a:path>
            </a:pathLst>
          </a:custGeom>
          <a:ln w="18522">
            <a:solidFill>
              <a:srgbClr val="9D9D9C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9" name="object 1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747480" y="3389489"/>
            <a:ext cx="50682" cy="50682"/>
          </a:xfrm>
          <a:prstGeom prst="rect">
            <a:avLst/>
          </a:prstGeom>
        </p:spPr>
      </p:pic>
      <p:pic>
        <p:nvPicPr>
          <p:cNvPr id="20" name="object 2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747480" y="4798518"/>
            <a:ext cx="50682" cy="50682"/>
          </a:xfrm>
          <a:prstGeom prst="rect">
            <a:avLst/>
          </a:prstGeom>
        </p:spPr>
      </p:pic>
      <p:sp>
        <p:nvSpPr>
          <p:cNvPr id="21" name="object 21"/>
          <p:cNvSpPr/>
          <p:nvPr/>
        </p:nvSpPr>
        <p:spPr>
          <a:xfrm>
            <a:off x="7429148" y="3413563"/>
            <a:ext cx="0" cy="1411647"/>
          </a:xfrm>
          <a:custGeom>
            <a:avLst/>
            <a:gdLst/>
            <a:ahLst/>
            <a:cxnLst/>
            <a:rect l="l" t="t" r="r" b="b"/>
            <a:pathLst>
              <a:path h="2327909">
                <a:moveTo>
                  <a:pt x="0" y="0"/>
                </a:moveTo>
                <a:lnTo>
                  <a:pt x="0" y="2327772"/>
                </a:lnTo>
              </a:path>
            </a:pathLst>
          </a:custGeom>
          <a:ln w="18522">
            <a:solidFill>
              <a:srgbClr val="9D9D9C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22" name="object 22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403807" y="3389489"/>
            <a:ext cx="50682" cy="50682"/>
          </a:xfrm>
          <a:prstGeom prst="rect">
            <a:avLst/>
          </a:prstGeom>
        </p:spPr>
      </p:pic>
      <p:pic>
        <p:nvPicPr>
          <p:cNvPr id="23" name="object 2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403807" y="4798518"/>
            <a:ext cx="50682" cy="50682"/>
          </a:xfrm>
          <a:prstGeom prst="rect">
            <a:avLst/>
          </a:prstGeom>
        </p:spPr>
      </p:pic>
      <p:sp>
        <p:nvSpPr>
          <p:cNvPr id="24" name="object 24"/>
          <p:cNvSpPr txBox="1"/>
          <p:nvPr/>
        </p:nvSpPr>
        <p:spPr>
          <a:xfrm>
            <a:off x="2357261" y="1946411"/>
            <a:ext cx="2229909" cy="371205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indent="527923">
              <a:spcBef>
                <a:spcPts val="58"/>
              </a:spcBef>
            </a:pPr>
            <a:r>
              <a:rPr sz="1182" dirty="0">
                <a:solidFill>
                  <a:srgbClr val="18418F"/>
                </a:solidFill>
                <a:latin typeface="Verdana"/>
                <a:cs typeface="Verdana"/>
              </a:rPr>
              <a:t>ПРОВЕРКА</a:t>
            </a:r>
            <a:r>
              <a:rPr sz="1182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82" spc="-15" dirty="0">
                <a:solidFill>
                  <a:srgbClr val="18418F"/>
                </a:solidFill>
                <a:latin typeface="Verdana"/>
                <a:cs typeface="Verdana"/>
              </a:rPr>
              <a:t>ПЛ/ </a:t>
            </a:r>
            <a:r>
              <a:rPr sz="1182" dirty="0">
                <a:solidFill>
                  <a:srgbClr val="18418F"/>
                </a:solidFill>
                <a:latin typeface="Verdana"/>
                <a:cs typeface="Verdana"/>
              </a:rPr>
              <a:t>ВНЕСЕНИЕ</a:t>
            </a:r>
            <a:r>
              <a:rPr sz="1182" spc="-91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82" spc="-6" dirty="0">
                <a:solidFill>
                  <a:srgbClr val="18418F"/>
                </a:solidFill>
                <a:latin typeface="Verdana"/>
                <a:cs typeface="Verdana"/>
              </a:rPr>
              <a:t>КОРРЕКТИРОВКИ</a:t>
            </a:r>
            <a:endParaRPr sz="1182" dirty="0">
              <a:latin typeface="Verdana"/>
              <a:cs typeface="Verdan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549989" y="1923946"/>
            <a:ext cx="1089347" cy="371205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indent="129382">
              <a:spcBef>
                <a:spcPts val="58"/>
              </a:spcBef>
            </a:pPr>
            <a:r>
              <a:rPr sz="1182" spc="-6" dirty="0">
                <a:solidFill>
                  <a:srgbClr val="18418F"/>
                </a:solidFill>
                <a:latin typeface="Verdana"/>
                <a:cs typeface="Verdana"/>
              </a:rPr>
              <a:t>ПЕРЕДАЧА </a:t>
            </a:r>
            <a:r>
              <a:rPr sz="1182" dirty="0">
                <a:solidFill>
                  <a:srgbClr val="18418F"/>
                </a:solidFill>
                <a:latin typeface="Verdana"/>
                <a:cs typeface="Verdana"/>
              </a:rPr>
              <a:t>ПЛ</a:t>
            </a:r>
            <a:r>
              <a:rPr sz="1182" spc="-1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18418F"/>
                </a:solidFill>
                <a:latin typeface="Verdana"/>
                <a:cs typeface="Verdana"/>
              </a:rPr>
              <a:t>В</a:t>
            </a:r>
            <a:r>
              <a:rPr sz="1182" spc="-1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82" spc="-6" dirty="0">
                <a:solidFill>
                  <a:srgbClr val="18418F"/>
                </a:solidFill>
                <a:latin typeface="Verdana"/>
                <a:cs typeface="Verdana"/>
              </a:rPr>
              <a:t>ДИЗАЙН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058955" y="2103684"/>
            <a:ext cx="1383922" cy="189297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1182" spc="-6" dirty="0">
                <a:solidFill>
                  <a:srgbClr val="18418F"/>
                </a:solidFill>
                <a:latin typeface="Verdana"/>
                <a:cs typeface="Verdana"/>
              </a:rPr>
              <a:t>ПОДПИСАНИЕ</a:t>
            </a:r>
            <a:r>
              <a:rPr sz="1182" spc="-5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82" spc="-15" dirty="0">
                <a:solidFill>
                  <a:srgbClr val="18418F"/>
                </a:solidFill>
                <a:latin typeface="Verdana"/>
                <a:cs typeface="Verdana"/>
              </a:rPr>
              <a:t>ПЛ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670190" y="4963104"/>
            <a:ext cx="1509068" cy="553114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316" marR="3081" indent="-770" algn="ctr">
              <a:spcBef>
                <a:spcPts val="58"/>
              </a:spcBef>
            </a:pPr>
            <a:r>
              <a:rPr sz="1182" spc="-6" dirty="0">
                <a:solidFill>
                  <a:srgbClr val="18418F"/>
                </a:solidFill>
                <a:latin typeface="Verdana"/>
                <a:cs typeface="Verdana"/>
              </a:rPr>
              <a:t>ВНЕСЕНИЕ СОГЛАСОВАННОГО </a:t>
            </a:r>
            <a:r>
              <a:rPr sz="1182" dirty="0">
                <a:solidFill>
                  <a:srgbClr val="18418F"/>
                </a:solidFill>
                <a:latin typeface="Verdana"/>
                <a:cs typeface="Verdana"/>
              </a:rPr>
              <a:t>МАКЕТА</a:t>
            </a:r>
            <a:r>
              <a:rPr sz="1182" spc="-3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82" dirty="0">
                <a:solidFill>
                  <a:srgbClr val="18418F"/>
                </a:solidFill>
                <a:latin typeface="Verdana"/>
                <a:cs typeface="Verdana"/>
              </a:rPr>
              <a:t>В</a:t>
            </a:r>
            <a:r>
              <a:rPr sz="1182" spc="-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82" spc="-21" dirty="0">
                <a:solidFill>
                  <a:srgbClr val="18418F"/>
                </a:solidFill>
                <a:latin typeface="Verdana"/>
                <a:cs typeface="Verdana"/>
              </a:rPr>
              <a:t>ПЛ</a:t>
            </a:r>
            <a:endParaRPr sz="1182" dirty="0">
              <a:latin typeface="Verdana"/>
              <a:cs typeface="Verdana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844247" y="4104132"/>
            <a:ext cx="0" cy="708133"/>
          </a:xfrm>
          <a:custGeom>
            <a:avLst/>
            <a:gdLst/>
            <a:ahLst/>
            <a:cxnLst/>
            <a:rect l="l" t="t" r="r" b="b"/>
            <a:pathLst>
              <a:path h="1167765">
                <a:moveTo>
                  <a:pt x="0" y="0"/>
                </a:moveTo>
                <a:lnTo>
                  <a:pt x="0" y="1167535"/>
                </a:lnTo>
              </a:path>
            </a:pathLst>
          </a:custGeom>
          <a:ln w="13214">
            <a:solidFill>
              <a:srgbClr val="9D9D9C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0" name="object 30"/>
          <p:cNvSpPr/>
          <p:nvPr/>
        </p:nvSpPr>
        <p:spPr>
          <a:xfrm>
            <a:off x="1826173" y="4086972"/>
            <a:ext cx="36196" cy="742404"/>
          </a:xfrm>
          <a:custGeom>
            <a:avLst/>
            <a:gdLst/>
            <a:ahLst/>
            <a:cxnLst/>
            <a:rect l="l" t="t" r="r" b="b"/>
            <a:pathLst>
              <a:path w="59689" h="1224279">
                <a:moveTo>
                  <a:pt x="59601" y="1194346"/>
                </a:moveTo>
                <a:lnTo>
                  <a:pt x="57251" y="1182751"/>
                </a:lnTo>
                <a:lnTo>
                  <a:pt x="50876" y="1173276"/>
                </a:lnTo>
                <a:lnTo>
                  <a:pt x="41402" y="1166888"/>
                </a:lnTo>
                <a:lnTo>
                  <a:pt x="29794" y="1164551"/>
                </a:lnTo>
                <a:lnTo>
                  <a:pt x="18199" y="1166888"/>
                </a:lnTo>
                <a:lnTo>
                  <a:pt x="8724" y="1173276"/>
                </a:lnTo>
                <a:lnTo>
                  <a:pt x="2336" y="1182751"/>
                </a:lnTo>
                <a:lnTo>
                  <a:pt x="0" y="1194346"/>
                </a:lnTo>
                <a:lnTo>
                  <a:pt x="2336" y="1205953"/>
                </a:lnTo>
                <a:lnTo>
                  <a:pt x="8724" y="1215428"/>
                </a:lnTo>
                <a:lnTo>
                  <a:pt x="18199" y="1221803"/>
                </a:lnTo>
                <a:lnTo>
                  <a:pt x="29794" y="1224153"/>
                </a:lnTo>
                <a:lnTo>
                  <a:pt x="41402" y="1221803"/>
                </a:lnTo>
                <a:lnTo>
                  <a:pt x="50876" y="1215428"/>
                </a:lnTo>
                <a:lnTo>
                  <a:pt x="57251" y="1205953"/>
                </a:lnTo>
                <a:lnTo>
                  <a:pt x="59601" y="1194346"/>
                </a:lnTo>
                <a:close/>
              </a:path>
              <a:path w="59689" h="1224279">
                <a:moveTo>
                  <a:pt x="59601" y="29794"/>
                </a:moveTo>
                <a:lnTo>
                  <a:pt x="57251" y="18199"/>
                </a:lnTo>
                <a:lnTo>
                  <a:pt x="50876" y="8724"/>
                </a:lnTo>
                <a:lnTo>
                  <a:pt x="41402" y="2336"/>
                </a:lnTo>
                <a:lnTo>
                  <a:pt x="29794" y="0"/>
                </a:lnTo>
                <a:lnTo>
                  <a:pt x="18199" y="2336"/>
                </a:lnTo>
                <a:lnTo>
                  <a:pt x="8724" y="8724"/>
                </a:lnTo>
                <a:lnTo>
                  <a:pt x="2336" y="18199"/>
                </a:lnTo>
                <a:lnTo>
                  <a:pt x="0" y="29794"/>
                </a:lnTo>
                <a:lnTo>
                  <a:pt x="2336" y="41389"/>
                </a:lnTo>
                <a:lnTo>
                  <a:pt x="8724" y="50863"/>
                </a:lnTo>
                <a:lnTo>
                  <a:pt x="18199" y="57251"/>
                </a:lnTo>
                <a:lnTo>
                  <a:pt x="29794" y="59601"/>
                </a:lnTo>
                <a:lnTo>
                  <a:pt x="41402" y="57251"/>
                </a:lnTo>
                <a:lnTo>
                  <a:pt x="50876" y="50863"/>
                </a:lnTo>
                <a:lnTo>
                  <a:pt x="57251" y="41389"/>
                </a:lnTo>
                <a:lnTo>
                  <a:pt x="59601" y="29794"/>
                </a:lnTo>
                <a:close/>
              </a:path>
            </a:pathLst>
          </a:custGeom>
          <a:solidFill>
            <a:srgbClr val="9D9D9C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2" name="object 32"/>
          <p:cNvSpPr/>
          <p:nvPr/>
        </p:nvSpPr>
        <p:spPr>
          <a:xfrm>
            <a:off x="10331164" y="4086972"/>
            <a:ext cx="36196" cy="742404"/>
          </a:xfrm>
          <a:custGeom>
            <a:avLst/>
            <a:gdLst/>
            <a:ahLst/>
            <a:cxnLst/>
            <a:rect l="l" t="t" r="r" b="b"/>
            <a:pathLst>
              <a:path w="59690" h="1224279">
                <a:moveTo>
                  <a:pt x="59601" y="1194346"/>
                </a:moveTo>
                <a:lnTo>
                  <a:pt x="57264" y="1182751"/>
                </a:lnTo>
                <a:lnTo>
                  <a:pt x="50876" y="1173276"/>
                </a:lnTo>
                <a:lnTo>
                  <a:pt x="41402" y="1166888"/>
                </a:lnTo>
                <a:lnTo>
                  <a:pt x="29806" y="1164551"/>
                </a:lnTo>
                <a:lnTo>
                  <a:pt x="18199" y="1166888"/>
                </a:lnTo>
                <a:lnTo>
                  <a:pt x="8737" y="1173276"/>
                </a:lnTo>
                <a:lnTo>
                  <a:pt x="2349" y="1182751"/>
                </a:lnTo>
                <a:lnTo>
                  <a:pt x="0" y="1194346"/>
                </a:lnTo>
                <a:lnTo>
                  <a:pt x="2349" y="1205953"/>
                </a:lnTo>
                <a:lnTo>
                  <a:pt x="8737" y="1215428"/>
                </a:lnTo>
                <a:lnTo>
                  <a:pt x="18199" y="1221803"/>
                </a:lnTo>
                <a:lnTo>
                  <a:pt x="29806" y="1224153"/>
                </a:lnTo>
                <a:lnTo>
                  <a:pt x="41402" y="1221803"/>
                </a:lnTo>
                <a:lnTo>
                  <a:pt x="50876" y="1215428"/>
                </a:lnTo>
                <a:lnTo>
                  <a:pt x="57264" y="1205953"/>
                </a:lnTo>
                <a:lnTo>
                  <a:pt x="59601" y="1194346"/>
                </a:lnTo>
                <a:close/>
              </a:path>
              <a:path w="59690" h="1224279">
                <a:moveTo>
                  <a:pt x="59601" y="29794"/>
                </a:moveTo>
                <a:lnTo>
                  <a:pt x="57264" y="18199"/>
                </a:lnTo>
                <a:lnTo>
                  <a:pt x="50876" y="8724"/>
                </a:lnTo>
                <a:lnTo>
                  <a:pt x="41402" y="2336"/>
                </a:lnTo>
                <a:lnTo>
                  <a:pt x="29806" y="0"/>
                </a:lnTo>
                <a:lnTo>
                  <a:pt x="18199" y="2336"/>
                </a:lnTo>
                <a:lnTo>
                  <a:pt x="8737" y="8724"/>
                </a:lnTo>
                <a:lnTo>
                  <a:pt x="2349" y="18199"/>
                </a:lnTo>
                <a:lnTo>
                  <a:pt x="0" y="29794"/>
                </a:lnTo>
                <a:lnTo>
                  <a:pt x="2349" y="41389"/>
                </a:lnTo>
                <a:lnTo>
                  <a:pt x="8737" y="50863"/>
                </a:lnTo>
                <a:lnTo>
                  <a:pt x="18199" y="57251"/>
                </a:lnTo>
                <a:lnTo>
                  <a:pt x="29806" y="59601"/>
                </a:lnTo>
                <a:lnTo>
                  <a:pt x="41402" y="57251"/>
                </a:lnTo>
                <a:lnTo>
                  <a:pt x="50876" y="50863"/>
                </a:lnTo>
                <a:lnTo>
                  <a:pt x="57264" y="41389"/>
                </a:lnTo>
                <a:lnTo>
                  <a:pt x="59601" y="29794"/>
                </a:lnTo>
                <a:close/>
              </a:path>
            </a:pathLst>
          </a:custGeom>
          <a:solidFill>
            <a:srgbClr val="9D9D9C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3" name="object 33"/>
          <p:cNvSpPr txBox="1"/>
          <p:nvPr/>
        </p:nvSpPr>
        <p:spPr>
          <a:xfrm>
            <a:off x="9657064" y="4963104"/>
            <a:ext cx="1383922" cy="189297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1182" spc="-6" dirty="0">
                <a:solidFill>
                  <a:srgbClr val="18418F"/>
                </a:solidFill>
                <a:latin typeface="Verdana"/>
                <a:cs typeface="Verdana"/>
              </a:rPr>
              <a:t>ПОДПИСАНИЕ</a:t>
            </a:r>
            <a:r>
              <a:rPr sz="1182" spc="-5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82" spc="-15" dirty="0">
                <a:solidFill>
                  <a:srgbClr val="18418F"/>
                </a:solidFill>
                <a:latin typeface="Verdana"/>
                <a:cs typeface="Verdana"/>
              </a:rPr>
              <a:t>ПЛ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315793" y="3607319"/>
            <a:ext cx="1005789" cy="168743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031" b="1" spc="-6" dirty="0">
                <a:solidFill>
                  <a:srgbClr val="18418F"/>
                </a:solidFill>
                <a:latin typeface="Verdana"/>
                <a:cs typeface="Verdana"/>
              </a:rPr>
              <a:t>ПОСТАВЩИК</a:t>
            </a:r>
            <a:endParaRPr sz="1031" dirty="0">
              <a:latin typeface="Verdana"/>
              <a:cs typeface="Verdan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034020" y="4096679"/>
            <a:ext cx="810176" cy="492713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316" marR="3081" algn="ctr">
              <a:lnSpc>
                <a:spcPct val="101800"/>
              </a:lnSpc>
              <a:spcBef>
                <a:spcPts val="58"/>
              </a:spcBef>
            </a:pPr>
            <a:r>
              <a:rPr sz="1031" b="1" spc="-6" dirty="0">
                <a:solidFill>
                  <a:srgbClr val="18418F"/>
                </a:solidFill>
                <a:latin typeface="Verdana"/>
                <a:cs typeface="Verdana"/>
              </a:rPr>
              <a:t>ОТДЕЛ КАЧЕСТВА </a:t>
            </a:r>
            <a:r>
              <a:rPr sz="1031" b="1" spc="-15" dirty="0">
                <a:solidFill>
                  <a:srgbClr val="18418F"/>
                </a:solidFill>
                <a:latin typeface="Verdana"/>
                <a:cs typeface="Verdana"/>
              </a:rPr>
              <a:t>СТМ</a:t>
            </a:r>
            <a:endParaRPr sz="1031" dirty="0">
              <a:latin typeface="Verdana"/>
              <a:cs typeface="Verdan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265217" y="2715678"/>
            <a:ext cx="1002323" cy="635689"/>
          </a:xfrm>
          <a:prstGeom prst="rect">
            <a:avLst/>
          </a:prstGeom>
        </p:spPr>
        <p:txBody>
          <a:bodyPr vert="horz" wrap="square" lIns="0" tIns="6161" rIns="0" bIns="0" rtlCol="0">
            <a:spAutoFit/>
          </a:bodyPr>
          <a:lstStyle/>
          <a:p>
            <a:pPr marL="7701" marR="3081" algn="ctr">
              <a:lnSpc>
                <a:spcPct val="102899"/>
              </a:lnSpc>
              <a:spcBef>
                <a:spcPts val="49"/>
              </a:spcBef>
            </a:pPr>
            <a:r>
              <a:rPr sz="879" b="1" dirty="0">
                <a:solidFill>
                  <a:srgbClr val="18418F"/>
                </a:solidFill>
                <a:latin typeface="Verdana"/>
                <a:cs typeface="Verdana"/>
              </a:rPr>
              <a:t>ПОСТАВЩИК</a:t>
            </a:r>
            <a:r>
              <a:rPr sz="879" b="1" spc="1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879" b="1" spc="-36" dirty="0">
                <a:solidFill>
                  <a:srgbClr val="18418F"/>
                </a:solidFill>
                <a:latin typeface="Verdana"/>
                <a:cs typeface="Verdana"/>
              </a:rPr>
              <a:t>+ </a:t>
            </a:r>
            <a:r>
              <a:rPr sz="1031" b="1" spc="-6" dirty="0">
                <a:solidFill>
                  <a:srgbClr val="18418F"/>
                </a:solidFill>
                <a:latin typeface="Verdana"/>
                <a:cs typeface="Verdana"/>
              </a:rPr>
              <a:t>ОТДЕЛ КАЧЕСТВА </a:t>
            </a:r>
            <a:r>
              <a:rPr sz="1031" b="1" spc="-15" dirty="0">
                <a:solidFill>
                  <a:srgbClr val="18418F"/>
                </a:solidFill>
                <a:latin typeface="Verdana"/>
                <a:cs typeface="Verdana"/>
              </a:rPr>
              <a:t>СТМ</a:t>
            </a:r>
            <a:endParaRPr sz="1031" dirty="0"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634678" y="4074324"/>
            <a:ext cx="907982" cy="553114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algn="ctr">
              <a:spcBef>
                <a:spcPts val="58"/>
              </a:spcBef>
            </a:pPr>
            <a:r>
              <a:rPr sz="1182" b="1" spc="-6" dirty="0">
                <a:solidFill>
                  <a:srgbClr val="18418F"/>
                </a:solidFill>
                <a:latin typeface="Verdana"/>
                <a:cs typeface="Verdana"/>
              </a:rPr>
              <a:t>ОТДЕЛ КАЧЕСТВА </a:t>
            </a:r>
            <a:r>
              <a:rPr sz="1182" b="1" spc="-15" dirty="0">
                <a:solidFill>
                  <a:srgbClr val="18418F"/>
                </a:solidFill>
                <a:latin typeface="Verdana"/>
                <a:cs typeface="Verdana"/>
              </a:rPr>
              <a:t>СТМ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8252250" y="4259192"/>
            <a:ext cx="1005789" cy="168743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031" b="1" spc="-6" dirty="0">
                <a:solidFill>
                  <a:srgbClr val="18418F"/>
                </a:solidFill>
                <a:latin typeface="Verdana"/>
                <a:cs typeface="Verdana"/>
              </a:rPr>
              <a:t>ПОСТАВЩИК</a:t>
            </a:r>
            <a:endParaRPr sz="1031" dirty="0">
              <a:latin typeface="Verdana"/>
              <a:cs typeface="Verdan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6965746" y="2708094"/>
            <a:ext cx="907982" cy="553114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algn="ctr">
              <a:spcBef>
                <a:spcPts val="58"/>
              </a:spcBef>
            </a:pPr>
            <a:r>
              <a:rPr sz="1182" b="1" spc="-6" dirty="0">
                <a:solidFill>
                  <a:srgbClr val="18418F"/>
                </a:solidFill>
                <a:latin typeface="Verdana"/>
                <a:cs typeface="Verdana"/>
              </a:rPr>
              <a:t>ОТДЕЛ КАЧЕСТВА </a:t>
            </a:r>
            <a:r>
              <a:rPr sz="1182" b="1" spc="-15" dirty="0">
                <a:solidFill>
                  <a:srgbClr val="18418F"/>
                </a:solidFill>
                <a:latin typeface="Verdana"/>
                <a:cs typeface="Verdana"/>
              </a:rPr>
              <a:t>СТМ</a:t>
            </a:r>
            <a:endParaRPr sz="1182">
              <a:latin typeface="Verdana"/>
              <a:cs typeface="Verdan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0166279" y="3499390"/>
            <a:ext cx="368122" cy="371205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indent="47363">
              <a:spcBef>
                <a:spcPts val="58"/>
              </a:spcBef>
            </a:pPr>
            <a:r>
              <a:rPr sz="1182" b="1" spc="-15" dirty="0">
                <a:solidFill>
                  <a:srgbClr val="18418F"/>
                </a:solidFill>
                <a:latin typeface="Verdana"/>
                <a:cs typeface="Verdana"/>
              </a:rPr>
              <a:t>КМ СТМ</a:t>
            </a:r>
            <a:endParaRPr sz="1182" dirty="0">
              <a:latin typeface="Verdana"/>
              <a:cs typeface="Verdan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255838" y="4963104"/>
            <a:ext cx="1184074" cy="845694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56989" marR="60070" algn="ctr">
              <a:spcBef>
                <a:spcPts val="58"/>
              </a:spcBef>
            </a:pPr>
            <a:r>
              <a:rPr sz="1182" spc="-6" dirty="0">
                <a:solidFill>
                  <a:srgbClr val="18418F"/>
                </a:solidFill>
                <a:latin typeface="Verdana"/>
                <a:cs typeface="Verdana"/>
              </a:rPr>
              <a:t>ЗАПОЛНЕНИЕ ШАБЛОНА</a:t>
            </a:r>
            <a:endParaRPr sz="1182" dirty="0">
              <a:latin typeface="Verdana"/>
              <a:cs typeface="Verdana"/>
            </a:endParaRPr>
          </a:p>
          <a:p>
            <a:pPr marL="7701" marR="3081" indent="-1155" algn="ctr">
              <a:lnSpc>
                <a:spcPts val="1098"/>
              </a:lnSpc>
              <a:spcBef>
                <a:spcPts val="403"/>
              </a:spcBef>
            </a:pPr>
            <a:r>
              <a:rPr lang="ru-RU" sz="1031" spc="-6" dirty="0">
                <a:solidFill>
                  <a:srgbClr val="18418F"/>
                </a:solidFill>
                <a:latin typeface="Verdana"/>
                <a:cs typeface="Verdana"/>
              </a:rPr>
              <a:t>шаблон предоставляет </a:t>
            </a:r>
            <a:r>
              <a:rPr lang="ru-RU" sz="1031" dirty="0">
                <a:solidFill>
                  <a:srgbClr val="18418F"/>
                </a:solidFill>
                <a:latin typeface="Verdana"/>
                <a:cs typeface="Verdana"/>
              </a:rPr>
              <a:t>КМ</a:t>
            </a:r>
            <a:r>
              <a:rPr lang="ru-RU" sz="1031" spc="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031" spc="-15" dirty="0">
                <a:solidFill>
                  <a:srgbClr val="18418F"/>
                </a:solidFill>
                <a:latin typeface="Verdana"/>
                <a:cs typeface="Verdana"/>
              </a:rPr>
              <a:t>СТМ</a:t>
            </a:r>
            <a:endParaRPr sz="1031" dirty="0">
              <a:latin typeface="Verdana"/>
              <a:cs typeface="Verdan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741175" y="4963104"/>
            <a:ext cx="2116700" cy="77920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R="57760" algn="ctr">
              <a:spcBef>
                <a:spcPts val="58"/>
              </a:spcBef>
            </a:pPr>
            <a:r>
              <a:rPr sz="1182" spc="-6" dirty="0">
                <a:solidFill>
                  <a:srgbClr val="18418F"/>
                </a:solidFill>
                <a:latin typeface="Verdana"/>
                <a:cs typeface="Verdana"/>
              </a:rPr>
              <a:t>СОГЛАСОВАНИЕ</a:t>
            </a:r>
            <a:r>
              <a:rPr sz="1182" spc="-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82" spc="-15" dirty="0">
                <a:solidFill>
                  <a:srgbClr val="18418F"/>
                </a:solidFill>
                <a:latin typeface="Verdana"/>
                <a:cs typeface="Verdana"/>
              </a:rPr>
              <a:t>ПЛ</a:t>
            </a:r>
            <a:endParaRPr sz="1182" dirty="0">
              <a:latin typeface="Verdana"/>
              <a:cs typeface="Verdana"/>
            </a:endParaRPr>
          </a:p>
          <a:p>
            <a:pPr marL="7316" marR="3081" indent="-770" algn="ctr">
              <a:lnSpc>
                <a:spcPts val="1098"/>
              </a:lnSpc>
              <a:spcBef>
                <a:spcPts val="218"/>
              </a:spcBef>
            </a:pPr>
            <a:r>
              <a:rPr sz="1031" dirty="0">
                <a:solidFill>
                  <a:srgbClr val="18418F"/>
                </a:solidFill>
                <a:latin typeface="Verdana"/>
                <a:cs typeface="Verdana"/>
              </a:rPr>
              <a:t>Согласование</a:t>
            </a:r>
            <a:r>
              <a:rPr sz="1031" spc="7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spc="-6" dirty="0">
                <a:solidFill>
                  <a:srgbClr val="18418F"/>
                </a:solidFill>
                <a:latin typeface="Verdana"/>
                <a:cs typeface="Verdana"/>
              </a:rPr>
              <a:t>маркировки, </a:t>
            </a:r>
            <a:r>
              <a:rPr sz="1031" dirty="0">
                <a:solidFill>
                  <a:srgbClr val="18418F"/>
                </a:solidFill>
                <a:latin typeface="Verdana"/>
                <a:cs typeface="Verdana"/>
              </a:rPr>
              <a:t>подтверждение</a:t>
            </a:r>
            <a:r>
              <a:rPr sz="1031" spc="8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spc="-6" dirty="0">
                <a:solidFill>
                  <a:srgbClr val="18418F"/>
                </a:solidFill>
                <a:latin typeface="Verdana"/>
                <a:cs typeface="Verdana"/>
              </a:rPr>
              <a:t>параметров, </a:t>
            </a:r>
            <a:r>
              <a:rPr sz="1031" dirty="0">
                <a:solidFill>
                  <a:srgbClr val="18418F"/>
                </a:solidFill>
                <a:latin typeface="Verdana"/>
                <a:cs typeface="Verdana"/>
              </a:rPr>
              <a:t>уникальных</a:t>
            </a:r>
            <a:r>
              <a:rPr sz="1031" spc="5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dirty="0">
                <a:solidFill>
                  <a:srgbClr val="18418F"/>
                </a:solidFill>
                <a:latin typeface="Verdana"/>
                <a:cs typeface="Verdana"/>
              </a:rPr>
              <a:t>свойств</a:t>
            </a:r>
            <a:r>
              <a:rPr sz="1031" spc="5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spc="-6" dirty="0">
                <a:solidFill>
                  <a:srgbClr val="18418F"/>
                </a:solidFill>
                <a:latin typeface="Verdana"/>
                <a:cs typeface="Verdana"/>
              </a:rPr>
              <a:t>продукта </a:t>
            </a:r>
            <a:r>
              <a:rPr sz="1031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sz="1031" spc="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dirty="0">
                <a:solidFill>
                  <a:srgbClr val="18418F"/>
                </a:solidFill>
                <a:latin typeface="Verdana"/>
                <a:cs typeface="Verdana"/>
              </a:rPr>
              <a:t>методик</a:t>
            </a:r>
            <a:r>
              <a:rPr sz="1031" spc="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spc="-6" dirty="0">
                <a:solidFill>
                  <a:srgbClr val="18418F"/>
                </a:solidFill>
                <a:latin typeface="Verdana"/>
                <a:cs typeface="Verdana"/>
              </a:rPr>
              <a:t>проверки</a:t>
            </a:r>
            <a:endParaRPr sz="1031" dirty="0">
              <a:latin typeface="Verdana"/>
              <a:cs typeface="Verdan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660606" y="6025901"/>
            <a:ext cx="10121694" cy="452744"/>
          </a:xfrm>
          <a:prstGeom prst="rect">
            <a:avLst/>
          </a:prstGeom>
        </p:spPr>
        <p:txBody>
          <a:bodyPr vert="horz" wrap="square" lIns="0" tIns="29265" rIns="0" bIns="0" rtlCol="0">
            <a:spAutoFit/>
          </a:bodyPr>
          <a:lstStyle/>
          <a:p>
            <a:pPr marL="7701" marR="3081">
              <a:lnSpc>
                <a:spcPts val="1098"/>
              </a:lnSpc>
              <a:spcBef>
                <a:spcPts val="230"/>
              </a:spcBef>
            </a:pP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На</a:t>
            </a:r>
            <a:r>
              <a:rPr sz="1031" b="1" spc="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первом</a:t>
            </a:r>
            <a:r>
              <a:rPr sz="1031" b="1" spc="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листе</a:t>
            </a:r>
            <a:r>
              <a:rPr sz="1031" b="1" spc="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шаблона</a:t>
            </a:r>
            <a:r>
              <a:rPr sz="1031" b="1" spc="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ПЛ</a:t>
            </a:r>
            <a:r>
              <a:rPr sz="1031" b="1" spc="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указаны</a:t>
            </a:r>
            <a:r>
              <a:rPr sz="1031" b="1" spc="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документы</a:t>
            </a:r>
            <a:r>
              <a:rPr sz="1031" b="1" spc="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sz="1031" b="1" spc="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фотографии,</a:t>
            </a:r>
            <a:r>
              <a:rPr sz="1031" b="1" spc="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которые</a:t>
            </a:r>
            <a:r>
              <a:rPr sz="1031" b="1" spc="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требуются</a:t>
            </a:r>
            <a:r>
              <a:rPr sz="1031" b="1" spc="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для</a:t>
            </a:r>
            <a:r>
              <a:rPr sz="1031" b="1" spc="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согласования</a:t>
            </a:r>
            <a:r>
              <a:rPr sz="1031" b="1" spc="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spc="-15" dirty="0">
                <a:solidFill>
                  <a:srgbClr val="18418F"/>
                </a:solidFill>
                <a:latin typeface="Verdana"/>
                <a:cs typeface="Verdana"/>
              </a:rPr>
              <a:t>ПЛ.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Просим</a:t>
            </a:r>
            <a:r>
              <a:rPr sz="1031" b="1" spc="61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изначально</a:t>
            </a:r>
            <a:r>
              <a:rPr sz="1031" b="1" spc="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предоставлять</a:t>
            </a:r>
            <a:r>
              <a:rPr sz="1031" b="1" spc="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максимально</a:t>
            </a:r>
            <a:r>
              <a:rPr sz="1031" b="1" spc="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полный</a:t>
            </a:r>
            <a:r>
              <a:rPr sz="1031" b="1" spc="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комплект</a:t>
            </a:r>
            <a:r>
              <a:rPr sz="1031" b="1" spc="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документов,</a:t>
            </a:r>
            <a:r>
              <a:rPr sz="1031" b="1" spc="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чтобы</a:t>
            </a:r>
            <a:r>
              <a:rPr sz="1031" b="1" spc="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сократить</a:t>
            </a:r>
            <a:r>
              <a:rPr sz="1031" b="1" spc="61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сроки</a:t>
            </a:r>
            <a:r>
              <a:rPr sz="1031" b="1" spc="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spc="-6" dirty="0">
                <a:solidFill>
                  <a:srgbClr val="18418F"/>
                </a:solidFill>
                <a:latin typeface="Verdana"/>
                <a:cs typeface="Verdana"/>
              </a:rPr>
              <a:t>проверки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ПЛ</a:t>
            </a:r>
            <a:r>
              <a:rPr sz="1031" b="1" spc="4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sz="1031" b="1" spc="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передачи</a:t>
            </a:r>
            <a:r>
              <a:rPr sz="1031" b="1" spc="4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его</a:t>
            </a:r>
            <a:r>
              <a:rPr sz="1031" b="1" spc="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для</a:t>
            </a:r>
            <a:r>
              <a:rPr sz="1031" b="1" spc="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подготовки</a:t>
            </a:r>
            <a:r>
              <a:rPr sz="1031" b="1" spc="4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макетов</a:t>
            </a:r>
            <a:r>
              <a:rPr sz="1031" b="1" spc="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dirty="0">
                <a:solidFill>
                  <a:srgbClr val="18418F"/>
                </a:solidFill>
                <a:latin typeface="Verdana"/>
                <a:cs typeface="Verdana"/>
              </a:rPr>
              <a:t>дизайна</a:t>
            </a:r>
            <a:r>
              <a:rPr sz="1031" b="1" spc="4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31" b="1" spc="-6" dirty="0">
                <a:solidFill>
                  <a:srgbClr val="18418F"/>
                </a:solidFill>
                <a:latin typeface="Verdana"/>
                <a:cs typeface="Verdana"/>
              </a:rPr>
              <a:t>упаковки.</a:t>
            </a:r>
            <a:endParaRPr sz="1031" dirty="0">
              <a:latin typeface="Verdana"/>
              <a:cs typeface="Verdana"/>
            </a:endParaRPr>
          </a:p>
        </p:txBody>
      </p:sp>
      <p:grpSp>
        <p:nvGrpSpPr>
          <p:cNvPr id="45" name="object 45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46" name="object 46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47" name="object 47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48" name="object 48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9" name="object 49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3" name="object 55"/>
          <p:cNvSpPr txBox="1">
            <a:spLocks/>
          </p:cNvSpPr>
          <p:nvPr/>
        </p:nvSpPr>
        <p:spPr>
          <a:xfrm>
            <a:off x="632277" y="240666"/>
            <a:ext cx="10927447" cy="88814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>
            <a:lvl1pPr>
              <a:defRPr sz="4950" b="1" i="0">
                <a:solidFill>
                  <a:srgbClr val="003B95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7701">
              <a:spcBef>
                <a:spcPts val="58"/>
              </a:spcBef>
            </a:pPr>
            <a:r>
              <a:rPr lang="ru-RU" sz="3002" dirty="0"/>
              <a:t>ПРОЦЕСС</a:t>
            </a:r>
            <a:r>
              <a:rPr lang="ru-RU" sz="3002" spc="-115" dirty="0"/>
              <a:t> </a:t>
            </a:r>
            <a:r>
              <a:rPr lang="ru-RU" sz="3002" dirty="0"/>
              <a:t>ВВОДА</a:t>
            </a:r>
            <a:r>
              <a:rPr lang="ru-RU" sz="3002" spc="-115" dirty="0"/>
              <a:t> </a:t>
            </a:r>
            <a:r>
              <a:rPr lang="ru-RU" sz="3002" spc="-6" dirty="0"/>
              <a:t>ТОВАРА:</a:t>
            </a:r>
            <a:endParaRPr lang="ru-RU" sz="3002" spc="-197" dirty="0"/>
          </a:p>
          <a:p>
            <a:pPr marL="7701">
              <a:spcBef>
                <a:spcPts val="58"/>
              </a:spcBef>
            </a:pPr>
            <a:r>
              <a:rPr lang="ru-RU" sz="2638" b="0" dirty="0"/>
              <a:t>производственный лист на товар</a:t>
            </a:r>
            <a:endParaRPr lang="ru-RU" sz="2638" dirty="0"/>
          </a:p>
        </p:txBody>
      </p:sp>
      <p:sp>
        <p:nvSpPr>
          <p:cNvPr id="52" name="object 29"/>
          <p:cNvSpPr/>
          <p:nvPr/>
        </p:nvSpPr>
        <p:spPr>
          <a:xfrm>
            <a:off x="10354690" y="4117077"/>
            <a:ext cx="0" cy="708133"/>
          </a:xfrm>
          <a:custGeom>
            <a:avLst/>
            <a:gdLst/>
            <a:ahLst/>
            <a:cxnLst/>
            <a:rect l="l" t="t" r="r" b="b"/>
            <a:pathLst>
              <a:path h="1167765">
                <a:moveTo>
                  <a:pt x="0" y="0"/>
                </a:moveTo>
                <a:lnTo>
                  <a:pt x="0" y="1167535"/>
                </a:lnTo>
              </a:path>
            </a:pathLst>
          </a:custGeom>
          <a:ln w="13214">
            <a:solidFill>
              <a:srgbClr val="9D9D9C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822795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 animBg="1"/>
      <p:bldP spid="12" grpId="0" animBg="1"/>
      <p:bldP spid="15" grpId="0" animBg="1"/>
      <p:bldP spid="18" grpId="0" animBg="1"/>
      <p:bldP spid="21" grpId="0" animBg="1"/>
      <p:bldP spid="24" grpId="0"/>
      <p:bldP spid="25" grpId="0"/>
      <p:bldP spid="26" grpId="0"/>
      <p:bldP spid="27" grpId="0"/>
      <p:bldP spid="29" grpId="0" animBg="1"/>
      <p:bldP spid="30" grpId="0" animBg="1"/>
      <p:bldP spid="32" grpId="0" animBg="1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52" grpId="0" animBg="1"/>
    </p:bld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50013" y="3004144"/>
            <a:ext cx="597620" cy="597620"/>
          </a:xfrm>
          <a:custGeom>
            <a:avLst/>
            <a:gdLst/>
            <a:ahLst/>
            <a:cxnLst/>
            <a:rect l="l" t="t" r="r" b="b"/>
            <a:pathLst>
              <a:path w="985519" h="985520">
                <a:moveTo>
                  <a:pt x="492655" y="0"/>
                </a:moveTo>
                <a:lnTo>
                  <a:pt x="445209" y="2255"/>
                </a:lnTo>
                <a:lnTo>
                  <a:pt x="399039" y="8882"/>
                </a:lnTo>
                <a:lnTo>
                  <a:pt x="354351" y="19676"/>
                </a:lnTo>
                <a:lnTo>
                  <a:pt x="311353" y="34430"/>
                </a:lnTo>
                <a:lnTo>
                  <a:pt x="270249" y="52937"/>
                </a:lnTo>
                <a:lnTo>
                  <a:pt x="231248" y="74991"/>
                </a:lnTo>
                <a:lnTo>
                  <a:pt x="194555" y="100386"/>
                </a:lnTo>
                <a:lnTo>
                  <a:pt x="160376" y="128915"/>
                </a:lnTo>
                <a:lnTo>
                  <a:pt x="128919" y="160371"/>
                </a:lnTo>
                <a:lnTo>
                  <a:pt x="100390" y="194548"/>
                </a:lnTo>
                <a:lnTo>
                  <a:pt x="74994" y="231240"/>
                </a:lnTo>
                <a:lnTo>
                  <a:pt x="52939" y="270241"/>
                </a:lnTo>
                <a:lnTo>
                  <a:pt x="34432" y="311344"/>
                </a:lnTo>
                <a:lnTo>
                  <a:pt x="19677" y="354342"/>
                </a:lnTo>
                <a:lnTo>
                  <a:pt x="8883" y="399029"/>
                </a:lnTo>
                <a:lnTo>
                  <a:pt x="2255" y="445198"/>
                </a:lnTo>
                <a:lnTo>
                  <a:pt x="0" y="492644"/>
                </a:lnTo>
                <a:lnTo>
                  <a:pt x="2255" y="540090"/>
                </a:lnTo>
                <a:lnTo>
                  <a:pt x="8883" y="586260"/>
                </a:lnTo>
                <a:lnTo>
                  <a:pt x="19677" y="630948"/>
                </a:lnTo>
                <a:lnTo>
                  <a:pt x="34432" y="673946"/>
                </a:lnTo>
                <a:lnTo>
                  <a:pt x="52939" y="715049"/>
                </a:lnTo>
                <a:lnTo>
                  <a:pt x="74994" y="754051"/>
                </a:lnTo>
                <a:lnTo>
                  <a:pt x="100390" y="790744"/>
                </a:lnTo>
                <a:lnTo>
                  <a:pt x="128919" y="824922"/>
                </a:lnTo>
                <a:lnTo>
                  <a:pt x="160376" y="856380"/>
                </a:lnTo>
                <a:lnTo>
                  <a:pt x="194555" y="884909"/>
                </a:lnTo>
                <a:lnTo>
                  <a:pt x="231248" y="910304"/>
                </a:lnTo>
                <a:lnTo>
                  <a:pt x="270249" y="932359"/>
                </a:lnTo>
                <a:lnTo>
                  <a:pt x="311353" y="950867"/>
                </a:lnTo>
                <a:lnTo>
                  <a:pt x="354351" y="965622"/>
                </a:lnTo>
                <a:lnTo>
                  <a:pt x="399039" y="976416"/>
                </a:lnTo>
                <a:lnTo>
                  <a:pt x="445209" y="983044"/>
                </a:lnTo>
                <a:lnTo>
                  <a:pt x="492655" y="985299"/>
                </a:lnTo>
                <a:lnTo>
                  <a:pt x="540099" y="983044"/>
                </a:lnTo>
                <a:lnTo>
                  <a:pt x="586267" y="976416"/>
                </a:lnTo>
                <a:lnTo>
                  <a:pt x="630954" y="965622"/>
                </a:lnTo>
                <a:lnTo>
                  <a:pt x="673951" y="950867"/>
                </a:lnTo>
                <a:lnTo>
                  <a:pt x="715053" y="932359"/>
                </a:lnTo>
                <a:lnTo>
                  <a:pt x="754054" y="910304"/>
                </a:lnTo>
                <a:lnTo>
                  <a:pt x="790746" y="884909"/>
                </a:lnTo>
                <a:lnTo>
                  <a:pt x="824924" y="856380"/>
                </a:lnTo>
                <a:lnTo>
                  <a:pt x="856381" y="824922"/>
                </a:lnTo>
                <a:lnTo>
                  <a:pt x="884910" y="790744"/>
                </a:lnTo>
                <a:lnTo>
                  <a:pt x="910305" y="754051"/>
                </a:lnTo>
                <a:lnTo>
                  <a:pt x="932360" y="715049"/>
                </a:lnTo>
                <a:lnTo>
                  <a:pt x="950867" y="673946"/>
                </a:lnTo>
                <a:lnTo>
                  <a:pt x="965622" y="630948"/>
                </a:lnTo>
                <a:lnTo>
                  <a:pt x="976416" y="586260"/>
                </a:lnTo>
                <a:lnTo>
                  <a:pt x="983044" y="540090"/>
                </a:lnTo>
                <a:lnTo>
                  <a:pt x="985299" y="492644"/>
                </a:lnTo>
                <a:lnTo>
                  <a:pt x="983044" y="445198"/>
                </a:lnTo>
                <a:lnTo>
                  <a:pt x="976416" y="399029"/>
                </a:lnTo>
                <a:lnTo>
                  <a:pt x="965622" y="354342"/>
                </a:lnTo>
                <a:lnTo>
                  <a:pt x="950867" y="311344"/>
                </a:lnTo>
                <a:lnTo>
                  <a:pt x="932360" y="270241"/>
                </a:lnTo>
                <a:lnTo>
                  <a:pt x="910305" y="231240"/>
                </a:lnTo>
                <a:lnTo>
                  <a:pt x="884910" y="194548"/>
                </a:lnTo>
                <a:lnTo>
                  <a:pt x="856381" y="160371"/>
                </a:lnTo>
                <a:lnTo>
                  <a:pt x="824924" y="128915"/>
                </a:lnTo>
                <a:lnTo>
                  <a:pt x="790746" y="100386"/>
                </a:lnTo>
                <a:lnTo>
                  <a:pt x="754054" y="74991"/>
                </a:lnTo>
                <a:lnTo>
                  <a:pt x="715053" y="52937"/>
                </a:lnTo>
                <a:lnTo>
                  <a:pt x="673951" y="34430"/>
                </a:lnTo>
                <a:lnTo>
                  <a:pt x="630954" y="19676"/>
                </a:lnTo>
                <a:lnTo>
                  <a:pt x="586267" y="8882"/>
                </a:lnTo>
                <a:lnTo>
                  <a:pt x="540099" y="2255"/>
                </a:lnTo>
                <a:lnTo>
                  <a:pt x="492655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1050013" y="4304530"/>
            <a:ext cx="597620" cy="597620"/>
          </a:xfrm>
          <a:custGeom>
            <a:avLst/>
            <a:gdLst/>
            <a:ahLst/>
            <a:cxnLst/>
            <a:rect l="l" t="t" r="r" b="b"/>
            <a:pathLst>
              <a:path w="985519" h="985520">
                <a:moveTo>
                  <a:pt x="492655" y="0"/>
                </a:moveTo>
                <a:lnTo>
                  <a:pt x="445209" y="2255"/>
                </a:lnTo>
                <a:lnTo>
                  <a:pt x="399039" y="8882"/>
                </a:lnTo>
                <a:lnTo>
                  <a:pt x="354351" y="19676"/>
                </a:lnTo>
                <a:lnTo>
                  <a:pt x="311353" y="34430"/>
                </a:lnTo>
                <a:lnTo>
                  <a:pt x="270249" y="52937"/>
                </a:lnTo>
                <a:lnTo>
                  <a:pt x="231248" y="74991"/>
                </a:lnTo>
                <a:lnTo>
                  <a:pt x="194555" y="100386"/>
                </a:lnTo>
                <a:lnTo>
                  <a:pt x="160376" y="128915"/>
                </a:lnTo>
                <a:lnTo>
                  <a:pt x="128919" y="160371"/>
                </a:lnTo>
                <a:lnTo>
                  <a:pt x="100390" y="194548"/>
                </a:lnTo>
                <a:lnTo>
                  <a:pt x="74994" y="231240"/>
                </a:lnTo>
                <a:lnTo>
                  <a:pt x="52939" y="270241"/>
                </a:lnTo>
                <a:lnTo>
                  <a:pt x="34432" y="311344"/>
                </a:lnTo>
                <a:lnTo>
                  <a:pt x="19677" y="354342"/>
                </a:lnTo>
                <a:lnTo>
                  <a:pt x="8883" y="399029"/>
                </a:lnTo>
                <a:lnTo>
                  <a:pt x="2255" y="445198"/>
                </a:lnTo>
                <a:lnTo>
                  <a:pt x="0" y="492644"/>
                </a:lnTo>
                <a:lnTo>
                  <a:pt x="2255" y="540090"/>
                </a:lnTo>
                <a:lnTo>
                  <a:pt x="8883" y="586260"/>
                </a:lnTo>
                <a:lnTo>
                  <a:pt x="19677" y="630947"/>
                </a:lnTo>
                <a:lnTo>
                  <a:pt x="34432" y="673945"/>
                </a:lnTo>
                <a:lnTo>
                  <a:pt x="52939" y="715047"/>
                </a:lnTo>
                <a:lnTo>
                  <a:pt x="74994" y="754048"/>
                </a:lnTo>
                <a:lnTo>
                  <a:pt x="100390" y="790740"/>
                </a:lnTo>
                <a:lnTo>
                  <a:pt x="128919" y="824918"/>
                </a:lnTo>
                <a:lnTo>
                  <a:pt x="160376" y="856374"/>
                </a:lnTo>
                <a:lnTo>
                  <a:pt x="194555" y="884902"/>
                </a:lnTo>
                <a:lnTo>
                  <a:pt x="231248" y="910297"/>
                </a:lnTo>
                <a:lnTo>
                  <a:pt x="270249" y="932351"/>
                </a:lnTo>
                <a:lnTo>
                  <a:pt x="311353" y="950858"/>
                </a:lnTo>
                <a:lnTo>
                  <a:pt x="354351" y="965612"/>
                </a:lnTo>
                <a:lnTo>
                  <a:pt x="399039" y="976406"/>
                </a:lnTo>
                <a:lnTo>
                  <a:pt x="445209" y="983034"/>
                </a:lnTo>
                <a:lnTo>
                  <a:pt x="492655" y="985289"/>
                </a:lnTo>
                <a:lnTo>
                  <a:pt x="540099" y="983034"/>
                </a:lnTo>
                <a:lnTo>
                  <a:pt x="586267" y="976406"/>
                </a:lnTo>
                <a:lnTo>
                  <a:pt x="630954" y="965612"/>
                </a:lnTo>
                <a:lnTo>
                  <a:pt x="673951" y="950858"/>
                </a:lnTo>
                <a:lnTo>
                  <a:pt x="715053" y="932351"/>
                </a:lnTo>
                <a:lnTo>
                  <a:pt x="754054" y="910297"/>
                </a:lnTo>
                <a:lnTo>
                  <a:pt x="790746" y="884902"/>
                </a:lnTo>
                <a:lnTo>
                  <a:pt x="824924" y="856374"/>
                </a:lnTo>
                <a:lnTo>
                  <a:pt x="856381" y="824918"/>
                </a:lnTo>
                <a:lnTo>
                  <a:pt x="884910" y="790740"/>
                </a:lnTo>
                <a:lnTo>
                  <a:pt x="910305" y="754048"/>
                </a:lnTo>
                <a:lnTo>
                  <a:pt x="932360" y="715047"/>
                </a:lnTo>
                <a:lnTo>
                  <a:pt x="950867" y="673945"/>
                </a:lnTo>
                <a:lnTo>
                  <a:pt x="965622" y="630947"/>
                </a:lnTo>
                <a:lnTo>
                  <a:pt x="976416" y="586260"/>
                </a:lnTo>
                <a:lnTo>
                  <a:pt x="983044" y="540090"/>
                </a:lnTo>
                <a:lnTo>
                  <a:pt x="985299" y="492644"/>
                </a:lnTo>
                <a:lnTo>
                  <a:pt x="983044" y="445198"/>
                </a:lnTo>
                <a:lnTo>
                  <a:pt x="976416" y="399029"/>
                </a:lnTo>
                <a:lnTo>
                  <a:pt x="965622" y="354342"/>
                </a:lnTo>
                <a:lnTo>
                  <a:pt x="950867" y="311344"/>
                </a:lnTo>
                <a:lnTo>
                  <a:pt x="932360" y="270241"/>
                </a:lnTo>
                <a:lnTo>
                  <a:pt x="910305" y="231240"/>
                </a:lnTo>
                <a:lnTo>
                  <a:pt x="884910" y="194548"/>
                </a:lnTo>
                <a:lnTo>
                  <a:pt x="856381" y="160371"/>
                </a:lnTo>
                <a:lnTo>
                  <a:pt x="824924" y="128915"/>
                </a:lnTo>
                <a:lnTo>
                  <a:pt x="790746" y="100386"/>
                </a:lnTo>
                <a:lnTo>
                  <a:pt x="754054" y="74991"/>
                </a:lnTo>
                <a:lnTo>
                  <a:pt x="715053" y="52937"/>
                </a:lnTo>
                <a:lnTo>
                  <a:pt x="673951" y="34430"/>
                </a:lnTo>
                <a:lnTo>
                  <a:pt x="630954" y="19676"/>
                </a:lnTo>
                <a:lnTo>
                  <a:pt x="586267" y="8882"/>
                </a:lnTo>
                <a:lnTo>
                  <a:pt x="540099" y="2255"/>
                </a:lnTo>
                <a:lnTo>
                  <a:pt x="492655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776966" y="4954717"/>
            <a:ext cx="597620" cy="597620"/>
          </a:xfrm>
          <a:custGeom>
            <a:avLst/>
            <a:gdLst/>
            <a:ahLst/>
            <a:cxnLst/>
            <a:rect l="l" t="t" r="r" b="b"/>
            <a:pathLst>
              <a:path w="985519" h="985520">
                <a:moveTo>
                  <a:pt x="492644" y="0"/>
                </a:moveTo>
                <a:lnTo>
                  <a:pt x="445200" y="2255"/>
                </a:lnTo>
                <a:lnTo>
                  <a:pt x="399032" y="8883"/>
                </a:lnTo>
                <a:lnTo>
                  <a:pt x="354345" y="19677"/>
                </a:lnTo>
                <a:lnTo>
                  <a:pt x="311348" y="34432"/>
                </a:lnTo>
                <a:lnTo>
                  <a:pt x="270246" y="52939"/>
                </a:lnTo>
                <a:lnTo>
                  <a:pt x="231245" y="74994"/>
                </a:lnTo>
                <a:lnTo>
                  <a:pt x="194553" y="100390"/>
                </a:lnTo>
                <a:lnTo>
                  <a:pt x="160375" y="128919"/>
                </a:lnTo>
                <a:lnTo>
                  <a:pt x="128918" y="160376"/>
                </a:lnTo>
                <a:lnTo>
                  <a:pt x="100389" y="194555"/>
                </a:lnTo>
                <a:lnTo>
                  <a:pt x="74994" y="231248"/>
                </a:lnTo>
                <a:lnTo>
                  <a:pt x="52939" y="270249"/>
                </a:lnTo>
                <a:lnTo>
                  <a:pt x="34432" y="311353"/>
                </a:lnTo>
                <a:lnTo>
                  <a:pt x="19677" y="354351"/>
                </a:lnTo>
                <a:lnTo>
                  <a:pt x="8883" y="399039"/>
                </a:lnTo>
                <a:lnTo>
                  <a:pt x="2255" y="445209"/>
                </a:lnTo>
                <a:lnTo>
                  <a:pt x="0" y="492655"/>
                </a:lnTo>
                <a:lnTo>
                  <a:pt x="2255" y="540101"/>
                </a:lnTo>
                <a:lnTo>
                  <a:pt x="8883" y="586270"/>
                </a:lnTo>
                <a:lnTo>
                  <a:pt x="19677" y="630957"/>
                </a:lnTo>
                <a:lnTo>
                  <a:pt x="34432" y="673955"/>
                </a:lnTo>
                <a:lnTo>
                  <a:pt x="52939" y="715058"/>
                </a:lnTo>
                <a:lnTo>
                  <a:pt x="74994" y="754058"/>
                </a:lnTo>
                <a:lnTo>
                  <a:pt x="100389" y="790751"/>
                </a:lnTo>
                <a:lnTo>
                  <a:pt x="128918" y="824928"/>
                </a:lnTo>
                <a:lnTo>
                  <a:pt x="160375" y="856384"/>
                </a:lnTo>
                <a:lnTo>
                  <a:pt x="194553" y="884913"/>
                </a:lnTo>
                <a:lnTo>
                  <a:pt x="231245" y="910307"/>
                </a:lnTo>
                <a:lnTo>
                  <a:pt x="270246" y="932362"/>
                </a:lnTo>
                <a:lnTo>
                  <a:pt x="311348" y="950869"/>
                </a:lnTo>
                <a:lnTo>
                  <a:pt x="354345" y="965622"/>
                </a:lnTo>
                <a:lnTo>
                  <a:pt x="399032" y="976416"/>
                </a:lnTo>
                <a:lnTo>
                  <a:pt x="445200" y="983044"/>
                </a:lnTo>
                <a:lnTo>
                  <a:pt x="492644" y="985299"/>
                </a:lnTo>
                <a:lnTo>
                  <a:pt x="540090" y="983044"/>
                </a:lnTo>
                <a:lnTo>
                  <a:pt x="586260" y="976416"/>
                </a:lnTo>
                <a:lnTo>
                  <a:pt x="630948" y="965622"/>
                </a:lnTo>
                <a:lnTo>
                  <a:pt x="673946" y="950869"/>
                </a:lnTo>
                <a:lnTo>
                  <a:pt x="715049" y="932362"/>
                </a:lnTo>
                <a:lnTo>
                  <a:pt x="754051" y="910307"/>
                </a:lnTo>
                <a:lnTo>
                  <a:pt x="790744" y="884913"/>
                </a:lnTo>
                <a:lnTo>
                  <a:pt x="824922" y="856384"/>
                </a:lnTo>
                <a:lnTo>
                  <a:pt x="856380" y="824928"/>
                </a:lnTo>
                <a:lnTo>
                  <a:pt x="884909" y="790751"/>
                </a:lnTo>
                <a:lnTo>
                  <a:pt x="910304" y="754058"/>
                </a:lnTo>
                <a:lnTo>
                  <a:pt x="932359" y="715058"/>
                </a:lnTo>
                <a:lnTo>
                  <a:pt x="950867" y="673955"/>
                </a:lnTo>
                <a:lnTo>
                  <a:pt x="965622" y="630957"/>
                </a:lnTo>
                <a:lnTo>
                  <a:pt x="976416" y="586270"/>
                </a:lnTo>
                <a:lnTo>
                  <a:pt x="983044" y="540101"/>
                </a:lnTo>
                <a:lnTo>
                  <a:pt x="985299" y="492655"/>
                </a:lnTo>
                <a:lnTo>
                  <a:pt x="983044" y="445209"/>
                </a:lnTo>
                <a:lnTo>
                  <a:pt x="976416" y="399039"/>
                </a:lnTo>
                <a:lnTo>
                  <a:pt x="965622" y="354351"/>
                </a:lnTo>
                <a:lnTo>
                  <a:pt x="950867" y="311353"/>
                </a:lnTo>
                <a:lnTo>
                  <a:pt x="932359" y="270249"/>
                </a:lnTo>
                <a:lnTo>
                  <a:pt x="910304" y="231248"/>
                </a:lnTo>
                <a:lnTo>
                  <a:pt x="884909" y="194555"/>
                </a:lnTo>
                <a:lnTo>
                  <a:pt x="856380" y="160376"/>
                </a:lnTo>
                <a:lnTo>
                  <a:pt x="824922" y="128919"/>
                </a:lnTo>
                <a:lnTo>
                  <a:pt x="790744" y="100390"/>
                </a:lnTo>
                <a:lnTo>
                  <a:pt x="754051" y="74994"/>
                </a:lnTo>
                <a:lnTo>
                  <a:pt x="715049" y="52939"/>
                </a:lnTo>
                <a:lnTo>
                  <a:pt x="673946" y="34432"/>
                </a:lnTo>
                <a:lnTo>
                  <a:pt x="630948" y="19677"/>
                </a:lnTo>
                <a:lnTo>
                  <a:pt x="586260" y="8883"/>
                </a:lnTo>
                <a:lnTo>
                  <a:pt x="540090" y="2255"/>
                </a:lnTo>
                <a:lnTo>
                  <a:pt x="492644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503918" y="5604916"/>
            <a:ext cx="597620" cy="597620"/>
            <a:chOff x="830292" y="9242921"/>
            <a:chExt cx="985519" cy="985519"/>
          </a:xfrm>
        </p:grpSpPr>
        <p:sp>
          <p:nvSpPr>
            <p:cNvPr id="6" name="object 6"/>
            <p:cNvSpPr/>
            <p:nvPr/>
          </p:nvSpPr>
          <p:spPr>
            <a:xfrm>
              <a:off x="830292" y="9242921"/>
              <a:ext cx="985519" cy="985519"/>
            </a:xfrm>
            <a:custGeom>
              <a:avLst/>
              <a:gdLst/>
              <a:ahLst/>
              <a:cxnLst/>
              <a:rect l="l" t="t" r="r" b="b"/>
              <a:pathLst>
                <a:path w="985519" h="985520">
                  <a:moveTo>
                    <a:pt x="492655" y="0"/>
                  </a:moveTo>
                  <a:lnTo>
                    <a:pt x="445209" y="2255"/>
                  </a:lnTo>
                  <a:lnTo>
                    <a:pt x="399039" y="8882"/>
                  </a:lnTo>
                  <a:lnTo>
                    <a:pt x="354351" y="19676"/>
                  </a:lnTo>
                  <a:lnTo>
                    <a:pt x="311353" y="34430"/>
                  </a:lnTo>
                  <a:lnTo>
                    <a:pt x="270249" y="52937"/>
                  </a:lnTo>
                  <a:lnTo>
                    <a:pt x="231248" y="74991"/>
                  </a:lnTo>
                  <a:lnTo>
                    <a:pt x="194555" y="100386"/>
                  </a:lnTo>
                  <a:lnTo>
                    <a:pt x="160376" y="128915"/>
                  </a:lnTo>
                  <a:lnTo>
                    <a:pt x="128919" y="160371"/>
                  </a:lnTo>
                  <a:lnTo>
                    <a:pt x="100390" y="194548"/>
                  </a:lnTo>
                  <a:lnTo>
                    <a:pt x="74994" y="231240"/>
                  </a:lnTo>
                  <a:lnTo>
                    <a:pt x="52939" y="270241"/>
                  </a:lnTo>
                  <a:lnTo>
                    <a:pt x="34432" y="311344"/>
                  </a:lnTo>
                  <a:lnTo>
                    <a:pt x="19677" y="354342"/>
                  </a:lnTo>
                  <a:lnTo>
                    <a:pt x="8883" y="399029"/>
                  </a:lnTo>
                  <a:lnTo>
                    <a:pt x="2255" y="445198"/>
                  </a:lnTo>
                  <a:lnTo>
                    <a:pt x="0" y="492644"/>
                  </a:lnTo>
                  <a:lnTo>
                    <a:pt x="2255" y="540090"/>
                  </a:lnTo>
                  <a:lnTo>
                    <a:pt x="8883" y="586260"/>
                  </a:lnTo>
                  <a:lnTo>
                    <a:pt x="19677" y="630947"/>
                  </a:lnTo>
                  <a:lnTo>
                    <a:pt x="34432" y="673945"/>
                  </a:lnTo>
                  <a:lnTo>
                    <a:pt x="52939" y="715047"/>
                  </a:lnTo>
                  <a:lnTo>
                    <a:pt x="74994" y="754048"/>
                  </a:lnTo>
                  <a:lnTo>
                    <a:pt x="100390" y="790740"/>
                  </a:lnTo>
                  <a:lnTo>
                    <a:pt x="128919" y="824918"/>
                  </a:lnTo>
                  <a:lnTo>
                    <a:pt x="160376" y="856374"/>
                  </a:lnTo>
                  <a:lnTo>
                    <a:pt x="194555" y="884902"/>
                  </a:lnTo>
                  <a:lnTo>
                    <a:pt x="231248" y="910297"/>
                  </a:lnTo>
                  <a:lnTo>
                    <a:pt x="270249" y="932351"/>
                  </a:lnTo>
                  <a:lnTo>
                    <a:pt x="311353" y="950858"/>
                  </a:lnTo>
                  <a:lnTo>
                    <a:pt x="354351" y="965612"/>
                  </a:lnTo>
                  <a:lnTo>
                    <a:pt x="399039" y="976406"/>
                  </a:lnTo>
                  <a:lnTo>
                    <a:pt x="445209" y="983034"/>
                  </a:lnTo>
                  <a:lnTo>
                    <a:pt x="492655" y="985289"/>
                  </a:lnTo>
                  <a:lnTo>
                    <a:pt x="540099" y="983034"/>
                  </a:lnTo>
                  <a:lnTo>
                    <a:pt x="586267" y="976406"/>
                  </a:lnTo>
                  <a:lnTo>
                    <a:pt x="630954" y="965612"/>
                  </a:lnTo>
                  <a:lnTo>
                    <a:pt x="673951" y="950858"/>
                  </a:lnTo>
                  <a:lnTo>
                    <a:pt x="715053" y="932351"/>
                  </a:lnTo>
                  <a:lnTo>
                    <a:pt x="754054" y="910297"/>
                  </a:lnTo>
                  <a:lnTo>
                    <a:pt x="790746" y="884902"/>
                  </a:lnTo>
                  <a:lnTo>
                    <a:pt x="824924" y="856374"/>
                  </a:lnTo>
                  <a:lnTo>
                    <a:pt x="856381" y="824918"/>
                  </a:lnTo>
                  <a:lnTo>
                    <a:pt x="884910" y="790740"/>
                  </a:lnTo>
                  <a:lnTo>
                    <a:pt x="910305" y="754048"/>
                  </a:lnTo>
                  <a:lnTo>
                    <a:pt x="932360" y="715047"/>
                  </a:lnTo>
                  <a:lnTo>
                    <a:pt x="950867" y="673945"/>
                  </a:lnTo>
                  <a:lnTo>
                    <a:pt x="965622" y="630947"/>
                  </a:lnTo>
                  <a:lnTo>
                    <a:pt x="976416" y="586260"/>
                  </a:lnTo>
                  <a:lnTo>
                    <a:pt x="983044" y="540090"/>
                  </a:lnTo>
                  <a:lnTo>
                    <a:pt x="985299" y="492644"/>
                  </a:lnTo>
                  <a:lnTo>
                    <a:pt x="983044" y="445198"/>
                  </a:lnTo>
                  <a:lnTo>
                    <a:pt x="976416" y="399029"/>
                  </a:lnTo>
                  <a:lnTo>
                    <a:pt x="965622" y="354342"/>
                  </a:lnTo>
                  <a:lnTo>
                    <a:pt x="950867" y="311344"/>
                  </a:lnTo>
                  <a:lnTo>
                    <a:pt x="932360" y="270241"/>
                  </a:lnTo>
                  <a:lnTo>
                    <a:pt x="910305" y="231240"/>
                  </a:lnTo>
                  <a:lnTo>
                    <a:pt x="884910" y="194548"/>
                  </a:lnTo>
                  <a:lnTo>
                    <a:pt x="856381" y="160371"/>
                  </a:lnTo>
                  <a:lnTo>
                    <a:pt x="824924" y="128915"/>
                  </a:lnTo>
                  <a:lnTo>
                    <a:pt x="790746" y="100386"/>
                  </a:lnTo>
                  <a:lnTo>
                    <a:pt x="754054" y="74991"/>
                  </a:lnTo>
                  <a:lnTo>
                    <a:pt x="715053" y="52937"/>
                  </a:lnTo>
                  <a:lnTo>
                    <a:pt x="673951" y="34430"/>
                  </a:lnTo>
                  <a:lnTo>
                    <a:pt x="630954" y="19676"/>
                  </a:lnTo>
                  <a:lnTo>
                    <a:pt x="586267" y="8882"/>
                  </a:lnTo>
                  <a:lnTo>
                    <a:pt x="540099" y="2255"/>
                  </a:lnTo>
                  <a:lnTo>
                    <a:pt x="492655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080196" y="9500378"/>
              <a:ext cx="506095" cy="505459"/>
            </a:xfrm>
            <a:custGeom>
              <a:avLst/>
              <a:gdLst/>
              <a:ahLst/>
              <a:cxnLst/>
              <a:rect l="l" t="t" r="r" b="b"/>
              <a:pathLst>
                <a:path w="506094" h="505459">
                  <a:moveTo>
                    <a:pt x="12648" y="106719"/>
                  </a:moveTo>
                  <a:lnTo>
                    <a:pt x="2481" y="106719"/>
                  </a:lnTo>
                  <a:lnTo>
                    <a:pt x="157" y="110394"/>
                  </a:lnTo>
                  <a:lnTo>
                    <a:pt x="126" y="255028"/>
                  </a:lnTo>
                  <a:lnTo>
                    <a:pt x="0" y="477776"/>
                  </a:lnTo>
                  <a:lnTo>
                    <a:pt x="856" y="486477"/>
                  </a:lnTo>
                  <a:lnTo>
                    <a:pt x="933" y="487263"/>
                  </a:lnTo>
                  <a:lnTo>
                    <a:pt x="4007" y="495051"/>
                  </a:lnTo>
                  <a:lnTo>
                    <a:pt x="9559" y="501110"/>
                  </a:lnTo>
                  <a:lnTo>
                    <a:pt x="17926" y="505408"/>
                  </a:lnTo>
                  <a:lnTo>
                    <a:pt x="353664" y="505408"/>
                  </a:lnTo>
                  <a:lnTo>
                    <a:pt x="361758" y="502529"/>
                  </a:lnTo>
                  <a:lnTo>
                    <a:pt x="368376" y="498026"/>
                  </a:lnTo>
                  <a:lnTo>
                    <a:pt x="370256" y="490592"/>
                  </a:lnTo>
                  <a:lnTo>
                    <a:pt x="16774" y="490592"/>
                  </a:lnTo>
                  <a:lnTo>
                    <a:pt x="14983" y="488759"/>
                  </a:lnTo>
                  <a:lnTo>
                    <a:pt x="14983" y="110394"/>
                  </a:lnTo>
                  <a:lnTo>
                    <a:pt x="12648" y="106719"/>
                  </a:lnTo>
                  <a:close/>
                </a:path>
                <a:path w="506094" h="505459">
                  <a:moveTo>
                    <a:pt x="371371" y="396584"/>
                  </a:moveTo>
                  <a:lnTo>
                    <a:pt x="356701" y="396584"/>
                  </a:lnTo>
                  <a:lnTo>
                    <a:pt x="356577" y="488759"/>
                  </a:lnTo>
                  <a:lnTo>
                    <a:pt x="354774" y="490592"/>
                  </a:lnTo>
                  <a:lnTo>
                    <a:pt x="370256" y="490592"/>
                  </a:lnTo>
                  <a:lnTo>
                    <a:pt x="371297" y="486477"/>
                  </a:lnTo>
                  <a:lnTo>
                    <a:pt x="371371" y="396584"/>
                  </a:lnTo>
                  <a:close/>
                </a:path>
                <a:path w="506094" h="505459">
                  <a:moveTo>
                    <a:pt x="405038" y="384593"/>
                  </a:moveTo>
                  <a:lnTo>
                    <a:pt x="380383" y="384593"/>
                  </a:lnTo>
                  <a:lnTo>
                    <a:pt x="398396" y="402542"/>
                  </a:lnTo>
                  <a:lnTo>
                    <a:pt x="395893" y="408312"/>
                  </a:lnTo>
                  <a:lnTo>
                    <a:pt x="396197" y="409830"/>
                  </a:lnTo>
                  <a:lnTo>
                    <a:pt x="401422" y="415055"/>
                  </a:lnTo>
                  <a:lnTo>
                    <a:pt x="422870" y="436201"/>
                  </a:lnTo>
                  <a:lnTo>
                    <a:pt x="433505" y="446851"/>
                  </a:lnTo>
                  <a:lnTo>
                    <a:pt x="443902" y="457724"/>
                  </a:lnTo>
                  <a:lnTo>
                    <a:pt x="461315" y="468383"/>
                  </a:lnTo>
                  <a:lnTo>
                    <a:pt x="480124" y="468383"/>
                  </a:lnTo>
                  <a:lnTo>
                    <a:pt x="496157" y="458977"/>
                  </a:lnTo>
                  <a:lnTo>
                    <a:pt x="498198" y="454970"/>
                  </a:lnTo>
                  <a:lnTo>
                    <a:pt x="470524" y="454970"/>
                  </a:lnTo>
                  <a:lnTo>
                    <a:pt x="462838" y="453226"/>
                  </a:lnTo>
                  <a:lnTo>
                    <a:pt x="455776" y="448352"/>
                  </a:lnTo>
                  <a:lnTo>
                    <a:pt x="416584" y="409191"/>
                  </a:lnTo>
                  <a:lnTo>
                    <a:pt x="415927" y="408312"/>
                  </a:lnTo>
                  <a:lnTo>
                    <a:pt x="415317" y="407610"/>
                  </a:lnTo>
                  <a:lnTo>
                    <a:pt x="432951" y="389956"/>
                  </a:lnTo>
                  <a:lnTo>
                    <a:pt x="410417" y="389956"/>
                  </a:lnTo>
                  <a:lnTo>
                    <a:pt x="405038" y="384593"/>
                  </a:lnTo>
                  <a:close/>
                </a:path>
                <a:path w="506094" h="505459">
                  <a:moveTo>
                    <a:pt x="464883" y="379360"/>
                  </a:moveTo>
                  <a:lnTo>
                    <a:pt x="443536" y="379360"/>
                  </a:lnTo>
                  <a:lnTo>
                    <a:pt x="444090" y="379716"/>
                  </a:lnTo>
                  <a:lnTo>
                    <a:pt x="444604" y="379988"/>
                  </a:lnTo>
                  <a:lnTo>
                    <a:pt x="484561" y="419966"/>
                  </a:lnTo>
                  <a:lnTo>
                    <a:pt x="489337" y="427019"/>
                  </a:lnTo>
                  <a:lnTo>
                    <a:pt x="490964" y="434738"/>
                  </a:lnTo>
                  <a:lnTo>
                    <a:pt x="489473" y="442350"/>
                  </a:lnTo>
                  <a:lnTo>
                    <a:pt x="484896" y="449085"/>
                  </a:lnTo>
                  <a:lnTo>
                    <a:pt x="478116" y="453588"/>
                  </a:lnTo>
                  <a:lnTo>
                    <a:pt x="470524" y="454970"/>
                  </a:lnTo>
                  <a:lnTo>
                    <a:pt x="498198" y="454970"/>
                  </a:lnTo>
                  <a:lnTo>
                    <a:pt x="505042" y="441536"/>
                  </a:lnTo>
                  <a:lnTo>
                    <a:pt x="505125" y="441075"/>
                  </a:lnTo>
                  <a:lnTo>
                    <a:pt x="505492" y="440667"/>
                  </a:lnTo>
                  <a:lnTo>
                    <a:pt x="505722" y="440237"/>
                  </a:lnTo>
                  <a:lnTo>
                    <a:pt x="505669" y="429201"/>
                  </a:lnTo>
                  <a:lnTo>
                    <a:pt x="503299" y="421751"/>
                  </a:lnTo>
                  <a:lnTo>
                    <a:pt x="499481" y="415055"/>
                  </a:lnTo>
                  <a:lnTo>
                    <a:pt x="494604" y="408976"/>
                  </a:lnTo>
                  <a:lnTo>
                    <a:pt x="489053" y="403296"/>
                  </a:lnTo>
                  <a:lnTo>
                    <a:pt x="479517" y="393988"/>
                  </a:lnTo>
                  <a:lnTo>
                    <a:pt x="470065" y="384593"/>
                  </a:lnTo>
                  <a:lnTo>
                    <a:pt x="464883" y="379360"/>
                  </a:lnTo>
                  <a:close/>
                </a:path>
                <a:path w="506094" h="505459">
                  <a:moveTo>
                    <a:pt x="245265" y="368480"/>
                  </a:moveTo>
                  <a:lnTo>
                    <a:pt x="215543" y="368480"/>
                  </a:lnTo>
                  <a:lnTo>
                    <a:pt x="223228" y="369611"/>
                  </a:lnTo>
                  <a:lnTo>
                    <a:pt x="232191" y="379716"/>
                  </a:lnTo>
                  <a:lnTo>
                    <a:pt x="236066" y="381663"/>
                  </a:lnTo>
                  <a:lnTo>
                    <a:pt x="242202" y="385831"/>
                  </a:lnTo>
                  <a:lnTo>
                    <a:pt x="245060" y="387516"/>
                  </a:lnTo>
                  <a:lnTo>
                    <a:pt x="248924" y="389956"/>
                  </a:lnTo>
                  <a:lnTo>
                    <a:pt x="147061" y="389956"/>
                  </a:lnTo>
                  <a:lnTo>
                    <a:pt x="141137" y="390365"/>
                  </a:lnTo>
                  <a:lnTo>
                    <a:pt x="138320" y="393705"/>
                  </a:lnTo>
                  <a:lnTo>
                    <a:pt x="138425" y="397621"/>
                  </a:lnTo>
                  <a:lnTo>
                    <a:pt x="138540" y="401558"/>
                  </a:lnTo>
                  <a:lnTo>
                    <a:pt x="141503" y="404427"/>
                  </a:lnTo>
                  <a:lnTo>
                    <a:pt x="146240" y="404762"/>
                  </a:lnTo>
                  <a:lnTo>
                    <a:pt x="311173" y="404762"/>
                  </a:lnTo>
                  <a:lnTo>
                    <a:pt x="319339" y="404427"/>
                  </a:lnTo>
                  <a:lnTo>
                    <a:pt x="320824" y="404427"/>
                  </a:lnTo>
                  <a:lnTo>
                    <a:pt x="331789" y="403059"/>
                  </a:lnTo>
                  <a:lnTo>
                    <a:pt x="341890" y="400956"/>
                  </a:lnTo>
                  <a:lnTo>
                    <a:pt x="351863" y="398050"/>
                  </a:lnTo>
                  <a:lnTo>
                    <a:pt x="353151" y="397621"/>
                  </a:lnTo>
                  <a:lnTo>
                    <a:pt x="354785" y="397160"/>
                  </a:lnTo>
                  <a:lnTo>
                    <a:pt x="356701" y="396584"/>
                  </a:lnTo>
                  <a:lnTo>
                    <a:pt x="371371" y="396584"/>
                  </a:lnTo>
                  <a:lnTo>
                    <a:pt x="371318" y="391841"/>
                  </a:lnTo>
                  <a:lnTo>
                    <a:pt x="372083" y="389045"/>
                  </a:lnTo>
                  <a:lnTo>
                    <a:pt x="296252" y="389045"/>
                  </a:lnTo>
                  <a:lnTo>
                    <a:pt x="251187" y="373844"/>
                  </a:lnTo>
                  <a:lnTo>
                    <a:pt x="245265" y="368480"/>
                  </a:lnTo>
                  <a:close/>
                </a:path>
                <a:path w="506094" h="505459">
                  <a:moveTo>
                    <a:pt x="434887" y="359161"/>
                  </a:moveTo>
                  <a:lnTo>
                    <a:pt x="411369" y="359161"/>
                  </a:lnTo>
                  <a:lnTo>
                    <a:pt x="426175" y="374114"/>
                  </a:lnTo>
                  <a:lnTo>
                    <a:pt x="410269" y="389956"/>
                  </a:lnTo>
                  <a:lnTo>
                    <a:pt x="432951" y="389956"/>
                  </a:lnTo>
                  <a:lnTo>
                    <a:pt x="443536" y="379360"/>
                  </a:lnTo>
                  <a:lnTo>
                    <a:pt x="464883" y="379360"/>
                  </a:lnTo>
                  <a:lnTo>
                    <a:pt x="460686" y="375122"/>
                  </a:lnTo>
                  <a:lnTo>
                    <a:pt x="448447" y="362585"/>
                  </a:lnTo>
                  <a:lnTo>
                    <a:pt x="438321" y="362585"/>
                  </a:lnTo>
                  <a:lnTo>
                    <a:pt x="434887" y="359161"/>
                  </a:lnTo>
                  <a:close/>
                </a:path>
                <a:path w="506094" h="505459">
                  <a:moveTo>
                    <a:pt x="429316" y="274358"/>
                  </a:moveTo>
                  <a:lnTo>
                    <a:pt x="426185" y="277635"/>
                  </a:lnTo>
                  <a:lnTo>
                    <a:pt x="425714" y="283258"/>
                  </a:lnTo>
                  <a:lnTo>
                    <a:pt x="412429" y="328779"/>
                  </a:lnTo>
                  <a:lnTo>
                    <a:pt x="383636" y="363861"/>
                  </a:lnTo>
                  <a:lnTo>
                    <a:pt x="343517" y="385089"/>
                  </a:lnTo>
                  <a:lnTo>
                    <a:pt x="296252" y="389045"/>
                  </a:lnTo>
                  <a:lnTo>
                    <a:pt x="372083" y="389045"/>
                  </a:lnTo>
                  <a:lnTo>
                    <a:pt x="372376" y="387977"/>
                  </a:lnTo>
                  <a:lnTo>
                    <a:pt x="378930" y="385611"/>
                  </a:lnTo>
                  <a:lnTo>
                    <a:pt x="379862" y="384867"/>
                  </a:lnTo>
                  <a:lnTo>
                    <a:pt x="380333" y="384593"/>
                  </a:lnTo>
                  <a:lnTo>
                    <a:pt x="405038" y="384593"/>
                  </a:lnTo>
                  <a:lnTo>
                    <a:pt x="395540" y="375122"/>
                  </a:lnTo>
                  <a:lnTo>
                    <a:pt x="395303" y="375122"/>
                  </a:lnTo>
                  <a:lnTo>
                    <a:pt x="411369" y="359161"/>
                  </a:lnTo>
                  <a:lnTo>
                    <a:pt x="434887" y="359161"/>
                  </a:lnTo>
                  <a:lnTo>
                    <a:pt x="420385" y="344701"/>
                  </a:lnTo>
                  <a:lnTo>
                    <a:pt x="438401" y="299425"/>
                  </a:lnTo>
                  <a:lnTo>
                    <a:pt x="440949" y="278703"/>
                  </a:lnTo>
                  <a:lnTo>
                    <a:pt x="438405" y="275174"/>
                  </a:lnTo>
                  <a:lnTo>
                    <a:pt x="429316" y="274358"/>
                  </a:lnTo>
                  <a:close/>
                </a:path>
                <a:path w="506094" h="505459">
                  <a:moveTo>
                    <a:pt x="144843" y="179470"/>
                  </a:moveTo>
                  <a:lnTo>
                    <a:pt x="141247" y="182443"/>
                  </a:lnTo>
                  <a:lnTo>
                    <a:pt x="139074" y="185093"/>
                  </a:lnTo>
                  <a:lnTo>
                    <a:pt x="138142" y="191208"/>
                  </a:lnTo>
                  <a:lnTo>
                    <a:pt x="140770" y="193784"/>
                  </a:lnTo>
                  <a:lnTo>
                    <a:pt x="146246" y="194747"/>
                  </a:lnTo>
                  <a:lnTo>
                    <a:pt x="206715" y="194747"/>
                  </a:lnTo>
                  <a:lnTo>
                    <a:pt x="198296" y="207267"/>
                  </a:lnTo>
                  <a:lnTo>
                    <a:pt x="191467" y="220214"/>
                  </a:lnTo>
                  <a:lnTo>
                    <a:pt x="186190" y="233665"/>
                  </a:lnTo>
                  <a:lnTo>
                    <a:pt x="182480" y="247395"/>
                  </a:lnTo>
                  <a:lnTo>
                    <a:pt x="182359" y="247845"/>
                  </a:lnTo>
                  <a:lnTo>
                    <a:pt x="141723" y="247845"/>
                  </a:lnTo>
                  <a:lnTo>
                    <a:pt x="138529" y="250767"/>
                  </a:lnTo>
                  <a:lnTo>
                    <a:pt x="138414" y="255028"/>
                  </a:lnTo>
                  <a:lnTo>
                    <a:pt x="138309" y="259437"/>
                  </a:lnTo>
                  <a:lnTo>
                    <a:pt x="141731" y="262567"/>
                  </a:lnTo>
                  <a:lnTo>
                    <a:pt x="179544" y="262567"/>
                  </a:lnTo>
                  <a:lnTo>
                    <a:pt x="179544" y="284043"/>
                  </a:lnTo>
                  <a:lnTo>
                    <a:pt x="144274" y="284043"/>
                  </a:lnTo>
                  <a:lnTo>
                    <a:pt x="139451" y="286253"/>
                  </a:lnTo>
                  <a:lnTo>
                    <a:pt x="137796" y="289132"/>
                  </a:lnTo>
                  <a:lnTo>
                    <a:pt x="139514" y="296912"/>
                  </a:lnTo>
                  <a:lnTo>
                    <a:pt x="142487" y="298797"/>
                  </a:lnTo>
                  <a:lnTo>
                    <a:pt x="180853" y="298797"/>
                  </a:lnTo>
                  <a:lnTo>
                    <a:pt x="182245" y="299425"/>
                  </a:lnTo>
                  <a:lnTo>
                    <a:pt x="196930" y="339197"/>
                  </a:lnTo>
                  <a:lnTo>
                    <a:pt x="204747" y="351214"/>
                  </a:lnTo>
                  <a:lnTo>
                    <a:pt x="205250" y="352324"/>
                  </a:lnTo>
                  <a:lnTo>
                    <a:pt x="206275" y="354146"/>
                  </a:lnTo>
                  <a:lnTo>
                    <a:pt x="141566" y="354146"/>
                  </a:lnTo>
                  <a:lnTo>
                    <a:pt x="138550" y="357057"/>
                  </a:lnTo>
                  <a:lnTo>
                    <a:pt x="138431" y="361276"/>
                  </a:lnTo>
                  <a:lnTo>
                    <a:pt x="138309" y="365276"/>
                  </a:lnTo>
                  <a:lnTo>
                    <a:pt x="141199" y="368292"/>
                  </a:lnTo>
                  <a:lnTo>
                    <a:pt x="147473" y="368977"/>
                  </a:lnTo>
                  <a:lnTo>
                    <a:pt x="192523" y="368977"/>
                  </a:lnTo>
                  <a:lnTo>
                    <a:pt x="206590" y="368732"/>
                  </a:lnTo>
                  <a:lnTo>
                    <a:pt x="215543" y="368480"/>
                  </a:lnTo>
                  <a:lnTo>
                    <a:pt x="245265" y="368480"/>
                  </a:lnTo>
                  <a:lnTo>
                    <a:pt x="217191" y="343053"/>
                  </a:lnTo>
                  <a:lnTo>
                    <a:pt x="197775" y="301435"/>
                  </a:lnTo>
                  <a:lnTo>
                    <a:pt x="196698" y="262567"/>
                  </a:lnTo>
                  <a:lnTo>
                    <a:pt x="196598" y="258955"/>
                  </a:lnTo>
                  <a:lnTo>
                    <a:pt x="196490" y="255028"/>
                  </a:lnTo>
                  <a:lnTo>
                    <a:pt x="196454" y="253751"/>
                  </a:lnTo>
                  <a:lnTo>
                    <a:pt x="210075" y="216639"/>
                  </a:lnTo>
                  <a:lnTo>
                    <a:pt x="234598" y="186790"/>
                  </a:lnTo>
                  <a:lnTo>
                    <a:pt x="245883" y="179826"/>
                  </a:lnTo>
                  <a:lnTo>
                    <a:pt x="147566" y="179826"/>
                  </a:lnTo>
                  <a:lnTo>
                    <a:pt x="144843" y="179470"/>
                  </a:lnTo>
                  <a:close/>
                </a:path>
                <a:path w="506094" h="505459">
                  <a:moveTo>
                    <a:pt x="443044" y="359381"/>
                  </a:moveTo>
                  <a:lnTo>
                    <a:pt x="438321" y="362585"/>
                  </a:lnTo>
                  <a:lnTo>
                    <a:pt x="448447" y="362585"/>
                  </a:lnTo>
                  <a:lnTo>
                    <a:pt x="447169" y="361276"/>
                  </a:lnTo>
                  <a:lnTo>
                    <a:pt x="443044" y="359381"/>
                  </a:lnTo>
                  <a:close/>
                </a:path>
                <a:path w="506094" h="505459">
                  <a:moveTo>
                    <a:pt x="312211" y="143911"/>
                  </a:moveTo>
                  <a:lnTo>
                    <a:pt x="145681" y="143911"/>
                  </a:lnTo>
                  <a:lnTo>
                    <a:pt x="141440" y="144163"/>
                  </a:lnTo>
                  <a:lnTo>
                    <a:pt x="139011" y="146519"/>
                  </a:lnTo>
                  <a:lnTo>
                    <a:pt x="137974" y="154518"/>
                  </a:lnTo>
                  <a:lnTo>
                    <a:pt x="140822" y="157900"/>
                  </a:lnTo>
                  <a:lnTo>
                    <a:pt x="146602" y="158790"/>
                  </a:lnTo>
                  <a:lnTo>
                    <a:pt x="305102" y="158790"/>
                  </a:lnTo>
                  <a:lnTo>
                    <a:pt x="345825" y="164484"/>
                  </a:lnTo>
                  <a:lnTo>
                    <a:pt x="380697" y="182443"/>
                  </a:lnTo>
                  <a:lnTo>
                    <a:pt x="407210" y="210821"/>
                  </a:lnTo>
                  <a:lnTo>
                    <a:pt x="422944" y="247845"/>
                  </a:lnTo>
                  <a:lnTo>
                    <a:pt x="423913" y="252987"/>
                  </a:lnTo>
                  <a:lnTo>
                    <a:pt x="425324" y="256526"/>
                  </a:lnTo>
                  <a:lnTo>
                    <a:pt x="426351" y="258955"/>
                  </a:lnTo>
                  <a:lnTo>
                    <a:pt x="429253" y="260243"/>
                  </a:lnTo>
                  <a:lnTo>
                    <a:pt x="436625" y="258955"/>
                  </a:lnTo>
                  <a:lnTo>
                    <a:pt x="438656" y="256526"/>
                  </a:lnTo>
                  <a:lnTo>
                    <a:pt x="438679" y="250337"/>
                  </a:lnTo>
                  <a:lnTo>
                    <a:pt x="438468" y="249154"/>
                  </a:lnTo>
                  <a:lnTo>
                    <a:pt x="438172" y="247845"/>
                  </a:lnTo>
                  <a:lnTo>
                    <a:pt x="438070" y="247395"/>
                  </a:lnTo>
                  <a:lnTo>
                    <a:pt x="415986" y="197456"/>
                  </a:lnTo>
                  <a:lnTo>
                    <a:pt x="375234" y="161125"/>
                  </a:lnTo>
                  <a:lnTo>
                    <a:pt x="372417" y="159461"/>
                  </a:lnTo>
                  <a:lnTo>
                    <a:pt x="371501" y="157900"/>
                  </a:lnTo>
                  <a:lnTo>
                    <a:pt x="371422" y="152047"/>
                  </a:lnTo>
                  <a:lnTo>
                    <a:pt x="356345" y="152047"/>
                  </a:lnTo>
                  <a:lnTo>
                    <a:pt x="345257" y="148589"/>
                  </a:lnTo>
                  <a:lnTo>
                    <a:pt x="334133" y="146024"/>
                  </a:lnTo>
                  <a:lnTo>
                    <a:pt x="322920" y="144429"/>
                  </a:lnTo>
                  <a:lnTo>
                    <a:pt x="312211" y="143911"/>
                  </a:lnTo>
                  <a:close/>
                </a:path>
                <a:path w="506094" h="505459">
                  <a:moveTo>
                    <a:pt x="304977" y="158790"/>
                  </a:moveTo>
                  <a:lnTo>
                    <a:pt x="247466" y="158790"/>
                  </a:lnTo>
                  <a:lnTo>
                    <a:pt x="229252" y="172531"/>
                  </a:lnTo>
                  <a:lnTo>
                    <a:pt x="223218" y="176926"/>
                  </a:lnTo>
                  <a:lnTo>
                    <a:pt x="221134" y="178413"/>
                  </a:lnTo>
                  <a:lnTo>
                    <a:pt x="217912" y="179826"/>
                  </a:lnTo>
                  <a:lnTo>
                    <a:pt x="191546" y="179826"/>
                  </a:lnTo>
                  <a:lnTo>
                    <a:pt x="246460" y="179470"/>
                  </a:lnTo>
                  <a:lnTo>
                    <a:pt x="267193" y="166678"/>
                  </a:lnTo>
                  <a:lnTo>
                    <a:pt x="304977" y="158790"/>
                  </a:lnTo>
                  <a:close/>
                </a:path>
                <a:path w="506094" h="505459">
                  <a:moveTo>
                    <a:pt x="246460" y="179470"/>
                  </a:moveTo>
                  <a:lnTo>
                    <a:pt x="191546" y="179826"/>
                  </a:lnTo>
                  <a:lnTo>
                    <a:pt x="245883" y="179826"/>
                  </a:lnTo>
                  <a:lnTo>
                    <a:pt x="246460" y="179470"/>
                  </a:lnTo>
                  <a:close/>
                </a:path>
                <a:path w="506094" h="505459">
                  <a:moveTo>
                    <a:pt x="374926" y="179470"/>
                  </a:moveTo>
                  <a:lnTo>
                    <a:pt x="246460" y="179470"/>
                  </a:lnTo>
                  <a:lnTo>
                    <a:pt x="245883" y="179826"/>
                  </a:lnTo>
                  <a:lnTo>
                    <a:pt x="375617" y="179826"/>
                  </a:lnTo>
                  <a:lnTo>
                    <a:pt x="374926" y="179470"/>
                  </a:lnTo>
                  <a:close/>
                </a:path>
                <a:path w="506094" h="505459">
                  <a:moveTo>
                    <a:pt x="289957" y="14648"/>
                  </a:moveTo>
                  <a:lnTo>
                    <a:pt x="264787" y="14648"/>
                  </a:lnTo>
                  <a:lnTo>
                    <a:pt x="264798" y="82552"/>
                  </a:lnTo>
                  <a:lnTo>
                    <a:pt x="266351" y="91861"/>
                  </a:lnTo>
                  <a:lnTo>
                    <a:pt x="266469" y="92566"/>
                  </a:lnTo>
                  <a:lnTo>
                    <a:pt x="271240" y="100110"/>
                  </a:lnTo>
                  <a:lnTo>
                    <a:pt x="278795" y="104873"/>
                  </a:lnTo>
                  <a:lnTo>
                    <a:pt x="288881" y="106551"/>
                  </a:lnTo>
                  <a:lnTo>
                    <a:pt x="356345" y="106551"/>
                  </a:lnTo>
                  <a:lnTo>
                    <a:pt x="356345" y="152047"/>
                  </a:lnTo>
                  <a:lnTo>
                    <a:pt x="371422" y="152047"/>
                  </a:lnTo>
                  <a:lnTo>
                    <a:pt x="371318" y="98332"/>
                  </a:lnTo>
                  <a:lnTo>
                    <a:pt x="369904" y="94698"/>
                  </a:lnTo>
                  <a:lnTo>
                    <a:pt x="367090" y="91861"/>
                  </a:lnTo>
                  <a:lnTo>
                    <a:pt x="282798" y="91861"/>
                  </a:lnTo>
                  <a:lnTo>
                    <a:pt x="279866" y="88939"/>
                  </a:lnTo>
                  <a:lnTo>
                    <a:pt x="279719" y="88939"/>
                  </a:lnTo>
                  <a:lnTo>
                    <a:pt x="279635" y="27527"/>
                  </a:lnTo>
                  <a:lnTo>
                    <a:pt x="302938" y="27527"/>
                  </a:lnTo>
                  <a:lnTo>
                    <a:pt x="289957" y="14648"/>
                  </a:lnTo>
                  <a:close/>
                </a:path>
                <a:path w="506094" h="505459">
                  <a:moveTo>
                    <a:pt x="273153" y="0"/>
                  </a:moveTo>
                  <a:lnTo>
                    <a:pt x="20492" y="0"/>
                  </a:lnTo>
                  <a:lnTo>
                    <a:pt x="13178" y="1833"/>
                  </a:lnTo>
                  <a:lnTo>
                    <a:pt x="6655" y="6240"/>
                  </a:lnTo>
                  <a:lnTo>
                    <a:pt x="2129" y="12548"/>
                  </a:lnTo>
                  <a:lnTo>
                    <a:pt x="345" y="20198"/>
                  </a:lnTo>
                  <a:lnTo>
                    <a:pt x="251" y="88939"/>
                  </a:lnTo>
                  <a:lnTo>
                    <a:pt x="3549" y="91861"/>
                  </a:lnTo>
                  <a:lnTo>
                    <a:pt x="11571" y="91861"/>
                  </a:lnTo>
                  <a:lnTo>
                    <a:pt x="14481" y="88939"/>
                  </a:lnTo>
                  <a:lnTo>
                    <a:pt x="14941" y="84468"/>
                  </a:lnTo>
                  <a:lnTo>
                    <a:pt x="14983" y="16732"/>
                  </a:lnTo>
                  <a:lnTo>
                    <a:pt x="17036" y="14648"/>
                  </a:lnTo>
                  <a:lnTo>
                    <a:pt x="289957" y="14648"/>
                  </a:lnTo>
                  <a:lnTo>
                    <a:pt x="276766" y="1570"/>
                  </a:lnTo>
                  <a:lnTo>
                    <a:pt x="273153" y="0"/>
                  </a:lnTo>
                  <a:close/>
                </a:path>
                <a:path w="506094" h="505459">
                  <a:moveTo>
                    <a:pt x="302938" y="27527"/>
                  </a:moveTo>
                  <a:lnTo>
                    <a:pt x="279635" y="27527"/>
                  </a:lnTo>
                  <a:lnTo>
                    <a:pt x="343958" y="91861"/>
                  </a:lnTo>
                  <a:lnTo>
                    <a:pt x="367090" y="91861"/>
                  </a:lnTo>
                  <a:lnTo>
                    <a:pt x="302938" y="2752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293824" y="9679536"/>
              <a:ext cx="193793" cy="191717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130897" y="9636865"/>
              <a:ext cx="65809" cy="65505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131171" y="9847057"/>
              <a:ext cx="65579" cy="65739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130964" y="9740984"/>
              <a:ext cx="65749" cy="65547"/>
            </a:xfrm>
            <a:prstGeom prst="rect">
              <a:avLst/>
            </a:prstGeom>
          </p:spPr>
        </p:pic>
      </p:grpSp>
      <p:pic>
        <p:nvPicPr>
          <p:cNvPr id="12" name="object 1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323062" y="3654338"/>
            <a:ext cx="597486" cy="597480"/>
          </a:xfrm>
          <a:prstGeom prst="rect">
            <a:avLst/>
          </a:prstGeom>
        </p:spPr>
      </p:pic>
      <p:sp>
        <p:nvSpPr>
          <p:cNvPr id="13" name="object 13"/>
          <p:cNvSpPr txBox="1"/>
          <p:nvPr/>
        </p:nvSpPr>
        <p:spPr>
          <a:xfrm>
            <a:off x="1306437" y="1729731"/>
            <a:ext cx="11628310" cy="4268906"/>
          </a:xfrm>
          <a:prstGeom prst="rect">
            <a:avLst/>
          </a:prstGeom>
        </p:spPr>
        <p:txBody>
          <a:bodyPr vert="horz" wrap="square" lIns="0" tIns="34271" rIns="0" bIns="0" rtlCol="0">
            <a:spAutoFit/>
          </a:bodyPr>
          <a:lstStyle/>
          <a:p>
            <a:pPr marL="7701" marR="2100139" defTabSz="554492">
              <a:lnSpc>
                <a:spcPts val="1522"/>
              </a:lnSpc>
              <a:spcBef>
                <a:spcPts val="270"/>
              </a:spcBef>
            </a:pPr>
            <a:r>
              <a:rPr sz="1425" b="1" kern="0" dirty="0" err="1" smtClean="0">
                <a:solidFill>
                  <a:srgbClr val="003B95"/>
                </a:solidFill>
                <a:latin typeface="Verdana"/>
                <a:cs typeface="Verdana"/>
              </a:rPr>
              <a:t>Первичный</a:t>
            </a:r>
            <a:r>
              <a:rPr sz="1425" b="1" kern="0" spc="-9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b="1" kern="0" dirty="0" err="1" smtClean="0">
                <a:solidFill>
                  <a:srgbClr val="003B95"/>
                </a:solidFill>
                <a:latin typeface="Verdana"/>
                <a:cs typeface="Verdana"/>
              </a:rPr>
              <a:t>аудит</a:t>
            </a:r>
            <a:r>
              <a:rPr sz="1425" b="1" kern="0" spc="-6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b="1" kern="0" dirty="0" smtClean="0">
                <a:solidFill>
                  <a:srgbClr val="003B95"/>
                </a:solidFill>
                <a:latin typeface="Verdana"/>
                <a:cs typeface="Verdana"/>
              </a:rPr>
              <a:t>-</a:t>
            </a:r>
            <a:r>
              <a:rPr sz="1425" b="1" kern="0" spc="-9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b="1" kern="0" dirty="0" err="1" smtClean="0">
                <a:solidFill>
                  <a:srgbClr val="003B95"/>
                </a:solidFill>
                <a:latin typeface="Verdana"/>
                <a:cs typeface="Verdana"/>
              </a:rPr>
              <a:t>обязателен</a:t>
            </a:r>
            <a:r>
              <a:rPr sz="1425" b="1" kern="0" spc="-6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b="1" kern="0" dirty="0" err="1" smtClean="0">
                <a:solidFill>
                  <a:srgbClr val="003B95"/>
                </a:solidFill>
                <a:latin typeface="Verdana"/>
                <a:cs typeface="Verdana"/>
              </a:rPr>
              <a:t>до</a:t>
            </a:r>
            <a:r>
              <a:rPr sz="1425" b="1" kern="0" spc="-6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b="1" kern="0" dirty="0" err="1" smtClean="0">
                <a:solidFill>
                  <a:srgbClr val="003B95"/>
                </a:solidFill>
                <a:latin typeface="Verdana"/>
                <a:cs typeface="Verdana"/>
              </a:rPr>
              <a:t>ввода</a:t>
            </a:r>
            <a:r>
              <a:rPr sz="1425" b="1" kern="0" spc="-9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b="1" kern="0" dirty="0" err="1" smtClean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425" b="1" kern="0" spc="9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 smtClean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425" kern="0" spc="-9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 err="1" smtClean="0">
                <a:solidFill>
                  <a:srgbClr val="003B95"/>
                </a:solidFill>
                <a:latin typeface="Verdana"/>
                <a:cs typeface="Verdana"/>
              </a:rPr>
              <a:t>ассортиментную</a:t>
            </a:r>
            <a:r>
              <a:rPr sz="1425" kern="0" spc="-6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 err="1" smtClean="0">
                <a:solidFill>
                  <a:srgbClr val="003B95"/>
                </a:solidFill>
                <a:latin typeface="Verdana"/>
                <a:cs typeface="Verdana"/>
              </a:rPr>
              <a:t>матрицу</a:t>
            </a:r>
            <a:r>
              <a:rPr sz="1425" kern="0" spc="-9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spc="-12" dirty="0" smtClean="0">
                <a:solidFill>
                  <a:srgbClr val="003B95"/>
                </a:solidFill>
                <a:latin typeface="Verdana"/>
                <a:cs typeface="Verdana"/>
              </a:rPr>
              <a:t>СТМ. </a:t>
            </a:r>
            <a:r>
              <a:rPr sz="1425" b="1" kern="0" dirty="0" err="1" smtClean="0">
                <a:solidFill>
                  <a:srgbClr val="003B95"/>
                </a:solidFill>
                <a:latin typeface="Verdana"/>
                <a:cs typeface="Verdana"/>
              </a:rPr>
              <a:t>Внеплановый</a:t>
            </a:r>
            <a:r>
              <a:rPr lang="ru-RU" sz="1425" b="1" kern="0" dirty="0" smtClean="0">
                <a:solidFill>
                  <a:srgbClr val="003B95"/>
                </a:solidFill>
                <a:latin typeface="Verdana"/>
                <a:cs typeface="Verdana"/>
              </a:rPr>
              <a:t> и плановый</a:t>
            </a:r>
            <a:r>
              <a:rPr sz="1425" b="1" kern="0" spc="-15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b="1" kern="0" dirty="0" err="1" smtClean="0">
                <a:solidFill>
                  <a:srgbClr val="003B95"/>
                </a:solidFill>
                <a:latin typeface="Verdana"/>
                <a:cs typeface="Verdana"/>
              </a:rPr>
              <a:t>аудит</a:t>
            </a:r>
            <a:r>
              <a:rPr lang="ru-RU" sz="1425" b="1" kern="0" dirty="0" smtClean="0">
                <a:solidFill>
                  <a:srgbClr val="003B95"/>
                </a:solidFill>
                <a:latin typeface="Verdana"/>
                <a:cs typeface="Verdana"/>
              </a:rPr>
              <a:t>ы</a:t>
            </a:r>
            <a:r>
              <a:rPr sz="1425" b="1" kern="0" spc="-15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lang="ru-RU" sz="1425" kern="0" dirty="0" smtClean="0">
                <a:solidFill>
                  <a:srgbClr val="003B95"/>
                </a:solidFill>
                <a:latin typeface="Verdana"/>
                <a:cs typeface="Verdana"/>
              </a:rPr>
              <a:t>проводятся </a:t>
            </a:r>
            <a:r>
              <a:rPr sz="1425" kern="0" dirty="0" smtClean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425" kern="0" spc="-15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 err="1" smtClean="0">
                <a:solidFill>
                  <a:srgbClr val="003B95"/>
                </a:solidFill>
                <a:latin typeface="Verdana"/>
                <a:cs typeface="Verdana"/>
              </a:rPr>
              <a:t>процессе</a:t>
            </a:r>
            <a:r>
              <a:rPr sz="1425" kern="0" spc="-15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 err="1" smtClean="0">
                <a:solidFill>
                  <a:srgbClr val="003B95"/>
                </a:solidFill>
                <a:latin typeface="Verdana"/>
                <a:cs typeface="Verdana"/>
              </a:rPr>
              <a:t>реализации</a:t>
            </a:r>
            <a:r>
              <a:rPr sz="1425" kern="0" spc="-15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spc="-6" dirty="0" err="1" smtClean="0">
                <a:solidFill>
                  <a:srgbClr val="003B95"/>
                </a:solidFill>
                <a:latin typeface="Verdana"/>
                <a:cs typeface="Verdana"/>
              </a:rPr>
              <a:t>товаров</a:t>
            </a:r>
            <a:r>
              <a:rPr lang="ru-RU" sz="1425" kern="0" spc="-6" dirty="0" smtClean="0">
                <a:solidFill>
                  <a:srgbClr val="003B95"/>
                </a:solidFill>
                <a:latin typeface="Verdana"/>
                <a:cs typeface="Verdana"/>
              </a:rPr>
              <a:t>.</a:t>
            </a:r>
            <a:endParaRPr lang="ru-RU" sz="1425" kern="0" spc="-6" dirty="0">
              <a:solidFill>
                <a:schemeClr val="bg1">
                  <a:lumMod val="95000"/>
                </a:schemeClr>
              </a:solidFill>
              <a:latin typeface="Verdana"/>
              <a:cs typeface="Verdana"/>
            </a:endParaRPr>
          </a:p>
          <a:p>
            <a:pPr marL="7701" marR="2100139" defTabSz="554492">
              <a:lnSpc>
                <a:spcPts val="1522"/>
              </a:lnSpc>
              <a:spcBef>
                <a:spcPts val="270"/>
              </a:spcBef>
            </a:pPr>
            <a:endParaRPr sz="546" i="1" kern="0" dirty="0" smtClea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71470" defTabSz="554492">
              <a:lnSpc>
                <a:spcPts val="1704"/>
              </a:lnSpc>
            </a:pPr>
            <a:r>
              <a:rPr sz="1425" kern="0" dirty="0" err="1" smtClean="0">
                <a:solidFill>
                  <a:srgbClr val="003B95"/>
                </a:solidFill>
                <a:latin typeface="Verdana"/>
                <a:cs typeface="Verdana"/>
              </a:rPr>
              <a:t>Проводится</a:t>
            </a:r>
            <a:r>
              <a:rPr sz="1425" kern="0" spc="-12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конкретной</a:t>
            </a:r>
            <a:r>
              <a:rPr sz="1425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площадке,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где</a:t>
            </a:r>
            <a:r>
              <a:rPr sz="1425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 err="1">
                <a:solidFill>
                  <a:srgbClr val="003B95"/>
                </a:solidFill>
                <a:latin typeface="Verdana"/>
                <a:cs typeface="Verdana"/>
              </a:rPr>
              <a:t>будет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 err="1">
                <a:solidFill>
                  <a:srgbClr val="003B95"/>
                </a:solidFill>
                <a:latin typeface="Verdana"/>
                <a:cs typeface="Verdana"/>
              </a:rPr>
              <a:t>производит</a:t>
            </a:r>
            <a:r>
              <a:rPr lang="ru-RU" sz="1425" kern="0" dirty="0">
                <a:solidFill>
                  <a:srgbClr val="003B95"/>
                </a:solidFill>
                <a:latin typeface="Verdana"/>
                <a:cs typeface="Verdana"/>
              </a:rPr>
              <a:t>ь</a:t>
            </a:r>
            <a:r>
              <a:rPr sz="1425" kern="0" dirty="0" err="1">
                <a:solidFill>
                  <a:srgbClr val="003B95"/>
                </a:solidFill>
                <a:latin typeface="Verdana"/>
                <a:cs typeface="Verdana"/>
              </a:rPr>
              <a:t>ся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планируемый</a:t>
            </a:r>
            <a:r>
              <a:rPr sz="1425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к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вводу</a:t>
            </a:r>
            <a:r>
              <a:rPr sz="1425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продукт.</a:t>
            </a:r>
            <a:endParaRPr sz="142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71470" defTabSz="554492">
              <a:lnSpc>
                <a:spcPts val="1486"/>
              </a:lnSpc>
            </a:pP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Если</a:t>
            </a:r>
            <a:r>
              <a:rPr sz="1243" i="1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площадок</a:t>
            </a:r>
            <a:r>
              <a:rPr sz="1243" i="1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несколько,</a:t>
            </a:r>
            <a:r>
              <a:rPr sz="1243" i="1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то</a:t>
            </a:r>
            <a:r>
              <a:rPr sz="1243" i="1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аудит</a:t>
            </a:r>
            <a:r>
              <a:rPr sz="1243" i="1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проводится</a:t>
            </a:r>
            <a:r>
              <a:rPr sz="1243" i="1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1243" i="1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каждой</a:t>
            </a:r>
            <a:r>
              <a:rPr sz="1243" i="1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из</a:t>
            </a:r>
            <a:r>
              <a:rPr sz="1243" i="1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spc="-12" dirty="0">
                <a:solidFill>
                  <a:srgbClr val="003B95"/>
                </a:solidFill>
                <a:latin typeface="Verdana"/>
                <a:cs typeface="Verdana"/>
              </a:rPr>
              <a:t>них.</a:t>
            </a: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544095" marR="1138249" defTabSz="554492">
              <a:lnSpc>
                <a:spcPts val="1522"/>
              </a:lnSpc>
              <a:spcBef>
                <a:spcPts val="1228"/>
              </a:spcBef>
            </a:pP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Аудит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включает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проверку</a:t>
            </a:r>
            <a:r>
              <a:rPr sz="142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документации,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зданий,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сооружений,</a:t>
            </a:r>
            <a:r>
              <a:rPr sz="142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оборудования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42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пр.,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непосредственно</a:t>
            </a:r>
            <a:r>
              <a:rPr sz="142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участвующих</a:t>
            </a:r>
            <a:r>
              <a:rPr sz="142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42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процессе производства,</a:t>
            </a:r>
            <a:r>
              <a:rPr sz="142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хранения,</a:t>
            </a:r>
            <a:r>
              <a:rPr sz="142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обработки, 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упаковки,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транспортировки,</a:t>
            </a:r>
            <a:r>
              <a:rPr sz="1425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реализации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сырья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готовой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 err="1">
                <a:solidFill>
                  <a:srgbClr val="003B95"/>
                </a:solidFill>
                <a:latin typeface="Verdana"/>
                <a:cs typeface="Verdana"/>
              </a:rPr>
              <a:t>продукции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spc="-15" dirty="0" smtClean="0">
                <a:solidFill>
                  <a:srgbClr val="003B95"/>
                </a:solidFill>
                <a:latin typeface="Verdana"/>
                <a:cs typeface="Verdana"/>
              </a:rPr>
              <a:t>СТМ</a:t>
            </a:r>
            <a:r>
              <a:rPr lang="ru-RU" sz="1425" kern="0" spc="-15" dirty="0" smtClean="0">
                <a:solidFill>
                  <a:srgbClr val="003B95"/>
                </a:solidFill>
                <a:latin typeface="Verdana"/>
                <a:cs typeface="Verdana"/>
              </a:rPr>
              <a:t>.</a:t>
            </a:r>
            <a:endParaRPr sz="142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829813" defTabSz="554492">
              <a:lnSpc>
                <a:spcPts val="1704"/>
              </a:lnSpc>
              <a:spcBef>
                <a:spcPts val="1267"/>
              </a:spcBef>
            </a:pP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Аудитор</a:t>
            </a:r>
            <a:r>
              <a:rPr sz="1425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–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сотрудник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Ленты</a:t>
            </a:r>
            <a:r>
              <a:rPr sz="1425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или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аудитор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независимых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 err="1">
                <a:solidFill>
                  <a:srgbClr val="003B95"/>
                </a:solidFill>
                <a:latin typeface="Verdana"/>
                <a:cs typeface="Verdana"/>
              </a:rPr>
              <a:t>аудиторских</a:t>
            </a:r>
            <a:r>
              <a:rPr sz="1425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spc="-6" dirty="0" err="1" smtClean="0">
                <a:solidFill>
                  <a:srgbClr val="003B95"/>
                </a:solidFill>
                <a:latin typeface="Verdana"/>
                <a:cs typeface="Verdana"/>
              </a:rPr>
              <a:t>компаний</a:t>
            </a:r>
            <a:r>
              <a:rPr lang="ru-RU" sz="1425" kern="0" spc="-6" dirty="0" smtClean="0">
                <a:solidFill>
                  <a:srgbClr val="003B95"/>
                </a:solidFill>
                <a:latin typeface="Verdana"/>
                <a:cs typeface="Verdana"/>
              </a:rPr>
              <a:t>.</a:t>
            </a:r>
            <a:endParaRPr sz="142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829813" defTabSz="554492">
              <a:lnSpc>
                <a:spcPts val="1486"/>
              </a:lnSpc>
            </a:pP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Порядок</a:t>
            </a:r>
            <a:r>
              <a:rPr sz="1243" i="1" kern="0" spc="-5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проведения</a:t>
            </a:r>
            <a:r>
              <a:rPr sz="1243" i="1" kern="0" spc="-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аудита</a:t>
            </a:r>
            <a:r>
              <a:rPr sz="1243" i="1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одинаков,</a:t>
            </a:r>
            <a:r>
              <a:rPr sz="1243" i="1" kern="0" spc="-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независимо</a:t>
            </a:r>
            <a:r>
              <a:rPr sz="1243" i="1" kern="0" spc="-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от</a:t>
            </a:r>
            <a:r>
              <a:rPr sz="1243" i="1" kern="0" spc="-5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spc="-6" dirty="0">
                <a:solidFill>
                  <a:srgbClr val="003B95"/>
                </a:solidFill>
                <a:latin typeface="Verdana"/>
                <a:cs typeface="Verdana"/>
              </a:rPr>
              <a:t>исполнителя.</a:t>
            </a: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544866" marR="1287654" algn="just" defTabSz="554492">
              <a:lnSpc>
                <a:spcPct val="93800"/>
              </a:lnSpc>
              <a:spcBef>
                <a:spcPts val="1477"/>
              </a:spcBef>
            </a:pP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Результаты</a:t>
            </a:r>
            <a:r>
              <a:rPr sz="1425" kern="0" spc="-1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проведенного</a:t>
            </a:r>
            <a:r>
              <a:rPr sz="1425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аудита</a:t>
            </a:r>
            <a:r>
              <a:rPr sz="1425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производственной</a:t>
            </a:r>
            <a:r>
              <a:rPr sz="1425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площадки</a:t>
            </a:r>
            <a:r>
              <a:rPr sz="1425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распространяются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1425" kern="0" spc="-15" dirty="0">
                <a:solidFill>
                  <a:srgbClr val="003B95"/>
                </a:solidFill>
                <a:latin typeface="Verdana"/>
                <a:cs typeface="Verdana"/>
              </a:rPr>
              <a:t> все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товары,</a:t>
            </a:r>
            <a:r>
              <a:rPr sz="1425" kern="0" spc="-2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поставляемые</a:t>
            </a:r>
            <a:r>
              <a:rPr sz="1425" kern="0" spc="-1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425" kern="0" spc="-2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сеть</a:t>
            </a:r>
            <a:r>
              <a:rPr sz="1425" kern="0" spc="-1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ЛЕНТА.</a:t>
            </a:r>
            <a:r>
              <a:rPr sz="1425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Если</a:t>
            </a:r>
            <a:r>
              <a:rPr sz="1243" i="1" kern="0" spc="-1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площадка</a:t>
            </a:r>
            <a:r>
              <a:rPr sz="1243" i="1" kern="0" spc="-1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не</a:t>
            </a:r>
            <a:r>
              <a:rPr sz="1243" i="1" kern="0" spc="-1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аттестована,</a:t>
            </a:r>
            <a:r>
              <a:rPr sz="1243" i="1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останавливаются</a:t>
            </a:r>
            <a:r>
              <a:rPr sz="1243" i="1" kern="0" spc="-1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spc="-6" dirty="0">
                <a:solidFill>
                  <a:srgbClr val="003B95"/>
                </a:solidFill>
                <a:latin typeface="Verdana"/>
                <a:cs typeface="Verdana"/>
              </a:rPr>
              <a:t>поставки </a:t>
            </a:r>
            <a:r>
              <a:rPr sz="1243" i="1" kern="0" dirty="0" err="1">
                <a:solidFill>
                  <a:srgbClr val="003B95"/>
                </a:solidFill>
                <a:latin typeface="Verdana"/>
                <a:cs typeface="Verdana"/>
              </a:rPr>
              <a:t>всего</a:t>
            </a:r>
            <a:r>
              <a:rPr sz="1243" i="1" kern="0" spc="-3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 err="1">
                <a:solidFill>
                  <a:srgbClr val="003B95"/>
                </a:solidFill>
                <a:latin typeface="Verdana"/>
                <a:cs typeface="Verdana"/>
              </a:rPr>
              <a:t>производимого</a:t>
            </a:r>
            <a:r>
              <a:rPr sz="1243" i="1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 err="1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1243" i="1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ней</a:t>
            </a:r>
            <a:r>
              <a:rPr sz="1243" i="1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ассортимента</a:t>
            </a:r>
            <a:r>
              <a:rPr sz="1243" i="1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(</a:t>
            </a:r>
            <a:r>
              <a:rPr sz="1243" i="1" kern="0" dirty="0" err="1">
                <a:solidFill>
                  <a:srgbClr val="003B95"/>
                </a:solidFill>
                <a:latin typeface="Verdana"/>
                <a:cs typeface="Verdana"/>
              </a:rPr>
              <a:t>товары</a:t>
            </a:r>
            <a:r>
              <a:rPr sz="1243" i="1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lang="ru-RU" sz="1243" i="1" kern="0" dirty="0">
                <a:solidFill>
                  <a:srgbClr val="003B95"/>
                </a:solidFill>
                <a:latin typeface="Verdana"/>
                <a:cs typeface="Verdana"/>
              </a:rPr>
              <a:t>б</a:t>
            </a:r>
            <a:r>
              <a:rPr sz="1243" i="1" kern="0" dirty="0" err="1">
                <a:solidFill>
                  <a:srgbClr val="003B95"/>
                </a:solidFill>
                <a:latin typeface="Verdana"/>
                <a:cs typeface="Verdana"/>
              </a:rPr>
              <a:t>ренд</a:t>
            </a:r>
            <a:r>
              <a:rPr lang="ru-RU" sz="1243" i="1" kern="0" dirty="0">
                <a:solidFill>
                  <a:srgbClr val="003B95"/>
                </a:solidFill>
                <a:latin typeface="Verdana"/>
                <a:cs typeface="Verdana"/>
              </a:rPr>
              <a:t>а</a:t>
            </a:r>
            <a:r>
              <a:rPr sz="1243" i="1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поставщика,</a:t>
            </a:r>
            <a:r>
              <a:rPr sz="1243" i="1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товары</a:t>
            </a:r>
            <a:r>
              <a:rPr sz="1243" i="1" kern="0" spc="-3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СТМ,</a:t>
            </a:r>
            <a:r>
              <a:rPr sz="1243" i="1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spc="-6" dirty="0" err="1">
                <a:solidFill>
                  <a:srgbClr val="003B95"/>
                </a:solidFill>
                <a:latin typeface="Verdana"/>
                <a:cs typeface="Verdana"/>
              </a:rPr>
              <a:t>сырье</a:t>
            </a:r>
            <a:r>
              <a:rPr sz="1243" i="1" kern="0" spc="-6" dirty="0" smtClean="0">
                <a:solidFill>
                  <a:srgbClr val="003B95"/>
                </a:solidFill>
                <a:latin typeface="Verdana"/>
                <a:cs typeface="Verdana"/>
              </a:rPr>
              <a:t>)</a:t>
            </a:r>
            <a:r>
              <a:rPr lang="ru-RU" sz="1243" i="1" kern="0" spc="-6" dirty="0" smtClean="0">
                <a:solidFill>
                  <a:srgbClr val="003B95"/>
                </a:solidFill>
                <a:latin typeface="Verdana"/>
                <a:cs typeface="Verdana"/>
              </a:rPr>
              <a:t>.</a:t>
            </a: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88028" defTabSz="554492">
              <a:lnSpc>
                <a:spcPts val="1704"/>
              </a:lnSpc>
              <a:spcBef>
                <a:spcPts val="1134"/>
              </a:spcBef>
            </a:pP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Аудитор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запрашивает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разрешение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фото/видеосъемку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для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фиксирования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03B95"/>
                </a:solidFill>
                <a:latin typeface="Verdana"/>
                <a:cs typeface="Verdana"/>
              </a:rPr>
              <a:t>объективных</a:t>
            </a:r>
            <a:r>
              <a:rPr sz="1425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kern="0" spc="-6" dirty="0">
                <a:solidFill>
                  <a:srgbClr val="003B95"/>
                </a:solidFill>
                <a:latin typeface="Verdana"/>
                <a:cs typeface="Verdana"/>
              </a:rPr>
              <a:t>доказательств.</a:t>
            </a:r>
            <a:endParaRPr sz="142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88028" defTabSz="554492">
              <a:lnSpc>
                <a:spcPts val="1486"/>
              </a:lnSpc>
            </a:pP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Отказ</a:t>
            </a:r>
            <a:r>
              <a:rPr sz="1243" i="1" kern="0" spc="-4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от</a:t>
            </a:r>
            <a:r>
              <a:rPr sz="1243" i="1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spc="-6" dirty="0">
                <a:solidFill>
                  <a:srgbClr val="003B95"/>
                </a:solidFill>
                <a:latin typeface="Verdana"/>
                <a:cs typeface="Verdana"/>
              </a:rPr>
              <a:t>фото/видеосъемки</a:t>
            </a:r>
            <a:r>
              <a:rPr sz="1243" i="1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затруднит</a:t>
            </a:r>
            <a:r>
              <a:rPr sz="1243" i="1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пересмотр</a:t>
            </a:r>
            <a:r>
              <a:rPr sz="1243" i="1" kern="0" spc="-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>
                <a:solidFill>
                  <a:srgbClr val="003B95"/>
                </a:solidFill>
                <a:latin typeface="Verdana"/>
                <a:cs typeface="Verdana"/>
              </a:rPr>
              <a:t>заключения</a:t>
            </a:r>
            <a:r>
              <a:rPr sz="1243" i="1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 err="1">
                <a:solidFill>
                  <a:srgbClr val="003B95"/>
                </a:solidFill>
                <a:latin typeface="Verdana"/>
                <a:cs typeface="Verdana"/>
              </a:rPr>
              <a:t>аудитора</a:t>
            </a:r>
            <a:r>
              <a:rPr sz="1243" i="1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lang="ru-RU" sz="1243" i="1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243" i="1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dirty="0" err="1">
                <a:solidFill>
                  <a:srgbClr val="003B95"/>
                </a:solidFill>
                <a:latin typeface="Verdana"/>
                <a:cs typeface="Verdana"/>
              </a:rPr>
              <a:t>спорных</a:t>
            </a:r>
            <a:r>
              <a:rPr sz="1243" i="1" kern="0" spc="-3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i="1" kern="0" spc="-6" dirty="0" err="1" smtClean="0">
                <a:solidFill>
                  <a:srgbClr val="003B95"/>
                </a:solidFill>
                <a:latin typeface="Verdana"/>
                <a:cs typeface="Verdana"/>
              </a:rPr>
              <a:t>ситуациях</a:t>
            </a:r>
            <a:r>
              <a:rPr lang="ru-RU" sz="1243" i="1" kern="0" spc="-6" dirty="0" smtClean="0">
                <a:solidFill>
                  <a:srgbClr val="003B95"/>
                </a:solidFill>
                <a:latin typeface="Verdana"/>
                <a:cs typeface="Verdana"/>
              </a:rPr>
              <a:t>.</a:t>
            </a: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defTabSz="554492">
              <a:spcBef>
                <a:spcPts val="1240"/>
              </a:spcBef>
            </a:pP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9627" defTabSz="554492"/>
            <a:r>
              <a:rPr sz="1425" b="1" kern="0" dirty="0">
                <a:solidFill>
                  <a:srgbClr val="003B95"/>
                </a:solidFill>
                <a:latin typeface="Verdana"/>
                <a:cs typeface="Verdana"/>
              </a:rPr>
              <a:t>План</a:t>
            </a:r>
            <a:r>
              <a:rPr sz="1425" b="1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003B95"/>
                </a:solidFill>
                <a:latin typeface="Verdana"/>
                <a:cs typeface="Verdana"/>
              </a:rPr>
              <a:t>аудита</a:t>
            </a:r>
            <a:r>
              <a:rPr sz="1425" b="1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003B95"/>
                </a:solidFill>
                <a:latin typeface="Verdana"/>
                <a:cs typeface="Verdana"/>
              </a:rPr>
              <a:t>можно</a:t>
            </a:r>
            <a:r>
              <a:rPr sz="1425" b="1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425" b="1" kern="0" dirty="0" err="1">
                <a:solidFill>
                  <a:srgbClr val="003B95"/>
                </a:solidFill>
                <a:latin typeface="Verdana"/>
                <a:cs typeface="Verdana"/>
              </a:rPr>
              <a:t>найти</a:t>
            </a:r>
            <a:r>
              <a:rPr sz="1425" b="1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lang="ru-RU" sz="1425" b="1" kern="0" dirty="0">
                <a:solidFill>
                  <a:srgbClr val="003B95"/>
                </a:solidFill>
                <a:latin typeface="Verdana"/>
                <a:cs typeface="Verdana"/>
              </a:rPr>
              <a:t>на сайте </a:t>
            </a:r>
            <a:r>
              <a:rPr lang="en-US" sz="1425" i="1" kern="0" spc="-6" dirty="0">
                <a:solidFill>
                  <a:schemeClr val="tx2"/>
                </a:solidFill>
                <a:latin typeface="Verdana"/>
                <a:cs typeface="Verdana"/>
              </a:rPr>
              <a:t>https://</a:t>
            </a:r>
            <a:r>
              <a:rPr lang="en-US" sz="1425" i="1" kern="0" spc="-6" dirty="0" smtClean="0">
                <a:solidFill>
                  <a:schemeClr val="tx2"/>
                </a:solidFill>
                <a:latin typeface="Verdana"/>
                <a:cs typeface="Verdana"/>
              </a:rPr>
              <a:t>lenta.com/i/postavshchikam/kontrol-kachestva/</a:t>
            </a:r>
            <a:endParaRPr sz="1425" kern="0" dirty="0">
              <a:solidFill>
                <a:schemeClr val="tx2"/>
              </a:solidFill>
              <a:latin typeface="Verdana"/>
              <a:cs typeface="Verdana"/>
            </a:endParaRPr>
          </a:p>
        </p:txBody>
      </p:sp>
      <p:pic>
        <p:nvPicPr>
          <p:cNvPr id="14" name="object 14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03918" y="1703758"/>
            <a:ext cx="597486" cy="597480"/>
          </a:xfrm>
          <a:prstGeom prst="rect">
            <a:avLst/>
          </a:prstGeom>
        </p:spPr>
      </p:pic>
      <p:pic>
        <p:nvPicPr>
          <p:cNvPr id="15" name="object 1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776966" y="2353951"/>
            <a:ext cx="597486" cy="597480"/>
          </a:xfrm>
          <a:prstGeom prst="rect">
            <a:avLst/>
          </a:prstGeom>
        </p:spPr>
      </p:pic>
      <p:grpSp>
        <p:nvGrpSpPr>
          <p:cNvPr id="16" name="object 16"/>
          <p:cNvGrpSpPr/>
          <p:nvPr/>
        </p:nvGrpSpPr>
        <p:grpSpPr>
          <a:xfrm>
            <a:off x="929097" y="5116266"/>
            <a:ext cx="288413" cy="288413"/>
            <a:chOff x="1531443" y="8437100"/>
            <a:chExt cx="475615" cy="475615"/>
          </a:xfrm>
        </p:grpSpPr>
        <p:sp>
          <p:nvSpPr>
            <p:cNvPr id="17" name="object 17"/>
            <p:cNvSpPr/>
            <p:nvPr/>
          </p:nvSpPr>
          <p:spPr>
            <a:xfrm>
              <a:off x="1531442" y="8437111"/>
              <a:ext cx="475615" cy="475615"/>
            </a:xfrm>
            <a:custGeom>
              <a:avLst/>
              <a:gdLst/>
              <a:ahLst/>
              <a:cxnLst/>
              <a:rect l="l" t="t" r="r" b="b"/>
              <a:pathLst>
                <a:path w="475614" h="475615">
                  <a:moveTo>
                    <a:pt x="317017" y="137807"/>
                  </a:moveTo>
                  <a:lnTo>
                    <a:pt x="314833" y="135623"/>
                  </a:lnTo>
                  <a:lnTo>
                    <a:pt x="300990" y="135623"/>
                  </a:lnTo>
                  <a:lnTo>
                    <a:pt x="300990" y="151765"/>
                  </a:lnTo>
                  <a:lnTo>
                    <a:pt x="300990" y="186334"/>
                  </a:lnTo>
                  <a:lnTo>
                    <a:pt x="290258" y="175628"/>
                  </a:lnTo>
                  <a:lnTo>
                    <a:pt x="290258" y="198805"/>
                  </a:lnTo>
                  <a:lnTo>
                    <a:pt x="257822" y="198805"/>
                  </a:lnTo>
                  <a:lnTo>
                    <a:pt x="256336" y="197904"/>
                  </a:lnTo>
                  <a:lnTo>
                    <a:pt x="234861" y="176428"/>
                  </a:lnTo>
                  <a:lnTo>
                    <a:pt x="234861" y="198805"/>
                  </a:lnTo>
                  <a:lnTo>
                    <a:pt x="202196" y="198805"/>
                  </a:lnTo>
                  <a:lnTo>
                    <a:pt x="201231" y="198183"/>
                  </a:lnTo>
                  <a:lnTo>
                    <a:pt x="178612" y="175602"/>
                  </a:lnTo>
                  <a:lnTo>
                    <a:pt x="178612" y="198805"/>
                  </a:lnTo>
                  <a:lnTo>
                    <a:pt x="146926" y="198805"/>
                  </a:lnTo>
                  <a:lnTo>
                    <a:pt x="145732" y="197904"/>
                  </a:lnTo>
                  <a:lnTo>
                    <a:pt x="124282" y="176479"/>
                  </a:lnTo>
                  <a:lnTo>
                    <a:pt x="124282" y="198805"/>
                  </a:lnTo>
                  <a:lnTo>
                    <a:pt x="92329" y="198805"/>
                  </a:lnTo>
                  <a:lnTo>
                    <a:pt x="91503" y="198539"/>
                  </a:lnTo>
                  <a:lnTo>
                    <a:pt x="90843" y="198335"/>
                  </a:lnTo>
                  <a:lnTo>
                    <a:pt x="43878" y="151523"/>
                  </a:lnTo>
                  <a:lnTo>
                    <a:pt x="76530" y="151523"/>
                  </a:lnTo>
                  <a:lnTo>
                    <a:pt x="76898" y="151765"/>
                  </a:lnTo>
                  <a:lnTo>
                    <a:pt x="77203" y="151904"/>
                  </a:lnTo>
                  <a:lnTo>
                    <a:pt x="124282" y="198805"/>
                  </a:lnTo>
                  <a:lnTo>
                    <a:pt x="124282" y="176479"/>
                  </a:lnTo>
                  <a:lnTo>
                    <a:pt x="100634" y="152844"/>
                  </a:lnTo>
                  <a:lnTo>
                    <a:pt x="100495" y="152387"/>
                  </a:lnTo>
                  <a:lnTo>
                    <a:pt x="100025" y="151523"/>
                  </a:lnTo>
                  <a:lnTo>
                    <a:pt x="131787" y="151523"/>
                  </a:lnTo>
                  <a:lnTo>
                    <a:pt x="132943" y="152387"/>
                  </a:lnTo>
                  <a:lnTo>
                    <a:pt x="177965" y="197396"/>
                  </a:lnTo>
                  <a:lnTo>
                    <a:pt x="178130" y="197904"/>
                  </a:lnTo>
                  <a:lnTo>
                    <a:pt x="178612" y="198805"/>
                  </a:lnTo>
                  <a:lnTo>
                    <a:pt x="178612" y="175602"/>
                  </a:lnTo>
                  <a:lnTo>
                    <a:pt x="154495" y="151523"/>
                  </a:lnTo>
                  <a:lnTo>
                    <a:pt x="186575" y="151523"/>
                  </a:lnTo>
                  <a:lnTo>
                    <a:pt x="187756" y="151904"/>
                  </a:lnTo>
                  <a:lnTo>
                    <a:pt x="234861" y="198805"/>
                  </a:lnTo>
                  <a:lnTo>
                    <a:pt x="234861" y="176428"/>
                  </a:lnTo>
                  <a:lnTo>
                    <a:pt x="209969" y="151523"/>
                  </a:lnTo>
                  <a:lnTo>
                    <a:pt x="213347" y="151523"/>
                  </a:lnTo>
                  <a:lnTo>
                    <a:pt x="222592" y="151130"/>
                  </a:lnTo>
                  <a:lnTo>
                    <a:pt x="227622" y="150787"/>
                  </a:lnTo>
                  <a:lnTo>
                    <a:pt x="236080" y="150787"/>
                  </a:lnTo>
                  <a:lnTo>
                    <a:pt x="242163" y="152234"/>
                  </a:lnTo>
                  <a:lnTo>
                    <a:pt x="247497" y="155486"/>
                  </a:lnTo>
                  <a:lnTo>
                    <a:pt x="252298" y="160058"/>
                  </a:lnTo>
                  <a:lnTo>
                    <a:pt x="256844" y="165214"/>
                  </a:lnTo>
                  <a:lnTo>
                    <a:pt x="261442" y="170218"/>
                  </a:lnTo>
                  <a:lnTo>
                    <a:pt x="290258" y="198805"/>
                  </a:lnTo>
                  <a:lnTo>
                    <a:pt x="290258" y="175628"/>
                  </a:lnTo>
                  <a:lnTo>
                    <a:pt x="266357" y="151765"/>
                  </a:lnTo>
                  <a:lnTo>
                    <a:pt x="300990" y="151765"/>
                  </a:lnTo>
                  <a:lnTo>
                    <a:pt x="300990" y="135623"/>
                  </a:lnTo>
                  <a:lnTo>
                    <a:pt x="90233" y="135623"/>
                  </a:lnTo>
                  <a:lnTo>
                    <a:pt x="90284" y="134759"/>
                  </a:lnTo>
                  <a:lnTo>
                    <a:pt x="93065" y="133946"/>
                  </a:lnTo>
                  <a:lnTo>
                    <a:pt x="102781" y="131343"/>
                  </a:lnTo>
                  <a:lnTo>
                    <a:pt x="156552" y="116916"/>
                  </a:lnTo>
                  <a:lnTo>
                    <a:pt x="209765" y="102628"/>
                  </a:lnTo>
                  <a:lnTo>
                    <a:pt x="262597" y="88455"/>
                  </a:lnTo>
                  <a:lnTo>
                    <a:pt x="307073" y="76517"/>
                  </a:lnTo>
                  <a:lnTo>
                    <a:pt x="307378" y="76517"/>
                  </a:lnTo>
                  <a:lnTo>
                    <a:pt x="308787" y="74028"/>
                  </a:lnTo>
                  <a:lnTo>
                    <a:pt x="309054" y="73571"/>
                  </a:lnTo>
                  <a:lnTo>
                    <a:pt x="297294" y="29743"/>
                  </a:lnTo>
                  <a:lnTo>
                    <a:pt x="295224" y="22009"/>
                  </a:lnTo>
                  <a:lnTo>
                    <a:pt x="290322" y="3746"/>
                  </a:lnTo>
                  <a:lnTo>
                    <a:pt x="290322" y="64681"/>
                  </a:lnTo>
                  <a:lnTo>
                    <a:pt x="255371" y="74028"/>
                  </a:lnTo>
                  <a:lnTo>
                    <a:pt x="280924" y="29743"/>
                  </a:lnTo>
                  <a:lnTo>
                    <a:pt x="290322" y="64681"/>
                  </a:lnTo>
                  <a:lnTo>
                    <a:pt x="290322" y="3746"/>
                  </a:lnTo>
                  <a:lnTo>
                    <a:pt x="289687" y="1371"/>
                  </a:lnTo>
                  <a:lnTo>
                    <a:pt x="287350" y="0"/>
                  </a:lnTo>
                  <a:lnTo>
                    <a:pt x="266712" y="5537"/>
                  </a:lnTo>
                  <a:lnTo>
                    <a:pt x="266712" y="22009"/>
                  </a:lnTo>
                  <a:lnTo>
                    <a:pt x="265950" y="23622"/>
                  </a:lnTo>
                  <a:lnTo>
                    <a:pt x="241579" y="66217"/>
                  </a:lnTo>
                  <a:lnTo>
                    <a:pt x="201917" y="88379"/>
                  </a:lnTo>
                  <a:lnTo>
                    <a:pt x="216776" y="62839"/>
                  </a:lnTo>
                  <a:lnTo>
                    <a:pt x="223837" y="50520"/>
                  </a:lnTo>
                  <a:lnTo>
                    <a:pt x="230873" y="37884"/>
                  </a:lnTo>
                  <a:lnTo>
                    <a:pt x="231787" y="36220"/>
                  </a:lnTo>
                  <a:lnTo>
                    <a:pt x="233972" y="32194"/>
                  </a:lnTo>
                  <a:lnTo>
                    <a:pt x="237807" y="29095"/>
                  </a:lnTo>
                  <a:lnTo>
                    <a:pt x="251485" y="26454"/>
                  </a:lnTo>
                  <a:lnTo>
                    <a:pt x="258673" y="24130"/>
                  </a:lnTo>
                  <a:lnTo>
                    <a:pt x="266712" y="22009"/>
                  </a:lnTo>
                  <a:lnTo>
                    <a:pt x="266712" y="5537"/>
                  </a:lnTo>
                  <a:lnTo>
                    <a:pt x="213702" y="19748"/>
                  </a:lnTo>
                  <a:lnTo>
                    <a:pt x="213702" y="36220"/>
                  </a:lnTo>
                  <a:lnTo>
                    <a:pt x="211899" y="39370"/>
                  </a:lnTo>
                  <a:lnTo>
                    <a:pt x="210654" y="41605"/>
                  </a:lnTo>
                  <a:lnTo>
                    <a:pt x="196418" y="66217"/>
                  </a:lnTo>
                  <a:lnTo>
                    <a:pt x="189979" y="77444"/>
                  </a:lnTo>
                  <a:lnTo>
                    <a:pt x="183654" y="88722"/>
                  </a:lnTo>
                  <a:lnTo>
                    <a:pt x="181483" y="92646"/>
                  </a:lnTo>
                  <a:lnTo>
                    <a:pt x="181356" y="92862"/>
                  </a:lnTo>
                  <a:lnTo>
                    <a:pt x="178498" y="94996"/>
                  </a:lnTo>
                  <a:lnTo>
                    <a:pt x="174015" y="96012"/>
                  </a:lnTo>
                  <a:lnTo>
                    <a:pt x="167919" y="97485"/>
                  </a:lnTo>
                  <a:lnTo>
                    <a:pt x="148590" y="102628"/>
                  </a:lnTo>
                  <a:lnTo>
                    <a:pt x="169468" y="66421"/>
                  </a:lnTo>
                  <a:lnTo>
                    <a:pt x="178676" y="50520"/>
                  </a:lnTo>
                  <a:lnTo>
                    <a:pt x="181483" y="45669"/>
                  </a:lnTo>
                  <a:lnTo>
                    <a:pt x="182613" y="44538"/>
                  </a:lnTo>
                  <a:lnTo>
                    <a:pt x="213702" y="36220"/>
                  </a:lnTo>
                  <a:lnTo>
                    <a:pt x="213702" y="19748"/>
                  </a:lnTo>
                  <a:lnTo>
                    <a:pt x="160350" y="34048"/>
                  </a:lnTo>
                  <a:lnTo>
                    <a:pt x="160350" y="50520"/>
                  </a:lnTo>
                  <a:lnTo>
                    <a:pt x="136042" y="92646"/>
                  </a:lnTo>
                  <a:lnTo>
                    <a:pt x="127406" y="107518"/>
                  </a:lnTo>
                  <a:lnTo>
                    <a:pt x="126022" y="108597"/>
                  </a:lnTo>
                  <a:lnTo>
                    <a:pt x="117665" y="110934"/>
                  </a:lnTo>
                  <a:lnTo>
                    <a:pt x="95465" y="116916"/>
                  </a:lnTo>
                  <a:lnTo>
                    <a:pt x="96532" y="114808"/>
                  </a:lnTo>
                  <a:lnTo>
                    <a:pt x="97167" y="113411"/>
                  </a:lnTo>
                  <a:lnTo>
                    <a:pt x="119354" y="74993"/>
                  </a:lnTo>
                  <a:lnTo>
                    <a:pt x="160350" y="50520"/>
                  </a:lnTo>
                  <a:lnTo>
                    <a:pt x="160350" y="34048"/>
                  </a:lnTo>
                  <a:lnTo>
                    <a:pt x="106426" y="48501"/>
                  </a:lnTo>
                  <a:lnTo>
                    <a:pt x="106426" y="64922"/>
                  </a:lnTo>
                  <a:lnTo>
                    <a:pt x="105892" y="66217"/>
                  </a:lnTo>
                  <a:lnTo>
                    <a:pt x="105803" y="66421"/>
                  </a:lnTo>
                  <a:lnTo>
                    <a:pt x="105587" y="67170"/>
                  </a:lnTo>
                  <a:lnTo>
                    <a:pt x="90893" y="92646"/>
                  </a:lnTo>
                  <a:lnTo>
                    <a:pt x="74320" y="121335"/>
                  </a:lnTo>
                  <a:lnTo>
                    <a:pt x="73355" y="122631"/>
                  </a:lnTo>
                  <a:lnTo>
                    <a:pt x="64973" y="125006"/>
                  </a:lnTo>
                  <a:lnTo>
                    <a:pt x="41656" y="131343"/>
                  </a:lnTo>
                  <a:lnTo>
                    <a:pt x="46291" y="123329"/>
                  </a:lnTo>
                  <a:lnTo>
                    <a:pt x="71894" y="79057"/>
                  </a:lnTo>
                  <a:lnTo>
                    <a:pt x="74574" y="74422"/>
                  </a:lnTo>
                  <a:lnTo>
                    <a:pt x="75450" y="73304"/>
                  </a:lnTo>
                  <a:lnTo>
                    <a:pt x="106426" y="64922"/>
                  </a:lnTo>
                  <a:lnTo>
                    <a:pt x="106426" y="48501"/>
                  </a:lnTo>
                  <a:lnTo>
                    <a:pt x="53568" y="62674"/>
                  </a:lnTo>
                  <a:lnTo>
                    <a:pt x="53568" y="79057"/>
                  </a:lnTo>
                  <a:lnTo>
                    <a:pt x="28041" y="123329"/>
                  </a:lnTo>
                  <a:lnTo>
                    <a:pt x="18669" y="88722"/>
                  </a:lnTo>
                  <a:lnTo>
                    <a:pt x="18605" y="88455"/>
                  </a:lnTo>
                  <a:lnTo>
                    <a:pt x="53568" y="79057"/>
                  </a:lnTo>
                  <a:lnTo>
                    <a:pt x="53568" y="62674"/>
                  </a:lnTo>
                  <a:lnTo>
                    <a:pt x="1892" y="76517"/>
                  </a:lnTo>
                  <a:lnTo>
                    <a:pt x="0" y="79667"/>
                  </a:lnTo>
                  <a:lnTo>
                    <a:pt x="9042" y="114274"/>
                  </a:lnTo>
                  <a:lnTo>
                    <a:pt x="22186" y="151904"/>
                  </a:lnTo>
                  <a:lnTo>
                    <a:pt x="65735" y="195694"/>
                  </a:lnTo>
                  <a:lnTo>
                    <a:pt x="66840" y="196926"/>
                  </a:lnTo>
                  <a:lnTo>
                    <a:pt x="68364" y="198539"/>
                  </a:lnTo>
                  <a:lnTo>
                    <a:pt x="32639" y="198539"/>
                  </a:lnTo>
                  <a:lnTo>
                    <a:pt x="32524" y="186626"/>
                  </a:lnTo>
                  <a:lnTo>
                    <a:pt x="29578" y="183095"/>
                  </a:lnTo>
                  <a:lnTo>
                    <a:pt x="19926" y="183095"/>
                  </a:lnTo>
                  <a:lnTo>
                    <a:pt x="17068" y="186334"/>
                  </a:lnTo>
                  <a:lnTo>
                    <a:pt x="16865" y="186626"/>
                  </a:lnTo>
                  <a:lnTo>
                    <a:pt x="16865" y="377545"/>
                  </a:lnTo>
                  <a:lnTo>
                    <a:pt x="19735" y="380492"/>
                  </a:lnTo>
                  <a:lnTo>
                    <a:pt x="218579" y="380492"/>
                  </a:lnTo>
                  <a:lnTo>
                    <a:pt x="222021" y="377545"/>
                  </a:lnTo>
                  <a:lnTo>
                    <a:pt x="222237" y="367893"/>
                  </a:lnTo>
                  <a:lnTo>
                    <a:pt x="218694" y="364832"/>
                  </a:lnTo>
                  <a:lnTo>
                    <a:pt x="33032" y="364832"/>
                  </a:lnTo>
                  <a:lnTo>
                    <a:pt x="33032" y="214617"/>
                  </a:lnTo>
                  <a:lnTo>
                    <a:pt x="314452" y="214617"/>
                  </a:lnTo>
                  <a:lnTo>
                    <a:pt x="317017" y="212064"/>
                  </a:lnTo>
                  <a:lnTo>
                    <a:pt x="317017" y="198805"/>
                  </a:lnTo>
                  <a:lnTo>
                    <a:pt x="317017" y="186334"/>
                  </a:lnTo>
                  <a:lnTo>
                    <a:pt x="317017" y="151765"/>
                  </a:lnTo>
                  <a:lnTo>
                    <a:pt x="317017" y="150787"/>
                  </a:lnTo>
                  <a:lnTo>
                    <a:pt x="317017" y="137807"/>
                  </a:lnTo>
                  <a:close/>
                </a:path>
                <a:path w="475614" h="475615">
                  <a:moveTo>
                    <a:pt x="474980" y="412978"/>
                  </a:moveTo>
                  <a:lnTo>
                    <a:pt x="474954" y="407962"/>
                  </a:lnTo>
                  <a:lnTo>
                    <a:pt x="471944" y="404469"/>
                  </a:lnTo>
                  <a:lnTo>
                    <a:pt x="463232" y="404025"/>
                  </a:lnTo>
                  <a:lnTo>
                    <a:pt x="459879" y="407060"/>
                  </a:lnTo>
                  <a:lnTo>
                    <a:pt x="457682" y="423138"/>
                  </a:lnTo>
                  <a:lnTo>
                    <a:pt x="452323" y="427901"/>
                  </a:lnTo>
                  <a:lnTo>
                    <a:pt x="387743" y="427901"/>
                  </a:lnTo>
                  <a:lnTo>
                    <a:pt x="387743" y="444106"/>
                  </a:lnTo>
                  <a:lnTo>
                    <a:pt x="387743" y="459308"/>
                  </a:lnTo>
                  <a:lnTo>
                    <a:pt x="325221" y="459308"/>
                  </a:lnTo>
                  <a:lnTo>
                    <a:pt x="325221" y="444106"/>
                  </a:lnTo>
                  <a:lnTo>
                    <a:pt x="387743" y="444106"/>
                  </a:lnTo>
                  <a:lnTo>
                    <a:pt x="387743" y="427901"/>
                  </a:lnTo>
                  <a:lnTo>
                    <a:pt x="272084" y="427901"/>
                  </a:lnTo>
                  <a:lnTo>
                    <a:pt x="264134" y="426758"/>
                  </a:lnTo>
                  <a:lnTo>
                    <a:pt x="258432" y="423329"/>
                  </a:lnTo>
                  <a:lnTo>
                    <a:pt x="254990" y="417639"/>
                  </a:lnTo>
                  <a:lnTo>
                    <a:pt x="253834" y="409727"/>
                  </a:lnTo>
                  <a:lnTo>
                    <a:pt x="253822" y="328904"/>
                  </a:lnTo>
                  <a:lnTo>
                    <a:pt x="250926" y="325310"/>
                  </a:lnTo>
                  <a:lnTo>
                    <a:pt x="240982" y="325310"/>
                  </a:lnTo>
                  <a:lnTo>
                    <a:pt x="238048" y="328904"/>
                  </a:lnTo>
                  <a:lnTo>
                    <a:pt x="238061" y="411530"/>
                  </a:lnTo>
                  <a:lnTo>
                    <a:pt x="270357" y="443699"/>
                  </a:lnTo>
                  <a:lnTo>
                    <a:pt x="309003" y="443699"/>
                  </a:lnTo>
                  <a:lnTo>
                    <a:pt x="309003" y="459524"/>
                  </a:lnTo>
                  <a:lnTo>
                    <a:pt x="249567" y="459524"/>
                  </a:lnTo>
                  <a:lnTo>
                    <a:pt x="245973" y="462470"/>
                  </a:lnTo>
                  <a:lnTo>
                    <a:pt x="245960" y="472325"/>
                  </a:lnTo>
                  <a:lnTo>
                    <a:pt x="249580" y="475297"/>
                  </a:lnTo>
                  <a:lnTo>
                    <a:pt x="463448" y="475297"/>
                  </a:lnTo>
                  <a:lnTo>
                    <a:pt x="467067" y="472325"/>
                  </a:lnTo>
                  <a:lnTo>
                    <a:pt x="467067" y="462470"/>
                  </a:lnTo>
                  <a:lnTo>
                    <a:pt x="463448" y="459524"/>
                  </a:lnTo>
                  <a:lnTo>
                    <a:pt x="404177" y="459524"/>
                  </a:lnTo>
                  <a:lnTo>
                    <a:pt x="404177" y="459308"/>
                  </a:lnTo>
                  <a:lnTo>
                    <a:pt x="404177" y="444106"/>
                  </a:lnTo>
                  <a:lnTo>
                    <a:pt x="404177" y="443699"/>
                  </a:lnTo>
                  <a:lnTo>
                    <a:pt x="443953" y="443699"/>
                  </a:lnTo>
                  <a:lnTo>
                    <a:pt x="456171" y="440956"/>
                  </a:lnTo>
                  <a:lnTo>
                    <a:pt x="465975" y="434213"/>
                  </a:lnTo>
                  <a:lnTo>
                    <a:pt x="470281" y="427901"/>
                  </a:lnTo>
                  <a:lnTo>
                    <a:pt x="472592" y="424510"/>
                  </a:lnTo>
                  <a:lnTo>
                    <a:pt x="474980" y="412978"/>
                  </a:lnTo>
                  <a:close/>
                </a:path>
                <a:path w="475614" h="475615">
                  <a:moveTo>
                    <a:pt x="474992" y="340055"/>
                  </a:moveTo>
                  <a:lnTo>
                    <a:pt x="474967" y="301066"/>
                  </a:lnTo>
                  <a:lnTo>
                    <a:pt x="443750" y="269938"/>
                  </a:lnTo>
                  <a:lnTo>
                    <a:pt x="438480" y="269824"/>
                  </a:lnTo>
                  <a:lnTo>
                    <a:pt x="433222" y="269989"/>
                  </a:lnTo>
                  <a:lnTo>
                    <a:pt x="418706" y="269697"/>
                  </a:lnTo>
                  <a:lnTo>
                    <a:pt x="412305" y="263372"/>
                  </a:lnTo>
                  <a:lnTo>
                    <a:pt x="411810" y="254063"/>
                  </a:lnTo>
                  <a:lnTo>
                    <a:pt x="408914" y="241173"/>
                  </a:lnTo>
                  <a:lnTo>
                    <a:pt x="402069" y="231228"/>
                  </a:lnTo>
                  <a:lnTo>
                    <a:pt x="391896" y="224828"/>
                  </a:lnTo>
                  <a:lnTo>
                    <a:pt x="378980" y="222516"/>
                  </a:lnTo>
                  <a:lnTo>
                    <a:pt x="334060" y="222516"/>
                  </a:lnTo>
                  <a:lnTo>
                    <a:pt x="301218" y="254063"/>
                  </a:lnTo>
                  <a:lnTo>
                    <a:pt x="300723" y="263613"/>
                  </a:lnTo>
                  <a:lnTo>
                    <a:pt x="294284" y="269773"/>
                  </a:lnTo>
                  <a:lnTo>
                    <a:pt x="279158" y="269976"/>
                  </a:lnTo>
                  <a:lnTo>
                    <a:pt x="273723" y="269786"/>
                  </a:lnTo>
                  <a:lnTo>
                    <a:pt x="268300" y="269976"/>
                  </a:lnTo>
                  <a:lnTo>
                    <a:pt x="238099" y="299085"/>
                  </a:lnTo>
                  <a:lnTo>
                    <a:pt x="237705" y="305092"/>
                  </a:lnTo>
                  <a:lnTo>
                    <a:pt x="240563" y="309067"/>
                  </a:lnTo>
                  <a:lnTo>
                    <a:pt x="250151" y="309638"/>
                  </a:lnTo>
                  <a:lnTo>
                    <a:pt x="253199" y="306400"/>
                  </a:lnTo>
                  <a:lnTo>
                    <a:pt x="254838" y="291630"/>
                  </a:lnTo>
                  <a:lnTo>
                    <a:pt x="261099" y="285889"/>
                  </a:lnTo>
                  <a:lnTo>
                    <a:pt x="275145" y="285635"/>
                  </a:lnTo>
                  <a:lnTo>
                    <a:pt x="280250" y="285775"/>
                  </a:lnTo>
                  <a:lnTo>
                    <a:pt x="285343" y="285686"/>
                  </a:lnTo>
                  <a:lnTo>
                    <a:pt x="317004" y="254965"/>
                  </a:lnTo>
                  <a:lnTo>
                    <a:pt x="317500" y="244335"/>
                  </a:lnTo>
                  <a:lnTo>
                    <a:pt x="323684" y="238353"/>
                  </a:lnTo>
                  <a:lnTo>
                    <a:pt x="389496" y="238340"/>
                  </a:lnTo>
                  <a:lnTo>
                    <a:pt x="395478" y="244119"/>
                  </a:lnTo>
                  <a:lnTo>
                    <a:pt x="396062" y="255485"/>
                  </a:lnTo>
                  <a:lnTo>
                    <a:pt x="398284" y="265887"/>
                  </a:lnTo>
                  <a:lnTo>
                    <a:pt x="403555" y="274688"/>
                  </a:lnTo>
                  <a:lnTo>
                    <a:pt x="411416" y="281228"/>
                  </a:lnTo>
                  <a:lnTo>
                    <a:pt x="421386" y="284848"/>
                  </a:lnTo>
                  <a:lnTo>
                    <a:pt x="427786" y="285978"/>
                  </a:lnTo>
                  <a:lnTo>
                    <a:pt x="434479" y="285610"/>
                  </a:lnTo>
                  <a:lnTo>
                    <a:pt x="441032" y="285686"/>
                  </a:lnTo>
                  <a:lnTo>
                    <a:pt x="459232" y="384721"/>
                  </a:lnTo>
                  <a:lnTo>
                    <a:pt x="462165" y="388353"/>
                  </a:lnTo>
                  <a:lnTo>
                    <a:pt x="471995" y="388391"/>
                  </a:lnTo>
                  <a:lnTo>
                    <a:pt x="474980" y="384759"/>
                  </a:lnTo>
                  <a:lnTo>
                    <a:pt x="474992" y="34005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8" name="object 1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872183" y="8517542"/>
              <a:ext cx="126299" cy="78919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1658912" y="8673242"/>
              <a:ext cx="284480" cy="176530"/>
            </a:xfrm>
            <a:custGeom>
              <a:avLst/>
              <a:gdLst/>
              <a:ahLst/>
              <a:cxnLst/>
              <a:rect l="l" t="t" r="r" b="b"/>
              <a:pathLst>
                <a:path w="284480" h="176529">
                  <a:moveTo>
                    <a:pt x="94818" y="45415"/>
                  </a:moveTo>
                  <a:lnTo>
                    <a:pt x="91884" y="43192"/>
                  </a:lnTo>
                  <a:lnTo>
                    <a:pt x="69164" y="31851"/>
                  </a:lnTo>
                  <a:lnTo>
                    <a:pt x="69164" y="49580"/>
                  </a:lnTo>
                  <a:lnTo>
                    <a:pt x="16027" y="76187"/>
                  </a:lnTo>
                  <a:lnTo>
                    <a:pt x="16027" y="22974"/>
                  </a:lnTo>
                  <a:lnTo>
                    <a:pt x="69164" y="49580"/>
                  </a:lnTo>
                  <a:lnTo>
                    <a:pt x="69164" y="31851"/>
                  </a:lnTo>
                  <a:lnTo>
                    <a:pt x="51384" y="22974"/>
                  </a:lnTo>
                  <a:lnTo>
                    <a:pt x="5308" y="0"/>
                  </a:lnTo>
                  <a:lnTo>
                    <a:pt x="12" y="3429"/>
                  </a:lnTo>
                  <a:lnTo>
                    <a:pt x="0" y="95885"/>
                  </a:lnTo>
                  <a:lnTo>
                    <a:pt x="5118" y="99237"/>
                  </a:lnTo>
                  <a:lnTo>
                    <a:pt x="51384" y="76187"/>
                  </a:lnTo>
                  <a:lnTo>
                    <a:pt x="91694" y="56083"/>
                  </a:lnTo>
                  <a:lnTo>
                    <a:pt x="94602" y="54076"/>
                  </a:lnTo>
                  <a:lnTo>
                    <a:pt x="94716" y="49580"/>
                  </a:lnTo>
                  <a:lnTo>
                    <a:pt x="94818" y="45415"/>
                  </a:lnTo>
                  <a:close/>
                </a:path>
                <a:path w="284480" h="176529">
                  <a:moveTo>
                    <a:pt x="165887" y="172212"/>
                  </a:moveTo>
                  <a:lnTo>
                    <a:pt x="165811" y="167932"/>
                  </a:lnTo>
                  <a:lnTo>
                    <a:pt x="165735" y="163652"/>
                  </a:lnTo>
                  <a:lnTo>
                    <a:pt x="162090" y="160134"/>
                  </a:lnTo>
                  <a:lnTo>
                    <a:pt x="153517" y="160286"/>
                  </a:lnTo>
                  <a:lnTo>
                    <a:pt x="150025" y="163906"/>
                  </a:lnTo>
                  <a:lnTo>
                    <a:pt x="150164" y="172478"/>
                  </a:lnTo>
                  <a:lnTo>
                    <a:pt x="153809" y="176009"/>
                  </a:lnTo>
                  <a:lnTo>
                    <a:pt x="162356" y="175856"/>
                  </a:lnTo>
                  <a:lnTo>
                    <a:pt x="165887" y="172212"/>
                  </a:lnTo>
                  <a:close/>
                </a:path>
                <a:path w="284480" h="176529">
                  <a:moveTo>
                    <a:pt x="252704" y="21399"/>
                  </a:moveTo>
                  <a:lnTo>
                    <a:pt x="249402" y="18161"/>
                  </a:lnTo>
                  <a:lnTo>
                    <a:pt x="239420" y="17881"/>
                  </a:lnTo>
                  <a:lnTo>
                    <a:pt x="234480" y="17995"/>
                  </a:lnTo>
                  <a:lnTo>
                    <a:pt x="229539" y="17995"/>
                  </a:lnTo>
                  <a:lnTo>
                    <a:pt x="224282" y="17995"/>
                  </a:lnTo>
                  <a:lnTo>
                    <a:pt x="219011" y="17881"/>
                  </a:lnTo>
                  <a:lnTo>
                    <a:pt x="208699" y="18161"/>
                  </a:lnTo>
                  <a:lnTo>
                    <a:pt x="205397" y="21386"/>
                  </a:lnTo>
                  <a:lnTo>
                    <a:pt x="205384" y="30353"/>
                  </a:lnTo>
                  <a:lnTo>
                    <a:pt x="208699" y="33667"/>
                  </a:lnTo>
                  <a:lnTo>
                    <a:pt x="229044" y="33832"/>
                  </a:lnTo>
                  <a:lnTo>
                    <a:pt x="249389" y="33667"/>
                  </a:lnTo>
                  <a:lnTo>
                    <a:pt x="252704" y="30353"/>
                  </a:lnTo>
                  <a:lnTo>
                    <a:pt x="252704" y="21399"/>
                  </a:lnTo>
                  <a:close/>
                </a:path>
                <a:path w="284480" h="176529">
                  <a:moveTo>
                    <a:pt x="252717" y="120573"/>
                  </a:moveTo>
                  <a:lnTo>
                    <a:pt x="251117" y="112839"/>
                  </a:lnTo>
                  <a:lnTo>
                    <a:pt x="250850" y="111518"/>
                  </a:lnTo>
                  <a:lnTo>
                    <a:pt x="245770" y="103974"/>
                  </a:lnTo>
                  <a:lnTo>
                    <a:pt x="238290" y="98907"/>
                  </a:lnTo>
                  <a:lnTo>
                    <a:pt x="236994" y="98640"/>
                  </a:lnTo>
                  <a:lnTo>
                    <a:pt x="236994" y="124764"/>
                  </a:lnTo>
                  <a:lnTo>
                    <a:pt x="233553" y="128397"/>
                  </a:lnTo>
                  <a:lnTo>
                    <a:pt x="224878" y="128701"/>
                  </a:lnTo>
                  <a:lnTo>
                    <a:pt x="221119" y="125006"/>
                  </a:lnTo>
                  <a:lnTo>
                    <a:pt x="221195" y="120573"/>
                  </a:lnTo>
                  <a:lnTo>
                    <a:pt x="221259" y="116306"/>
                  </a:lnTo>
                  <a:lnTo>
                    <a:pt x="224777" y="112839"/>
                  </a:lnTo>
                  <a:lnTo>
                    <a:pt x="233324" y="112839"/>
                  </a:lnTo>
                  <a:lnTo>
                    <a:pt x="236842" y="116306"/>
                  </a:lnTo>
                  <a:lnTo>
                    <a:pt x="236918" y="120573"/>
                  </a:lnTo>
                  <a:lnTo>
                    <a:pt x="236994" y="124764"/>
                  </a:lnTo>
                  <a:lnTo>
                    <a:pt x="236994" y="98640"/>
                  </a:lnTo>
                  <a:lnTo>
                    <a:pt x="229171" y="97015"/>
                  </a:lnTo>
                  <a:lnTo>
                    <a:pt x="219671" y="98907"/>
                  </a:lnTo>
                  <a:lnTo>
                    <a:pt x="219849" y="98907"/>
                  </a:lnTo>
                  <a:lnTo>
                    <a:pt x="212344" y="103974"/>
                  </a:lnTo>
                  <a:lnTo>
                    <a:pt x="207251" y="111518"/>
                  </a:lnTo>
                  <a:lnTo>
                    <a:pt x="205422" y="120573"/>
                  </a:lnTo>
                  <a:lnTo>
                    <a:pt x="205371" y="120802"/>
                  </a:lnTo>
                  <a:lnTo>
                    <a:pt x="207251" y="129895"/>
                  </a:lnTo>
                  <a:lnTo>
                    <a:pt x="212318" y="137388"/>
                  </a:lnTo>
                  <a:lnTo>
                    <a:pt x="219824" y="142481"/>
                  </a:lnTo>
                  <a:lnTo>
                    <a:pt x="228904" y="144348"/>
                  </a:lnTo>
                  <a:lnTo>
                    <a:pt x="238188" y="142481"/>
                  </a:lnTo>
                  <a:lnTo>
                    <a:pt x="245732" y="137388"/>
                  </a:lnTo>
                  <a:lnTo>
                    <a:pt x="250799" y="129895"/>
                  </a:lnTo>
                  <a:lnTo>
                    <a:pt x="251091" y="128701"/>
                  </a:lnTo>
                  <a:lnTo>
                    <a:pt x="252666" y="120802"/>
                  </a:lnTo>
                  <a:lnTo>
                    <a:pt x="252717" y="120573"/>
                  </a:lnTo>
                  <a:close/>
                </a:path>
                <a:path w="284480" h="176529">
                  <a:moveTo>
                    <a:pt x="284264" y="120218"/>
                  </a:moveTo>
                  <a:lnTo>
                    <a:pt x="280009" y="99428"/>
                  </a:lnTo>
                  <a:lnTo>
                    <a:pt x="279933" y="99072"/>
                  </a:lnTo>
                  <a:lnTo>
                    <a:pt x="268528" y="82245"/>
                  </a:lnTo>
                  <a:lnTo>
                    <a:pt x="268528" y="120218"/>
                  </a:lnTo>
                  <a:lnTo>
                    <a:pt x="265557" y="135674"/>
                  </a:lnTo>
                  <a:lnTo>
                    <a:pt x="257200" y="148336"/>
                  </a:lnTo>
                  <a:lnTo>
                    <a:pt x="244716" y="156921"/>
                  </a:lnTo>
                  <a:lnTo>
                    <a:pt x="229387" y="160147"/>
                  </a:lnTo>
                  <a:lnTo>
                    <a:pt x="213944" y="157137"/>
                  </a:lnTo>
                  <a:lnTo>
                    <a:pt x="201282" y="148717"/>
                  </a:lnTo>
                  <a:lnTo>
                    <a:pt x="192722" y="136207"/>
                  </a:lnTo>
                  <a:lnTo>
                    <a:pt x="189598" y="121081"/>
                  </a:lnTo>
                  <a:lnTo>
                    <a:pt x="189687" y="120218"/>
                  </a:lnTo>
                  <a:lnTo>
                    <a:pt x="192646" y="105460"/>
                  </a:lnTo>
                  <a:lnTo>
                    <a:pt x="201079" y="92862"/>
                  </a:lnTo>
                  <a:lnTo>
                    <a:pt x="213614" y="84353"/>
                  </a:lnTo>
                  <a:lnTo>
                    <a:pt x="228981" y="81191"/>
                  </a:lnTo>
                  <a:lnTo>
                    <a:pt x="244881" y="84353"/>
                  </a:lnTo>
                  <a:lnTo>
                    <a:pt x="244424" y="84353"/>
                  </a:lnTo>
                  <a:lnTo>
                    <a:pt x="256781" y="92595"/>
                  </a:lnTo>
                  <a:lnTo>
                    <a:pt x="265315" y="105029"/>
                  </a:lnTo>
                  <a:lnTo>
                    <a:pt x="268528" y="120218"/>
                  </a:lnTo>
                  <a:lnTo>
                    <a:pt x="268528" y="82245"/>
                  </a:lnTo>
                  <a:lnTo>
                    <a:pt x="268033" y="81508"/>
                  </a:lnTo>
                  <a:lnTo>
                    <a:pt x="267550" y="81191"/>
                  </a:lnTo>
                  <a:lnTo>
                    <a:pt x="250456" y="69684"/>
                  </a:lnTo>
                  <a:lnTo>
                    <a:pt x="207454" y="69811"/>
                  </a:lnTo>
                  <a:lnTo>
                    <a:pt x="178066" y="99428"/>
                  </a:lnTo>
                  <a:lnTo>
                    <a:pt x="173939" y="120218"/>
                  </a:lnTo>
                  <a:lnTo>
                    <a:pt x="173875" y="120523"/>
                  </a:lnTo>
                  <a:lnTo>
                    <a:pt x="173774" y="121081"/>
                  </a:lnTo>
                  <a:lnTo>
                    <a:pt x="178130" y="142125"/>
                  </a:lnTo>
                  <a:lnTo>
                    <a:pt x="178168" y="142328"/>
                  </a:lnTo>
                  <a:lnTo>
                    <a:pt x="190042" y="159778"/>
                  </a:lnTo>
                  <a:lnTo>
                    <a:pt x="207568" y="171615"/>
                  </a:lnTo>
                  <a:lnTo>
                    <a:pt x="228841" y="175958"/>
                  </a:lnTo>
                  <a:lnTo>
                    <a:pt x="250482" y="171615"/>
                  </a:lnTo>
                  <a:lnTo>
                    <a:pt x="279996" y="142125"/>
                  </a:lnTo>
                  <a:lnTo>
                    <a:pt x="284226" y="121081"/>
                  </a:lnTo>
                  <a:lnTo>
                    <a:pt x="284264" y="12021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20" name="object 20"/>
          <p:cNvGrpSpPr/>
          <p:nvPr/>
        </p:nvGrpSpPr>
        <p:grpSpPr>
          <a:xfrm>
            <a:off x="1205534" y="4465680"/>
            <a:ext cx="298810" cy="298810"/>
            <a:chOff x="1987310" y="7364237"/>
            <a:chExt cx="492759" cy="492759"/>
          </a:xfrm>
        </p:grpSpPr>
        <p:sp>
          <p:nvSpPr>
            <p:cNvPr id="21" name="object 21"/>
            <p:cNvSpPr/>
            <p:nvPr/>
          </p:nvSpPr>
          <p:spPr>
            <a:xfrm>
              <a:off x="1987310" y="7364237"/>
              <a:ext cx="492759" cy="492759"/>
            </a:xfrm>
            <a:custGeom>
              <a:avLst/>
              <a:gdLst/>
              <a:ahLst/>
              <a:cxnLst/>
              <a:rect l="l" t="t" r="r" b="b"/>
              <a:pathLst>
                <a:path w="492760" h="492759">
                  <a:moveTo>
                    <a:pt x="150548" y="220980"/>
                  </a:moveTo>
                  <a:lnTo>
                    <a:pt x="133472" y="220980"/>
                  </a:lnTo>
                  <a:lnTo>
                    <a:pt x="134404" y="224790"/>
                  </a:lnTo>
                  <a:lnTo>
                    <a:pt x="137442" y="233680"/>
                  </a:lnTo>
                  <a:lnTo>
                    <a:pt x="140621" y="243840"/>
                  </a:lnTo>
                  <a:lnTo>
                    <a:pt x="147325" y="264160"/>
                  </a:lnTo>
                  <a:lnTo>
                    <a:pt x="146676" y="264160"/>
                  </a:lnTo>
                  <a:lnTo>
                    <a:pt x="145283" y="265430"/>
                  </a:lnTo>
                  <a:lnTo>
                    <a:pt x="87266" y="323850"/>
                  </a:lnTo>
                  <a:lnTo>
                    <a:pt x="58920" y="351790"/>
                  </a:lnTo>
                  <a:lnTo>
                    <a:pt x="28658" y="382270"/>
                  </a:lnTo>
                  <a:lnTo>
                    <a:pt x="27109" y="384810"/>
                  </a:lnTo>
                  <a:lnTo>
                    <a:pt x="20456" y="411480"/>
                  </a:lnTo>
                  <a:lnTo>
                    <a:pt x="14537" y="435610"/>
                  </a:lnTo>
                  <a:lnTo>
                    <a:pt x="2764" y="482600"/>
                  </a:lnTo>
                  <a:lnTo>
                    <a:pt x="0" y="492760"/>
                  </a:lnTo>
                  <a:lnTo>
                    <a:pt x="79061" y="473710"/>
                  </a:lnTo>
                  <a:lnTo>
                    <a:pt x="88685" y="471170"/>
                  </a:lnTo>
                  <a:lnTo>
                    <a:pt x="21706" y="471170"/>
                  </a:lnTo>
                  <a:lnTo>
                    <a:pt x="24554" y="459740"/>
                  </a:lnTo>
                  <a:lnTo>
                    <a:pt x="47085" y="459740"/>
                  </a:lnTo>
                  <a:lnTo>
                    <a:pt x="42920" y="455930"/>
                  </a:lnTo>
                  <a:lnTo>
                    <a:pt x="37077" y="450850"/>
                  </a:lnTo>
                  <a:lnTo>
                    <a:pt x="30334" y="443230"/>
                  </a:lnTo>
                  <a:lnTo>
                    <a:pt x="29454" y="440690"/>
                  </a:lnTo>
                  <a:lnTo>
                    <a:pt x="31911" y="430530"/>
                  </a:lnTo>
                  <a:lnTo>
                    <a:pt x="34106" y="421640"/>
                  </a:lnTo>
                  <a:lnTo>
                    <a:pt x="38585" y="403860"/>
                  </a:lnTo>
                  <a:lnTo>
                    <a:pt x="61928" y="403860"/>
                  </a:lnTo>
                  <a:lnTo>
                    <a:pt x="46961" y="388620"/>
                  </a:lnTo>
                  <a:lnTo>
                    <a:pt x="156581" y="279400"/>
                  </a:lnTo>
                  <a:lnTo>
                    <a:pt x="178069" y="279400"/>
                  </a:lnTo>
                  <a:lnTo>
                    <a:pt x="169698" y="269240"/>
                  </a:lnTo>
                  <a:lnTo>
                    <a:pt x="151714" y="228600"/>
                  </a:lnTo>
                  <a:lnTo>
                    <a:pt x="150548" y="220980"/>
                  </a:lnTo>
                  <a:close/>
                </a:path>
                <a:path w="492760" h="492759">
                  <a:moveTo>
                    <a:pt x="327381" y="455930"/>
                  </a:moveTo>
                  <a:lnTo>
                    <a:pt x="298807" y="455930"/>
                  </a:lnTo>
                  <a:lnTo>
                    <a:pt x="305215" y="457200"/>
                  </a:lnTo>
                  <a:lnTo>
                    <a:pt x="313969" y="461010"/>
                  </a:lnTo>
                  <a:lnTo>
                    <a:pt x="318430" y="468630"/>
                  </a:lnTo>
                  <a:lnTo>
                    <a:pt x="318874" y="478790"/>
                  </a:lnTo>
                  <a:lnTo>
                    <a:pt x="318848" y="490220"/>
                  </a:lnTo>
                  <a:lnTo>
                    <a:pt x="382072" y="490220"/>
                  </a:lnTo>
                  <a:lnTo>
                    <a:pt x="382141" y="474980"/>
                  </a:lnTo>
                  <a:lnTo>
                    <a:pt x="335068" y="474980"/>
                  </a:lnTo>
                  <a:lnTo>
                    <a:pt x="327381" y="455930"/>
                  </a:lnTo>
                  <a:close/>
                </a:path>
                <a:path w="492760" h="492759">
                  <a:moveTo>
                    <a:pt x="409813" y="440690"/>
                  </a:moveTo>
                  <a:lnTo>
                    <a:pt x="399957" y="440690"/>
                  </a:lnTo>
                  <a:lnTo>
                    <a:pt x="389684" y="443230"/>
                  </a:lnTo>
                  <a:lnTo>
                    <a:pt x="380500" y="448310"/>
                  </a:lnTo>
                  <a:lnTo>
                    <a:pt x="373611" y="455930"/>
                  </a:lnTo>
                  <a:lnTo>
                    <a:pt x="368890" y="463550"/>
                  </a:lnTo>
                  <a:lnTo>
                    <a:pt x="366208" y="474980"/>
                  </a:lnTo>
                  <a:lnTo>
                    <a:pt x="382141" y="474980"/>
                  </a:lnTo>
                  <a:lnTo>
                    <a:pt x="382239" y="468630"/>
                  </a:lnTo>
                  <a:lnTo>
                    <a:pt x="386846" y="461010"/>
                  </a:lnTo>
                  <a:lnTo>
                    <a:pt x="395946" y="457200"/>
                  </a:lnTo>
                  <a:lnTo>
                    <a:pt x="402516" y="455930"/>
                  </a:lnTo>
                  <a:lnTo>
                    <a:pt x="442729" y="455930"/>
                  </a:lnTo>
                  <a:lnTo>
                    <a:pt x="450237" y="448310"/>
                  </a:lnTo>
                  <a:lnTo>
                    <a:pt x="427924" y="448310"/>
                  </a:lnTo>
                  <a:lnTo>
                    <a:pt x="419164" y="443230"/>
                  </a:lnTo>
                  <a:lnTo>
                    <a:pt x="409813" y="440690"/>
                  </a:lnTo>
                  <a:close/>
                </a:path>
                <a:path w="492760" h="492759">
                  <a:moveTo>
                    <a:pt x="47085" y="459740"/>
                  </a:moveTo>
                  <a:lnTo>
                    <a:pt x="24554" y="459740"/>
                  </a:lnTo>
                  <a:lnTo>
                    <a:pt x="32156" y="468630"/>
                  </a:lnTo>
                  <a:lnTo>
                    <a:pt x="21706" y="471170"/>
                  </a:lnTo>
                  <a:lnTo>
                    <a:pt x="88685" y="471170"/>
                  </a:lnTo>
                  <a:lnTo>
                    <a:pt x="107933" y="466090"/>
                  </a:lnTo>
                  <a:lnTo>
                    <a:pt x="110886" y="464820"/>
                  </a:lnTo>
                  <a:lnTo>
                    <a:pt x="111928" y="463550"/>
                  </a:lnTo>
                  <a:lnTo>
                    <a:pt x="51747" y="463550"/>
                  </a:lnTo>
                  <a:lnTo>
                    <a:pt x="49862" y="462280"/>
                  </a:lnTo>
                  <a:lnTo>
                    <a:pt x="47085" y="459740"/>
                  </a:lnTo>
                  <a:close/>
                </a:path>
                <a:path w="492760" h="492759">
                  <a:moveTo>
                    <a:pt x="233555" y="367030"/>
                  </a:moveTo>
                  <a:lnTo>
                    <a:pt x="208433" y="367030"/>
                  </a:lnTo>
                  <a:lnTo>
                    <a:pt x="208433" y="379730"/>
                  </a:lnTo>
                  <a:lnTo>
                    <a:pt x="219825" y="379730"/>
                  </a:lnTo>
                  <a:lnTo>
                    <a:pt x="226886" y="381000"/>
                  </a:lnTo>
                  <a:lnTo>
                    <a:pt x="232884" y="383540"/>
                  </a:lnTo>
                  <a:lnTo>
                    <a:pt x="237658" y="387350"/>
                  </a:lnTo>
                  <a:lnTo>
                    <a:pt x="241050" y="393700"/>
                  </a:lnTo>
                  <a:lnTo>
                    <a:pt x="242733" y="400050"/>
                  </a:lnTo>
                  <a:lnTo>
                    <a:pt x="242655" y="401320"/>
                  </a:lnTo>
                  <a:lnTo>
                    <a:pt x="242576" y="402590"/>
                  </a:lnTo>
                  <a:lnTo>
                    <a:pt x="230066" y="422910"/>
                  </a:lnTo>
                  <a:lnTo>
                    <a:pt x="227919" y="425450"/>
                  </a:lnTo>
                  <a:lnTo>
                    <a:pt x="273300" y="471170"/>
                  </a:lnTo>
                  <a:lnTo>
                    <a:pt x="275771" y="467360"/>
                  </a:lnTo>
                  <a:lnTo>
                    <a:pt x="278441" y="464820"/>
                  </a:lnTo>
                  <a:lnTo>
                    <a:pt x="281457" y="462280"/>
                  </a:lnTo>
                  <a:lnTo>
                    <a:pt x="286882" y="458470"/>
                  </a:lnTo>
                  <a:lnTo>
                    <a:pt x="292680" y="455930"/>
                  </a:lnTo>
                  <a:lnTo>
                    <a:pt x="327381" y="455930"/>
                  </a:lnTo>
                  <a:lnTo>
                    <a:pt x="326868" y="454660"/>
                  </a:lnTo>
                  <a:lnTo>
                    <a:pt x="318152" y="448310"/>
                  </a:lnTo>
                  <a:lnTo>
                    <a:pt x="273195" y="448310"/>
                  </a:lnTo>
                  <a:lnTo>
                    <a:pt x="250976" y="425450"/>
                  </a:lnTo>
                  <a:lnTo>
                    <a:pt x="258634" y="405130"/>
                  </a:lnTo>
                  <a:lnTo>
                    <a:pt x="255243" y="386080"/>
                  </a:lnTo>
                  <a:lnTo>
                    <a:pt x="243001" y="370840"/>
                  </a:lnTo>
                  <a:lnTo>
                    <a:pt x="233555" y="367030"/>
                  </a:lnTo>
                  <a:close/>
                </a:path>
                <a:path w="492760" h="492759">
                  <a:moveTo>
                    <a:pt x="442729" y="455930"/>
                  </a:moveTo>
                  <a:lnTo>
                    <a:pt x="408733" y="455930"/>
                  </a:lnTo>
                  <a:lnTo>
                    <a:pt x="414569" y="458470"/>
                  </a:lnTo>
                  <a:lnTo>
                    <a:pt x="419997" y="462280"/>
                  </a:lnTo>
                  <a:lnTo>
                    <a:pt x="422835" y="464820"/>
                  </a:lnTo>
                  <a:lnTo>
                    <a:pt x="425379" y="468630"/>
                  </a:lnTo>
                  <a:lnTo>
                    <a:pt x="427714" y="471170"/>
                  </a:lnTo>
                  <a:lnTo>
                    <a:pt x="442729" y="455930"/>
                  </a:lnTo>
                  <a:close/>
                </a:path>
                <a:path w="492760" h="492759">
                  <a:moveTo>
                    <a:pt x="61928" y="403860"/>
                  </a:moveTo>
                  <a:lnTo>
                    <a:pt x="38585" y="403860"/>
                  </a:lnTo>
                  <a:lnTo>
                    <a:pt x="89421" y="454660"/>
                  </a:lnTo>
                  <a:lnTo>
                    <a:pt x="71164" y="459740"/>
                  </a:lnTo>
                  <a:lnTo>
                    <a:pt x="62052" y="461010"/>
                  </a:lnTo>
                  <a:lnTo>
                    <a:pt x="51747" y="463550"/>
                  </a:lnTo>
                  <a:lnTo>
                    <a:pt x="111928" y="463550"/>
                  </a:lnTo>
                  <a:lnTo>
                    <a:pt x="112970" y="462280"/>
                  </a:lnTo>
                  <a:lnTo>
                    <a:pt x="128121" y="447040"/>
                  </a:lnTo>
                  <a:lnTo>
                    <a:pt x="105043" y="447040"/>
                  </a:lnTo>
                  <a:lnTo>
                    <a:pt x="82479" y="424180"/>
                  </a:lnTo>
                  <a:lnTo>
                    <a:pt x="95160" y="411480"/>
                  </a:lnTo>
                  <a:lnTo>
                    <a:pt x="69411" y="411480"/>
                  </a:lnTo>
                  <a:lnTo>
                    <a:pt x="61928" y="403860"/>
                  </a:lnTo>
                  <a:close/>
                </a:path>
                <a:path w="492760" h="492759">
                  <a:moveTo>
                    <a:pt x="291967" y="440690"/>
                  </a:moveTo>
                  <a:lnTo>
                    <a:pt x="273195" y="448310"/>
                  </a:lnTo>
                  <a:lnTo>
                    <a:pt x="318152" y="448310"/>
                  </a:lnTo>
                  <a:lnTo>
                    <a:pt x="311180" y="443230"/>
                  </a:lnTo>
                  <a:lnTo>
                    <a:pt x="291967" y="440690"/>
                  </a:lnTo>
                  <a:close/>
                </a:path>
                <a:path w="492760" h="492759">
                  <a:moveTo>
                    <a:pt x="462350" y="307340"/>
                  </a:moveTo>
                  <a:lnTo>
                    <a:pt x="443138" y="307340"/>
                  </a:lnTo>
                  <a:lnTo>
                    <a:pt x="447546" y="312420"/>
                  </a:lnTo>
                  <a:lnTo>
                    <a:pt x="451284" y="318770"/>
                  </a:lnTo>
                  <a:lnTo>
                    <a:pt x="462142" y="327660"/>
                  </a:lnTo>
                  <a:lnTo>
                    <a:pt x="469305" y="330200"/>
                  </a:lnTo>
                  <a:lnTo>
                    <a:pt x="476561" y="334010"/>
                  </a:lnTo>
                  <a:lnTo>
                    <a:pt x="476561" y="364490"/>
                  </a:lnTo>
                  <a:lnTo>
                    <a:pt x="466429" y="367030"/>
                  </a:lnTo>
                  <a:lnTo>
                    <a:pt x="457732" y="370840"/>
                  </a:lnTo>
                  <a:lnTo>
                    <a:pt x="450648" y="378460"/>
                  </a:lnTo>
                  <a:lnTo>
                    <a:pt x="445358" y="387350"/>
                  </a:lnTo>
                  <a:lnTo>
                    <a:pt x="442541" y="397510"/>
                  </a:lnTo>
                  <a:lnTo>
                    <a:pt x="442574" y="407670"/>
                  </a:lnTo>
                  <a:lnTo>
                    <a:pt x="445294" y="416560"/>
                  </a:lnTo>
                  <a:lnTo>
                    <a:pt x="450541" y="425450"/>
                  </a:lnTo>
                  <a:lnTo>
                    <a:pt x="427924" y="448310"/>
                  </a:lnTo>
                  <a:lnTo>
                    <a:pt x="450237" y="448310"/>
                  </a:lnTo>
                  <a:lnTo>
                    <a:pt x="472760" y="425450"/>
                  </a:lnTo>
                  <a:lnTo>
                    <a:pt x="470540" y="422910"/>
                  </a:lnTo>
                  <a:lnTo>
                    <a:pt x="467933" y="420370"/>
                  </a:lnTo>
                  <a:lnTo>
                    <a:pt x="465420" y="417830"/>
                  </a:lnTo>
                  <a:lnTo>
                    <a:pt x="460936" y="412750"/>
                  </a:lnTo>
                  <a:lnTo>
                    <a:pt x="458530" y="406400"/>
                  </a:lnTo>
                  <a:lnTo>
                    <a:pt x="458419" y="403860"/>
                  </a:lnTo>
                  <a:lnTo>
                    <a:pt x="458308" y="401320"/>
                  </a:lnTo>
                  <a:lnTo>
                    <a:pt x="458252" y="400050"/>
                  </a:lnTo>
                  <a:lnTo>
                    <a:pt x="460153" y="393700"/>
                  </a:lnTo>
                  <a:lnTo>
                    <a:pt x="464205" y="383540"/>
                  </a:lnTo>
                  <a:lnTo>
                    <a:pt x="471472" y="379730"/>
                  </a:lnTo>
                  <a:lnTo>
                    <a:pt x="492403" y="379730"/>
                  </a:lnTo>
                  <a:lnTo>
                    <a:pt x="492403" y="316230"/>
                  </a:lnTo>
                  <a:lnTo>
                    <a:pt x="470582" y="316230"/>
                  </a:lnTo>
                  <a:lnTo>
                    <a:pt x="464352" y="311150"/>
                  </a:lnTo>
                  <a:lnTo>
                    <a:pt x="462350" y="307340"/>
                  </a:lnTo>
                  <a:close/>
                </a:path>
                <a:path w="492760" h="492759">
                  <a:moveTo>
                    <a:pt x="217814" y="317500"/>
                  </a:moveTo>
                  <a:lnTo>
                    <a:pt x="188999" y="317500"/>
                  </a:lnTo>
                  <a:lnTo>
                    <a:pt x="214642" y="336550"/>
                  </a:lnTo>
                  <a:lnTo>
                    <a:pt x="105043" y="447040"/>
                  </a:lnTo>
                  <a:lnTo>
                    <a:pt x="128121" y="447040"/>
                  </a:lnTo>
                  <a:lnTo>
                    <a:pt x="158423" y="416560"/>
                  </a:lnTo>
                  <a:lnTo>
                    <a:pt x="206318" y="369570"/>
                  </a:lnTo>
                  <a:lnTo>
                    <a:pt x="208433" y="367030"/>
                  </a:lnTo>
                  <a:lnTo>
                    <a:pt x="233555" y="367030"/>
                  </a:lnTo>
                  <a:lnTo>
                    <a:pt x="224108" y="363220"/>
                  </a:lnTo>
                  <a:lnTo>
                    <a:pt x="224228" y="361950"/>
                  </a:lnTo>
                  <a:lnTo>
                    <a:pt x="224349" y="360680"/>
                  </a:lnTo>
                  <a:lnTo>
                    <a:pt x="224469" y="359410"/>
                  </a:lnTo>
                  <a:lnTo>
                    <a:pt x="224590" y="358140"/>
                  </a:lnTo>
                  <a:lnTo>
                    <a:pt x="221825" y="351790"/>
                  </a:lnTo>
                  <a:lnTo>
                    <a:pt x="229584" y="346710"/>
                  </a:lnTo>
                  <a:lnTo>
                    <a:pt x="231752" y="345440"/>
                  </a:lnTo>
                  <a:lnTo>
                    <a:pt x="278328" y="345440"/>
                  </a:lnTo>
                  <a:lnTo>
                    <a:pt x="236629" y="330200"/>
                  </a:lnTo>
                  <a:lnTo>
                    <a:pt x="217814" y="317500"/>
                  </a:lnTo>
                  <a:close/>
                </a:path>
                <a:path w="492760" h="492759">
                  <a:moveTo>
                    <a:pt x="278328" y="345440"/>
                  </a:moveTo>
                  <a:lnTo>
                    <a:pt x="231752" y="345440"/>
                  </a:lnTo>
                  <a:lnTo>
                    <a:pt x="242226" y="349250"/>
                  </a:lnTo>
                  <a:lnTo>
                    <a:pt x="260326" y="355600"/>
                  </a:lnTo>
                  <a:lnTo>
                    <a:pt x="269415" y="359410"/>
                  </a:lnTo>
                  <a:lnTo>
                    <a:pt x="272358" y="359410"/>
                  </a:lnTo>
                  <a:lnTo>
                    <a:pt x="272640" y="361950"/>
                  </a:lnTo>
                  <a:lnTo>
                    <a:pt x="273174" y="364490"/>
                  </a:lnTo>
                  <a:lnTo>
                    <a:pt x="281566" y="386080"/>
                  </a:lnTo>
                  <a:lnTo>
                    <a:pt x="294695" y="403860"/>
                  </a:lnTo>
                  <a:lnTo>
                    <a:pt x="312563" y="417830"/>
                  </a:lnTo>
                  <a:lnTo>
                    <a:pt x="335173" y="425450"/>
                  </a:lnTo>
                  <a:lnTo>
                    <a:pt x="367275" y="425450"/>
                  </a:lnTo>
                  <a:lnTo>
                    <a:pt x="396018" y="412750"/>
                  </a:lnTo>
                  <a:lnTo>
                    <a:pt x="397222" y="411480"/>
                  </a:lnTo>
                  <a:lnTo>
                    <a:pt x="351852" y="411480"/>
                  </a:lnTo>
                  <a:lnTo>
                    <a:pt x="333392" y="408940"/>
                  </a:lnTo>
                  <a:lnTo>
                    <a:pt x="317643" y="402590"/>
                  </a:lnTo>
                  <a:lnTo>
                    <a:pt x="305079" y="392430"/>
                  </a:lnTo>
                  <a:lnTo>
                    <a:pt x="295547" y="378460"/>
                  </a:lnTo>
                  <a:lnTo>
                    <a:pt x="288891" y="363220"/>
                  </a:lnTo>
                  <a:lnTo>
                    <a:pt x="330033" y="363220"/>
                  </a:lnTo>
                  <a:lnTo>
                    <a:pt x="381412" y="351790"/>
                  </a:lnTo>
                  <a:lnTo>
                    <a:pt x="397270" y="351790"/>
                  </a:lnTo>
                  <a:lnTo>
                    <a:pt x="397223" y="350520"/>
                  </a:lnTo>
                  <a:lnTo>
                    <a:pt x="397546" y="347980"/>
                  </a:lnTo>
                  <a:lnTo>
                    <a:pt x="321717" y="347980"/>
                  </a:lnTo>
                  <a:lnTo>
                    <a:pt x="278328" y="345440"/>
                  </a:lnTo>
                  <a:close/>
                </a:path>
                <a:path w="492760" h="492759">
                  <a:moveTo>
                    <a:pt x="178069" y="279400"/>
                  </a:moveTo>
                  <a:lnTo>
                    <a:pt x="156581" y="279400"/>
                  </a:lnTo>
                  <a:lnTo>
                    <a:pt x="175931" y="304800"/>
                  </a:lnTo>
                  <a:lnTo>
                    <a:pt x="69411" y="411480"/>
                  </a:lnTo>
                  <a:lnTo>
                    <a:pt x="95160" y="411480"/>
                  </a:lnTo>
                  <a:lnTo>
                    <a:pt x="188999" y="317500"/>
                  </a:lnTo>
                  <a:lnTo>
                    <a:pt x="217814" y="317500"/>
                  </a:lnTo>
                  <a:lnTo>
                    <a:pt x="198999" y="304800"/>
                  </a:lnTo>
                  <a:lnTo>
                    <a:pt x="178069" y="279400"/>
                  </a:lnTo>
                  <a:close/>
                </a:path>
                <a:path w="492760" h="492759">
                  <a:moveTo>
                    <a:pt x="427942" y="334010"/>
                  </a:moveTo>
                  <a:lnTo>
                    <a:pt x="411851" y="334010"/>
                  </a:lnTo>
                  <a:lnTo>
                    <a:pt x="413614" y="349250"/>
                  </a:lnTo>
                  <a:lnTo>
                    <a:pt x="412013" y="363220"/>
                  </a:lnTo>
                  <a:lnTo>
                    <a:pt x="384484" y="401320"/>
                  </a:lnTo>
                  <a:lnTo>
                    <a:pt x="351852" y="411480"/>
                  </a:lnTo>
                  <a:lnTo>
                    <a:pt x="397222" y="411480"/>
                  </a:lnTo>
                  <a:lnTo>
                    <a:pt x="417706" y="389890"/>
                  </a:lnTo>
                  <a:lnTo>
                    <a:pt x="428646" y="359410"/>
                  </a:lnTo>
                  <a:lnTo>
                    <a:pt x="429213" y="351790"/>
                  </a:lnTo>
                  <a:lnTo>
                    <a:pt x="429138" y="342900"/>
                  </a:lnTo>
                  <a:lnTo>
                    <a:pt x="428184" y="335280"/>
                  </a:lnTo>
                  <a:lnTo>
                    <a:pt x="427942" y="334010"/>
                  </a:lnTo>
                  <a:close/>
                </a:path>
                <a:path w="492760" h="492759">
                  <a:moveTo>
                    <a:pt x="330033" y="363220"/>
                  </a:moveTo>
                  <a:lnTo>
                    <a:pt x="299435" y="363220"/>
                  </a:lnTo>
                  <a:lnTo>
                    <a:pt x="305571" y="364490"/>
                  </a:lnTo>
                  <a:lnTo>
                    <a:pt x="306849" y="367030"/>
                  </a:lnTo>
                  <a:lnTo>
                    <a:pt x="307624" y="368300"/>
                  </a:lnTo>
                  <a:lnTo>
                    <a:pt x="315833" y="379730"/>
                  </a:lnTo>
                  <a:lnTo>
                    <a:pt x="326966" y="388620"/>
                  </a:lnTo>
                  <a:lnTo>
                    <a:pt x="340145" y="394970"/>
                  </a:lnTo>
                  <a:lnTo>
                    <a:pt x="354491" y="394970"/>
                  </a:lnTo>
                  <a:lnTo>
                    <a:pt x="368808" y="392430"/>
                  </a:lnTo>
                  <a:lnTo>
                    <a:pt x="381089" y="384810"/>
                  </a:lnTo>
                  <a:lnTo>
                    <a:pt x="385277" y="379730"/>
                  </a:lnTo>
                  <a:lnTo>
                    <a:pt x="346808" y="379730"/>
                  </a:lnTo>
                  <a:lnTo>
                    <a:pt x="337336" y="377190"/>
                  </a:lnTo>
                  <a:lnTo>
                    <a:pt x="329476" y="372110"/>
                  </a:lnTo>
                  <a:lnTo>
                    <a:pt x="324325" y="364490"/>
                  </a:lnTo>
                  <a:lnTo>
                    <a:pt x="330033" y="363220"/>
                  </a:lnTo>
                  <a:close/>
                </a:path>
                <a:path w="492760" h="492759">
                  <a:moveTo>
                    <a:pt x="397270" y="351790"/>
                  </a:moveTo>
                  <a:lnTo>
                    <a:pt x="381412" y="351790"/>
                  </a:lnTo>
                  <a:lnTo>
                    <a:pt x="379589" y="360680"/>
                  </a:lnTo>
                  <a:lnTo>
                    <a:pt x="374451" y="368300"/>
                  </a:lnTo>
                  <a:lnTo>
                    <a:pt x="366640" y="374650"/>
                  </a:lnTo>
                  <a:lnTo>
                    <a:pt x="356795" y="378460"/>
                  </a:lnTo>
                  <a:lnTo>
                    <a:pt x="346808" y="379730"/>
                  </a:lnTo>
                  <a:lnTo>
                    <a:pt x="385277" y="379730"/>
                  </a:lnTo>
                  <a:lnTo>
                    <a:pt x="390512" y="373380"/>
                  </a:lnTo>
                  <a:lnTo>
                    <a:pt x="396260" y="359410"/>
                  </a:lnTo>
                  <a:lnTo>
                    <a:pt x="397411" y="355600"/>
                  </a:lnTo>
                  <a:lnTo>
                    <a:pt x="397270" y="351790"/>
                  </a:lnTo>
                  <a:close/>
                </a:path>
                <a:path w="492760" h="492759">
                  <a:moveTo>
                    <a:pt x="454135" y="71120"/>
                  </a:moveTo>
                  <a:lnTo>
                    <a:pt x="432772" y="71120"/>
                  </a:lnTo>
                  <a:lnTo>
                    <a:pt x="458264" y="106680"/>
                  </a:lnTo>
                  <a:lnTo>
                    <a:pt x="473419" y="148590"/>
                  </a:lnTo>
                  <a:lnTo>
                    <a:pt x="476297" y="194310"/>
                  </a:lnTo>
                  <a:lnTo>
                    <a:pt x="476377" y="195580"/>
                  </a:lnTo>
                  <a:lnTo>
                    <a:pt x="465283" y="243840"/>
                  </a:lnTo>
                  <a:lnTo>
                    <a:pt x="438279" y="288290"/>
                  </a:lnTo>
                  <a:lnTo>
                    <a:pt x="404069" y="318770"/>
                  </a:lnTo>
                  <a:lnTo>
                    <a:pt x="364423" y="339090"/>
                  </a:lnTo>
                  <a:lnTo>
                    <a:pt x="321717" y="347980"/>
                  </a:lnTo>
                  <a:lnTo>
                    <a:pt x="397546" y="347980"/>
                  </a:lnTo>
                  <a:lnTo>
                    <a:pt x="398029" y="344170"/>
                  </a:lnTo>
                  <a:lnTo>
                    <a:pt x="398469" y="341630"/>
                  </a:lnTo>
                  <a:lnTo>
                    <a:pt x="403244" y="339090"/>
                  </a:lnTo>
                  <a:lnTo>
                    <a:pt x="407286" y="336550"/>
                  </a:lnTo>
                  <a:lnTo>
                    <a:pt x="411851" y="334010"/>
                  </a:lnTo>
                  <a:lnTo>
                    <a:pt x="427942" y="334010"/>
                  </a:lnTo>
                  <a:lnTo>
                    <a:pt x="426489" y="326390"/>
                  </a:lnTo>
                  <a:lnTo>
                    <a:pt x="443138" y="307340"/>
                  </a:lnTo>
                  <a:lnTo>
                    <a:pt x="462350" y="307340"/>
                  </a:lnTo>
                  <a:lnTo>
                    <a:pt x="457012" y="297180"/>
                  </a:lnTo>
                  <a:lnTo>
                    <a:pt x="457274" y="289560"/>
                  </a:lnTo>
                  <a:lnTo>
                    <a:pt x="462048" y="283210"/>
                  </a:lnTo>
                  <a:lnTo>
                    <a:pt x="484953" y="234950"/>
                  </a:lnTo>
                  <a:lnTo>
                    <a:pt x="492672" y="182880"/>
                  </a:lnTo>
                  <a:lnTo>
                    <a:pt x="485197" y="130810"/>
                  </a:lnTo>
                  <a:lnTo>
                    <a:pt x="462519" y="82550"/>
                  </a:lnTo>
                  <a:lnTo>
                    <a:pt x="458438" y="76200"/>
                  </a:lnTo>
                  <a:lnTo>
                    <a:pt x="454135" y="71120"/>
                  </a:lnTo>
                  <a:close/>
                </a:path>
                <a:path w="492760" h="492759">
                  <a:moveTo>
                    <a:pt x="318966" y="48260"/>
                  </a:moveTo>
                  <a:lnTo>
                    <a:pt x="277013" y="52070"/>
                  </a:lnTo>
                  <a:lnTo>
                    <a:pt x="238475" y="69850"/>
                  </a:lnTo>
                  <a:lnTo>
                    <a:pt x="206716" y="97790"/>
                  </a:lnTo>
                  <a:lnTo>
                    <a:pt x="182731" y="142240"/>
                  </a:lnTo>
                  <a:lnTo>
                    <a:pt x="176964" y="191770"/>
                  </a:lnTo>
                  <a:lnTo>
                    <a:pt x="189089" y="238760"/>
                  </a:lnTo>
                  <a:lnTo>
                    <a:pt x="218778" y="279400"/>
                  </a:lnTo>
                  <a:lnTo>
                    <a:pt x="261228" y="307340"/>
                  </a:lnTo>
                  <a:lnTo>
                    <a:pt x="309096" y="316230"/>
                  </a:lnTo>
                  <a:lnTo>
                    <a:pt x="357327" y="308610"/>
                  </a:lnTo>
                  <a:lnTo>
                    <a:pt x="369767" y="300990"/>
                  </a:lnTo>
                  <a:lnTo>
                    <a:pt x="315284" y="300990"/>
                  </a:lnTo>
                  <a:lnTo>
                    <a:pt x="270071" y="293370"/>
                  </a:lnTo>
                  <a:lnTo>
                    <a:pt x="229951" y="269240"/>
                  </a:lnTo>
                  <a:lnTo>
                    <a:pt x="202383" y="229870"/>
                  </a:lnTo>
                  <a:lnTo>
                    <a:pt x="192486" y="184150"/>
                  </a:lnTo>
                  <a:lnTo>
                    <a:pt x="200383" y="139700"/>
                  </a:lnTo>
                  <a:lnTo>
                    <a:pt x="226202" y="99060"/>
                  </a:lnTo>
                  <a:lnTo>
                    <a:pt x="265287" y="72390"/>
                  </a:lnTo>
                  <a:lnTo>
                    <a:pt x="308731" y="63500"/>
                  </a:lnTo>
                  <a:lnTo>
                    <a:pt x="371148" y="63500"/>
                  </a:lnTo>
                  <a:lnTo>
                    <a:pt x="360967" y="57150"/>
                  </a:lnTo>
                  <a:lnTo>
                    <a:pt x="318966" y="48260"/>
                  </a:lnTo>
                  <a:close/>
                </a:path>
                <a:path w="492760" h="492759">
                  <a:moveTo>
                    <a:pt x="418636" y="105410"/>
                  </a:moveTo>
                  <a:lnTo>
                    <a:pt x="400103" y="105410"/>
                  </a:lnTo>
                  <a:lnTo>
                    <a:pt x="421128" y="138430"/>
                  </a:lnTo>
                  <a:lnTo>
                    <a:pt x="429456" y="179070"/>
                  </a:lnTo>
                  <a:lnTo>
                    <a:pt x="422712" y="222250"/>
                  </a:lnTo>
                  <a:lnTo>
                    <a:pt x="398521" y="261620"/>
                  </a:lnTo>
                  <a:lnTo>
                    <a:pt x="359974" y="289560"/>
                  </a:lnTo>
                  <a:lnTo>
                    <a:pt x="315284" y="300990"/>
                  </a:lnTo>
                  <a:lnTo>
                    <a:pt x="369767" y="300990"/>
                  </a:lnTo>
                  <a:lnTo>
                    <a:pt x="400867" y="281940"/>
                  </a:lnTo>
                  <a:lnTo>
                    <a:pt x="426854" y="250190"/>
                  </a:lnTo>
                  <a:lnTo>
                    <a:pt x="441759" y="212090"/>
                  </a:lnTo>
                  <a:lnTo>
                    <a:pt x="444650" y="171450"/>
                  </a:lnTo>
                  <a:lnTo>
                    <a:pt x="434593" y="130810"/>
                  </a:lnTo>
                  <a:lnTo>
                    <a:pt x="418636" y="105410"/>
                  </a:lnTo>
                  <a:close/>
                </a:path>
                <a:path w="492760" h="492759">
                  <a:moveTo>
                    <a:pt x="304513" y="0"/>
                  </a:moveTo>
                  <a:lnTo>
                    <a:pt x="256505" y="8890"/>
                  </a:lnTo>
                  <a:lnTo>
                    <a:pt x="212103" y="29210"/>
                  </a:lnTo>
                  <a:lnTo>
                    <a:pt x="176974" y="58420"/>
                  </a:lnTo>
                  <a:lnTo>
                    <a:pt x="150777" y="96520"/>
                  </a:lnTo>
                  <a:lnTo>
                    <a:pt x="133168" y="143510"/>
                  </a:lnTo>
                  <a:lnTo>
                    <a:pt x="66448" y="143510"/>
                  </a:lnTo>
                  <a:lnTo>
                    <a:pt x="66448" y="158750"/>
                  </a:lnTo>
                  <a:lnTo>
                    <a:pt x="129933" y="158750"/>
                  </a:lnTo>
                  <a:lnTo>
                    <a:pt x="129933" y="205740"/>
                  </a:lnTo>
                  <a:lnTo>
                    <a:pt x="66333" y="205740"/>
                  </a:lnTo>
                  <a:lnTo>
                    <a:pt x="66333" y="222250"/>
                  </a:lnTo>
                  <a:lnTo>
                    <a:pt x="131734" y="222250"/>
                  </a:lnTo>
                  <a:lnTo>
                    <a:pt x="133472" y="220980"/>
                  </a:lnTo>
                  <a:lnTo>
                    <a:pt x="150548" y="220980"/>
                  </a:lnTo>
                  <a:lnTo>
                    <a:pt x="145106" y="185420"/>
                  </a:lnTo>
                  <a:lnTo>
                    <a:pt x="149930" y="142240"/>
                  </a:lnTo>
                  <a:lnTo>
                    <a:pt x="166242" y="101600"/>
                  </a:lnTo>
                  <a:lnTo>
                    <a:pt x="194098" y="64770"/>
                  </a:lnTo>
                  <a:lnTo>
                    <a:pt x="237972" y="33020"/>
                  </a:lnTo>
                  <a:lnTo>
                    <a:pt x="286374" y="17780"/>
                  </a:lnTo>
                  <a:lnTo>
                    <a:pt x="386630" y="17780"/>
                  </a:lnTo>
                  <a:lnTo>
                    <a:pt x="350113" y="3810"/>
                  </a:lnTo>
                  <a:lnTo>
                    <a:pt x="304513" y="0"/>
                  </a:lnTo>
                  <a:close/>
                </a:path>
                <a:path w="492760" h="492759">
                  <a:moveTo>
                    <a:pt x="253364" y="161290"/>
                  </a:moveTo>
                  <a:lnTo>
                    <a:pt x="243291" y="171450"/>
                  </a:lnTo>
                  <a:lnTo>
                    <a:pt x="288504" y="217170"/>
                  </a:lnTo>
                  <a:lnTo>
                    <a:pt x="311331" y="194310"/>
                  </a:lnTo>
                  <a:lnTo>
                    <a:pt x="286284" y="194310"/>
                  </a:lnTo>
                  <a:lnTo>
                    <a:pt x="253364" y="161290"/>
                  </a:lnTo>
                  <a:close/>
                </a:path>
                <a:path w="492760" h="492759">
                  <a:moveTo>
                    <a:pt x="371148" y="63500"/>
                  </a:moveTo>
                  <a:lnTo>
                    <a:pt x="308731" y="63500"/>
                  </a:lnTo>
                  <a:lnTo>
                    <a:pt x="351291" y="71120"/>
                  </a:lnTo>
                  <a:lnTo>
                    <a:pt x="387726" y="92710"/>
                  </a:lnTo>
                  <a:lnTo>
                    <a:pt x="286284" y="194310"/>
                  </a:lnTo>
                  <a:lnTo>
                    <a:pt x="311331" y="194310"/>
                  </a:lnTo>
                  <a:lnTo>
                    <a:pt x="400103" y="105410"/>
                  </a:lnTo>
                  <a:lnTo>
                    <a:pt x="418636" y="105410"/>
                  </a:lnTo>
                  <a:lnTo>
                    <a:pt x="410657" y="92710"/>
                  </a:lnTo>
                  <a:lnTo>
                    <a:pt x="414469" y="88900"/>
                  </a:lnTo>
                  <a:lnTo>
                    <a:pt x="418531" y="85090"/>
                  </a:lnTo>
                  <a:lnTo>
                    <a:pt x="422979" y="81280"/>
                  </a:lnTo>
                  <a:lnTo>
                    <a:pt x="399652" y="81280"/>
                  </a:lnTo>
                  <a:lnTo>
                    <a:pt x="371148" y="63500"/>
                  </a:lnTo>
                  <a:close/>
                </a:path>
                <a:path w="492760" h="492759">
                  <a:moveTo>
                    <a:pt x="386630" y="17780"/>
                  </a:moveTo>
                  <a:lnTo>
                    <a:pt x="335572" y="17780"/>
                  </a:lnTo>
                  <a:lnTo>
                    <a:pt x="381835" y="31750"/>
                  </a:lnTo>
                  <a:lnTo>
                    <a:pt x="421432" y="59690"/>
                  </a:lnTo>
                  <a:lnTo>
                    <a:pt x="399652" y="81280"/>
                  </a:lnTo>
                  <a:lnTo>
                    <a:pt x="422979" y="81280"/>
                  </a:lnTo>
                  <a:lnTo>
                    <a:pt x="425945" y="78740"/>
                  </a:lnTo>
                  <a:lnTo>
                    <a:pt x="429285" y="74930"/>
                  </a:lnTo>
                  <a:lnTo>
                    <a:pt x="432772" y="71120"/>
                  </a:lnTo>
                  <a:lnTo>
                    <a:pt x="454135" y="71120"/>
                  </a:lnTo>
                  <a:lnTo>
                    <a:pt x="449694" y="64770"/>
                  </a:lnTo>
                  <a:lnTo>
                    <a:pt x="445201" y="59690"/>
                  </a:lnTo>
                  <a:lnTo>
                    <a:pt x="456423" y="48260"/>
                  </a:lnTo>
                  <a:lnTo>
                    <a:pt x="433944" y="48260"/>
                  </a:lnTo>
                  <a:lnTo>
                    <a:pt x="393269" y="20320"/>
                  </a:lnTo>
                  <a:lnTo>
                    <a:pt x="386630" y="17780"/>
                  </a:lnTo>
                  <a:close/>
                </a:path>
                <a:path w="492760" h="492759">
                  <a:moveTo>
                    <a:pt x="478938" y="2540"/>
                  </a:moveTo>
                  <a:lnTo>
                    <a:pt x="433944" y="48260"/>
                  </a:lnTo>
                  <a:lnTo>
                    <a:pt x="456423" y="48260"/>
                  </a:lnTo>
                  <a:lnTo>
                    <a:pt x="490089" y="13970"/>
                  </a:lnTo>
                  <a:lnTo>
                    <a:pt x="478938" y="254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2" name="object 22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990410" y="7364477"/>
              <a:ext cx="141692" cy="236516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2258771" y="7601387"/>
              <a:ext cx="189865" cy="221615"/>
            </a:xfrm>
            <a:custGeom>
              <a:avLst/>
              <a:gdLst/>
              <a:ahLst/>
              <a:cxnLst/>
              <a:rect l="l" t="t" r="r" b="b"/>
              <a:pathLst>
                <a:path w="189864" h="221615">
                  <a:moveTo>
                    <a:pt x="15430" y="76"/>
                  </a:moveTo>
                  <a:lnTo>
                    <a:pt x="241" y="76"/>
                  </a:lnTo>
                  <a:lnTo>
                    <a:pt x="241" y="15303"/>
                  </a:lnTo>
                  <a:lnTo>
                    <a:pt x="15430" y="15303"/>
                  </a:lnTo>
                  <a:lnTo>
                    <a:pt x="15430" y="76"/>
                  </a:lnTo>
                  <a:close/>
                </a:path>
                <a:path w="189864" h="221615">
                  <a:moveTo>
                    <a:pt x="15811" y="177317"/>
                  </a:moveTo>
                  <a:lnTo>
                    <a:pt x="12268" y="173710"/>
                  </a:lnTo>
                  <a:lnTo>
                    <a:pt x="3708" y="173609"/>
                  </a:lnTo>
                  <a:lnTo>
                    <a:pt x="76" y="177152"/>
                  </a:lnTo>
                  <a:lnTo>
                    <a:pt x="0" y="185712"/>
                  </a:lnTo>
                  <a:lnTo>
                    <a:pt x="3530" y="189344"/>
                  </a:lnTo>
                  <a:lnTo>
                    <a:pt x="7823" y="189382"/>
                  </a:lnTo>
                  <a:lnTo>
                    <a:pt x="12090" y="189420"/>
                  </a:lnTo>
                  <a:lnTo>
                    <a:pt x="15709" y="185889"/>
                  </a:lnTo>
                  <a:lnTo>
                    <a:pt x="15811" y="177317"/>
                  </a:lnTo>
                  <a:close/>
                </a:path>
                <a:path w="189864" h="221615">
                  <a:moveTo>
                    <a:pt x="47091" y="0"/>
                  </a:moveTo>
                  <a:lnTo>
                    <a:pt x="31991" y="0"/>
                  </a:lnTo>
                  <a:lnTo>
                    <a:pt x="31991" y="15354"/>
                  </a:lnTo>
                  <a:lnTo>
                    <a:pt x="47091" y="15354"/>
                  </a:lnTo>
                  <a:lnTo>
                    <a:pt x="47091" y="0"/>
                  </a:lnTo>
                  <a:close/>
                </a:path>
                <a:path w="189864" h="221615">
                  <a:moveTo>
                    <a:pt x="78803" y="63"/>
                  </a:moveTo>
                  <a:lnTo>
                    <a:pt x="63474" y="63"/>
                  </a:lnTo>
                  <a:lnTo>
                    <a:pt x="63474" y="15303"/>
                  </a:lnTo>
                  <a:lnTo>
                    <a:pt x="78803" y="15303"/>
                  </a:lnTo>
                  <a:lnTo>
                    <a:pt x="78803" y="63"/>
                  </a:lnTo>
                  <a:close/>
                </a:path>
                <a:path w="189864" h="221615">
                  <a:moveTo>
                    <a:pt x="86944" y="209003"/>
                  </a:moveTo>
                  <a:lnTo>
                    <a:pt x="83451" y="205359"/>
                  </a:lnTo>
                  <a:lnTo>
                    <a:pt x="74879" y="205155"/>
                  </a:lnTo>
                  <a:lnTo>
                    <a:pt x="71247" y="208648"/>
                  </a:lnTo>
                  <a:lnTo>
                    <a:pt x="71043" y="217220"/>
                  </a:lnTo>
                  <a:lnTo>
                    <a:pt x="74536" y="220878"/>
                  </a:lnTo>
                  <a:lnTo>
                    <a:pt x="78816" y="220980"/>
                  </a:lnTo>
                  <a:lnTo>
                    <a:pt x="83083" y="221068"/>
                  </a:lnTo>
                  <a:lnTo>
                    <a:pt x="86753" y="217563"/>
                  </a:lnTo>
                  <a:lnTo>
                    <a:pt x="86944" y="209003"/>
                  </a:lnTo>
                  <a:close/>
                </a:path>
                <a:path w="189864" h="221615">
                  <a:moveTo>
                    <a:pt x="157988" y="185712"/>
                  </a:moveTo>
                  <a:lnTo>
                    <a:pt x="157911" y="177165"/>
                  </a:lnTo>
                  <a:lnTo>
                    <a:pt x="154292" y="173609"/>
                  </a:lnTo>
                  <a:lnTo>
                    <a:pt x="145732" y="173710"/>
                  </a:lnTo>
                  <a:lnTo>
                    <a:pt x="142176" y="177317"/>
                  </a:lnTo>
                  <a:lnTo>
                    <a:pt x="142278" y="185877"/>
                  </a:lnTo>
                  <a:lnTo>
                    <a:pt x="145897" y="189420"/>
                  </a:lnTo>
                  <a:lnTo>
                    <a:pt x="150164" y="189382"/>
                  </a:lnTo>
                  <a:lnTo>
                    <a:pt x="154457" y="189331"/>
                  </a:lnTo>
                  <a:lnTo>
                    <a:pt x="157988" y="185712"/>
                  </a:lnTo>
                  <a:close/>
                </a:path>
                <a:path w="189864" h="221615">
                  <a:moveTo>
                    <a:pt x="189598" y="106222"/>
                  </a:moveTo>
                  <a:lnTo>
                    <a:pt x="186055" y="102603"/>
                  </a:lnTo>
                  <a:lnTo>
                    <a:pt x="177482" y="102514"/>
                  </a:lnTo>
                  <a:lnTo>
                    <a:pt x="173875" y="106045"/>
                  </a:lnTo>
                  <a:lnTo>
                    <a:pt x="173786" y="114617"/>
                  </a:lnTo>
                  <a:lnTo>
                    <a:pt x="177330" y="118224"/>
                  </a:lnTo>
                  <a:lnTo>
                    <a:pt x="181610" y="118287"/>
                  </a:lnTo>
                  <a:lnTo>
                    <a:pt x="185877" y="118338"/>
                  </a:lnTo>
                  <a:lnTo>
                    <a:pt x="189509" y="114769"/>
                  </a:lnTo>
                  <a:lnTo>
                    <a:pt x="189598" y="1062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24" name="object 24"/>
          <p:cNvGrpSpPr/>
          <p:nvPr/>
        </p:nvGrpSpPr>
        <p:grpSpPr>
          <a:xfrm>
            <a:off x="1205854" y="3142517"/>
            <a:ext cx="306126" cy="297270"/>
            <a:chOff x="1987837" y="5182244"/>
            <a:chExt cx="504825" cy="490220"/>
          </a:xfrm>
        </p:grpSpPr>
        <p:sp>
          <p:nvSpPr>
            <p:cNvPr id="25" name="object 25"/>
            <p:cNvSpPr/>
            <p:nvPr/>
          </p:nvSpPr>
          <p:spPr>
            <a:xfrm>
              <a:off x="1987829" y="5182253"/>
              <a:ext cx="504825" cy="490220"/>
            </a:xfrm>
            <a:custGeom>
              <a:avLst/>
              <a:gdLst/>
              <a:ahLst/>
              <a:cxnLst/>
              <a:rect l="l" t="t" r="r" b="b"/>
              <a:pathLst>
                <a:path w="504825" h="490220">
                  <a:moveTo>
                    <a:pt x="315188" y="179463"/>
                  </a:moveTo>
                  <a:lnTo>
                    <a:pt x="308229" y="136766"/>
                  </a:lnTo>
                  <a:lnTo>
                    <a:pt x="308190" y="136486"/>
                  </a:lnTo>
                  <a:lnTo>
                    <a:pt x="299402" y="119595"/>
                  </a:lnTo>
                  <a:lnTo>
                    <a:pt x="299402" y="179895"/>
                  </a:lnTo>
                  <a:lnTo>
                    <a:pt x="289953" y="226339"/>
                  </a:lnTo>
                  <a:lnTo>
                    <a:pt x="289890" y="226631"/>
                  </a:lnTo>
                  <a:lnTo>
                    <a:pt x="264147" y="264693"/>
                  </a:lnTo>
                  <a:lnTo>
                    <a:pt x="264058" y="264833"/>
                  </a:lnTo>
                  <a:lnTo>
                    <a:pt x="225806" y="290614"/>
                  </a:lnTo>
                  <a:lnTo>
                    <a:pt x="179031" y="300088"/>
                  </a:lnTo>
                  <a:lnTo>
                    <a:pt x="132245" y="290614"/>
                  </a:lnTo>
                  <a:lnTo>
                    <a:pt x="130759" y="289636"/>
                  </a:lnTo>
                  <a:lnTo>
                    <a:pt x="93840" y="264693"/>
                  </a:lnTo>
                  <a:lnTo>
                    <a:pt x="67983" y="226339"/>
                  </a:lnTo>
                  <a:lnTo>
                    <a:pt x="58623" y="179895"/>
                  </a:lnTo>
                  <a:lnTo>
                    <a:pt x="58534" y="179463"/>
                  </a:lnTo>
                  <a:lnTo>
                    <a:pt x="68046" y="132981"/>
                  </a:lnTo>
                  <a:lnTo>
                    <a:pt x="93929" y="94615"/>
                  </a:lnTo>
                  <a:lnTo>
                    <a:pt x="132245" y="68707"/>
                  </a:lnTo>
                  <a:lnTo>
                    <a:pt x="178968" y="59207"/>
                  </a:lnTo>
                  <a:lnTo>
                    <a:pt x="225818" y="68707"/>
                  </a:lnTo>
                  <a:lnTo>
                    <a:pt x="264121" y="94615"/>
                  </a:lnTo>
                  <a:lnTo>
                    <a:pt x="289966" y="132981"/>
                  </a:lnTo>
                  <a:lnTo>
                    <a:pt x="299326" y="179463"/>
                  </a:lnTo>
                  <a:lnTo>
                    <a:pt x="299402" y="179895"/>
                  </a:lnTo>
                  <a:lnTo>
                    <a:pt x="299402" y="119595"/>
                  </a:lnTo>
                  <a:lnTo>
                    <a:pt x="288874" y="99339"/>
                  </a:lnTo>
                  <a:lnTo>
                    <a:pt x="288798" y="99174"/>
                  </a:lnTo>
                  <a:lnTo>
                    <a:pt x="259359" y="69786"/>
                  </a:lnTo>
                  <a:lnTo>
                    <a:pt x="257340" y="68707"/>
                  </a:lnTo>
                  <a:lnTo>
                    <a:pt x="239014" y="59207"/>
                  </a:lnTo>
                  <a:lnTo>
                    <a:pt x="221970" y="50380"/>
                  </a:lnTo>
                  <a:lnTo>
                    <a:pt x="179070" y="43408"/>
                  </a:lnTo>
                  <a:lnTo>
                    <a:pt x="136067" y="50380"/>
                  </a:lnTo>
                  <a:lnTo>
                    <a:pt x="98653" y="69786"/>
                  </a:lnTo>
                  <a:lnTo>
                    <a:pt x="69088" y="99339"/>
                  </a:lnTo>
                  <a:lnTo>
                    <a:pt x="49695" y="136766"/>
                  </a:lnTo>
                  <a:lnTo>
                    <a:pt x="42786" y="179463"/>
                  </a:lnTo>
                  <a:lnTo>
                    <a:pt x="42760" y="179895"/>
                  </a:lnTo>
                  <a:lnTo>
                    <a:pt x="49695" y="222415"/>
                  </a:lnTo>
                  <a:lnTo>
                    <a:pt x="49745" y="222745"/>
                  </a:lnTo>
                  <a:lnTo>
                    <a:pt x="69176" y="260134"/>
                  </a:lnTo>
                  <a:lnTo>
                    <a:pt x="98742" y="289636"/>
                  </a:lnTo>
                  <a:lnTo>
                    <a:pt x="136169" y="308978"/>
                  </a:lnTo>
                  <a:lnTo>
                    <a:pt x="179197" y="315887"/>
                  </a:lnTo>
                  <a:lnTo>
                    <a:pt x="221475" y="308978"/>
                  </a:lnTo>
                  <a:lnTo>
                    <a:pt x="221983" y="308978"/>
                  </a:lnTo>
                  <a:lnTo>
                    <a:pt x="259575" y="289433"/>
                  </a:lnTo>
                  <a:lnTo>
                    <a:pt x="289039" y="259867"/>
                  </a:lnTo>
                  <a:lnTo>
                    <a:pt x="308330" y="222415"/>
                  </a:lnTo>
                  <a:lnTo>
                    <a:pt x="315125" y="179895"/>
                  </a:lnTo>
                  <a:lnTo>
                    <a:pt x="315188" y="179463"/>
                  </a:lnTo>
                  <a:close/>
                </a:path>
                <a:path w="504825" h="490220">
                  <a:moveTo>
                    <a:pt x="504786" y="426453"/>
                  </a:moveTo>
                  <a:lnTo>
                    <a:pt x="501751" y="421678"/>
                  </a:lnTo>
                  <a:lnTo>
                    <a:pt x="499465" y="416128"/>
                  </a:lnTo>
                  <a:lnTo>
                    <a:pt x="489826" y="406755"/>
                  </a:lnTo>
                  <a:lnTo>
                    <a:pt x="489826" y="430822"/>
                  </a:lnTo>
                  <a:lnTo>
                    <a:pt x="488391" y="433247"/>
                  </a:lnTo>
                  <a:lnTo>
                    <a:pt x="487591" y="435457"/>
                  </a:lnTo>
                  <a:lnTo>
                    <a:pt x="477977" y="445503"/>
                  </a:lnTo>
                  <a:lnTo>
                    <a:pt x="461670" y="462343"/>
                  </a:lnTo>
                  <a:lnTo>
                    <a:pt x="449186" y="475043"/>
                  </a:lnTo>
                  <a:lnTo>
                    <a:pt x="445350" y="475043"/>
                  </a:lnTo>
                  <a:lnTo>
                    <a:pt x="343865" y="376605"/>
                  </a:lnTo>
                  <a:lnTo>
                    <a:pt x="343890" y="372694"/>
                  </a:lnTo>
                  <a:lnTo>
                    <a:pt x="367665" y="348119"/>
                  </a:lnTo>
                  <a:lnTo>
                    <a:pt x="384962" y="330390"/>
                  </a:lnTo>
                  <a:lnTo>
                    <a:pt x="388632" y="330390"/>
                  </a:lnTo>
                  <a:lnTo>
                    <a:pt x="487121" y="426034"/>
                  </a:lnTo>
                  <a:lnTo>
                    <a:pt x="488226" y="428447"/>
                  </a:lnTo>
                  <a:lnTo>
                    <a:pt x="489826" y="430822"/>
                  </a:lnTo>
                  <a:lnTo>
                    <a:pt x="489826" y="406755"/>
                  </a:lnTo>
                  <a:lnTo>
                    <a:pt x="411403" y="330390"/>
                  </a:lnTo>
                  <a:lnTo>
                    <a:pt x="404609" y="323786"/>
                  </a:lnTo>
                  <a:lnTo>
                    <a:pt x="398640" y="319151"/>
                  </a:lnTo>
                  <a:lnTo>
                    <a:pt x="395960" y="318046"/>
                  </a:lnTo>
                  <a:lnTo>
                    <a:pt x="392239" y="316509"/>
                  </a:lnTo>
                  <a:lnTo>
                    <a:pt x="385368" y="315976"/>
                  </a:lnTo>
                  <a:lnTo>
                    <a:pt x="377939" y="317639"/>
                  </a:lnTo>
                  <a:lnTo>
                    <a:pt x="376834" y="318046"/>
                  </a:lnTo>
                  <a:lnTo>
                    <a:pt x="374954" y="318046"/>
                  </a:lnTo>
                  <a:lnTo>
                    <a:pt x="363842" y="307327"/>
                  </a:lnTo>
                  <a:lnTo>
                    <a:pt x="363842" y="329438"/>
                  </a:lnTo>
                  <a:lnTo>
                    <a:pt x="343496" y="348119"/>
                  </a:lnTo>
                  <a:lnTo>
                    <a:pt x="314413" y="319900"/>
                  </a:lnTo>
                  <a:lnTo>
                    <a:pt x="303745" y="309537"/>
                  </a:lnTo>
                  <a:lnTo>
                    <a:pt x="322097" y="289001"/>
                  </a:lnTo>
                  <a:lnTo>
                    <a:pt x="363842" y="329438"/>
                  </a:lnTo>
                  <a:lnTo>
                    <a:pt x="363842" y="307327"/>
                  </a:lnTo>
                  <a:lnTo>
                    <a:pt x="344843" y="289001"/>
                  </a:lnTo>
                  <a:lnTo>
                    <a:pt x="331279" y="275831"/>
                  </a:lnTo>
                  <a:lnTo>
                    <a:pt x="351574" y="231127"/>
                  </a:lnTo>
                  <a:lnTo>
                    <a:pt x="358863" y="185089"/>
                  </a:lnTo>
                  <a:lnTo>
                    <a:pt x="354215" y="139877"/>
                  </a:lnTo>
                  <a:lnTo>
                    <a:pt x="342925" y="109054"/>
                  </a:lnTo>
                  <a:lnTo>
                    <a:pt x="342925" y="179857"/>
                  </a:lnTo>
                  <a:lnTo>
                    <a:pt x="337045" y="223253"/>
                  </a:lnTo>
                  <a:lnTo>
                    <a:pt x="320522" y="262382"/>
                  </a:lnTo>
                  <a:lnTo>
                    <a:pt x="294805" y="295656"/>
                  </a:lnTo>
                  <a:lnTo>
                    <a:pt x="261632" y="321259"/>
                  </a:lnTo>
                  <a:lnTo>
                    <a:pt x="222478" y="337756"/>
                  </a:lnTo>
                  <a:lnTo>
                    <a:pt x="178943" y="343585"/>
                  </a:lnTo>
                  <a:lnTo>
                    <a:pt x="135724" y="337756"/>
                  </a:lnTo>
                  <a:lnTo>
                    <a:pt x="135521" y="337756"/>
                  </a:lnTo>
                  <a:lnTo>
                    <a:pt x="96469" y="321259"/>
                  </a:lnTo>
                  <a:lnTo>
                    <a:pt x="63258" y="295656"/>
                  </a:lnTo>
                  <a:lnTo>
                    <a:pt x="37566" y="262509"/>
                  </a:lnTo>
                  <a:lnTo>
                    <a:pt x="37465" y="262382"/>
                  </a:lnTo>
                  <a:lnTo>
                    <a:pt x="20967" y="223393"/>
                  </a:lnTo>
                  <a:lnTo>
                    <a:pt x="20916" y="223253"/>
                  </a:lnTo>
                  <a:lnTo>
                    <a:pt x="15036" y="179857"/>
                  </a:lnTo>
                  <a:lnTo>
                    <a:pt x="20866" y="136334"/>
                  </a:lnTo>
                  <a:lnTo>
                    <a:pt x="37401" y="97180"/>
                  </a:lnTo>
                  <a:lnTo>
                    <a:pt x="63233" y="63703"/>
                  </a:lnTo>
                  <a:lnTo>
                    <a:pt x="96520" y="38011"/>
                  </a:lnTo>
                  <a:lnTo>
                    <a:pt x="135750" y="21475"/>
                  </a:lnTo>
                  <a:lnTo>
                    <a:pt x="179311" y="15684"/>
                  </a:lnTo>
                  <a:lnTo>
                    <a:pt x="222834" y="21653"/>
                  </a:lnTo>
                  <a:lnTo>
                    <a:pt x="261937" y="38277"/>
                  </a:lnTo>
                  <a:lnTo>
                    <a:pt x="295071" y="63969"/>
                  </a:lnTo>
                  <a:lnTo>
                    <a:pt x="320649" y="97180"/>
                  </a:lnTo>
                  <a:lnTo>
                    <a:pt x="337058" y="136169"/>
                  </a:lnTo>
                  <a:lnTo>
                    <a:pt x="342925" y="179857"/>
                  </a:lnTo>
                  <a:lnTo>
                    <a:pt x="342925" y="109054"/>
                  </a:lnTo>
                  <a:lnTo>
                    <a:pt x="313474" y="60477"/>
                  </a:lnTo>
                  <a:lnTo>
                    <a:pt x="279527" y="30594"/>
                  </a:lnTo>
                  <a:lnTo>
                    <a:pt x="233121" y="8204"/>
                  </a:lnTo>
                  <a:lnTo>
                    <a:pt x="183756" y="0"/>
                  </a:lnTo>
                  <a:lnTo>
                    <a:pt x="134391" y="5664"/>
                  </a:lnTo>
                  <a:lnTo>
                    <a:pt x="87947" y="24904"/>
                  </a:lnTo>
                  <a:lnTo>
                    <a:pt x="47358" y="57416"/>
                  </a:lnTo>
                  <a:lnTo>
                    <a:pt x="18199" y="99263"/>
                  </a:lnTo>
                  <a:lnTo>
                    <a:pt x="2362" y="146519"/>
                  </a:lnTo>
                  <a:lnTo>
                    <a:pt x="0" y="196011"/>
                  </a:lnTo>
                  <a:lnTo>
                    <a:pt x="11277" y="244538"/>
                  </a:lnTo>
                  <a:lnTo>
                    <a:pt x="36436" y="289001"/>
                  </a:lnTo>
                  <a:lnTo>
                    <a:pt x="83781" y="332409"/>
                  </a:lnTo>
                  <a:lnTo>
                    <a:pt x="143586" y="355815"/>
                  </a:lnTo>
                  <a:lnTo>
                    <a:pt x="183540" y="359486"/>
                  </a:lnTo>
                  <a:lnTo>
                    <a:pt x="221551" y="354584"/>
                  </a:lnTo>
                  <a:lnTo>
                    <a:pt x="251434" y="343585"/>
                  </a:lnTo>
                  <a:lnTo>
                    <a:pt x="257619" y="341312"/>
                  </a:lnTo>
                  <a:lnTo>
                    <a:pt x="291719" y="319900"/>
                  </a:lnTo>
                  <a:lnTo>
                    <a:pt x="333514" y="360476"/>
                  </a:lnTo>
                  <a:lnTo>
                    <a:pt x="329882" y="370230"/>
                  </a:lnTo>
                  <a:lnTo>
                    <a:pt x="329628" y="376605"/>
                  </a:lnTo>
                  <a:lnTo>
                    <a:pt x="429463" y="481685"/>
                  </a:lnTo>
                  <a:lnTo>
                    <a:pt x="447446" y="489737"/>
                  </a:lnTo>
                  <a:lnTo>
                    <a:pt x="456590" y="487591"/>
                  </a:lnTo>
                  <a:lnTo>
                    <a:pt x="465213" y="481330"/>
                  </a:lnTo>
                  <a:lnTo>
                    <a:pt x="471347" y="475043"/>
                  </a:lnTo>
                  <a:lnTo>
                    <a:pt x="486613" y="459270"/>
                  </a:lnTo>
                  <a:lnTo>
                    <a:pt x="493801" y="451980"/>
                  </a:lnTo>
                  <a:lnTo>
                    <a:pt x="498652" y="447141"/>
                  </a:lnTo>
                  <a:lnTo>
                    <a:pt x="502805" y="442010"/>
                  </a:lnTo>
                  <a:lnTo>
                    <a:pt x="504761" y="435457"/>
                  </a:lnTo>
                  <a:lnTo>
                    <a:pt x="504786" y="4264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6" name="object 2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075725" y="5293873"/>
              <a:ext cx="182058" cy="136309"/>
            </a:xfrm>
            <a:prstGeom prst="rect">
              <a:avLst/>
            </a:prstGeom>
          </p:spPr>
        </p:pic>
      </p:grpSp>
      <p:sp>
        <p:nvSpPr>
          <p:cNvPr id="27" name="object 27"/>
          <p:cNvSpPr txBox="1">
            <a:spLocks noGrp="1"/>
          </p:cNvSpPr>
          <p:nvPr>
            <p:ph type="title"/>
          </p:nvPr>
        </p:nvSpPr>
        <p:spPr>
          <a:xfrm>
            <a:off x="503918" y="526314"/>
            <a:ext cx="8779885" cy="802964"/>
          </a:xfrm>
          <a:prstGeom prst="rect">
            <a:avLst/>
          </a:prstGeom>
        </p:spPr>
        <p:txBody>
          <a:bodyPr vert="horz" wrap="square" lIns="0" tIns="10782" rIns="0" bIns="0" rtlCol="0">
            <a:spAutoFit/>
          </a:bodyPr>
          <a:lstStyle/>
          <a:p>
            <a:pPr marL="7701">
              <a:spcBef>
                <a:spcPts val="85"/>
              </a:spcBef>
            </a:pPr>
            <a:r>
              <a:rPr sz="2426" dirty="0"/>
              <a:t>АУДИТЫ</a:t>
            </a:r>
            <a:r>
              <a:rPr sz="2426" spc="67" dirty="0"/>
              <a:t> </a:t>
            </a:r>
            <a:r>
              <a:rPr sz="2426" dirty="0"/>
              <a:t>ПРОИЗВОДСТВЕННЫХ</a:t>
            </a:r>
            <a:r>
              <a:rPr sz="2426" spc="69" dirty="0"/>
              <a:t> </a:t>
            </a:r>
            <a:r>
              <a:rPr sz="2426" spc="-6" dirty="0" smtClean="0"/>
              <a:t>ПЛОЩАДОК</a:t>
            </a:r>
            <a:r>
              <a:rPr lang="ru-RU" sz="2426" spc="-6" dirty="0" smtClean="0"/>
              <a:t> СТМ</a:t>
            </a:r>
            <a:r>
              <a:rPr sz="2426" spc="-6" dirty="0" smtClean="0"/>
              <a:t>:</a:t>
            </a:r>
            <a:endParaRPr sz="2426" dirty="0"/>
          </a:p>
          <a:p>
            <a:pPr marL="7701">
              <a:spcBef>
                <a:spcPts val="52"/>
              </a:spcBef>
            </a:pPr>
            <a:r>
              <a:rPr sz="2638" b="0" dirty="0"/>
              <a:t>основные</a:t>
            </a:r>
            <a:r>
              <a:rPr sz="2638" b="0" spc="-3" dirty="0"/>
              <a:t> </a:t>
            </a:r>
            <a:r>
              <a:rPr sz="2638" b="0" spc="-6" dirty="0"/>
              <a:t>условия</a:t>
            </a:r>
            <a:endParaRPr sz="2638" dirty="0"/>
          </a:p>
        </p:txBody>
      </p:sp>
      <p:grpSp>
        <p:nvGrpSpPr>
          <p:cNvPr id="28" name="object 28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29" name="object 29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object 31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904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47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5E65BD3A-6B9D-471D-969C-2EE841FDA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99501"/>
            <a:ext cx="8477250" cy="338554"/>
          </a:xfrm>
        </p:spPr>
        <p:txBody>
          <a:bodyPr vert="horz"/>
          <a:lstStyle/>
          <a:p>
            <a:r>
              <a:rPr lang="ru-RU" dirty="0">
                <a:solidFill>
                  <a:schemeClr val="tx1"/>
                </a:solidFill>
              </a:rPr>
              <a:t>Примеры нарушений оформления документов</a:t>
            </a: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34F663E3-0233-A2BE-BF06-EAB1D65453F2}"/>
              </a:ext>
            </a:extLst>
          </p:cNvPr>
          <p:cNvGrpSpPr/>
          <p:nvPr/>
        </p:nvGrpSpPr>
        <p:grpSpPr>
          <a:xfrm>
            <a:off x="482137" y="1176610"/>
            <a:ext cx="3851829" cy="2564117"/>
            <a:chOff x="566252" y="1198540"/>
            <a:chExt cx="5404337" cy="5083197"/>
          </a:xfrm>
        </p:grpSpPr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8BE0D1D0-FB9A-8441-F76C-B5D19291CEDF}"/>
                </a:ext>
              </a:extLst>
            </p:cNvPr>
            <p:cNvSpPr/>
            <p:nvPr/>
          </p:nvSpPr>
          <p:spPr>
            <a:xfrm>
              <a:off x="571500" y="1205865"/>
              <a:ext cx="5399089" cy="507587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00D4447B-83CE-8963-B096-3D1F0BFF9E9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6252" y="1198540"/>
              <a:ext cx="5404336" cy="6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C3712479-88CE-62AF-8EDA-901713A77BFC}"/>
              </a:ext>
            </a:extLst>
          </p:cNvPr>
          <p:cNvGrpSpPr/>
          <p:nvPr/>
        </p:nvGrpSpPr>
        <p:grpSpPr>
          <a:xfrm>
            <a:off x="4383886" y="1176610"/>
            <a:ext cx="7269973" cy="2570496"/>
            <a:chOff x="566252" y="1198540"/>
            <a:chExt cx="5404337" cy="5083197"/>
          </a:xfrm>
        </p:grpSpPr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E43CF829-C7C4-AF7F-8C66-D713C8F161A1}"/>
                </a:ext>
              </a:extLst>
            </p:cNvPr>
            <p:cNvSpPr/>
            <p:nvPr/>
          </p:nvSpPr>
          <p:spPr>
            <a:xfrm>
              <a:off x="571500" y="1205865"/>
              <a:ext cx="5399089" cy="507587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61" name="Прямая соединительная линия 60">
              <a:extLst>
                <a:ext uri="{FF2B5EF4-FFF2-40B4-BE49-F238E27FC236}">
                  <a16:creationId xmlns:a16="http://schemas.microsoft.com/office/drawing/2014/main" id="{9E51C501-5314-C541-D32B-B60AD11FB9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6252" y="1198540"/>
              <a:ext cx="5404336" cy="6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06EDE1B3-BA16-5494-07D0-396C30F5B834}"/>
              </a:ext>
            </a:extLst>
          </p:cNvPr>
          <p:cNvSpPr txBox="1"/>
          <p:nvPr/>
        </p:nvSpPr>
        <p:spPr>
          <a:xfrm>
            <a:off x="8798523" y="2049267"/>
            <a:ext cx="2910034" cy="7899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00"/>
              </a:spcAft>
              <a:buClr>
                <a:srgbClr val="2FCBFF"/>
              </a:buClr>
              <a:defRPr/>
            </a:pPr>
            <a:r>
              <a:rPr lang="ru-RU" sz="1200" dirty="0" smtClean="0"/>
              <a:t>В </a:t>
            </a:r>
            <a:r>
              <a:rPr lang="ru-RU" sz="1200" dirty="0"/>
              <a:t>документе качества отсутствует заявленное на потребительской маркировке наименование товар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2FCBFF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ru-RU" sz="1200" dirty="0"/>
          </a:p>
        </p:txBody>
      </p: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09C3DA05-9B19-9CA5-0CB0-8E2D97E2AA17}"/>
              </a:ext>
            </a:extLst>
          </p:cNvPr>
          <p:cNvCxnSpPr>
            <a:cxnSpLocks/>
          </p:cNvCxnSpPr>
          <p:nvPr/>
        </p:nvCxnSpPr>
        <p:spPr>
          <a:xfrm flipV="1">
            <a:off x="8773585" y="1890132"/>
            <a:ext cx="2692632" cy="479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9A22E27A-1A13-983D-BC32-41CF732FFF1C}"/>
              </a:ext>
            </a:extLst>
          </p:cNvPr>
          <p:cNvGrpSpPr/>
          <p:nvPr/>
        </p:nvGrpSpPr>
        <p:grpSpPr>
          <a:xfrm>
            <a:off x="482137" y="3874991"/>
            <a:ext cx="3846445" cy="2565566"/>
            <a:chOff x="566252" y="1198540"/>
            <a:chExt cx="5404337" cy="5083197"/>
          </a:xfrm>
        </p:grpSpPr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id="{FA2512CB-B0B6-D3ED-ECD1-B3833E824D95}"/>
                </a:ext>
              </a:extLst>
            </p:cNvPr>
            <p:cNvSpPr/>
            <p:nvPr/>
          </p:nvSpPr>
          <p:spPr>
            <a:xfrm>
              <a:off x="571500" y="1205865"/>
              <a:ext cx="5399089" cy="507587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73" name="Прямая соединительная линия 72">
              <a:extLst>
                <a:ext uri="{FF2B5EF4-FFF2-40B4-BE49-F238E27FC236}">
                  <a16:creationId xmlns:a16="http://schemas.microsoft.com/office/drawing/2014/main" id="{E26C9031-4CB2-6EA6-E56B-E8D47D3E25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6252" y="1198540"/>
              <a:ext cx="5404336" cy="6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2768F647-2D8D-B7C0-7263-C0383C8C321F}"/>
              </a:ext>
            </a:extLst>
          </p:cNvPr>
          <p:cNvGrpSpPr/>
          <p:nvPr/>
        </p:nvGrpSpPr>
        <p:grpSpPr>
          <a:xfrm>
            <a:off x="4390803" y="3875725"/>
            <a:ext cx="7263056" cy="2564832"/>
            <a:chOff x="566252" y="1198540"/>
            <a:chExt cx="5404337" cy="5083197"/>
          </a:xfrm>
        </p:grpSpPr>
        <p:sp>
          <p:nvSpPr>
            <p:cNvPr id="79" name="Прямоугольник 78">
              <a:extLst>
                <a:ext uri="{FF2B5EF4-FFF2-40B4-BE49-F238E27FC236}">
                  <a16:creationId xmlns:a16="http://schemas.microsoft.com/office/drawing/2014/main" id="{3A1B888C-3C63-13B3-6F17-D1A87E133D0C}"/>
                </a:ext>
              </a:extLst>
            </p:cNvPr>
            <p:cNvSpPr/>
            <p:nvPr/>
          </p:nvSpPr>
          <p:spPr>
            <a:xfrm>
              <a:off x="571500" y="1205865"/>
              <a:ext cx="5399089" cy="507587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80" name="Прямая соединительная линия 79">
              <a:extLst>
                <a:ext uri="{FF2B5EF4-FFF2-40B4-BE49-F238E27FC236}">
                  <a16:creationId xmlns:a16="http://schemas.microsoft.com/office/drawing/2014/main" id="{51768E42-F6A9-56BB-74B9-0DB384E675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6252" y="1198540"/>
              <a:ext cx="5404336" cy="6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B8337223-C472-A5CE-E0D8-6650051F6F4E}"/>
              </a:ext>
            </a:extLst>
          </p:cNvPr>
          <p:cNvSpPr txBox="1"/>
          <p:nvPr/>
        </p:nvSpPr>
        <p:spPr>
          <a:xfrm>
            <a:off x="8892166" y="4113172"/>
            <a:ext cx="2207952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685800"/>
            <a:r>
              <a:rPr lang="ru-RU" sz="1600" b="1" kern="1200" dirty="0" smtClean="0">
                <a:latin typeface="+mn-lt"/>
                <a:ea typeface="+mn-ea"/>
                <a:cs typeface="Calibri" panose="020F0502020204030204" pitchFamily="34" charset="0"/>
              </a:rPr>
              <a:t>Изготовитель</a:t>
            </a:r>
            <a:endParaRPr lang="ru-RU" sz="1600" b="1" kern="1200" dirty="0">
              <a:latin typeface="+mn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22A5797-27B4-5AAE-BC74-7AAE23DABD69}"/>
              </a:ext>
            </a:extLst>
          </p:cNvPr>
          <p:cNvSpPr txBox="1"/>
          <p:nvPr/>
        </p:nvSpPr>
        <p:spPr>
          <a:xfrm>
            <a:off x="8916763" y="4684750"/>
            <a:ext cx="2737096" cy="7899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2FCB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 smtClean="0"/>
              <a:t>Фактический адрес, указанный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2FCB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 smtClean="0"/>
              <a:t>в декларации о соответствии не соответствует  информации на маркировке</a:t>
            </a:r>
            <a:endParaRPr lang="ru-RU" sz="1200" dirty="0"/>
          </a:p>
        </p:txBody>
      </p: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id="{5180EB5F-A57D-D601-90AB-42C66AD2BB8D}"/>
              </a:ext>
            </a:extLst>
          </p:cNvPr>
          <p:cNvCxnSpPr>
            <a:cxnSpLocks/>
          </p:cNvCxnSpPr>
          <p:nvPr/>
        </p:nvCxnSpPr>
        <p:spPr>
          <a:xfrm>
            <a:off x="8892166" y="4538303"/>
            <a:ext cx="2570246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344E1-0F76-4023-B180-E4B0CE5660A5}" type="slidenum">
              <a:rPr lang="en-US" smtClean="0">
                <a:solidFill>
                  <a:schemeClr val="tx1"/>
                </a:solidFill>
              </a:rPr>
              <a:pPr/>
              <a:t>11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8337223-C472-A5CE-E0D8-6650051F6F4E}"/>
              </a:ext>
            </a:extLst>
          </p:cNvPr>
          <p:cNvSpPr txBox="1"/>
          <p:nvPr/>
        </p:nvSpPr>
        <p:spPr>
          <a:xfrm>
            <a:off x="8798523" y="1470452"/>
            <a:ext cx="2207952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685800"/>
            <a:r>
              <a:rPr lang="ru-RU" sz="1600" b="1" kern="1200" dirty="0" smtClean="0">
                <a:latin typeface="+mn-lt"/>
                <a:ea typeface="+mn-ea"/>
                <a:cs typeface="Calibri" panose="020F0502020204030204" pitchFamily="34" charset="0"/>
              </a:rPr>
              <a:t>Наименование</a:t>
            </a:r>
            <a:endParaRPr lang="ru-RU" sz="1600" b="1" kern="1200" dirty="0">
              <a:latin typeface="+mn-lt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125" y="1280397"/>
            <a:ext cx="2973628" cy="118011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3125" y="2528504"/>
            <a:ext cx="2970161" cy="1171456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05251" y="1271929"/>
            <a:ext cx="3335317" cy="242803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35814" y="3918693"/>
            <a:ext cx="4026789" cy="2141286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5130" y="3943043"/>
            <a:ext cx="3225826" cy="245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532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48638" y="1510169"/>
            <a:ext cx="4517578" cy="3326799"/>
          </a:xfrm>
          <a:custGeom>
            <a:avLst/>
            <a:gdLst/>
            <a:ahLst/>
            <a:cxnLst/>
            <a:rect l="l" t="t" r="r" b="b"/>
            <a:pathLst>
              <a:path w="7449820" h="5198109">
                <a:moveTo>
                  <a:pt x="7264333" y="0"/>
                </a:moveTo>
                <a:lnTo>
                  <a:pt x="185135" y="0"/>
                </a:lnTo>
                <a:lnTo>
                  <a:pt x="135919" y="6613"/>
                </a:lnTo>
                <a:lnTo>
                  <a:pt x="91693" y="25276"/>
                </a:lnTo>
                <a:lnTo>
                  <a:pt x="54224" y="54224"/>
                </a:lnTo>
                <a:lnTo>
                  <a:pt x="25276" y="91693"/>
                </a:lnTo>
                <a:lnTo>
                  <a:pt x="6613" y="135919"/>
                </a:lnTo>
                <a:lnTo>
                  <a:pt x="0" y="185135"/>
                </a:lnTo>
                <a:lnTo>
                  <a:pt x="0" y="5012349"/>
                </a:lnTo>
                <a:lnTo>
                  <a:pt x="6613" y="5061566"/>
                </a:lnTo>
                <a:lnTo>
                  <a:pt x="25276" y="5105791"/>
                </a:lnTo>
                <a:lnTo>
                  <a:pt x="54224" y="5143260"/>
                </a:lnTo>
                <a:lnTo>
                  <a:pt x="91693" y="5172209"/>
                </a:lnTo>
                <a:lnTo>
                  <a:pt x="135919" y="5190872"/>
                </a:lnTo>
                <a:lnTo>
                  <a:pt x="185135" y="5197485"/>
                </a:lnTo>
                <a:lnTo>
                  <a:pt x="7264333" y="5197485"/>
                </a:lnTo>
                <a:lnTo>
                  <a:pt x="7313550" y="5190872"/>
                </a:lnTo>
                <a:lnTo>
                  <a:pt x="7357775" y="5172209"/>
                </a:lnTo>
                <a:lnTo>
                  <a:pt x="7395244" y="5143260"/>
                </a:lnTo>
                <a:lnTo>
                  <a:pt x="7424193" y="5105791"/>
                </a:lnTo>
                <a:lnTo>
                  <a:pt x="7442856" y="5061566"/>
                </a:lnTo>
                <a:lnTo>
                  <a:pt x="7449469" y="5012349"/>
                </a:lnTo>
                <a:lnTo>
                  <a:pt x="7449469" y="185135"/>
                </a:lnTo>
                <a:lnTo>
                  <a:pt x="7442856" y="135919"/>
                </a:lnTo>
                <a:lnTo>
                  <a:pt x="7424193" y="91693"/>
                </a:lnTo>
                <a:lnTo>
                  <a:pt x="7395244" y="54224"/>
                </a:lnTo>
                <a:lnTo>
                  <a:pt x="7357775" y="25276"/>
                </a:lnTo>
                <a:lnTo>
                  <a:pt x="7313550" y="6613"/>
                </a:lnTo>
                <a:lnTo>
                  <a:pt x="7264333" y="0"/>
                </a:lnTo>
                <a:close/>
              </a:path>
            </a:pathLst>
          </a:custGeom>
          <a:solidFill>
            <a:srgbClr val="FFB8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5829348" y="1510169"/>
            <a:ext cx="5314276" cy="3326799"/>
          </a:xfrm>
          <a:custGeom>
            <a:avLst/>
            <a:gdLst/>
            <a:ahLst/>
            <a:cxnLst/>
            <a:rect l="l" t="t" r="r" b="b"/>
            <a:pathLst>
              <a:path w="8763635" h="5198109">
                <a:moveTo>
                  <a:pt x="8562409" y="0"/>
                </a:moveTo>
                <a:lnTo>
                  <a:pt x="200800" y="0"/>
                </a:lnTo>
                <a:lnTo>
                  <a:pt x="154759" y="5303"/>
                </a:lnTo>
                <a:lnTo>
                  <a:pt x="112494" y="20409"/>
                </a:lnTo>
                <a:lnTo>
                  <a:pt x="75210" y="44114"/>
                </a:lnTo>
                <a:lnTo>
                  <a:pt x="44114" y="75210"/>
                </a:lnTo>
                <a:lnTo>
                  <a:pt x="20409" y="112494"/>
                </a:lnTo>
                <a:lnTo>
                  <a:pt x="5303" y="154759"/>
                </a:lnTo>
                <a:lnTo>
                  <a:pt x="0" y="200800"/>
                </a:lnTo>
                <a:lnTo>
                  <a:pt x="0" y="4996696"/>
                </a:lnTo>
                <a:lnTo>
                  <a:pt x="5303" y="5042733"/>
                </a:lnTo>
                <a:lnTo>
                  <a:pt x="20409" y="5084995"/>
                </a:lnTo>
                <a:lnTo>
                  <a:pt x="44114" y="5122277"/>
                </a:lnTo>
                <a:lnTo>
                  <a:pt x="75210" y="5153372"/>
                </a:lnTo>
                <a:lnTo>
                  <a:pt x="112494" y="5177076"/>
                </a:lnTo>
                <a:lnTo>
                  <a:pt x="154759" y="5192182"/>
                </a:lnTo>
                <a:lnTo>
                  <a:pt x="200800" y="5197485"/>
                </a:lnTo>
                <a:lnTo>
                  <a:pt x="8562409" y="5197485"/>
                </a:lnTo>
                <a:lnTo>
                  <a:pt x="8608449" y="5192182"/>
                </a:lnTo>
                <a:lnTo>
                  <a:pt x="8650713" y="5177076"/>
                </a:lnTo>
                <a:lnTo>
                  <a:pt x="8687994" y="5153372"/>
                </a:lnTo>
                <a:lnTo>
                  <a:pt x="8719089" y="5122277"/>
                </a:lnTo>
                <a:lnTo>
                  <a:pt x="8742791" y="5084995"/>
                </a:lnTo>
                <a:lnTo>
                  <a:pt x="8757896" y="5042733"/>
                </a:lnTo>
                <a:lnTo>
                  <a:pt x="8763199" y="4996696"/>
                </a:lnTo>
                <a:lnTo>
                  <a:pt x="8763199" y="200800"/>
                </a:lnTo>
                <a:lnTo>
                  <a:pt x="8757896" y="154759"/>
                </a:lnTo>
                <a:lnTo>
                  <a:pt x="8742791" y="112494"/>
                </a:lnTo>
                <a:lnTo>
                  <a:pt x="8719089" y="75210"/>
                </a:lnTo>
                <a:lnTo>
                  <a:pt x="8687994" y="44114"/>
                </a:lnTo>
                <a:lnTo>
                  <a:pt x="8650713" y="20409"/>
                </a:lnTo>
                <a:lnTo>
                  <a:pt x="8608449" y="5303"/>
                </a:lnTo>
                <a:lnTo>
                  <a:pt x="8562409" y="0"/>
                </a:lnTo>
                <a:close/>
              </a:path>
            </a:pathLst>
          </a:custGeom>
          <a:solidFill>
            <a:srgbClr val="ECECE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40922" y="1765521"/>
            <a:ext cx="4023338" cy="55960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 defTabSz="554492">
              <a:spcBef>
                <a:spcPts val="69"/>
              </a:spcBef>
            </a:pPr>
            <a:r>
              <a:rPr lang="ru-RU" sz="1789" b="1" kern="0" dirty="0">
                <a:solidFill>
                  <a:srgbClr val="18418F"/>
                </a:solidFill>
                <a:latin typeface="Verdana"/>
                <a:cs typeface="Verdana"/>
              </a:rPr>
              <a:t>Основания для</a:t>
            </a:r>
            <a:r>
              <a:rPr lang="ru-RU" sz="1789" b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проведения</a:t>
            </a:r>
            <a:r>
              <a:rPr lang="ru-RU" sz="1789" b="1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kern="0" dirty="0" err="1">
                <a:solidFill>
                  <a:srgbClr val="18418F"/>
                </a:solidFill>
                <a:latin typeface="Verdana"/>
                <a:cs typeface="Verdana"/>
              </a:rPr>
              <a:t>внепланов</a:t>
            </a:r>
            <a:r>
              <a:rPr lang="ru-RU" sz="1789" b="1" kern="0" dirty="0">
                <a:solidFill>
                  <a:srgbClr val="18418F"/>
                </a:solidFill>
                <a:latin typeface="Verdana"/>
                <a:cs typeface="Verdana"/>
              </a:rPr>
              <a:t>ого</a:t>
            </a:r>
            <a:r>
              <a:rPr sz="1789" b="1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kern="0" spc="-6" dirty="0" err="1">
                <a:solidFill>
                  <a:srgbClr val="18418F"/>
                </a:solidFill>
                <a:latin typeface="Verdana"/>
                <a:cs typeface="Verdana"/>
              </a:rPr>
              <a:t>аудит</a:t>
            </a:r>
            <a:r>
              <a:rPr lang="ru-RU"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r>
              <a:rPr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:</a:t>
            </a:r>
            <a:endParaRPr sz="178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40923" y="2582074"/>
            <a:ext cx="4254377" cy="1852901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179055" marR="3081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sz="1546" kern="0" dirty="0" err="1">
                <a:solidFill>
                  <a:srgbClr val="18418F"/>
                </a:solidFill>
                <a:latin typeface="Verdana"/>
                <a:cs typeface="Verdana"/>
              </a:rPr>
              <a:t>наличи</a:t>
            </a:r>
            <a:r>
              <a:rPr lang="ru-RU" sz="1546" kern="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r>
              <a:rPr sz="1546" kern="0" spc="-27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повторяющихся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неудовлетворительных</a:t>
            </a:r>
            <a:r>
              <a:rPr sz="1546" kern="0" spc="-1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протоколов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лабораторных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исследований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79055" marR="67771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sz="1546" kern="0" dirty="0" err="1">
                <a:solidFill>
                  <a:srgbClr val="18418F"/>
                </a:solidFill>
                <a:latin typeface="Verdana"/>
                <a:cs typeface="Verdana"/>
              </a:rPr>
              <a:t>систематически</a:t>
            </a:r>
            <a:r>
              <a:rPr lang="ru-RU" sz="1546" kern="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 err="1">
                <a:solidFill>
                  <a:srgbClr val="18418F"/>
                </a:solidFill>
                <a:latin typeface="Verdana"/>
                <a:cs typeface="Verdana"/>
              </a:rPr>
              <a:t>критичны</a:t>
            </a:r>
            <a:r>
              <a:rPr lang="ru-RU" sz="1546" kern="0" spc="-6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жалобах</a:t>
            </a:r>
            <a:r>
              <a:rPr sz="1546" kern="0" spc="-2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на</a:t>
            </a:r>
            <a:r>
              <a:rPr sz="1546" kern="0" spc="-2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продукцию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79055" marR="607245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sz="1546" kern="0" dirty="0" err="1">
                <a:solidFill>
                  <a:srgbClr val="18418F"/>
                </a:solidFill>
                <a:latin typeface="Verdana"/>
                <a:cs typeface="Verdana"/>
              </a:rPr>
              <a:t>смене</a:t>
            </a:r>
            <a:r>
              <a:rPr sz="1546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места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нахождения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производственной</a:t>
            </a:r>
            <a:r>
              <a:rPr sz="1546" kern="0" spc="-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площадки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020810" y="1765521"/>
            <a:ext cx="3698545" cy="28427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 defTabSz="554492">
              <a:spcBef>
                <a:spcPts val="69"/>
              </a:spcBef>
            </a:pPr>
            <a:r>
              <a:rPr sz="1789" b="1" kern="0" dirty="0">
                <a:solidFill>
                  <a:srgbClr val="18418F"/>
                </a:solidFill>
                <a:latin typeface="Verdana"/>
                <a:cs typeface="Verdana"/>
              </a:rPr>
              <a:t>Цели</a:t>
            </a:r>
            <a:r>
              <a:rPr sz="1789" b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kern="0" dirty="0">
                <a:solidFill>
                  <a:srgbClr val="18418F"/>
                </a:solidFill>
                <a:latin typeface="Verdana"/>
                <a:cs typeface="Verdana"/>
              </a:rPr>
              <a:t>внепланового </a:t>
            </a:r>
            <a:r>
              <a:rPr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аудита:</a:t>
            </a:r>
            <a:endParaRPr sz="178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020810" y="2307772"/>
            <a:ext cx="4969643" cy="2328672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179055" marR="3081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sz="1546" kern="0" dirty="0" err="1">
                <a:solidFill>
                  <a:srgbClr val="18418F"/>
                </a:solidFill>
                <a:latin typeface="Verdana"/>
                <a:cs typeface="Verdana"/>
              </a:rPr>
              <a:t>Проверка</a:t>
            </a:r>
            <a:r>
              <a:rPr sz="1546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 err="1">
                <a:solidFill>
                  <a:srgbClr val="18418F"/>
                </a:solidFill>
                <a:latin typeface="Verdana"/>
                <a:cs typeface="Verdana"/>
              </a:rPr>
              <a:t>выполнени</a:t>
            </a:r>
            <a:r>
              <a:rPr lang="ru-RU" sz="1546" kern="0" dirty="0">
                <a:solidFill>
                  <a:srgbClr val="18418F"/>
                </a:solidFill>
                <a:latin typeface="Verdana"/>
                <a:cs typeface="Verdana"/>
              </a:rPr>
              <a:t>я</a:t>
            </a:r>
            <a:r>
              <a:rPr sz="1546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корректирующих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действий</a:t>
            </a:r>
            <a:r>
              <a:rPr sz="1546" kern="0" spc="-1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по</a:t>
            </a:r>
            <a:r>
              <a:rPr sz="1546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итогам</a:t>
            </a:r>
            <a:r>
              <a:rPr sz="1546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предыдущего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аудита/работы</a:t>
            </a:r>
            <a:r>
              <a:rPr sz="1546" kern="0" spc="-27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по</a:t>
            </a:r>
            <a:r>
              <a:rPr sz="1546" kern="0" spc="-2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устранению</a:t>
            </a:r>
            <a:r>
              <a:rPr sz="1546" kern="0" spc="-27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несоответствий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79055" marR="739323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	Оценка</a:t>
            </a:r>
            <a:r>
              <a:rPr sz="1546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рисков</a:t>
            </a:r>
            <a:r>
              <a:rPr sz="1546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выпуска</a:t>
            </a:r>
            <a:r>
              <a:rPr sz="1546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небезопасной/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некачественной</a:t>
            </a:r>
            <a:r>
              <a:rPr sz="1546" kern="0" spc="-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продукции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79055" marR="323454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	Поиск</a:t>
            </a:r>
            <a:r>
              <a:rPr sz="1546" kern="0" spc="-1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коренной</a:t>
            </a:r>
            <a:r>
              <a:rPr sz="1546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причины</a:t>
            </a:r>
            <a:r>
              <a:rPr sz="1546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выявляемых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несоответствий</a:t>
            </a:r>
            <a:r>
              <a:rPr sz="1546" kern="0" spc="-21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(совместно</a:t>
            </a:r>
            <a:r>
              <a:rPr sz="1546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с</a:t>
            </a:r>
            <a:r>
              <a:rPr sz="1546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поставщиком,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если</a:t>
            </a:r>
            <a:r>
              <a:rPr sz="1546" kern="0" spc="-2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не</a:t>
            </a:r>
            <a:r>
              <a:rPr sz="1546" kern="0" spc="-21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удалось</a:t>
            </a:r>
            <a:r>
              <a:rPr sz="1546" kern="0" spc="-21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ранее</a:t>
            </a:r>
            <a:r>
              <a:rPr sz="1546" kern="0" spc="-21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выявить</a:t>
            </a:r>
            <a:r>
              <a:rPr sz="1546" kern="0" spc="-21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силами поставщика).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37052" y="5208443"/>
            <a:ext cx="10633558" cy="20769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</a:pP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Если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результаты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аудита</a:t>
            </a:r>
            <a:r>
              <a:rPr sz="1304" b="1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&lt;70%,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поставки</a:t>
            </a:r>
            <a:r>
              <a:rPr sz="1304" b="1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продукции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spc="-6" dirty="0">
                <a:solidFill>
                  <a:srgbClr val="18418F"/>
                </a:solidFill>
                <a:latin typeface="Verdana"/>
                <a:cs typeface="Verdana"/>
              </a:rPr>
              <a:t>останавливаются</a:t>
            </a:r>
            <a:r>
              <a:rPr sz="1304" b="1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до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устранения</a:t>
            </a:r>
            <a:r>
              <a:rPr sz="1304" b="1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 err="1">
                <a:solidFill>
                  <a:srgbClr val="18418F"/>
                </a:solidFill>
                <a:latin typeface="Verdana"/>
                <a:cs typeface="Verdana"/>
              </a:rPr>
              <a:t>выявленных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spc="-6" dirty="0" err="1" smtClean="0">
                <a:solidFill>
                  <a:srgbClr val="18418F"/>
                </a:solidFill>
                <a:latin typeface="Verdana"/>
                <a:cs typeface="Verdana"/>
              </a:rPr>
              <a:t>нарушений</a:t>
            </a:r>
            <a:r>
              <a:rPr lang="ru-RU" sz="1304" b="1" kern="0" spc="-6" dirty="0" smtClean="0">
                <a:solidFill>
                  <a:srgbClr val="18418F"/>
                </a:solidFill>
                <a:latin typeface="Verdana"/>
                <a:cs typeface="Verdana"/>
              </a:rPr>
              <a:t>.</a:t>
            </a:r>
            <a:endParaRPr sz="130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28" y="6098690"/>
            <a:ext cx="12191144" cy="657305"/>
          </a:xfrm>
          <a:custGeom>
            <a:avLst/>
            <a:gdLst/>
            <a:ahLst/>
            <a:cxnLst/>
            <a:rect l="l" t="t" r="r" b="b"/>
            <a:pathLst>
              <a:path w="20104100" h="1083945">
                <a:moveTo>
                  <a:pt x="0" y="1083548"/>
                </a:moveTo>
                <a:lnTo>
                  <a:pt x="20104100" y="1083548"/>
                </a:lnTo>
                <a:lnTo>
                  <a:pt x="20104100" y="0"/>
                </a:lnTo>
                <a:lnTo>
                  <a:pt x="0" y="0"/>
                </a:lnTo>
                <a:lnTo>
                  <a:pt x="0" y="1083548"/>
                </a:lnTo>
                <a:close/>
              </a:path>
            </a:pathLst>
          </a:custGeom>
          <a:solidFill>
            <a:srgbClr val="FF75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55001" y="6201893"/>
            <a:ext cx="9923150" cy="44301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lnSpc>
                <a:spcPts val="1743"/>
              </a:lnSpc>
              <a:spcBef>
                <a:spcPts val="55"/>
              </a:spcBef>
            </a:pP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Важно!</a:t>
            </a:r>
            <a:r>
              <a:rPr sz="1455" b="1" kern="0" spc="-6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Остановка</a:t>
            </a:r>
            <a:r>
              <a:rPr sz="1455" b="1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поставок</a:t>
            </a:r>
            <a:r>
              <a:rPr sz="1455" b="1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распространяется</a:t>
            </a:r>
            <a:r>
              <a:rPr sz="1455" b="1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на</a:t>
            </a:r>
            <a:r>
              <a:rPr sz="1455" b="1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 err="1">
                <a:solidFill>
                  <a:srgbClr val="FFFFFF"/>
                </a:solidFill>
                <a:latin typeface="Verdana"/>
                <a:cs typeface="Verdana"/>
              </a:rPr>
              <a:t>всю</a:t>
            </a:r>
            <a:r>
              <a:rPr sz="1455" b="1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spc="-6" dirty="0" err="1">
                <a:solidFill>
                  <a:srgbClr val="FFFFFF"/>
                </a:solidFill>
                <a:latin typeface="Verdana"/>
                <a:cs typeface="Verdana"/>
              </a:rPr>
              <a:t>продукцию</a:t>
            </a:r>
            <a:r>
              <a:rPr lang="ru-RU"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(</a:t>
            </a:r>
            <a:r>
              <a:rPr sz="1455" kern="0" dirty="0" err="1">
                <a:solidFill>
                  <a:srgbClr val="FFFFFF"/>
                </a:solidFill>
                <a:latin typeface="Verdana"/>
                <a:cs typeface="Verdana"/>
              </a:rPr>
              <a:t>товары</a:t>
            </a:r>
            <a:r>
              <a:rPr sz="1455" kern="0" spc="-7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бренда</a:t>
            </a:r>
            <a:r>
              <a:rPr sz="1455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поставщика,</a:t>
            </a:r>
            <a:r>
              <a:rPr sz="1455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товары</a:t>
            </a:r>
            <a:r>
              <a:rPr sz="1455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СТМ,</a:t>
            </a:r>
            <a:r>
              <a:rPr sz="1455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сырье),</a:t>
            </a:r>
            <a:r>
              <a:rPr sz="1455" kern="0" spc="-8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производимую</a:t>
            </a:r>
            <a:r>
              <a:rPr sz="1455" b="1" kern="0" spc="-6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на</a:t>
            </a:r>
            <a:r>
              <a:rPr sz="1455" b="1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данной</a:t>
            </a:r>
            <a:r>
              <a:rPr sz="1455" b="1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площадке.</a:t>
            </a:r>
            <a:endParaRPr sz="145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632277" y="566344"/>
            <a:ext cx="7397298" cy="671381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2031" dirty="0"/>
              <a:t>АУДИТЫ</a:t>
            </a:r>
            <a:r>
              <a:rPr sz="2031" spc="6" dirty="0"/>
              <a:t> </a:t>
            </a:r>
            <a:r>
              <a:rPr sz="2031" dirty="0"/>
              <a:t>ПРОИЗВОДСТВЕННЫХ</a:t>
            </a:r>
            <a:r>
              <a:rPr sz="2031" spc="6" dirty="0"/>
              <a:t> </a:t>
            </a:r>
            <a:r>
              <a:rPr sz="2031" spc="-6" dirty="0" smtClean="0"/>
              <a:t>ПЛОЩАДОК</a:t>
            </a:r>
            <a:r>
              <a:rPr lang="ru-RU" sz="2031" spc="-6" dirty="0" smtClean="0"/>
              <a:t> СТМ</a:t>
            </a:r>
            <a:r>
              <a:rPr sz="2031" spc="-6" dirty="0" smtClean="0"/>
              <a:t>:</a:t>
            </a:r>
            <a:endParaRPr sz="2031" dirty="0"/>
          </a:p>
          <a:p>
            <a:pPr marL="7701">
              <a:spcBef>
                <a:spcPts val="130"/>
              </a:spcBef>
            </a:pPr>
            <a:r>
              <a:rPr lang="ru-RU" sz="2183" b="0" dirty="0"/>
              <a:t>ВНЕПЛАНОВЫЕ</a:t>
            </a:r>
            <a:endParaRPr sz="2638" b="0" dirty="0"/>
          </a:p>
        </p:txBody>
      </p:sp>
      <p:grpSp>
        <p:nvGrpSpPr>
          <p:cNvPr id="12" name="object 12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13" name="object 13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5" name="object 15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430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59355" y="2150100"/>
            <a:ext cx="4517578" cy="2665132"/>
          </a:xfrm>
          <a:custGeom>
            <a:avLst/>
            <a:gdLst/>
            <a:ahLst/>
            <a:cxnLst/>
            <a:rect l="l" t="t" r="r" b="b"/>
            <a:pathLst>
              <a:path w="7449820" h="5198109">
                <a:moveTo>
                  <a:pt x="7264333" y="0"/>
                </a:moveTo>
                <a:lnTo>
                  <a:pt x="185135" y="0"/>
                </a:lnTo>
                <a:lnTo>
                  <a:pt x="135919" y="6613"/>
                </a:lnTo>
                <a:lnTo>
                  <a:pt x="91693" y="25276"/>
                </a:lnTo>
                <a:lnTo>
                  <a:pt x="54224" y="54224"/>
                </a:lnTo>
                <a:lnTo>
                  <a:pt x="25276" y="91693"/>
                </a:lnTo>
                <a:lnTo>
                  <a:pt x="6613" y="135919"/>
                </a:lnTo>
                <a:lnTo>
                  <a:pt x="0" y="185135"/>
                </a:lnTo>
                <a:lnTo>
                  <a:pt x="0" y="5012349"/>
                </a:lnTo>
                <a:lnTo>
                  <a:pt x="6613" y="5061566"/>
                </a:lnTo>
                <a:lnTo>
                  <a:pt x="25276" y="5105791"/>
                </a:lnTo>
                <a:lnTo>
                  <a:pt x="54224" y="5143260"/>
                </a:lnTo>
                <a:lnTo>
                  <a:pt x="91693" y="5172209"/>
                </a:lnTo>
                <a:lnTo>
                  <a:pt x="135919" y="5190872"/>
                </a:lnTo>
                <a:lnTo>
                  <a:pt x="185135" y="5197485"/>
                </a:lnTo>
                <a:lnTo>
                  <a:pt x="7264333" y="5197485"/>
                </a:lnTo>
                <a:lnTo>
                  <a:pt x="7313550" y="5190872"/>
                </a:lnTo>
                <a:lnTo>
                  <a:pt x="7357775" y="5172209"/>
                </a:lnTo>
                <a:lnTo>
                  <a:pt x="7395244" y="5143260"/>
                </a:lnTo>
                <a:lnTo>
                  <a:pt x="7424193" y="5105791"/>
                </a:lnTo>
                <a:lnTo>
                  <a:pt x="7442856" y="5061566"/>
                </a:lnTo>
                <a:lnTo>
                  <a:pt x="7449469" y="5012349"/>
                </a:lnTo>
                <a:lnTo>
                  <a:pt x="7449469" y="185135"/>
                </a:lnTo>
                <a:lnTo>
                  <a:pt x="7442856" y="135919"/>
                </a:lnTo>
                <a:lnTo>
                  <a:pt x="7424193" y="91693"/>
                </a:lnTo>
                <a:lnTo>
                  <a:pt x="7395244" y="54224"/>
                </a:lnTo>
                <a:lnTo>
                  <a:pt x="7357775" y="25276"/>
                </a:lnTo>
                <a:lnTo>
                  <a:pt x="7313550" y="6613"/>
                </a:lnTo>
                <a:lnTo>
                  <a:pt x="7264333" y="0"/>
                </a:lnTo>
                <a:close/>
              </a:path>
            </a:pathLst>
          </a:custGeom>
          <a:solidFill>
            <a:srgbClr val="FFB8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5918947" y="2124275"/>
            <a:ext cx="5314276" cy="2690957"/>
          </a:xfrm>
          <a:custGeom>
            <a:avLst/>
            <a:gdLst/>
            <a:ahLst/>
            <a:cxnLst/>
            <a:rect l="l" t="t" r="r" b="b"/>
            <a:pathLst>
              <a:path w="8763635" h="5198109">
                <a:moveTo>
                  <a:pt x="8562409" y="0"/>
                </a:moveTo>
                <a:lnTo>
                  <a:pt x="200800" y="0"/>
                </a:lnTo>
                <a:lnTo>
                  <a:pt x="154759" y="5303"/>
                </a:lnTo>
                <a:lnTo>
                  <a:pt x="112494" y="20409"/>
                </a:lnTo>
                <a:lnTo>
                  <a:pt x="75210" y="44114"/>
                </a:lnTo>
                <a:lnTo>
                  <a:pt x="44114" y="75210"/>
                </a:lnTo>
                <a:lnTo>
                  <a:pt x="20409" y="112494"/>
                </a:lnTo>
                <a:lnTo>
                  <a:pt x="5303" y="154759"/>
                </a:lnTo>
                <a:lnTo>
                  <a:pt x="0" y="200800"/>
                </a:lnTo>
                <a:lnTo>
                  <a:pt x="0" y="4996696"/>
                </a:lnTo>
                <a:lnTo>
                  <a:pt x="5303" y="5042733"/>
                </a:lnTo>
                <a:lnTo>
                  <a:pt x="20409" y="5084995"/>
                </a:lnTo>
                <a:lnTo>
                  <a:pt x="44114" y="5122277"/>
                </a:lnTo>
                <a:lnTo>
                  <a:pt x="75210" y="5153372"/>
                </a:lnTo>
                <a:lnTo>
                  <a:pt x="112494" y="5177076"/>
                </a:lnTo>
                <a:lnTo>
                  <a:pt x="154759" y="5192182"/>
                </a:lnTo>
                <a:lnTo>
                  <a:pt x="200800" y="5197485"/>
                </a:lnTo>
                <a:lnTo>
                  <a:pt x="8562409" y="5197485"/>
                </a:lnTo>
                <a:lnTo>
                  <a:pt x="8608449" y="5192182"/>
                </a:lnTo>
                <a:lnTo>
                  <a:pt x="8650713" y="5177076"/>
                </a:lnTo>
                <a:lnTo>
                  <a:pt x="8687994" y="5153372"/>
                </a:lnTo>
                <a:lnTo>
                  <a:pt x="8719089" y="5122277"/>
                </a:lnTo>
                <a:lnTo>
                  <a:pt x="8742791" y="5084995"/>
                </a:lnTo>
                <a:lnTo>
                  <a:pt x="8757896" y="5042733"/>
                </a:lnTo>
                <a:lnTo>
                  <a:pt x="8763199" y="4996696"/>
                </a:lnTo>
                <a:lnTo>
                  <a:pt x="8763199" y="200800"/>
                </a:lnTo>
                <a:lnTo>
                  <a:pt x="8757896" y="154759"/>
                </a:lnTo>
                <a:lnTo>
                  <a:pt x="8742791" y="112494"/>
                </a:lnTo>
                <a:lnTo>
                  <a:pt x="8719089" y="75210"/>
                </a:lnTo>
                <a:lnTo>
                  <a:pt x="8687994" y="44114"/>
                </a:lnTo>
                <a:lnTo>
                  <a:pt x="8650713" y="20409"/>
                </a:lnTo>
                <a:lnTo>
                  <a:pt x="8608449" y="5303"/>
                </a:lnTo>
                <a:lnTo>
                  <a:pt x="8562409" y="0"/>
                </a:lnTo>
                <a:close/>
              </a:path>
            </a:pathLst>
          </a:custGeom>
          <a:solidFill>
            <a:srgbClr val="ECECE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36602" y="2168600"/>
            <a:ext cx="3973866" cy="55960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 defTabSz="554492">
              <a:spcBef>
                <a:spcPts val="69"/>
              </a:spcBef>
            </a:pPr>
            <a:r>
              <a:rPr lang="ru-RU" sz="1789" b="1" kern="0" dirty="0">
                <a:solidFill>
                  <a:srgbClr val="18418F"/>
                </a:solidFill>
                <a:latin typeface="Verdana"/>
                <a:cs typeface="Verdana"/>
              </a:rPr>
              <a:t>Основания для</a:t>
            </a:r>
            <a:r>
              <a:rPr lang="ru-RU" sz="1789" b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проведения</a:t>
            </a:r>
            <a:r>
              <a:rPr lang="ru-RU" sz="1789" b="1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789" b="1" kern="0" dirty="0">
                <a:solidFill>
                  <a:srgbClr val="18418F"/>
                </a:solidFill>
                <a:latin typeface="Verdana"/>
                <a:cs typeface="Verdana"/>
              </a:rPr>
              <a:t>планового</a:t>
            </a:r>
            <a:r>
              <a:rPr lang="ru-RU" sz="1789" b="1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аудита:</a:t>
            </a:r>
            <a:endParaRPr lang="ru-RU" sz="178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40923" y="2876134"/>
            <a:ext cx="4254377" cy="1615015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179055" marR="3081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lang="ru-RU" sz="1546" kern="0" dirty="0">
                <a:solidFill>
                  <a:srgbClr val="18418F"/>
                </a:solidFill>
                <a:latin typeface="Verdana"/>
                <a:cs typeface="Verdana"/>
              </a:rPr>
              <a:t>товары высокого уровня риска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79055" marR="67771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lang="ru-RU" sz="1546" kern="0" dirty="0">
                <a:solidFill>
                  <a:srgbClr val="18418F"/>
                </a:solidFill>
                <a:latin typeface="Verdana"/>
                <a:cs typeface="Verdana"/>
              </a:rPr>
              <a:t>случаи массового отравления потребителей аналогичной продукции</a:t>
            </a:r>
          </a:p>
          <a:p>
            <a:pPr marL="179055" marR="67771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lang="ru-RU" sz="1546" kern="0" dirty="0">
                <a:solidFill>
                  <a:srgbClr val="18418F"/>
                </a:solidFill>
                <a:latin typeface="Verdana"/>
                <a:cs typeface="Verdana"/>
              </a:rPr>
              <a:t>мониторинг выполнения особых требований согласно договору поставки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096000" y="2144784"/>
            <a:ext cx="3698545" cy="28427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 defTabSz="554492">
              <a:spcBef>
                <a:spcPts val="69"/>
              </a:spcBef>
            </a:pPr>
            <a:r>
              <a:rPr lang="ru-RU" sz="1789" b="1" kern="0" dirty="0">
                <a:solidFill>
                  <a:srgbClr val="18418F"/>
                </a:solidFill>
                <a:latin typeface="Verdana"/>
                <a:cs typeface="Verdana"/>
              </a:rPr>
              <a:t>Цели</a:t>
            </a:r>
            <a:r>
              <a:rPr lang="ru-RU" sz="1789" b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789" b="1" kern="0" dirty="0">
                <a:solidFill>
                  <a:srgbClr val="18418F"/>
                </a:solidFill>
                <a:latin typeface="Verdana"/>
                <a:cs typeface="Verdana"/>
              </a:rPr>
              <a:t>планового </a:t>
            </a:r>
            <a:r>
              <a:rPr lang="ru-RU"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аудита</a:t>
            </a:r>
            <a:r>
              <a:rPr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:</a:t>
            </a:r>
            <a:endParaRPr sz="178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69040" y="2685726"/>
            <a:ext cx="5163605" cy="2090786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179055" marR="3081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lang="ru-RU" sz="1546" kern="0" dirty="0">
                <a:solidFill>
                  <a:srgbClr val="18418F"/>
                </a:solidFill>
                <a:latin typeface="Verdana"/>
                <a:cs typeface="Verdana"/>
              </a:rPr>
              <a:t>Оценка изменений условий производства за прошедший период</a:t>
            </a:r>
          </a:p>
          <a:p>
            <a:pPr marL="179055" marR="3081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lang="ru-RU" sz="1546" kern="0" dirty="0">
                <a:solidFill>
                  <a:srgbClr val="18418F"/>
                </a:solidFill>
                <a:latin typeface="Verdana"/>
                <a:cs typeface="Verdana"/>
              </a:rPr>
              <a:t>Проверка</a:t>
            </a:r>
            <a:r>
              <a:rPr sz="1546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выполнение</a:t>
            </a:r>
            <a:r>
              <a:rPr sz="1546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корректирующих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действий</a:t>
            </a:r>
            <a:r>
              <a:rPr sz="1546" kern="0" spc="-1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по</a:t>
            </a:r>
            <a:r>
              <a:rPr sz="1546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итогам</a:t>
            </a:r>
            <a:r>
              <a:rPr sz="1546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предыдущего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аудита/работы</a:t>
            </a:r>
            <a:r>
              <a:rPr sz="1546" kern="0" spc="-27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по</a:t>
            </a:r>
            <a:r>
              <a:rPr sz="1546" kern="0" spc="-2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устранению</a:t>
            </a:r>
            <a:r>
              <a:rPr sz="1546" kern="0" spc="-27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18418F"/>
                </a:solidFill>
                <a:latin typeface="Verdana"/>
                <a:cs typeface="Verdana"/>
              </a:rPr>
              <a:t>несоответствий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79055" marR="739323" indent="-171739" defTabSz="554492">
              <a:spcBef>
                <a:spcPts val="728"/>
              </a:spcBef>
              <a:buFontTx/>
              <a:buChar char="•"/>
              <a:tabLst>
                <a:tab pos="179055" algn="l"/>
                <a:tab pos="183676" algn="l"/>
              </a:tabLst>
            </a:pPr>
            <a:r>
              <a:rPr sz="1546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lang="ru-RU" sz="1546" kern="0" dirty="0">
                <a:solidFill>
                  <a:srgbClr val="18418F"/>
                </a:solidFill>
                <a:latin typeface="Verdana"/>
                <a:cs typeface="Verdana"/>
              </a:rPr>
              <a:t> Подтверждение условий производства, обеспечивающих стабильное качество товаров СТМ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37052" y="5208443"/>
            <a:ext cx="10633558" cy="244884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</a:pP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Если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результаты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аудита</a:t>
            </a:r>
            <a:r>
              <a:rPr sz="1304" b="1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&lt;70%,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поставки</a:t>
            </a:r>
            <a:r>
              <a:rPr sz="1304" b="1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продукции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spc="-6" dirty="0">
                <a:solidFill>
                  <a:srgbClr val="18418F"/>
                </a:solidFill>
                <a:latin typeface="Verdana"/>
                <a:cs typeface="Verdana"/>
              </a:rPr>
              <a:t>останавливаются</a:t>
            </a:r>
            <a:r>
              <a:rPr sz="1304" b="1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до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>
                <a:solidFill>
                  <a:srgbClr val="18418F"/>
                </a:solidFill>
                <a:latin typeface="Verdana"/>
                <a:cs typeface="Verdana"/>
              </a:rPr>
              <a:t>устранения</a:t>
            </a:r>
            <a:r>
              <a:rPr sz="1304" b="1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dirty="0" err="1">
                <a:solidFill>
                  <a:srgbClr val="18418F"/>
                </a:solidFill>
                <a:latin typeface="Verdana"/>
                <a:cs typeface="Verdana"/>
              </a:rPr>
              <a:t>выявленных</a:t>
            </a:r>
            <a:r>
              <a:rPr sz="1304" b="1" kern="0" spc="-7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04" b="1" kern="0" spc="-6" dirty="0" err="1" smtClean="0">
                <a:solidFill>
                  <a:srgbClr val="18418F"/>
                </a:solidFill>
                <a:latin typeface="Verdana"/>
                <a:cs typeface="Verdana"/>
              </a:rPr>
              <a:t>нарушений</a:t>
            </a:r>
            <a:r>
              <a:rPr lang="ru-RU" sz="1546" kern="0" dirty="0">
                <a:solidFill>
                  <a:sysClr val="windowText" lastClr="000000"/>
                </a:solidFill>
                <a:latin typeface="Verdana"/>
                <a:cs typeface="Verdana"/>
              </a:rPr>
              <a:t>.</a:t>
            </a:r>
            <a:endParaRPr sz="130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28" y="6098690"/>
            <a:ext cx="12191144" cy="657305"/>
          </a:xfrm>
          <a:custGeom>
            <a:avLst/>
            <a:gdLst/>
            <a:ahLst/>
            <a:cxnLst/>
            <a:rect l="l" t="t" r="r" b="b"/>
            <a:pathLst>
              <a:path w="20104100" h="1083945">
                <a:moveTo>
                  <a:pt x="0" y="1083548"/>
                </a:moveTo>
                <a:lnTo>
                  <a:pt x="20104100" y="1083548"/>
                </a:lnTo>
                <a:lnTo>
                  <a:pt x="20104100" y="0"/>
                </a:lnTo>
                <a:lnTo>
                  <a:pt x="0" y="0"/>
                </a:lnTo>
                <a:lnTo>
                  <a:pt x="0" y="1083548"/>
                </a:lnTo>
                <a:close/>
              </a:path>
            </a:pathLst>
          </a:custGeom>
          <a:solidFill>
            <a:srgbClr val="FF7500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55001" y="6201893"/>
            <a:ext cx="10246605" cy="44301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lnSpc>
                <a:spcPts val="1743"/>
              </a:lnSpc>
              <a:spcBef>
                <a:spcPts val="55"/>
              </a:spcBef>
            </a:pP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Важно!</a:t>
            </a:r>
            <a:r>
              <a:rPr sz="1455" b="1" kern="0" spc="-6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Остановка</a:t>
            </a:r>
            <a:r>
              <a:rPr sz="1455" b="1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поставок</a:t>
            </a:r>
            <a:r>
              <a:rPr sz="1455" b="1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распространяется</a:t>
            </a:r>
            <a:r>
              <a:rPr sz="1455" b="1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на</a:t>
            </a:r>
            <a:r>
              <a:rPr sz="1455" b="1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 err="1">
                <a:solidFill>
                  <a:srgbClr val="FFFFFF"/>
                </a:solidFill>
                <a:latin typeface="Verdana"/>
                <a:cs typeface="Verdana"/>
              </a:rPr>
              <a:t>всю</a:t>
            </a:r>
            <a:r>
              <a:rPr sz="1455" b="1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spc="-6" dirty="0" err="1">
                <a:solidFill>
                  <a:srgbClr val="FFFFFF"/>
                </a:solidFill>
                <a:latin typeface="Verdana"/>
                <a:cs typeface="Verdana"/>
              </a:rPr>
              <a:t>продукцию</a:t>
            </a:r>
            <a:r>
              <a:rPr lang="ru-RU"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(товары</a:t>
            </a:r>
            <a:r>
              <a:rPr sz="1455" kern="0" spc="-7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бренда</a:t>
            </a:r>
            <a:r>
              <a:rPr sz="1455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поставщика,</a:t>
            </a:r>
            <a:r>
              <a:rPr sz="1455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товары</a:t>
            </a:r>
            <a:r>
              <a:rPr sz="1455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СТМ,</a:t>
            </a:r>
            <a:r>
              <a:rPr sz="1455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сырье),</a:t>
            </a:r>
            <a:r>
              <a:rPr sz="1455" kern="0" spc="-8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производимую</a:t>
            </a:r>
            <a:r>
              <a:rPr sz="1455" b="1" kern="0" spc="-6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на</a:t>
            </a:r>
            <a:r>
              <a:rPr sz="1455" b="1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данной</a:t>
            </a:r>
            <a:r>
              <a:rPr sz="1455" b="1" kern="0" spc="-6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площадке.</a:t>
            </a:r>
            <a:endParaRPr sz="145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632276" y="566344"/>
            <a:ext cx="7483023" cy="671381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2031" dirty="0"/>
              <a:t>АУДИТЫ</a:t>
            </a:r>
            <a:r>
              <a:rPr sz="2031" spc="6" dirty="0"/>
              <a:t> </a:t>
            </a:r>
            <a:r>
              <a:rPr sz="2031" dirty="0"/>
              <a:t>ПРОИЗВОДСТВЕННЫХ</a:t>
            </a:r>
            <a:r>
              <a:rPr sz="2031" spc="6" dirty="0"/>
              <a:t> </a:t>
            </a:r>
            <a:r>
              <a:rPr sz="2031" spc="-6" dirty="0" smtClean="0"/>
              <a:t>ПЛОЩАДОК</a:t>
            </a:r>
            <a:r>
              <a:rPr lang="ru-RU" sz="2031" spc="-6" dirty="0" smtClean="0"/>
              <a:t> СТМ</a:t>
            </a:r>
            <a:r>
              <a:rPr sz="2031" spc="-6" dirty="0" smtClean="0"/>
              <a:t>:</a:t>
            </a:r>
            <a:endParaRPr sz="2031" dirty="0"/>
          </a:p>
          <a:p>
            <a:pPr marL="7701">
              <a:spcBef>
                <a:spcPts val="130"/>
              </a:spcBef>
            </a:pPr>
            <a:r>
              <a:rPr lang="ru-RU" sz="2183" b="0" dirty="0"/>
              <a:t>ПЛАНОВЫЕ</a:t>
            </a:r>
            <a:endParaRPr sz="2638" b="0" dirty="0"/>
          </a:p>
        </p:txBody>
      </p:sp>
      <p:grpSp>
        <p:nvGrpSpPr>
          <p:cNvPr id="12" name="object 12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13" name="object 13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5" name="object 15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8" name="object 8"/>
          <p:cNvSpPr txBox="1"/>
          <p:nvPr/>
        </p:nvSpPr>
        <p:spPr>
          <a:xfrm>
            <a:off x="551071" y="1425028"/>
            <a:ext cx="10633558" cy="40839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</a:pPr>
            <a:r>
              <a:rPr lang="ru-RU" sz="1304" kern="0" dirty="0">
                <a:solidFill>
                  <a:srgbClr val="18418F"/>
                </a:solidFill>
                <a:latin typeface="Verdana"/>
                <a:cs typeface="Verdana"/>
              </a:rPr>
              <a:t>Согласно договору поставки ТС ЛЕНТА имеет право проводить ежегодный плановый аудит площадок, на которых производятся товары СТМ.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51884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57322" y="5758631"/>
            <a:ext cx="9087139" cy="891856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lnSpc>
                <a:spcPts val="1743"/>
              </a:lnSpc>
              <a:spcBef>
                <a:spcPts val="55"/>
              </a:spcBef>
            </a:pP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Отсрочка</a:t>
            </a:r>
            <a:r>
              <a:rPr sz="1455" b="1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платежа</a:t>
            </a:r>
            <a:r>
              <a:rPr sz="1455" b="1" kern="0" spc="-4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-</a:t>
            </a:r>
            <a:r>
              <a:rPr sz="1455" b="1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в</a:t>
            </a:r>
            <a:r>
              <a:rPr sz="1455" b="1" kern="0" spc="-4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соответствии</a:t>
            </a:r>
            <a:r>
              <a:rPr sz="1455" b="1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с</a:t>
            </a:r>
            <a:r>
              <a:rPr sz="1455" b="1" kern="0" spc="-4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ЗоТ,</a:t>
            </a:r>
            <a:r>
              <a:rPr sz="1455" b="1" kern="0" spc="-4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для</a:t>
            </a:r>
            <a:r>
              <a:rPr sz="1455" b="1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непищевых</a:t>
            </a:r>
            <a:r>
              <a:rPr sz="1455" b="1" kern="0" spc="-4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товаров</a:t>
            </a:r>
            <a:r>
              <a:rPr sz="1455" b="1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-</a:t>
            </a:r>
            <a:r>
              <a:rPr sz="1455" b="1" kern="0" spc="-4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60дней.</a:t>
            </a:r>
            <a:endParaRPr sz="145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defTabSz="554492">
              <a:lnSpc>
                <a:spcPts val="1740"/>
              </a:lnSpc>
              <a:spcBef>
                <a:spcPts val="61"/>
              </a:spcBef>
            </a:pP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Оплата</a:t>
            </a:r>
            <a:r>
              <a:rPr sz="1455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поставляемого</a:t>
            </a:r>
            <a:r>
              <a:rPr sz="1455" kern="0" spc="-6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тендерного</a:t>
            </a:r>
            <a:r>
              <a:rPr sz="1455" kern="0" spc="-6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товара</a:t>
            </a:r>
            <a:r>
              <a:rPr sz="1455" kern="0" spc="-6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spc="-6" dirty="0">
                <a:solidFill>
                  <a:srgbClr val="FFFFFF"/>
                </a:solidFill>
                <a:latin typeface="Verdana"/>
                <a:cs typeface="Verdana"/>
              </a:rPr>
              <a:t>осуществляется</a:t>
            </a:r>
            <a:r>
              <a:rPr sz="1455" kern="0" spc="-6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в</a:t>
            </a:r>
            <a:r>
              <a:rPr sz="1455" kern="0" spc="-6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сроки,</a:t>
            </a:r>
            <a:r>
              <a:rPr sz="1455" kern="0" spc="-6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spc="-6" dirty="0">
                <a:solidFill>
                  <a:srgbClr val="FFFFFF"/>
                </a:solidFill>
                <a:latin typeface="Verdana"/>
                <a:cs typeface="Verdana"/>
              </a:rPr>
              <a:t>установленные</a:t>
            </a:r>
            <a:r>
              <a:rPr sz="1455" kern="0" spc="-6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spc="-6" dirty="0">
                <a:solidFill>
                  <a:srgbClr val="FFFFFF"/>
                </a:solidFill>
                <a:latin typeface="Verdana"/>
                <a:cs typeface="Verdana"/>
              </a:rPr>
              <a:t>договором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поставки</a:t>
            </a:r>
            <a:r>
              <a:rPr sz="1455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и</a:t>
            </a:r>
            <a:r>
              <a:rPr sz="1455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spc="-6" dirty="0">
                <a:solidFill>
                  <a:srgbClr val="FFFFFF"/>
                </a:solidFill>
                <a:latin typeface="Verdana"/>
                <a:cs typeface="Verdana"/>
              </a:rPr>
              <a:t>соответствующие</a:t>
            </a:r>
            <a:r>
              <a:rPr sz="1455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Федеральному</a:t>
            </a:r>
            <a:r>
              <a:rPr sz="1455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закону</a:t>
            </a:r>
            <a:r>
              <a:rPr sz="1455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№</a:t>
            </a:r>
            <a:r>
              <a:rPr sz="1455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spc="-15" dirty="0">
                <a:solidFill>
                  <a:srgbClr val="FFFFFF"/>
                </a:solidFill>
                <a:latin typeface="Verdana"/>
                <a:cs typeface="Verdana"/>
              </a:rPr>
              <a:t>381-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ФЗ</a:t>
            </a:r>
            <a:r>
              <a:rPr sz="1455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от</a:t>
            </a:r>
            <a:r>
              <a:rPr sz="1455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spc="-6" dirty="0">
                <a:solidFill>
                  <a:srgbClr val="FFFFFF"/>
                </a:solidFill>
                <a:latin typeface="Verdana"/>
                <a:cs typeface="Verdana"/>
              </a:rPr>
              <a:t>28.12.2009</a:t>
            </a:r>
            <a:endParaRPr sz="145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1683"/>
              </a:lnSpc>
            </a:pP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«Об</a:t>
            </a:r>
            <a:r>
              <a:rPr sz="1455" kern="0" spc="-6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основах</a:t>
            </a:r>
            <a:r>
              <a:rPr sz="1455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spc="-6" dirty="0">
                <a:solidFill>
                  <a:srgbClr val="FFFFFF"/>
                </a:solidFill>
                <a:latin typeface="Verdana"/>
                <a:cs typeface="Verdana"/>
              </a:rPr>
              <a:t>государственного</a:t>
            </a:r>
            <a:r>
              <a:rPr sz="1455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spc="-6" dirty="0">
                <a:solidFill>
                  <a:srgbClr val="FFFFFF"/>
                </a:solidFill>
                <a:latin typeface="Verdana"/>
                <a:cs typeface="Verdana"/>
              </a:rPr>
              <a:t>регулирования</a:t>
            </a:r>
            <a:r>
              <a:rPr sz="1455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торговой</a:t>
            </a:r>
            <a:r>
              <a:rPr sz="1455" kern="0" spc="-6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деятельности</a:t>
            </a:r>
            <a:r>
              <a:rPr sz="1455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в</a:t>
            </a:r>
            <a:r>
              <a:rPr sz="1455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spc="-6" dirty="0">
                <a:solidFill>
                  <a:srgbClr val="FFFFFF"/>
                </a:solidFill>
                <a:latin typeface="Verdana"/>
                <a:cs typeface="Verdana"/>
              </a:rPr>
              <a:t>РФ»).</a:t>
            </a:r>
            <a:endParaRPr sz="145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79513" y="1488495"/>
            <a:ext cx="4915734" cy="3639245"/>
          </a:xfrm>
          <a:custGeom>
            <a:avLst/>
            <a:gdLst/>
            <a:ahLst/>
            <a:cxnLst/>
            <a:rect l="l" t="t" r="r" b="b"/>
            <a:pathLst>
              <a:path w="8106409" h="6001384">
                <a:moveTo>
                  <a:pt x="7816589" y="0"/>
                </a:moveTo>
                <a:lnTo>
                  <a:pt x="289750" y="0"/>
                </a:lnTo>
                <a:lnTo>
                  <a:pt x="242750" y="3791"/>
                </a:lnTo>
                <a:lnTo>
                  <a:pt x="198166" y="14770"/>
                </a:lnTo>
                <a:lnTo>
                  <a:pt x="156592" y="32338"/>
                </a:lnTo>
                <a:lnTo>
                  <a:pt x="118626" y="55900"/>
                </a:lnTo>
                <a:lnTo>
                  <a:pt x="84865" y="84859"/>
                </a:lnTo>
                <a:lnTo>
                  <a:pt x="55904" y="118619"/>
                </a:lnTo>
                <a:lnTo>
                  <a:pt x="32341" y="156584"/>
                </a:lnTo>
                <a:lnTo>
                  <a:pt x="14771" y="198156"/>
                </a:lnTo>
                <a:lnTo>
                  <a:pt x="3792" y="242740"/>
                </a:lnTo>
                <a:lnTo>
                  <a:pt x="0" y="289739"/>
                </a:lnTo>
                <a:lnTo>
                  <a:pt x="0" y="5711616"/>
                </a:lnTo>
                <a:lnTo>
                  <a:pt x="3792" y="5758616"/>
                </a:lnTo>
                <a:lnTo>
                  <a:pt x="14771" y="5803200"/>
                </a:lnTo>
                <a:lnTo>
                  <a:pt x="32341" y="5844774"/>
                </a:lnTo>
                <a:lnTo>
                  <a:pt x="55904" y="5882740"/>
                </a:lnTo>
                <a:lnTo>
                  <a:pt x="84865" y="5916501"/>
                </a:lnTo>
                <a:lnTo>
                  <a:pt x="118626" y="5945462"/>
                </a:lnTo>
                <a:lnTo>
                  <a:pt x="156592" y="5969025"/>
                </a:lnTo>
                <a:lnTo>
                  <a:pt x="198166" y="5986595"/>
                </a:lnTo>
                <a:lnTo>
                  <a:pt x="242750" y="5997574"/>
                </a:lnTo>
                <a:lnTo>
                  <a:pt x="289750" y="6001367"/>
                </a:lnTo>
                <a:lnTo>
                  <a:pt x="7816589" y="6001367"/>
                </a:lnTo>
                <a:lnTo>
                  <a:pt x="7863588" y="5997574"/>
                </a:lnTo>
                <a:lnTo>
                  <a:pt x="7908173" y="5986595"/>
                </a:lnTo>
                <a:lnTo>
                  <a:pt x="7949747" y="5969025"/>
                </a:lnTo>
                <a:lnTo>
                  <a:pt x="7987712" y="5945462"/>
                </a:lnTo>
                <a:lnTo>
                  <a:pt x="8021474" y="5916501"/>
                </a:lnTo>
                <a:lnTo>
                  <a:pt x="8050435" y="5882740"/>
                </a:lnTo>
                <a:lnTo>
                  <a:pt x="8073998" y="5844774"/>
                </a:lnTo>
                <a:lnTo>
                  <a:pt x="8091568" y="5803200"/>
                </a:lnTo>
                <a:lnTo>
                  <a:pt x="8102547" y="5758616"/>
                </a:lnTo>
                <a:lnTo>
                  <a:pt x="8106339" y="5711616"/>
                </a:lnTo>
                <a:lnTo>
                  <a:pt x="8106339" y="289739"/>
                </a:lnTo>
                <a:lnTo>
                  <a:pt x="8102547" y="242740"/>
                </a:lnTo>
                <a:lnTo>
                  <a:pt x="8091568" y="198156"/>
                </a:lnTo>
                <a:lnTo>
                  <a:pt x="8073998" y="156584"/>
                </a:lnTo>
                <a:lnTo>
                  <a:pt x="8050435" y="118619"/>
                </a:lnTo>
                <a:lnTo>
                  <a:pt x="8021474" y="84859"/>
                </a:lnTo>
                <a:lnTo>
                  <a:pt x="7987712" y="55900"/>
                </a:lnTo>
                <a:lnTo>
                  <a:pt x="7949747" y="32338"/>
                </a:lnTo>
                <a:lnTo>
                  <a:pt x="7908173" y="14770"/>
                </a:lnTo>
                <a:lnTo>
                  <a:pt x="7863588" y="3791"/>
                </a:lnTo>
                <a:lnTo>
                  <a:pt x="7816589" y="0"/>
                </a:lnTo>
                <a:close/>
              </a:path>
            </a:pathLst>
          </a:custGeom>
          <a:solidFill>
            <a:srgbClr val="ECECE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045243" y="1643196"/>
            <a:ext cx="4165243" cy="2521682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 defTabSz="554492">
              <a:spcBef>
                <a:spcPts val="69"/>
              </a:spcBef>
            </a:pPr>
            <a:r>
              <a:rPr sz="1789" b="1" kern="0" dirty="0">
                <a:solidFill>
                  <a:srgbClr val="18418F"/>
                </a:solidFill>
                <a:latin typeface="Verdana"/>
                <a:cs typeface="Verdana"/>
              </a:rPr>
              <a:t>Для</a:t>
            </a:r>
            <a:r>
              <a:rPr sz="1789" b="1" kern="0" spc="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kern="0" dirty="0">
                <a:solidFill>
                  <a:srgbClr val="18418F"/>
                </a:solidFill>
                <a:latin typeface="Verdana"/>
                <a:cs typeface="Verdana"/>
              </a:rPr>
              <a:t>ввода</a:t>
            </a:r>
            <a:r>
              <a:rPr sz="1789" b="1" kern="0" spc="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товаров</a:t>
            </a:r>
            <a:endParaRPr sz="178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spcBef>
                <a:spcPts val="15"/>
              </a:spcBef>
            </a:pPr>
            <a:r>
              <a:rPr sz="1789" b="1" kern="0" dirty="0">
                <a:solidFill>
                  <a:srgbClr val="18418F"/>
                </a:solidFill>
                <a:latin typeface="Verdana"/>
                <a:cs typeface="Verdana"/>
              </a:rPr>
              <a:t>СТМ</a:t>
            </a:r>
            <a:r>
              <a:rPr sz="1789" b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kern="0" dirty="0">
                <a:solidFill>
                  <a:srgbClr val="18418F"/>
                </a:solidFill>
                <a:latin typeface="Verdana"/>
                <a:cs typeface="Verdana"/>
              </a:rPr>
              <a:t>ЛЕНТА</a:t>
            </a:r>
            <a:r>
              <a:rPr sz="1789" b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необходимо:</a:t>
            </a:r>
            <a:endParaRPr sz="178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7852" indent="-130151" defTabSz="554492">
              <a:lnSpc>
                <a:spcPts val="1383"/>
              </a:lnSpc>
              <a:spcBef>
                <a:spcPts val="1428"/>
              </a:spcBef>
              <a:buFontTx/>
              <a:buChar char="•"/>
              <a:tabLst>
                <a:tab pos="137852" algn="l"/>
              </a:tabLst>
            </a:pP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Наличие</a:t>
            </a:r>
            <a:r>
              <a:rPr sz="1152" kern="0" spc="-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подписанного</a:t>
            </a:r>
            <a:r>
              <a:rPr sz="1152" kern="0" spc="-67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договора</a:t>
            </a:r>
            <a:r>
              <a:rPr sz="1152" kern="0" spc="-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поставок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7852" indent="-130151" defTabSz="554492">
              <a:lnSpc>
                <a:spcPts val="1380"/>
              </a:lnSpc>
              <a:buFontTx/>
              <a:buChar char="•"/>
              <a:tabLst>
                <a:tab pos="137852" algn="l"/>
              </a:tabLst>
            </a:pP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Наличие</a:t>
            </a:r>
            <a:r>
              <a:rPr sz="1152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подписанного</a:t>
            </a:r>
            <a:r>
              <a:rPr sz="1152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15" dirty="0">
                <a:solidFill>
                  <a:srgbClr val="18418F"/>
                </a:solidFill>
                <a:latin typeface="Verdana"/>
                <a:cs typeface="Verdana"/>
              </a:rPr>
              <a:t>ПЛ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4387" marR="154411" indent="-127071" defTabSz="554492">
              <a:lnSpc>
                <a:spcPts val="1383"/>
              </a:lnSpc>
              <a:spcBef>
                <a:spcPts val="45"/>
              </a:spcBef>
              <a:buFontTx/>
              <a:buChar char="•"/>
              <a:tabLst>
                <a:tab pos="134387" algn="l"/>
                <a:tab pos="137468" algn="l"/>
              </a:tabLst>
            </a:pP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	Прохождение</a:t>
            </a:r>
            <a:r>
              <a:rPr sz="1152" kern="0" spc="-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аудита</a:t>
            </a:r>
            <a:r>
              <a:rPr sz="1152" kern="0" spc="-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производственной</a:t>
            </a:r>
            <a:r>
              <a:rPr sz="1152" kern="0" spc="-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площадки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(для</a:t>
            </a:r>
            <a:r>
              <a:rPr sz="1152" kern="0" spc="-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непищевых</a:t>
            </a:r>
            <a:r>
              <a:rPr sz="1152" kern="0" spc="-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товаров</a:t>
            </a:r>
            <a:r>
              <a:rPr sz="1152" kern="0" spc="-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могут</a:t>
            </a:r>
            <a:r>
              <a:rPr sz="1152" kern="0" spc="-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быть</a:t>
            </a:r>
            <a:r>
              <a:rPr sz="1152" kern="0" spc="-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исключения,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если</a:t>
            </a:r>
            <a:r>
              <a:rPr sz="1152" kern="0" spc="-3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проведение</a:t>
            </a:r>
            <a:r>
              <a:rPr sz="1152" kern="0" spc="-3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аудита</a:t>
            </a:r>
            <a:r>
              <a:rPr sz="1152" kern="0" spc="-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не</a:t>
            </a:r>
            <a:r>
              <a:rPr sz="1152" kern="0" spc="-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критично)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7852" indent="-130151" defTabSz="554492">
              <a:lnSpc>
                <a:spcPts val="1328"/>
              </a:lnSpc>
              <a:buFontTx/>
              <a:buChar char="•"/>
              <a:tabLst>
                <a:tab pos="137852" algn="l"/>
              </a:tabLst>
            </a:pP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Фотографии</a:t>
            </a:r>
            <a:r>
              <a:rPr sz="1152" kern="0" spc="-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упаковки,</a:t>
            </a:r>
            <a:r>
              <a:rPr sz="1152" kern="0" spc="-3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сравнение</a:t>
            </a:r>
            <a:r>
              <a:rPr sz="1152" kern="0" spc="-4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с</a:t>
            </a:r>
            <a:r>
              <a:rPr sz="1152" kern="0" spc="-4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макетом,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4387" defTabSz="554492">
              <a:lnSpc>
                <a:spcPts val="1380"/>
              </a:lnSpc>
            </a:pP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формат</a:t>
            </a:r>
            <a:r>
              <a:rPr sz="1152" kern="0" spc="-3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нанесения</a:t>
            </a:r>
            <a:r>
              <a:rPr sz="1152" kern="0" spc="-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даты,</a:t>
            </a:r>
            <a:r>
              <a:rPr sz="1152" kern="0" spc="-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качество</a:t>
            </a:r>
            <a:r>
              <a:rPr sz="1152" kern="0" spc="-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швов</a:t>
            </a:r>
            <a:r>
              <a:rPr sz="1152" kern="0" spc="-3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sz="1152" kern="0" spc="-3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спайки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4387" marR="3081" indent="-127071" defTabSz="554492">
              <a:lnSpc>
                <a:spcPts val="1383"/>
              </a:lnSpc>
              <a:spcBef>
                <a:spcPts val="45"/>
              </a:spcBef>
              <a:buFontTx/>
              <a:buChar char="•"/>
              <a:tabLst>
                <a:tab pos="134387" algn="l"/>
                <a:tab pos="137468" algn="l"/>
              </a:tabLst>
            </a:pP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	Наличие</a:t>
            </a:r>
            <a:r>
              <a:rPr sz="1152" kern="0" spc="-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 err="1">
                <a:solidFill>
                  <a:srgbClr val="18418F"/>
                </a:solidFill>
                <a:latin typeface="Verdana"/>
                <a:cs typeface="Verdana"/>
              </a:rPr>
              <a:t>действующего</a:t>
            </a:r>
            <a:r>
              <a:rPr sz="1152" kern="0" spc="-5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152" kern="0" spc="-6" dirty="0">
                <a:solidFill>
                  <a:srgbClr val="18418F"/>
                </a:solidFill>
                <a:latin typeface="Verdana"/>
                <a:cs typeface="Verdana"/>
              </a:rPr>
              <a:t>разрешительного</a:t>
            </a:r>
            <a:r>
              <a:rPr sz="1152" kern="0" spc="-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152" kern="0" spc="-6" dirty="0">
                <a:solidFill>
                  <a:srgbClr val="18418F"/>
                </a:solidFill>
                <a:latin typeface="Verdana"/>
                <a:cs typeface="Verdana"/>
              </a:rPr>
              <a:t>документа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(</a:t>
            </a:r>
            <a:r>
              <a:rPr lang="ru-RU" sz="1152" kern="0" dirty="0">
                <a:solidFill>
                  <a:srgbClr val="18418F"/>
                </a:solidFill>
                <a:latin typeface="Verdana"/>
                <a:cs typeface="Verdana"/>
              </a:rPr>
              <a:t>декларация о соответствии, сертификат соответствия,</a:t>
            </a:r>
            <a:r>
              <a:rPr lang="ru-RU" sz="1152" kern="0" spc="-8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12" dirty="0">
                <a:solidFill>
                  <a:srgbClr val="18418F"/>
                </a:solidFill>
                <a:latin typeface="Verdana"/>
                <a:cs typeface="Verdana"/>
              </a:rPr>
              <a:t>СГР)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72234" y="4122060"/>
            <a:ext cx="4048569" cy="77747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defTabSz="554492">
              <a:spcBef>
                <a:spcPts val="58"/>
              </a:spcBef>
            </a:pP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Получение</a:t>
            </a:r>
            <a:r>
              <a:rPr sz="1001" kern="0" spc="-1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разрешительного</a:t>
            </a:r>
            <a:r>
              <a:rPr sz="100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документа</a:t>
            </a:r>
            <a:r>
              <a:rPr sz="100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–</a:t>
            </a:r>
            <a:r>
              <a:rPr sz="100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spc="-6" dirty="0">
                <a:solidFill>
                  <a:srgbClr val="18418F"/>
                </a:solidFill>
                <a:latin typeface="Verdana"/>
                <a:cs typeface="Verdana"/>
              </a:rPr>
              <a:t>ответственность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Поставщика.</a:t>
            </a:r>
            <a:r>
              <a:rPr sz="1001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Может</a:t>
            </a:r>
            <a:r>
              <a:rPr sz="100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использоваться</a:t>
            </a:r>
            <a:r>
              <a:rPr sz="100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актуальный</a:t>
            </a:r>
            <a:r>
              <a:rPr sz="100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spc="-6" dirty="0">
                <a:solidFill>
                  <a:srgbClr val="18418F"/>
                </a:solidFill>
                <a:latin typeface="Verdana"/>
                <a:cs typeface="Verdana"/>
              </a:rPr>
              <a:t>документ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производителя</a:t>
            </a:r>
            <a:r>
              <a:rPr sz="100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при</a:t>
            </a:r>
            <a:r>
              <a:rPr sz="100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отсутствии</a:t>
            </a:r>
            <a:r>
              <a:rPr sz="100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противоречий</a:t>
            </a:r>
            <a:r>
              <a:rPr sz="100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с</a:t>
            </a:r>
            <a:r>
              <a:rPr sz="1001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spc="-6" dirty="0">
                <a:solidFill>
                  <a:srgbClr val="18418F"/>
                </a:solidFill>
                <a:latin typeface="Verdana"/>
                <a:cs typeface="Verdana"/>
              </a:rPr>
              <a:t>маркировкой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товара</a:t>
            </a:r>
            <a:r>
              <a:rPr sz="100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spc="-6" dirty="0">
                <a:solidFill>
                  <a:srgbClr val="18418F"/>
                </a:solidFill>
                <a:latin typeface="Verdana"/>
                <a:cs typeface="Verdana"/>
              </a:rPr>
              <a:t>(согласовывается</a:t>
            </a:r>
            <a:r>
              <a:rPr sz="100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со</a:t>
            </a:r>
            <a:r>
              <a:rPr sz="100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Службой</a:t>
            </a:r>
            <a:r>
              <a:rPr sz="100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Качества</a:t>
            </a:r>
            <a:r>
              <a:rPr sz="1001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001" kern="0" spc="-6" dirty="0">
                <a:solidFill>
                  <a:srgbClr val="18418F"/>
                </a:solidFill>
                <a:latin typeface="Verdana"/>
                <a:cs typeface="Verdana"/>
              </a:rPr>
              <a:t>компании </a:t>
            </a:r>
            <a:r>
              <a:rPr sz="1001" kern="0" dirty="0">
                <a:solidFill>
                  <a:srgbClr val="18418F"/>
                </a:solidFill>
                <a:latin typeface="Verdana"/>
                <a:cs typeface="Verdana"/>
              </a:rPr>
              <a:t>ЛЕНТА </a:t>
            </a:r>
            <a:r>
              <a:rPr sz="1001" kern="0" spc="-6" dirty="0">
                <a:solidFill>
                  <a:srgbClr val="18418F"/>
                </a:solidFill>
                <a:latin typeface="Verdana"/>
                <a:cs typeface="Verdana"/>
              </a:rPr>
              <a:t>дополнительно).</a:t>
            </a:r>
            <a:endParaRPr sz="1001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029296" y="1488495"/>
            <a:ext cx="4915734" cy="3639245"/>
          </a:xfrm>
          <a:custGeom>
            <a:avLst/>
            <a:gdLst/>
            <a:ahLst/>
            <a:cxnLst/>
            <a:rect l="l" t="t" r="r" b="b"/>
            <a:pathLst>
              <a:path w="8106409" h="6001384">
                <a:moveTo>
                  <a:pt x="7816589" y="0"/>
                </a:moveTo>
                <a:lnTo>
                  <a:pt x="289750" y="0"/>
                </a:lnTo>
                <a:lnTo>
                  <a:pt x="242750" y="3791"/>
                </a:lnTo>
                <a:lnTo>
                  <a:pt x="198166" y="14770"/>
                </a:lnTo>
                <a:lnTo>
                  <a:pt x="156592" y="32338"/>
                </a:lnTo>
                <a:lnTo>
                  <a:pt x="118626" y="55900"/>
                </a:lnTo>
                <a:lnTo>
                  <a:pt x="84865" y="84859"/>
                </a:lnTo>
                <a:lnTo>
                  <a:pt x="55904" y="118619"/>
                </a:lnTo>
                <a:lnTo>
                  <a:pt x="32341" y="156584"/>
                </a:lnTo>
                <a:lnTo>
                  <a:pt x="14771" y="198156"/>
                </a:lnTo>
                <a:lnTo>
                  <a:pt x="3792" y="242740"/>
                </a:lnTo>
                <a:lnTo>
                  <a:pt x="0" y="289739"/>
                </a:lnTo>
                <a:lnTo>
                  <a:pt x="0" y="5711616"/>
                </a:lnTo>
                <a:lnTo>
                  <a:pt x="3792" y="5758616"/>
                </a:lnTo>
                <a:lnTo>
                  <a:pt x="14771" y="5803200"/>
                </a:lnTo>
                <a:lnTo>
                  <a:pt x="32341" y="5844774"/>
                </a:lnTo>
                <a:lnTo>
                  <a:pt x="55904" y="5882740"/>
                </a:lnTo>
                <a:lnTo>
                  <a:pt x="84865" y="5916501"/>
                </a:lnTo>
                <a:lnTo>
                  <a:pt x="118626" y="5945462"/>
                </a:lnTo>
                <a:lnTo>
                  <a:pt x="156592" y="5969025"/>
                </a:lnTo>
                <a:lnTo>
                  <a:pt x="198166" y="5986595"/>
                </a:lnTo>
                <a:lnTo>
                  <a:pt x="242750" y="5997574"/>
                </a:lnTo>
                <a:lnTo>
                  <a:pt x="289750" y="6001367"/>
                </a:lnTo>
                <a:lnTo>
                  <a:pt x="7816589" y="6001367"/>
                </a:lnTo>
                <a:lnTo>
                  <a:pt x="7863588" y="5997574"/>
                </a:lnTo>
                <a:lnTo>
                  <a:pt x="7908173" y="5986595"/>
                </a:lnTo>
                <a:lnTo>
                  <a:pt x="7949747" y="5969025"/>
                </a:lnTo>
                <a:lnTo>
                  <a:pt x="7987712" y="5945462"/>
                </a:lnTo>
                <a:lnTo>
                  <a:pt x="8021474" y="5916501"/>
                </a:lnTo>
                <a:lnTo>
                  <a:pt x="8050435" y="5882740"/>
                </a:lnTo>
                <a:lnTo>
                  <a:pt x="8073998" y="5844774"/>
                </a:lnTo>
                <a:lnTo>
                  <a:pt x="8091568" y="5803200"/>
                </a:lnTo>
                <a:lnTo>
                  <a:pt x="8102547" y="5758616"/>
                </a:lnTo>
                <a:lnTo>
                  <a:pt x="8106339" y="5711616"/>
                </a:lnTo>
                <a:lnTo>
                  <a:pt x="8106339" y="289739"/>
                </a:lnTo>
                <a:lnTo>
                  <a:pt x="8102547" y="242740"/>
                </a:lnTo>
                <a:lnTo>
                  <a:pt x="8091568" y="198156"/>
                </a:lnTo>
                <a:lnTo>
                  <a:pt x="8073998" y="156584"/>
                </a:lnTo>
                <a:lnTo>
                  <a:pt x="8050435" y="118619"/>
                </a:lnTo>
                <a:lnTo>
                  <a:pt x="8021474" y="84859"/>
                </a:lnTo>
                <a:lnTo>
                  <a:pt x="7987712" y="55900"/>
                </a:lnTo>
                <a:lnTo>
                  <a:pt x="7949747" y="32338"/>
                </a:lnTo>
                <a:lnTo>
                  <a:pt x="7908173" y="14770"/>
                </a:lnTo>
                <a:lnTo>
                  <a:pt x="7863588" y="3791"/>
                </a:lnTo>
                <a:lnTo>
                  <a:pt x="7816589" y="0"/>
                </a:lnTo>
                <a:close/>
              </a:path>
            </a:pathLst>
          </a:custGeom>
          <a:solidFill>
            <a:srgbClr val="ECECE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395025" y="1643196"/>
            <a:ext cx="3152909" cy="2618503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 defTabSz="554492">
              <a:spcBef>
                <a:spcPts val="69"/>
              </a:spcBef>
            </a:pPr>
            <a:r>
              <a:rPr sz="1789" b="1" kern="0" dirty="0">
                <a:solidFill>
                  <a:srgbClr val="18418F"/>
                </a:solidFill>
                <a:latin typeface="Verdana"/>
                <a:cs typeface="Verdana"/>
              </a:rPr>
              <a:t>Для</a:t>
            </a:r>
            <a:r>
              <a:rPr sz="1789" b="1" kern="0" spc="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kern="0" dirty="0">
                <a:solidFill>
                  <a:srgbClr val="18418F"/>
                </a:solidFill>
                <a:latin typeface="Verdana"/>
                <a:cs typeface="Verdana"/>
              </a:rPr>
              <a:t>ввода</a:t>
            </a:r>
            <a:r>
              <a:rPr sz="1789" b="1" kern="0" spc="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товаров</a:t>
            </a:r>
            <a:endParaRPr sz="178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defTabSz="554492">
              <a:lnSpc>
                <a:spcPct val="100600"/>
              </a:lnSpc>
            </a:pPr>
            <a:r>
              <a:rPr sz="1789" b="1" kern="0" dirty="0">
                <a:solidFill>
                  <a:srgbClr val="18418F"/>
                </a:solidFill>
                <a:latin typeface="Verdana"/>
                <a:cs typeface="Verdana"/>
              </a:rPr>
              <a:t>в</a:t>
            </a:r>
            <a:r>
              <a:rPr sz="1789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kern="0" dirty="0">
                <a:solidFill>
                  <a:srgbClr val="18418F"/>
                </a:solidFill>
                <a:latin typeface="Verdana"/>
                <a:cs typeface="Verdana"/>
              </a:rPr>
              <a:t>упаковке</a:t>
            </a:r>
            <a:r>
              <a:rPr sz="1789" b="1" kern="0" spc="-6" dirty="0">
                <a:solidFill>
                  <a:srgbClr val="18418F"/>
                </a:solidFill>
                <a:latin typeface="Verdana"/>
                <a:cs typeface="Verdana"/>
              </a:rPr>
              <a:t> поставщика необходимо:</a:t>
            </a:r>
            <a:endParaRPr sz="178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4387" marR="507129" indent="-127071" defTabSz="554492">
              <a:spcBef>
                <a:spcPts val="1431"/>
              </a:spcBef>
              <a:buFontTx/>
              <a:buChar char="•"/>
              <a:tabLst>
                <a:tab pos="134387" algn="l"/>
                <a:tab pos="137468" algn="l"/>
              </a:tabLst>
            </a:pP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	Наличие</a:t>
            </a:r>
            <a:r>
              <a:rPr sz="1152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подписанного</a:t>
            </a:r>
            <a:r>
              <a:rPr sz="1152" kern="0" spc="-6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договора поставок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4387" marR="383139" indent="-127071" defTabSz="554492">
              <a:lnSpc>
                <a:spcPts val="1383"/>
              </a:lnSpc>
              <a:spcBef>
                <a:spcPts val="39"/>
              </a:spcBef>
              <a:buFontTx/>
              <a:buChar char="•"/>
              <a:tabLst>
                <a:tab pos="134387" algn="l"/>
                <a:tab pos="137468" algn="l"/>
              </a:tabLst>
            </a:pP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Действующий</a:t>
            </a:r>
            <a:r>
              <a:rPr sz="1152" kern="0" spc="-5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 err="1">
                <a:solidFill>
                  <a:srgbClr val="18418F"/>
                </a:solidFill>
                <a:latin typeface="Verdana"/>
                <a:cs typeface="Verdana"/>
              </a:rPr>
              <a:t>разрешительный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152" kern="0" dirty="0" smtClean="0">
                <a:solidFill>
                  <a:srgbClr val="18418F"/>
                </a:solidFill>
                <a:latin typeface="Verdana"/>
                <a:cs typeface="Verdana"/>
              </a:rPr>
              <a:t>документ</a:t>
            </a:r>
            <a:r>
              <a:rPr sz="1152" kern="0" spc="-52" dirty="0" smtClean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(</a:t>
            </a:r>
            <a:r>
              <a:rPr lang="ru-RU" sz="1152" kern="0" dirty="0">
                <a:solidFill>
                  <a:srgbClr val="18418F"/>
                </a:solidFill>
                <a:latin typeface="Verdana"/>
                <a:cs typeface="Verdana"/>
              </a:rPr>
              <a:t>декларация о соответствии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,</a:t>
            </a:r>
            <a:r>
              <a:rPr sz="1152" kern="0" spc="-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152" kern="0" dirty="0">
                <a:solidFill>
                  <a:srgbClr val="18418F"/>
                </a:solidFill>
                <a:latin typeface="Verdana"/>
                <a:cs typeface="Verdana"/>
              </a:rPr>
              <a:t>сертификат соответствия,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СГР</a:t>
            </a:r>
            <a:r>
              <a:rPr sz="1152" kern="0" spc="-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sz="1152" kern="0" spc="-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т.д.)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7852" indent="-130151" defTabSz="554492">
              <a:lnSpc>
                <a:spcPts val="1331"/>
              </a:lnSpc>
              <a:buFontTx/>
              <a:buChar char="•"/>
              <a:tabLst>
                <a:tab pos="137852" algn="l"/>
              </a:tabLst>
            </a:pP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Фотографии</a:t>
            </a:r>
            <a:r>
              <a:rPr sz="1152" kern="0" spc="-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упаковки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34387" marR="1530244" defTabSz="554492">
              <a:lnSpc>
                <a:spcPts val="1383"/>
              </a:lnSpc>
              <a:spcBef>
                <a:spcPts val="45"/>
              </a:spcBef>
            </a:pP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с</a:t>
            </a:r>
            <a:r>
              <a:rPr sz="1152" kern="0" spc="-27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разных</a:t>
            </a:r>
            <a:r>
              <a:rPr sz="1152" kern="0" spc="-2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6" dirty="0">
                <a:solidFill>
                  <a:srgbClr val="18418F"/>
                </a:solidFill>
                <a:latin typeface="Verdana"/>
                <a:cs typeface="Verdana"/>
              </a:rPr>
              <a:t>сторон, напечатанной</a:t>
            </a:r>
            <a:r>
              <a:rPr sz="1152" kern="0" spc="-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12" dirty="0">
                <a:solidFill>
                  <a:srgbClr val="18418F"/>
                </a:solidFill>
                <a:latin typeface="Verdana"/>
                <a:cs typeface="Verdana"/>
              </a:rPr>
              <a:t>даты</a:t>
            </a:r>
            <a:endParaRPr sz="115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428" y="2582613"/>
            <a:ext cx="12191144" cy="4274987"/>
            <a:chOff x="0" y="4258920"/>
            <a:chExt cx="20104100" cy="7049770"/>
          </a:xfrm>
        </p:grpSpPr>
        <p:sp>
          <p:nvSpPr>
            <p:cNvPr id="10" name="object 10"/>
            <p:cNvSpPr/>
            <p:nvPr/>
          </p:nvSpPr>
          <p:spPr>
            <a:xfrm>
              <a:off x="14159833" y="6578042"/>
              <a:ext cx="1350645" cy="2599690"/>
            </a:xfrm>
            <a:custGeom>
              <a:avLst/>
              <a:gdLst/>
              <a:ahLst/>
              <a:cxnLst/>
              <a:rect l="l" t="t" r="r" b="b"/>
              <a:pathLst>
                <a:path w="1350644" h="2599690">
                  <a:moveTo>
                    <a:pt x="35538" y="0"/>
                  </a:moveTo>
                  <a:lnTo>
                    <a:pt x="16133" y="5330"/>
                  </a:lnTo>
                  <a:lnTo>
                    <a:pt x="3579" y="19363"/>
                  </a:lnTo>
                  <a:lnTo>
                    <a:pt x="0" y="37836"/>
                  </a:lnTo>
                  <a:lnTo>
                    <a:pt x="7517" y="56490"/>
                  </a:lnTo>
                  <a:lnTo>
                    <a:pt x="28326" y="83118"/>
                  </a:lnTo>
                  <a:lnTo>
                    <a:pt x="51571" y="113932"/>
                  </a:lnTo>
                  <a:lnTo>
                    <a:pt x="76658" y="148532"/>
                  </a:lnTo>
                  <a:lnTo>
                    <a:pt x="102990" y="186516"/>
                  </a:lnTo>
                  <a:lnTo>
                    <a:pt x="129975" y="227485"/>
                  </a:lnTo>
                  <a:lnTo>
                    <a:pt x="157016" y="271038"/>
                  </a:lnTo>
                  <a:lnTo>
                    <a:pt x="183520" y="316773"/>
                  </a:lnTo>
                  <a:lnTo>
                    <a:pt x="208891" y="364289"/>
                  </a:lnTo>
                  <a:lnTo>
                    <a:pt x="232535" y="413187"/>
                  </a:lnTo>
                  <a:lnTo>
                    <a:pt x="253857" y="463066"/>
                  </a:lnTo>
                  <a:lnTo>
                    <a:pt x="272263" y="513523"/>
                  </a:lnTo>
                  <a:lnTo>
                    <a:pt x="287157" y="564160"/>
                  </a:lnTo>
                  <a:lnTo>
                    <a:pt x="297945" y="614575"/>
                  </a:lnTo>
                  <a:lnTo>
                    <a:pt x="304032" y="664367"/>
                  </a:lnTo>
                  <a:lnTo>
                    <a:pt x="309604" y="714339"/>
                  </a:lnTo>
                  <a:lnTo>
                    <a:pt x="318920" y="763027"/>
                  </a:lnTo>
                  <a:lnTo>
                    <a:pt x="331759" y="810353"/>
                  </a:lnTo>
                  <a:lnTo>
                    <a:pt x="347897" y="856243"/>
                  </a:lnTo>
                  <a:lnTo>
                    <a:pt x="367114" y="900619"/>
                  </a:lnTo>
                  <a:lnTo>
                    <a:pt x="389187" y="943407"/>
                  </a:lnTo>
                  <a:lnTo>
                    <a:pt x="413894" y="984530"/>
                  </a:lnTo>
                  <a:lnTo>
                    <a:pt x="441014" y="1023913"/>
                  </a:lnTo>
                  <a:lnTo>
                    <a:pt x="470325" y="1061479"/>
                  </a:lnTo>
                  <a:lnTo>
                    <a:pt x="501605" y="1097153"/>
                  </a:lnTo>
                  <a:lnTo>
                    <a:pt x="534632" y="1130859"/>
                  </a:lnTo>
                  <a:lnTo>
                    <a:pt x="569184" y="1162521"/>
                  </a:lnTo>
                  <a:lnTo>
                    <a:pt x="605040" y="1192063"/>
                  </a:lnTo>
                  <a:lnTo>
                    <a:pt x="641976" y="1219410"/>
                  </a:lnTo>
                  <a:lnTo>
                    <a:pt x="679773" y="1244485"/>
                  </a:lnTo>
                  <a:lnTo>
                    <a:pt x="718207" y="1267212"/>
                  </a:lnTo>
                  <a:lnTo>
                    <a:pt x="757057" y="1287516"/>
                  </a:lnTo>
                  <a:lnTo>
                    <a:pt x="796101" y="1305321"/>
                  </a:lnTo>
                  <a:lnTo>
                    <a:pt x="838791" y="1323728"/>
                  </a:lnTo>
                  <a:lnTo>
                    <a:pt x="878976" y="1342116"/>
                  </a:lnTo>
                  <a:lnTo>
                    <a:pt x="916690" y="1361017"/>
                  </a:lnTo>
                  <a:lnTo>
                    <a:pt x="951963" y="1380961"/>
                  </a:lnTo>
                  <a:lnTo>
                    <a:pt x="984826" y="1402482"/>
                  </a:lnTo>
                  <a:lnTo>
                    <a:pt x="1015311" y="1426111"/>
                  </a:lnTo>
                  <a:lnTo>
                    <a:pt x="1043450" y="1452379"/>
                  </a:lnTo>
                  <a:lnTo>
                    <a:pt x="1069274" y="1481818"/>
                  </a:lnTo>
                  <a:lnTo>
                    <a:pt x="1092815" y="1514961"/>
                  </a:lnTo>
                  <a:lnTo>
                    <a:pt x="1114104" y="1552339"/>
                  </a:lnTo>
                  <a:lnTo>
                    <a:pt x="1133172" y="1594484"/>
                  </a:lnTo>
                  <a:lnTo>
                    <a:pt x="1150051" y="1641927"/>
                  </a:lnTo>
                  <a:lnTo>
                    <a:pt x="1164773" y="1695201"/>
                  </a:lnTo>
                  <a:lnTo>
                    <a:pt x="1177369" y="1754837"/>
                  </a:lnTo>
                  <a:lnTo>
                    <a:pt x="1187870" y="1821368"/>
                  </a:lnTo>
                  <a:lnTo>
                    <a:pt x="1196308" y="1895324"/>
                  </a:lnTo>
                  <a:lnTo>
                    <a:pt x="1200855" y="1939867"/>
                  </a:lnTo>
                  <a:lnTo>
                    <a:pt x="1206164" y="1986191"/>
                  </a:lnTo>
                  <a:lnTo>
                    <a:pt x="1212199" y="2034071"/>
                  </a:lnTo>
                  <a:lnTo>
                    <a:pt x="1218922" y="2083282"/>
                  </a:lnTo>
                  <a:lnTo>
                    <a:pt x="1226296" y="2133601"/>
                  </a:lnTo>
                  <a:lnTo>
                    <a:pt x="1234284" y="2184802"/>
                  </a:lnTo>
                  <a:lnTo>
                    <a:pt x="1242850" y="2236660"/>
                  </a:lnTo>
                  <a:lnTo>
                    <a:pt x="1251956" y="2288953"/>
                  </a:lnTo>
                  <a:lnTo>
                    <a:pt x="1261566" y="2341454"/>
                  </a:lnTo>
                  <a:lnTo>
                    <a:pt x="1271641" y="2393940"/>
                  </a:lnTo>
                  <a:lnTo>
                    <a:pt x="1282146" y="2446186"/>
                  </a:lnTo>
                  <a:lnTo>
                    <a:pt x="1293043" y="2497968"/>
                  </a:lnTo>
                  <a:lnTo>
                    <a:pt x="1304295" y="2549060"/>
                  </a:lnTo>
                  <a:lnTo>
                    <a:pt x="1315865" y="2599240"/>
                  </a:lnTo>
                  <a:lnTo>
                    <a:pt x="1350210" y="2599240"/>
                  </a:lnTo>
                  <a:lnTo>
                    <a:pt x="1340610" y="2560477"/>
                  </a:lnTo>
                  <a:lnTo>
                    <a:pt x="1331124" y="2520460"/>
                  </a:lnTo>
                  <a:lnTo>
                    <a:pt x="1321796" y="2479212"/>
                  </a:lnTo>
                  <a:lnTo>
                    <a:pt x="1312672" y="2436759"/>
                  </a:lnTo>
                  <a:lnTo>
                    <a:pt x="1303794" y="2393127"/>
                  </a:lnTo>
                  <a:lnTo>
                    <a:pt x="1295208" y="2348341"/>
                  </a:lnTo>
                  <a:lnTo>
                    <a:pt x="1286957" y="2302425"/>
                  </a:lnTo>
                  <a:lnTo>
                    <a:pt x="1279086" y="2255406"/>
                  </a:lnTo>
                  <a:lnTo>
                    <a:pt x="1271639" y="2207309"/>
                  </a:lnTo>
                  <a:lnTo>
                    <a:pt x="1264661" y="2158158"/>
                  </a:lnTo>
                  <a:lnTo>
                    <a:pt x="1258195" y="2107979"/>
                  </a:lnTo>
                  <a:lnTo>
                    <a:pt x="1252287" y="2056797"/>
                  </a:lnTo>
                  <a:lnTo>
                    <a:pt x="1246980" y="2004637"/>
                  </a:lnTo>
                  <a:lnTo>
                    <a:pt x="1242318" y="1951525"/>
                  </a:lnTo>
                  <a:lnTo>
                    <a:pt x="1238347" y="1897487"/>
                  </a:lnTo>
                  <a:lnTo>
                    <a:pt x="1235109" y="1842546"/>
                  </a:lnTo>
                  <a:lnTo>
                    <a:pt x="1232651" y="1786729"/>
                  </a:lnTo>
                  <a:lnTo>
                    <a:pt x="1231015" y="1730060"/>
                  </a:lnTo>
                  <a:lnTo>
                    <a:pt x="1230246" y="1672566"/>
                  </a:lnTo>
                  <a:lnTo>
                    <a:pt x="1230388" y="1614270"/>
                  </a:lnTo>
                  <a:lnTo>
                    <a:pt x="1231487" y="1555199"/>
                  </a:lnTo>
                  <a:lnTo>
                    <a:pt x="1233585" y="1495378"/>
                  </a:lnTo>
                  <a:lnTo>
                    <a:pt x="1236190" y="1443619"/>
                  </a:lnTo>
                  <a:lnTo>
                    <a:pt x="1239454" y="1391143"/>
                  </a:lnTo>
                  <a:lnTo>
                    <a:pt x="1243240" y="1338079"/>
                  </a:lnTo>
                  <a:lnTo>
                    <a:pt x="1247410" y="1284555"/>
                  </a:lnTo>
                  <a:lnTo>
                    <a:pt x="1260855" y="1122517"/>
                  </a:lnTo>
                  <a:lnTo>
                    <a:pt x="1265190" y="1068444"/>
                  </a:lnTo>
                  <a:lnTo>
                    <a:pt x="1269223" y="1014557"/>
                  </a:lnTo>
                  <a:lnTo>
                    <a:pt x="1272818" y="960984"/>
                  </a:lnTo>
                  <a:lnTo>
                    <a:pt x="1275836" y="907854"/>
                  </a:lnTo>
                  <a:lnTo>
                    <a:pt x="1278141" y="855296"/>
                  </a:lnTo>
                  <a:lnTo>
                    <a:pt x="1279595" y="803438"/>
                  </a:lnTo>
                  <a:lnTo>
                    <a:pt x="1280062" y="752410"/>
                  </a:lnTo>
                  <a:lnTo>
                    <a:pt x="1279403" y="702341"/>
                  </a:lnTo>
                  <a:lnTo>
                    <a:pt x="1277482" y="653359"/>
                  </a:lnTo>
                  <a:lnTo>
                    <a:pt x="1274161" y="605594"/>
                  </a:lnTo>
                  <a:lnTo>
                    <a:pt x="1269304" y="559173"/>
                  </a:lnTo>
                  <a:lnTo>
                    <a:pt x="1262772" y="514227"/>
                  </a:lnTo>
                  <a:lnTo>
                    <a:pt x="1254430" y="470884"/>
                  </a:lnTo>
                  <a:lnTo>
                    <a:pt x="1244139" y="429273"/>
                  </a:lnTo>
                  <a:lnTo>
                    <a:pt x="1231762" y="389523"/>
                  </a:lnTo>
                  <a:lnTo>
                    <a:pt x="1217163" y="351763"/>
                  </a:lnTo>
                  <a:lnTo>
                    <a:pt x="1200203" y="316121"/>
                  </a:lnTo>
                  <a:lnTo>
                    <a:pt x="1180747" y="282727"/>
                  </a:lnTo>
                  <a:lnTo>
                    <a:pt x="1134725" y="225792"/>
                  </a:lnTo>
                  <a:lnTo>
                    <a:pt x="1071506" y="179399"/>
                  </a:lnTo>
                  <a:lnTo>
                    <a:pt x="1033112" y="158788"/>
                  </a:lnTo>
                  <a:lnTo>
                    <a:pt x="990792" y="139811"/>
                  </a:lnTo>
                  <a:lnTo>
                    <a:pt x="944993" y="122400"/>
                  </a:lnTo>
                  <a:lnTo>
                    <a:pt x="896161" y="106488"/>
                  </a:lnTo>
                  <a:lnTo>
                    <a:pt x="844745" y="92008"/>
                  </a:lnTo>
                  <a:lnTo>
                    <a:pt x="791192" y="78893"/>
                  </a:lnTo>
                  <a:lnTo>
                    <a:pt x="735948" y="67073"/>
                  </a:lnTo>
                  <a:lnTo>
                    <a:pt x="679462" y="56484"/>
                  </a:lnTo>
                  <a:lnTo>
                    <a:pt x="622179" y="47056"/>
                  </a:lnTo>
                  <a:lnTo>
                    <a:pt x="564549" y="38722"/>
                  </a:lnTo>
                  <a:lnTo>
                    <a:pt x="507017" y="31416"/>
                  </a:lnTo>
                  <a:lnTo>
                    <a:pt x="450031" y="25069"/>
                  </a:lnTo>
                  <a:lnTo>
                    <a:pt x="394039" y="19614"/>
                  </a:lnTo>
                  <a:lnTo>
                    <a:pt x="339488" y="14984"/>
                  </a:lnTo>
                  <a:lnTo>
                    <a:pt x="286824" y="11111"/>
                  </a:lnTo>
                  <a:lnTo>
                    <a:pt x="236496" y="7928"/>
                  </a:lnTo>
                  <a:lnTo>
                    <a:pt x="188950" y="5367"/>
                  </a:lnTo>
                  <a:lnTo>
                    <a:pt x="144634" y="3361"/>
                  </a:lnTo>
                  <a:lnTo>
                    <a:pt x="103995" y="1843"/>
                  </a:lnTo>
                  <a:lnTo>
                    <a:pt x="67481" y="745"/>
                  </a:lnTo>
                  <a:lnTo>
                    <a:pt x="35538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4483433" y="6764999"/>
              <a:ext cx="876935" cy="1429385"/>
            </a:xfrm>
            <a:custGeom>
              <a:avLst/>
              <a:gdLst/>
              <a:ahLst/>
              <a:cxnLst/>
              <a:rect l="l" t="t" r="r" b="b"/>
              <a:pathLst>
                <a:path w="876934" h="1429384">
                  <a:moveTo>
                    <a:pt x="4418" y="0"/>
                  </a:moveTo>
                  <a:lnTo>
                    <a:pt x="1643" y="1528"/>
                  </a:lnTo>
                  <a:lnTo>
                    <a:pt x="0" y="6942"/>
                  </a:lnTo>
                  <a:lnTo>
                    <a:pt x="1549" y="9853"/>
                  </a:lnTo>
                  <a:lnTo>
                    <a:pt x="57051" y="28227"/>
                  </a:lnTo>
                  <a:lnTo>
                    <a:pt x="108660" y="48279"/>
                  </a:lnTo>
                  <a:lnTo>
                    <a:pt x="159293" y="70733"/>
                  </a:lnTo>
                  <a:lnTo>
                    <a:pt x="208799" y="95379"/>
                  </a:lnTo>
                  <a:lnTo>
                    <a:pt x="257176" y="122064"/>
                  </a:lnTo>
                  <a:lnTo>
                    <a:pt x="304337" y="150755"/>
                  </a:lnTo>
                  <a:lnTo>
                    <a:pt x="349984" y="181655"/>
                  </a:lnTo>
                  <a:lnTo>
                    <a:pt x="393820" y="214967"/>
                  </a:lnTo>
                  <a:lnTo>
                    <a:pt x="435840" y="250421"/>
                  </a:lnTo>
                  <a:lnTo>
                    <a:pt x="465912" y="278546"/>
                  </a:lnTo>
                  <a:lnTo>
                    <a:pt x="494717" y="307913"/>
                  </a:lnTo>
                  <a:lnTo>
                    <a:pt x="530729" y="349172"/>
                  </a:lnTo>
                  <a:lnTo>
                    <a:pt x="579449" y="415089"/>
                  </a:lnTo>
                  <a:lnTo>
                    <a:pt x="608158" y="461547"/>
                  </a:lnTo>
                  <a:lnTo>
                    <a:pt x="633433" y="509884"/>
                  </a:lnTo>
                  <a:lnTo>
                    <a:pt x="654723" y="560108"/>
                  </a:lnTo>
                  <a:lnTo>
                    <a:pt x="678374" y="631272"/>
                  </a:lnTo>
                  <a:lnTo>
                    <a:pt x="708993" y="745427"/>
                  </a:lnTo>
                  <a:lnTo>
                    <a:pt x="743568" y="880172"/>
                  </a:lnTo>
                  <a:lnTo>
                    <a:pt x="769976" y="988273"/>
                  </a:lnTo>
                  <a:lnTo>
                    <a:pt x="782856" y="1042403"/>
                  </a:lnTo>
                  <a:lnTo>
                    <a:pt x="795432" y="1096607"/>
                  </a:lnTo>
                  <a:lnTo>
                    <a:pt x="807696" y="1150887"/>
                  </a:lnTo>
                  <a:lnTo>
                    <a:pt x="831411" y="1259627"/>
                  </a:lnTo>
                  <a:lnTo>
                    <a:pt x="842662" y="1314134"/>
                  </a:lnTo>
                  <a:lnTo>
                    <a:pt x="853391" y="1368721"/>
                  </a:lnTo>
                  <a:lnTo>
                    <a:pt x="864245" y="1426898"/>
                  </a:lnTo>
                  <a:lnTo>
                    <a:pt x="867387" y="1429233"/>
                  </a:lnTo>
                  <a:lnTo>
                    <a:pt x="874371" y="1428354"/>
                  </a:lnTo>
                  <a:lnTo>
                    <a:pt x="876884" y="1425108"/>
                  </a:lnTo>
                  <a:lnTo>
                    <a:pt x="869890" y="1372290"/>
                  </a:lnTo>
                  <a:lnTo>
                    <a:pt x="862718" y="1323136"/>
                  </a:lnTo>
                  <a:lnTo>
                    <a:pt x="854953" y="1274093"/>
                  </a:lnTo>
                  <a:lnTo>
                    <a:pt x="846634" y="1225153"/>
                  </a:lnTo>
                  <a:lnTo>
                    <a:pt x="837796" y="1176312"/>
                  </a:lnTo>
                  <a:lnTo>
                    <a:pt x="828478" y="1127565"/>
                  </a:lnTo>
                  <a:lnTo>
                    <a:pt x="818715" y="1078904"/>
                  </a:lnTo>
                  <a:lnTo>
                    <a:pt x="808546" y="1030325"/>
                  </a:lnTo>
                  <a:lnTo>
                    <a:pt x="798007" y="981823"/>
                  </a:lnTo>
                  <a:lnTo>
                    <a:pt x="785771" y="927346"/>
                  </a:lnTo>
                  <a:lnTo>
                    <a:pt x="773109" y="872969"/>
                  </a:lnTo>
                  <a:lnTo>
                    <a:pt x="760020" y="818696"/>
                  </a:lnTo>
                  <a:lnTo>
                    <a:pt x="746500" y="764531"/>
                  </a:lnTo>
                  <a:lnTo>
                    <a:pt x="732595" y="710457"/>
                  </a:lnTo>
                  <a:lnTo>
                    <a:pt x="709220" y="622751"/>
                  </a:lnTo>
                  <a:lnTo>
                    <a:pt x="694376" y="575239"/>
                  </a:lnTo>
                  <a:lnTo>
                    <a:pt x="661817" y="496352"/>
                  </a:lnTo>
                  <a:lnTo>
                    <a:pt x="635239" y="446080"/>
                  </a:lnTo>
                  <a:lnTo>
                    <a:pt x="605022" y="397929"/>
                  </a:lnTo>
                  <a:lnTo>
                    <a:pt x="571584" y="352041"/>
                  </a:lnTo>
                  <a:lnTo>
                    <a:pt x="534921" y="308776"/>
                  </a:lnTo>
                  <a:lnTo>
                    <a:pt x="495618" y="267987"/>
                  </a:lnTo>
                  <a:lnTo>
                    <a:pt x="453849" y="229840"/>
                  </a:lnTo>
                  <a:lnTo>
                    <a:pt x="409788" y="194496"/>
                  </a:lnTo>
                  <a:lnTo>
                    <a:pt x="369113" y="165167"/>
                  </a:lnTo>
                  <a:lnTo>
                    <a:pt x="327241" y="137691"/>
                  </a:lnTo>
                  <a:lnTo>
                    <a:pt x="284250" y="112111"/>
                  </a:lnTo>
                  <a:lnTo>
                    <a:pt x="240215" y="88465"/>
                  </a:lnTo>
                  <a:lnTo>
                    <a:pt x="195214" y="66795"/>
                  </a:lnTo>
                  <a:lnTo>
                    <a:pt x="149324" y="47140"/>
                  </a:lnTo>
                  <a:lnTo>
                    <a:pt x="102622" y="29540"/>
                  </a:lnTo>
                  <a:lnTo>
                    <a:pt x="55185" y="14037"/>
                  </a:lnTo>
                  <a:lnTo>
                    <a:pt x="7088" y="670"/>
                  </a:lnTo>
                  <a:lnTo>
                    <a:pt x="441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4030306" y="7998564"/>
              <a:ext cx="1480185" cy="1179195"/>
            </a:xfrm>
            <a:custGeom>
              <a:avLst/>
              <a:gdLst/>
              <a:ahLst/>
              <a:cxnLst/>
              <a:rect l="l" t="t" r="r" b="b"/>
              <a:pathLst>
                <a:path w="1480184" h="1179195">
                  <a:moveTo>
                    <a:pt x="834485" y="0"/>
                  </a:moveTo>
                  <a:lnTo>
                    <a:pt x="794623" y="3669"/>
                  </a:lnTo>
                  <a:lnTo>
                    <a:pt x="753966" y="11642"/>
                  </a:lnTo>
                  <a:lnTo>
                    <a:pt x="712475" y="23941"/>
                  </a:lnTo>
                  <a:lnTo>
                    <a:pt x="670109" y="40589"/>
                  </a:lnTo>
                  <a:lnTo>
                    <a:pt x="626830" y="61608"/>
                  </a:lnTo>
                  <a:lnTo>
                    <a:pt x="582597" y="87021"/>
                  </a:lnTo>
                  <a:lnTo>
                    <a:pt x="537370" y="116851"/>
                  </a:lnTo>
                  <a:lnTo>
                    <a:pt x="491111" y="151120"/>
                  </a:lnTo>
                  <a:lnTo>
                    <a:pt x="429465" y="198660"/>
                  </a:lnTo>
                  <a:lnTo>
                    <a:pt x="372059" y="241786"/>
                  </a:lnTo>
                  <a:lnTo>
                    <a:pt x="318769" y="280570"/>
                  </a:lnTo>
                  <a:lnTo>
                    <a:pt x="269470" y="315079"/>
                  </a:lnTo>
                  <a:lnTo>
                    <a:pt x="224036" y="345384"/>
                  </a:lnTo>
                  <a:lnTo>
                    <a:pt x="182343" y="371554"/>
                  </a:lnTo>
                  <a:lnTo>
                    <a:pt x="144267" y="393660"/>
                  </a:lnTo>
                  <a:lnTo>
                    <a:pt x="109682" y="411769"/>
                  </a:lnTo>
                  <a:lnTo>
                    <a:pt x="50487" y="436279"/>
                  </a:lnTo>
                  <a:lnTo>
                    <a:pt x="25628" y="442818"/>
                  </a:lnTo>
                  <a:lnTo>
                    <a:pt x="11848" y="449305"/>
                  </a:lnTo>
                  <a:lnTo>
                    <a:pt x="2970" y="460866"/>
                  </a:lnTo>
                  <a:lnTo>
                    <a:pt x="0" y="475193"/>
                  </a:lnTo>
                  <a:lnTo>
                    <a:pt x="3943" y="489979"/>
                  </a:lnTo>
                  <a:lnTo>
                    <a:pt x="36417" y="544562"/>
                  </a:lnTo>
                  <a:lnTo>
                    <a:pt x="58031" y="576243"/>
                  </a:lnTo>
                  <a:lnTo>
                    <a:pt x="83247" y="609470"/>
                  </a:lnTo>
                  <a:lnTo>
                    <a:pt x="112080" y="643203"/>
                  </a:lnTo>
                  <a:lnTo>
                    <a:pt x="144544" y="676408"/>
                  </a:lnTo>
                  <a:lnTo>
                    <a:pt x="180652" y="708046"/>
                  </a:lnTo>
                  <a:lnTo>
                    <a:pt x="220419" y="737081"/>
                  </a:lnTo>
                  <a:lnTo>
                    <a:pt x="263857" y="762477"/>
                  </a:lnTo>
                  <a:lnTo>
                    <a:pt x="310982" y="783195"/>
                  </a:lnTo>
                  <a:lnTo>
                    <a:pt x="361806" y="798200"/>
                  </a:lnTo>
                  <a:lnTo>
                    <a:pt x="416344" y="806455"/>
                  </a:lnTo>
                  <a:lnTo>
                    <a:pt x="474609" y="806922"/>
                  </a:lnTo>
                  <a:lnTo>
                    <a:pt x="524952" y="802403"/>
                  </a:lnTo>
                  <a:lnTo>
                    <a:pt x="576088" y="795400"/>
                  </a:lnTo>
                  <a:lnTo>
                    <a:pt x="627756" y="786355"/>
                  </a:lnTo>
                  <a:lnTo>
                    <a:pt x="679691" y="775714"/>
                  </a:lnTo>
                  <a:lnTo>
                    <a:pt x="731632" y="763918"/>
                  </a:lnTo>
                  <a:lnTo>
                    <a:pt x="783315" y="751413"/>
                  </a:lnTo>
                  <a:lnTo>
                    <a:pt x="884857" y="726047"/>
                  </a:lnTo>
                  <a:lnTo>
                    <a:pt x="934189" y="714074"/>
                  </a:lnTo>
                  <a:lnTo>
                    <a:pt x="982213" y="703165"/>
                  </a:lnTo>
                  <a:lnTo>
                    <a:pt x="1028664" y="693765"/>
                  </a:lnTo>
                  <a:lnTo>
                    <a:pt x="1073280" y="686317"/>
                  </a:lnTo>
                  <a:lnTo>
                    <a:pt x="1115798" y="681264"/>
                  </a:lnTo>
                  <a:lnTo>
                    <a:pt x="1155956" y="679051"/>
                  </a:lnTo>
                  <a:lnTo>
                    <a:pt x="1193490" y="680121"/>
                  </a:lnTo>
                  <a:lnTo>
                    <a:pt x="1259635" y="693884"/>
                  </a:lnTo>
                  <a:lnTo>
                    <a:pt x="1312131" y="726104"/>
                  </a:lnTo>
                  <a:lnTo>
                    <a:pt x="1372458" y="814243"/>
                  </a:lnTo>
                  <a:lnTo>
                    <a:pt x="1401177" y="871547"/>
                  </a:lnTo>
                  <a:lnTo>
                    <a:pt x="1420614" y="922908"/>
                  </a:lnTo>
                  <a:lnTo>
                    <a:pt x="1432620" y="969073"/>
                  </a:lnTo>
                  <a:lnTo>
                    <a:pt x="1439048" y="1010793"/>
                  </a:lnTo>
                  <a:lnTo>
                    <a:pt x="1441750" y="1048817"/>
                  </a:lnTo>
                  <a:lnTo>
                    <a:pt x="1443386" y="1116777"/>
                  </a:lnTo>
                  <a:lnTo>
                    <a:pt x="1445490" y="1160483"/>
                  </a:lnTo>
                  <a:lnTo>
                    <a:pt x="1446642" y="1178712"/>
                  </a:lnTo>
                  <a:lnTo>
                    <a:pt x="1480170" y="1178712"/>
                  </a:lnTo>
                  <a:lnTo>
                    <a:pt x="1475431" y="1152594"/>
                  </a:lnTo>
                  <a:lnTo>
                    <a:pt x="1471541" y="1126458"/>
                  </a:lnTo>
                  <a:lnTo>
                    <a:pt x="1468607" y="1100396"/>
                  </a:lnTo>
                  <a:lnTo>
                    <a:pt x="1466736" y="1074495"/>
                  </a:lnTo>
                  <a:lnTo>
                    <a:pt x="1464490" y="1035905"/>
                  </a:lnTo>
                  <a:lnTo>
                    <a:pt x="1461464" y="994831"/>
                  </a:lnTo>
                  <a:lnTo>
                    <a:pt x="1457561" y="951560"/>
                  </a:lnTo>
                  <a:lnTo>
                    <a:pt x="1452685" y="906380"/>
                  </a:lnTo>
                  <a:lnTo>
                    <a:pt x="1446743" y="859578"/>
                  </a:lnTo>
                  <a:lnTo>
                    <a:pt x="1439638" y="811441"/>
                  </a:lnTo>
                  <a:lnTo>
                    <a:pt x="1431275" y="762257"/>
                  </a:lnTo>
                  <a:lnTo>
                    <a:pt x="1421559" y="712314"/>
                  </a:lnTo>
                  <a:lnTo>
                    <a:pt x="1410394" y="661898"/>
                  </a:lnTo>
                  <a:lnTo>
                    <a:pt x="1397686" y="611298"/>
                  </a:lnTo>
                  <a:lnTo>
                    <a:pt x="1383338" y="560800"/>
                  </a:lnTo>
                  <a:lnTo>
                    <a:pt x="1367257" y="510692"/>
                  </a:lnTo>
                  <a:lnTo>
                    <a:pt x="1349345" y="461262"/>
                  </a:lnTo>
                  <a:lnTo>
                    <a:pt x="1329509" y="412797"/>
                  </a:lnTo>
                  <a:lnTo>
                    <a:pt x="1307652" y="365584"/>
                  </a:lnTo>
                  <a:lnTo>
                    <a:pt x="1283680" y="319910"/>
                  </a:lnTo>
                  <a:lnTo>
                    <a:pt x="1257496" y="276064"/>
                  </a:lnTo>
                  <a:lnTo>
                    <a:pt x="1229007" y="234333"/>
                  </a:lnTo>
                  <a:lnTo>
                    <a:pt x="1198116" y="195004"/>
                  </a:lnTo>
                  <a:lnTo>
                    <a:pt x="1164020" y="156886"/>
                  </a:lnTo>
                  <a:lnTo>
                    <a:pt x="1129526" y="122845"/>
                  </a:lnTo>
                  <a:lnTo>
                    <a:pt x="1094595" y="92903"/>
                  </a:lnTo>
                  <a:lnTo>
                    <a:pt x="1059186" y="67083"/>
                  </a:lnTo>
                  <a:lnTo>
                    <a:pt x="1023260" y="45409"/>
                  </a:lnTo>
                  <a:lnTo>
                    <a:pt x="986777" y="27901"/>
                  </a:lnTo>
                  <a:lnTo>
                    <a:pt x="949698" y="14584"/>
                  </a:lnTo>
                  <a:lnTo>
                    <a:pt x="911983" y="5480"/>
                  </a:lnTo>
                  <a:lnTo>
                    <a:pt x="873592" y="611"/>
                  </a:lnTo>
                  <a:lnTo>
                    <a:pt x="834485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4614329" y="8264269"/>
              <a:ext cx="850265" cy="568960"/>
            </a:xfrm>
            <a:custGeom>
              <a:avLst/>
              <a:gdLst/>
              <a:ahLst/>
              <a:cxnLst/>
              <a:rect l="l" t="t" r="r" b="b"/>
              <a:pathLst>
                <a:path w="850265" h="568959">
                  <a:moveTo>
                    <a:pt x="374396" y="0"/>
                  </a:moveTo>
                  <a:lnTo>
                    <a:pt x="335487" y="2531"/>
                  </a:lnTo>
                  <a:lnTo>
                    <a:pt x="297339" y="9336"/>
                  </a:lnTo>
                  <a:lnTo>
                    <a:pt x="260180" y="19462"/>
                  </a:lnTo>
                  <a:lnTo>
                    <a:pt x="224111" y="32434"/>
                  </a:lnTo>
                  <a:lnTo>
                    <a:pt x="189151" y="47749"/>
                  </a:lnTo>
                  <a:lnTo>
                    <a:pt x="122519" y="84235"/>
                  </a:lnTo>
                  <a:lnTo>
                    <a:pt x="75344" y="115814"/>
                  </a:lnTo>
                  <a:lnTo>
                    <a:pt x="30527" y="150436"/>
                  </a:lnTo>
                  <a:lnTo>
                    <a:pt x="272" y="177384"/>
                  </a:lnTo>
                  <a:lnTo>
                    <a:pt x="0" y="180421"/>
                  </a:lnTo>
                  <a:lnTo>
                    <a:pt x="3434" y="184860"/>
                  </a:lnTo>
                  <a:lnTo>
                    <a:pt x="6732" y="185279"/>
                  </a:lnTo>
                  <a:lnTo>
                    <a:pt x="23899" y="172262"/>
                  </a:lnTo>
                  <a:lnTo>
                    <a:pt x="38930" y="161391"/>
                  </a:lnTo>
                  <a:lnTo>
                    <a:pt x="85245" y="130517"/>
                  </a:lnTo>
                  <a:lnTo>
                    <a:pt x="133147" y="102475"/>
                  </a:lnTo>
                  <a:lnTo>
                    <a:pt x="199266" y="70005"/>
                  </a:lnTo>
                  <a:lnTo>
                    <a:pt x="267960" y="45043"/>
                  </a:lnTo>
                  <a:lnTo>
                    <a:pt x="320935" y="33027"/>
                  </a:lnTo>
                  <a:lnTo>
                    <a:pt x="374491" y="28584"/>
                  </a:lnTo>
                  <a:lnTo>
                    <a:pt x="392275" y="29136"/>
                  </a:lnTo>
                  <a:lnTo>
                    <a:pt x="409924" y="30844"/>
                  </a:lnTo>
                  <a:lnTo>
                    <a:pt x="415725" y="31849"/>
                  </a:lnTo>
                  <a:lnTo>
                    <a:pt x="421631" y="32404"/>
                  </a:lnTo>
                  <a:lnTo>
                    <a:pt x="433096" y="35158"/>
                  </a:lnTo>
                  <a:lnTo>
                    <a:pt x="438771" y="36247"/>
                  </a:lnTo>
                  <a:lnTo>
                    <a:pt x="479451" y="48508"/>
                  </a:lnTo>
                  <a:lnTo>
                    <a:pt x="546182" y="77031"/>
                  </a:lnTo>
                  <a:lnTo>
                    <a:pt x="607215" y="115877"/>
                  </a:lnTo>
                  <a:lnTo>
                    <a:pt x="660859" y="164547"/>
                  </a:lnTo>
                  <a:lnTo>
                    <a:pt x="706211" y="221510"/>
                  </a:lnTo>
                  <a:lnTo>
                    <a:pt x="743914" y="284355"/>
                  </a:lnTo>
                  <a:lnTo>
                    <a:pt x="757599" y="311799"/>
                  </a:lnTo>
                  <a:lnTo>
                    <a:pt x="760196" y="317369"/>
                  </a:lnTo>
                  <a:lnTo>
                    <a:pt x="788131" y="385799"/>
                  </a:lnTo>
                  <a:lnTo>
                    <a:pt x="811478" y="456259"/>
                  </a:lnTo>
                  <a:lnTo>
                    <a:pt x="830515" y="528233"/>
                  </a:lnTo>
                  <a:lnTo>
                    <a:pt x="839953" y="567205"/>
                  </a:lnTo>
                  <a:lnTo>
                    <a:pt x="842456" y="568870"/>
                  </a:lnTo>
                  <a:lnTo>
                    <a:pt x="847838" y="567969"/>
                  </a:lnTo>
                  <a:lnTo>
                    <a:pt x="849691" y="565362"/>
                  </a:lnTo>
                  <a:lnTo>
                    <a:pt x="842719" y="525620"/>
                  </a:lnTo>
                  <a:lnTo>
                    <a:pt x="827095" y="452036"/>
                  </a:lnTo>
                  <a:lnTo>
                    <a:pt x="809749" y="388356"/>
                  </a:lnTo>
                  <a:lnTo>
                    <a:pt x="794394" y="343651"/>
                  </a:lnTo>
                  <a:lnTo>
                    <a:pt x="777662" y="302710"/>
                  </a:lnTo>
                  <a:lnTo>
                    <a:pt x="775588" y="296721"/>
                  </a:lnTo>
                  <a:lnTo>
                    <a:pt x="746752" y="240232"/>
                  </a:lnTo>
                  <a:lnTo>
                    <a:pt x="727076" y="207472"/>
                  </a:lnTo>
                  <a:lnTo>
                    <a:pt x="705088" y="176094"/>
                  </a:lnTo>
                  <a:lnTo>
                    <a:pt x="680534" y="146495"/>
                  </a:lnTo>
                  <a:lnTo>
                    <a:pt x="653559" y="118962"/>
                  </a:lnTo>
                  <a:lnTo>
                    <a:pt x="624233" y="93844"/>
                  </a:lnTo>
                  <a:lnTo>
                    <a:pt x="592797" y="71389"/>
                  </a:lnTo>
                  <a:lnTo>
                    <a:pt x="559490" y="51849"/>
                  </a:lnTo>
                  <a:lnTo>
                    <a:pt x="524737" y="35148"/>
                  </a:lnTo>
                  <a:lnTo>
                    <a:pt x="488885" y="21211"/>
                  </a:lnTo>
                  <a:lnTo>
                    <a:pt x="452248" y="9850"/>
                  </a:lnTo>
                  <a:lnTo>
                    <a:pt x="439452" y="6845"/>
                  </a:lnTo>
                  <a:lnTo>
                    <a:pt x="426636" y="3903"/>
                  </a:lnTo>
                  <a:lnTo>
                    <a:pt x="420070" y="3285"/>
                  </a:lnTo>
                  <a:lnTo>
                    <a:pt x="413589" y="2227"/>
                  </a:lnTo>
                  <a:lnTo>
                    <a:pt x="393994" y="472"/>
                  </a:lnTo>
                  <a:lnTo>
                    <a:pt x="37439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5303675" y="4883373"/>
              <a:ext cx="3683000" cy="4690745"/>
            </a:xfrm>
            <a:custGeom>
              <a:avLst/>
              <a:gdLst/>
              <a:ahLst/>
              <a:cxnLst/>
              <a:rect l="l" t="t" r="r" b="b"/>
              <a:pathLst>
                <a:path w="3683000" h="4690745">
                  <a:moveTo>
                    <a:pt x="3178405" y="0"/>
                  </a:moveTo>
                  <a:lnTo>
                    <a:pt x="334429" y="0"/>
                  </a:lnTo>
                  <a:lnTo>
                    <a:pt x="285008" y="3626"/>
                  </a:lnTo>
                  <a:lnTo>
                    <a:pt x="237839" y="14159"/>
                  </a:lnTo>
                  <a:lnTo>
                    <a:pt x="193439" y="31083"/>
                  </a:lnTo>
                  <a:lnTo>
                    <a:pt x="152326" y="53879"/>
                  </a:lnTo>
                  <a:lnTo>
                    <a:pt x="115016" y="82031"/>
                  </a:lnTo>
                  <a:lnTo>
                    <a:pt x="82027" y="115021"/>
                  </a:lnTo>
                  <a:lnTo>
                    <a:pt x="53877" y="152331"/>
                  </a:lnTo>
                  <a:lnTo>
                    <a:pt x="31081" y="193444"/>
                  </a:lnTo>
                  <a:lnTo>
                    <a:pt x="14158" y="237843"/>
                  </a:lnTo>
                  <a:lnTo>
                    <a:pt x="3625" y="285011"/>
                  </a:lnTo>
                  <a:lnTo>
                    <a:pt x="0" y="334429"/>
                  </a:lnTo>
                  <a:lnTo>
                    <a:pt x="0" y="4484219"/>
                  </a:lnTo>
                  <a:lnTo>
                    <a:pt x="5578" y="4532077"/>
                  </a:lnTo>
                  <a:lnTo>
                    <a:pt x="21451" y="4575918"/>
                  </a:lnTo>
                  <a:lnTo>
                    <a:pt x="46327" y="4614472"/>
                  </a:lnTo>
                  <a:lnTo>
                    <a:pt x="78911" y="4646468"/>
                  </a:lnTo>
                  <a:lnTo>
                    <a:pt x="117910" y="4670639"/>
                  </a:lnTo>
                  <a:lnTo>
                    <a:pt x="162032" y="4685713"/>
                  </a:lnTo>
                  <a:lnTo>
                    <a:pt x="209983" y="4690422"/>
                  </a:lnTo>
                  <a:lnTo>
                    <a:pt x="3469538" y="4631178"/>
                  </a:lnTo>
                  <a:lnTo>
                    <a:pt x="3514194" y="4625758"/>
                  </a:lnTo>
                  <a:lnTo>
                    <a:pt x="3555494" y="4611811"/>
                  </a:lnTo>
                  <a:lnTo>
                    <a:pt x="3592541" y="4590299"/>
                  </a:lnTo>
                  <a:lnTo>
                    <a:pt x="3624438" y="4562183"/>
                  </a:lnTo>
                  <a:lnTo>
                    <a:pt x="3650287" y="4528422"/>
                  </a:lnTo>
                  <a:lnTo>
                    <a:pt x="3669191" y="4489980"/>
                  </a:lnTo>
                  <a:lnTo>
                    <a:pt x="3680254" y="4447816"/>
                  </a:lnTo>
                  <a:lnTo>
                    <a:pt x="3682578" y="4402892"/>
                  </a:lnTo>
                  <a:lnTo>
                    <a:pt x="3472658" y="279656"/>
                  </a:lnTo>
                  <a:lnTo>
                    <a:pt x="3466716" y="233748"/>
                  </a:lnTo>
                  <a:lnTo>
                    <a:pt x="3454054" y="190400"/>
                  </a:lnTo>
                  <a:lnTo>
                    <a:pt x="3435234" y="150147"/>
                  </a:lnTo>
                  <a:lnTo>
                    <a:pt x="3410820" y="113524"/>
                  </a:lnTo>
                  <a:lnTo>
                    <a:pt x="3381376" y="81066"/>
                  </a:lnTo>
                  <a:lnTo>
                    <a:pt x="3347463" y="53310"/>
                  </a:lnTo>
                  <a:lnTo>
                    <a:pt x="3309647" y="30790"/>
                  </a:lnTo>
                  <a:lnTo>
                    <a:pt x="3268490" y="14041"/>
                  </a:lnTo>
                  <a:lnTo>
                    <a:pt x="3224555" y="3599"/>
                  </a:lnTo>
                  <a:lnTo>
                    <a:pt x="3178405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15536668" y="4849953"/>
              <a:ext cx="3255645" cy="4552950"/>
            </a:xfrm>
            <a:custGeom>
              <a:avLst/>
              <a:gdLst/>
              <a:ahLst/>
              <a:cxnLst/>
              <a:rect l="l" t="t" r="r" b="b"/>
              <a:pathLst>
                <a:path w="3255644" h="4552950">
                  <a:moveTo>
                    <a:pt x="110174" y="0"/>
                  </a:moveTo>
                  <a:lnTo>
                    <a:pt x="68209" y="3481"/>
                  </a:lnTo>
                  <a:lnTo>
                    <a:pt x="33000" y="23309"/>
                  </a:lnTo>
                  <a:lnTo>
                    <a:pt x="8834" y="55704"/>
                  </a:lnTo>
                  <a:lnTo>
                    <a:pt x="0" y="96887"/>
                  </a:lnTo>
                  <a:lnTo>
                    <a:pt x="25590" y="4447058"/>
                  </a:lnTo>
                  <a:lnTo>
                    <a:pt x="46749" y="4501606"/>
                  </a:lnTo>
                  <a:lnTo>
                    <a:pt x="98866" y="4528102"/>
                  </a:lnTo>
                  <a:lnTo>
                    <a:pt x="171085" y="4534665"/>
                  </a:lnTo>
                  <a:lnTo>
                    <a:pt x="210085" y="4537520"/>
                  </a:lnTo>
                  <a:lnTo>
                    <a:pt x="250912" y="4540100"/>
                  </a:lnTo>
                  <a:lnTo>
                    <a:pt x="293492" y="4542412"/>
                  </a:lnTo>
                  <a:lnTo>
                    <a:pt x="337751" y="4544464"/>
                  </a:lnTo>
                  <a:lnTo>
                    <a:pt x="383614" y="4546263"/>
                  </a:lnTo>
                  <a:lnTo>
                    <a:pt x="431007" y="4547815"/>
                  </a:lnTo>
                  <a:lnTo>
                    <a:pt x="479855" y="4549128"/>
                  </a:lnTo>
                  <a:lnTo>
                    <a:pt x="530084" y="4550209"/>
                  </a:lnTo>
                  <a:lnTo>
                    <a:pt x="581619" y="4551065"/>
                  </a:lnTo>
                  <a:lnTo>
                    <a:pt x="634387" y="4551703"/>
                  </a:lnTo>
                  <a:lnTo>
                    <a:pt x="688312" y="4552131"/>
                  </a:lnTo>
                  <a:lnTo>
                    <a:pt x="743321" y="4552355"/>
                  </a:lnTo>
                  <a:lnTo>
                    <a:pt x="856291" y="4552221"/>
                  </a:lnTo>
                  <a:lnTo>
                    <a:pt x="972702" y="4551358"/>
                  </a:lnTo>
                  <a:lnTo>
                    <a:pt x="1091958" y="4549823"/>
                  </a:lnTo>
                  <a:lnTo>
                    <a:pt x="1213464" y="4547674"/>
                  </a:lnTo>
                  <a:lnTo>
                    <a:pt x="1336625" y="4544967"/>
                  </a:lnTo>
                  <a:lnTo>
                    <a:pt x="1460846" y="4541759"/>
                  </a:lnTo>
                  <a:lnTo>
                    <a:pt x="1647862" y="4536133"/>
                  </a:lnTo>
                  <a:lnTo>
                    <a:pt x="1833915" y="4529701"/>
                  </a:lnTo>
                  <a:lnTo>
                    <a:pt x="2016995" y="4522656"/>
                  </a:lnTo>
                  <a:lnTo>
                    <a:pt x="2253006" y="4512639"/>
                  </a:lnTo>
                  <a:lnTo>
                    <a:pt x="2528312" y="4499758"/>
                  </a:lnTo>
                  <a:lnTo>
                    <a:pt x="2817498" y="4484951"/>
                  </a:lnTo>
                  <a:lnTo>
                    <a:pt x="3157977" y="4465832"/>
                  </a:lnTo>
                  <a:lnTo>
                    <a:pt x="3197522" y="4455415"/>
                  </a:lnTo>
                  <a:lnTo>
                    <a:pt x="3228951" y="4431515"/>
                  </a:lnTo>
                  <a:lnTo>
                    <a:pt x="3249170" y="4397596"/>
                  </a:lnTo>
                  <a:lnTo>
                    <a:pt x="3255084" y="4357123"/>
                  </a:lnTo>
                  <a:lnTo>
                    <a:pt x="3034975" y="215511"/>
                  </a:lnTo>
                  <a:lnTo>
                    <a:pt x="3004483" y="152792"/>
                  </a:lnTo>
                  <a:lnTo>
                    <a:pt x="2938235" y="130791"/>
                  </a:lnTo>
                  <a:lnTo>
                    <a:pt x="2878868" y="135097"/>
                  </a:lnTo>
                  <a:lnTo>
                    <a:pt x="2819099" y="138942"/>
                  </a:lnTo>
                  <a:lnTo>
                    <a:pt x="2758967" y="142337"/>
                  </a:lnTo>
                  <a:lnTo>
                    <a:pt x="2698514" y="145294"/>
                  </a:lnTo>
                  <a:lnTo>
                    <a:pt x="2637780" y="147827"/>
                  </a:lnTo>
                  <a:lnTo>
                    <a:pt x="2576804" y="149948"/>
                  </a:lnTo>
                  <a:lnTo>
                    <a:pt x="2515627" y="151668"/>
                  </a:lnTo>
                  <a:lnTo>
                    <a:pt x="2454289" y="152999"/>
                  </a:lnTo>
                  <a:lnTo>
                    <a:pt x="2392831" y="153955"/>
                  </a:lnTo>
                  <a:lnTo>
                    <a:pt x="2331292" y="154546"/>
                  </a:lnTo>
                  <a:lnTo>
                    <a:pt x="2269714" y="154787"/>
                  </a:lnTo>
                  <a:lnTo>
                    <a:pt x="2208136" y="154688"/>
                  </a:lnTo>
                  <a:lnTo>
                    <a:pt x="2146598" y="154262"/>
                  </a:lnTo>
                  <a:lnTo>
                    <a:pt x="2085141" y="153521"/>
                  </a:lnTo>
                  <a:lnTo>
                    <a:pt x="2023806" y="152477"/>
                  </a:lnTo>
                  <a:lnTo>
                    <a:pt x="1962631" y="151143"/>
                  </a:lnTo>
                  <a:lnTo>
                    <a:pt x="1901659" y="149530"/>
                  </a:lnTo>
                  <a:lnTo>
                    <a:pt x="1840928" y="147652"/>
                  </a:lnTo>
                  <a:lnTo>
                    <a:pt x="1780479" y="145520"/>
                  </a:lnTo>
                  <a:lnTo>
                    <a:pt x="1720353" y="143147"/>
                  </a:lnTo>
                  <a:lnTo>
                    <a:pt x="1660589" y="140544"/>
                  </a:lnTo>
                  <a:lnTo>
                    <a:pt x="1601228" y="137724"/>
                  </a:lnTo>
                  <a:lnTo>
                    <a:pt x="1542310" y="134700"/>
                  </a:lnTo>
                  <a:lnTo>
                    <a:pt x="1483876" y="131482"/>
                  </a:lnTo>
                  <a:lnTo>
                    <a:pt x="1425966" y="128085"/>
                  </a:lnTo>
                  <a:lnTo>
                    <a:pt x="1311877" y="120797"/>
                  </a:lnTo>
                  <a:lnTo>
                    <a:pt x="1200366" y="112935"/>
                  </a:lnTo>
                  <a:lnTo>
                    <a:pt x="1091756" y="104596"/>
                  </a:lnTo>
                  <a:lnTo>
                    <a:pt x="986367" y="95877"/>
                  </a:lnTo>
                  <a:lnTo>
                    <a:pt x="884523" y="86878"/>
                  </a:lnTo>
                  <a:lnTo>
                    <a:pt x="786545" y="77694"/>
                  </a:lnTo>
                  <a:lnTo>
                    <a:pt x="692756" y="68425"/>
                  </a:lnTo>
                  <a:lnTo>
                    <a:pt x="603477" y="59168"/>
                  </a:lnTo>
                  <a:lnTo>
                    <a:pt x="478721" y="45519"/>
                  </a:lnTo>
                  <a:lnTo>
                    <a:pt x="365926" y="32448"/>
                  </a:lnTo>
                  <a:lnTo>
                    <a:pt x="236016" y="16488"/>
                  </a:lnTo>
                  <a:lnTo>
                    <a:pt x="110174" y="0"/>
                  </a:lnTo>
                  <a:close/>
                </a:path>
              </a:pathLst>
            </a:custGeom>
            <a:solidFill>
              <a:srgbClr val="ECECE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15582416" y="4957384"/>
              <a:ext cx="3133090" cy="4381500"/>
            </a:xfrm>
            <a:custGeom>
              <a:avLst/>
              <a:gdLst/>
              <a:ahLst/>
              <a:cxnLst/>
              <a:rect l="l" t="t" r="r" b="b"/>
              <a:pathLst>
                <a:path w="3133090" h="4381500">
                  <a:moveTo>
                    <a:pt x="106028" y="0"/>
                  </a:moveTo>
                  <a:lnTo>
                    <a:pt x="65639" y="3351"/>
                  </a:lnTo>
                  <a:lnTo>
                    <a:pt x="31755" y="22433"/>
                  </a:lnTo>
                  <a:lnTo>
                    <a:pt x="8500" y="53609"/>
                  </a:lnTo>
                  <a:lnTo>
                    <a:pt x="0" y="93243"/>
                  </a:lnTo>
                  <a:lnTo>
                    <a:pt x="24627" y="4279607"/>
                  </a:lnTo>
                  <a:lnTo>
                    <a:pt x="44994" y="4332098"/>
                  </a:lnTo>
                  <a:lnTo>
                    <a:pt x="95148" y="4357605"/>
                  </a:lnTo>
                  <a:lnTo>
                    <a:pt x="167178" y="4364119"/>
                  </a:lnTo>
                  <a:lnTo>
                    <a:pt x="206163" y="4366937"/>
                  </a:lnTo>
                  <a:lnTo>
                    <a:pt x="247022" y="4369473"/>
                  </a:lnTo>
                  <a:lnTo>
                    <a:pt x="289675" y="4371734"/>
                  </a:lnTo>
                  <a:lnTo>
                    <a:pt x="334044" y="4373728"/>
                  </a:lnTo>
                  <a:lnTo>
                    <a:pt x="380049" y="4375463"/>
                  </a:lnTo>
                  <a:lnTo>
                    <a:pt x="427611" y="4376946"/>
                  </a:lnTo>
                  <a:lnTo>
                    <a:pt x="476651" y="4378185"/>
                  </a:lnTo>
                  <a:lnTo>
                    <a:pt x="527089" y="4379187"/>
                  </a:lnTo>
                  <a:lnTo>
                    <a:pt x="578847" y="4379960"/>
                  </a:lnTo>
                  <a:lnTo>
                    <a:pt x="631844" y="4380511"/>
                  </a:lnTo>
                  <a:lnTo>
                    <a:pt x="686002" y="4380849"/>
                  </a:lnTo>
                  <a:lnTo>
                    <a:pt x="797483" y="4380912"/>
                  </a:lnTo>
                  <a:lnTo>
                    <a:pt x="912655" y="4380211"/>
                  </a:lnTo>
                  <a:lnTo>
                    <a:pt x="1030884" y="4378806"/>
                  </a:lnTo>
                  <a:lnTo>
                    <a:pt x="1151536" y="4376758"/>
                  </a:lnTo>
                  <a:lnTo>
                    <a:pt x="1273978" y="4374127"/>
                  </a:lnTo>
                  <a:lnTo>
                    <a:pt x="1397574" y="4370975"/>
                  </a:lnTo>
                  <a:lnTo>
                    <a:pt x="1583746" y="4365400"/>
                  </a:lnTo>
                  <a:lnTo>
                    <a:pt x="1768950" y="4358993"/>
                  </a:lnTo>
                  <a:lnTo>
                    <a:pt x="1951045" y="4351959"/>
                  </a:lnTo>
                  <a:lnTo>
                    <a:pt x="2185303" y="4341958"/>
                  </a:lnTo>
                  <a:lnTo>
                    <a:pt x="2457274" y="4329140"/>
                  </a:lnTo>
                  <a:lnTo>
                    <a:pt x="2739978" y="4314545"/>
                  </a:lnTo>
                  <a:lnTo>
                    <a:pt x="3039059" y="4297680"/>
                  </a:lnTo>
                  <a:lnTo>
                    <a:pt x="3077116" y="4287654"/>
                  </a:lnTo>
                  <a:lnTo>
                    <a:pt x="3126819" y="4232011"/>
                  </a:lnTo>
                  <a:lnTo>
                    <a:pt x="3132511" y="4193066"/>
                  </a:lnTo>
                  <a:lnTo>
                    <a:pt x="2920685" y="207396"/>
                  </a:lnTo>
                  <a:lnTo>
                    <a:pt x="2891345" y="147043"/>
                  </a:lnTo>
                  <a:lnTo>
                    <a:pt x="2827599" y="125870"/>
                  </a:lnTo>
                  <a:lnTo>
                    <a:pt x="2768344" y="130159"/>
                  </a:lnTo>
                  <a:lnTo>
                    <a:pt x="2708673" y="133970"/>
                  </a:lnTo>
                  <a:lnTo>
                    <a:pt x="2648631" y="137317"/>
                  </a:lnTo>
                  <a:lnTo>
                    <a:pt x="2588261" y="140213"/>
                  </a:lnTo>
                  <a:lnTo>
                    <a:pt x="2527606" y="142672"/>
                  </a:lnTo>
                  <a:lnTo>
                    <a:pt x="2466708" y="144705"/>
                  </a:lnTo>
                  <a:lnTo>
                    <a:pt x="2405612" y="146327"/>
                  </a:lnTo>
                  <a:lnTo>
                    <a:pt x="2344360" y="147551"/>
                  </a:lnTo>
                  <a:lnTo>
                    <a:pt x="2282996" y="148389"/>
                  </a:lnTo>
                  <a:lnTo>
                    <a:pt x="2221562" y="148854"/>
                  </a:lnTo>
                  <a:lnTo>
                    <a:pt x="2160103" y="148961"/>
                  </a:lnTo>
                  <a:lnTo>
                    <a:pt x="2098661" y="148722"/>
                  </a:lnTo>
                  <a:lnTo>
                    <a:pt x="2037279" y="148149"/>
                  </a:lnTo>
                  <a:lnTo>
                    <a:pt x="1976002" y="147257"/>
                  </a:lnTo>
                  <a:lnTo>
                    <a:pt x="1914871" y="146059"/>
                  </a:lnTo>
                  <a:lnTo>
                    <a:pt x="1853930" y="144566"/>
                  </a:lnTo>
                  <a:lnTo>
                    <a:pt x="1793223" y="142794"/>
                  </a:lnTo>
                  <a:lnTo>
                    <a:pt x="1732792" y="140754"/>
                  </a:lnTo>
                  <a:lnTo>
                    <a:pt x="1672681" y="138460"/>
                  </a:lnTo>
                  <a:lnTo>
                    <a:pt x="1612933" y="135925"/>
                  </a:lnTo>
                  <a:lnTo>
                    <a:pt x="1553592" y="133161"/>
                  </a:lnTo>
                  <a:lnTo>
                    <a:pt x="1494699" y="130184"/>
                  </a:lnTo>
                  <a:lnTo>
                    <a:pt x="1436300" y="127004"/>
                  </a:lnTo>
                  <a:lnTo>
                    <a:pt x="1378436" y="123636"/>
                  </a:lnTo>
                  <a:lnTo>
                    <a:pt x="1321151" y="120092"/>
                  </a:lnTo>
                  <a:lnTo>
                    <a:pt x="1208491" y="112531"/>
                  </a:lnTo>
                  <a:lnTo>
                    <a:pt x="1098667" y="104426"/>
                  </a:lnTo>
                  <a:lnTo>
                    <a:pt x="992023" y="95882"/>
                  </a:lnTo>
                  <a:lnTo>
                    <a:pt x="888905" y="87003"/>
                  </a:lnTo>
                  <a:lnTo>
                    <a:pt x="789659" y="77895"/>
                  </a:lnTo>
                  <a:lnTo>
                    <a:pt x="694630" y="68662"/>
                  </a:lnTo>
                  <a:lnTo>
                    <a:pt x="604165" y="59410"/>
                  </a:lnTo>
                  <a:lnTo>
                    <a:pt x="477780" y="45726"/>
                  </a:lnTo>
                  <a:lnTo>
                    <a:pt x="363607" y="32588"/>
                  </a:lnTo>
                  <a:lnTo>
                    <a:pt x="232389" y="16534"/>
                  </a:lnTo>
                  <a:lnTo>
                    <a:pt x="10602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15928392" y="5297518"/>
              <a:ext cx="2471420" cy="1394460"/>
            </a:xfrm>
            <a:custGeom>
              <a:avLst/>
              <a:gdLst/>
              <a:ahLst/>
              <a:cxnLst/>
              <a:rect l="l" t="t" r="r" b="b"/>
              <a:pathLst>
                <a:path w="2471419" h="1394459">
                  <a:moveTo>
                    <a:pt x="1085710" y="572287"/>
                  </a:moveTo>
                  <a:lnTo>
                    <a:pt x="1085570" y="512254"/>
                  </a:lnTo>
                  <a:lnTo>
                    <a:pt x="1084935" y="451802"/>
                  </a:lnTo>
                  <a:lnTo>
                    <a:pt x="1083729" y="391807"/>
                  </a:lnTo>
                  <a:lnTo>
                    <a:pt x="1081874" y="333095"/>
                  </a:lnTo>
                  <a:lnTo>
                    <a:pt x="1079296" y="276504"/>
                  </a:lnTo>
                  <a:lnTo>
                    <a:pt x="1075905" y="222897"/>
                  </a:lnTo>
                  <a:lnTo>
                    <a:pt x="1071626" y="173113"/>
                  </a:lnTo>
                  <a:lnTo>
                    <a:pt x="1066380" y="128003"/>
                  </a:lnTo>
                  <a:lnTo>
                    <a:pt x="1060081" y="88404"/>
                  </a:lnTo>
                  <a:lnTo>
                    <a:pt x="1037386" y="49161"/>
                  </a:lnTo>
                  <a:lnTo>
                    <a:pt x="995095" y="32715"/>
                  </a:lnTo>
                  <a:lnTo>
                    <a:pt x="59715" y="0"/>
                  </a:lnTo>
                  <a:lnTo>
                    <a:pt x="35941" y="4203"/>
                  </a:lnTo>
                  <a:lnTo>
                    <a:pt x="16624" y="17119"/>
                  </a:lnTo>
                  <a:lnTo>
                    <a:pt x="3924" y="36576"/>
                  </a:lnTo>
                  <a:lnTo>
                    <a:pt x="0" y="60401"/>
                  </a:lnTo>
                  <a:lnTo>
                    <a:pt x="39700" y="914895"/>
                  </a:lnTo>
                  <a:lnTo>
                    <a:pt x="55880" y="951153"/>
                  </a:lnTo>
                  <a:lnTo>
                    <a:pt x="92417" y="966711"/>
                  </a:lnTo>
                  <a:lnTo>
                    <a:pt x="241503" y="970432"/>
                  </a:lnTo>
                  <a:lnTo>
                    <a:pt x="341934" y="972426"/>
                  </a:lnTo>
                  <a:lnTo>
                    <a:pt x="453605" y="974153"/>
                  </a:lnTo>
                  <a:lnTo>
                    <a:pt x="571995" y="975309"/>
                  </a:lnTo>
                  <a:lnTo>
                    <a:pt x="632294" y="975588"/>
                  </a:lnTo>
                  <a:lnTo>
                    <a:pt x="692569" y="975614"/>
                  </a:lnTo>
                  <a:lnTo>
                    <a:pt x="752271" y="975372"/>
                  </a:lnTo>
                  <a:lnTo>
                    <a:pt x="810818" y="974801"/>
                  </a:lnTo>
                  <a:lnTo>
                    <a:pt x="867651" y="973886"/>
                  </a:lnTo>
                  <a:lnTo>
                    <a:pt x="922210" y="972578"/>
                  </a:lnTo>
                  <a:lnTo>
                    <a:pt x="973912" y="970864"/>
                  </a:lnTo>
                  <a:lnTo>
                    <a:pt x="1022210" y="968679"/>
                  </a:lnTo>
                  <a:lnTo>
                    <a:pt x="1062367" y="950569"/>
                  </a:lnTo>
                  <a:lnTo>
                    <a:pt x="1079677" y="910043"/>
                  </a:lnTo>
                  <a:lnTo>
                    <a:pt x="1081862" y="836726"/>
                  </a:lnTo>
                  <a:lnTo>
                    <a:pt x="1083995" y="741476"/>
                  </a:lnTo>
                  <a:lnTo>
                    <a:pt x="1084846" y="687743"/>
                  </a:lnTo>
                  <a:lnTo>
                    <a:pt x="1085443" y="631063"/>
                  </a:lnTo>
                  <a:lnTo>
                    <a:pt x="1085710" y="572287"/>
                  </a:lnTo>
                  <a:close/>
                </a:path>
                <a:path w="2471419" h="1394459">
                  <a:moveTo>
                    <a:pt x="2372652" y="427024"/>
                  </a:moveTo>
                  <a:lnTo>
                    <a:pt x="2338501" y="397776"/>
                  </a:lnTo>
                  <a:lnTo>
                    <a:pt x="1312799" y="379488"/>
                  </a:lnTo>
                  <a:lnTo>
                    <a:pt x="1300734" y="381736"/>
                  </a:lnTo>
                  <a:lnTo>
                    <a:pt x="1292517" y="388302"/>
                  </a:lnTo>
                  <a:lnTo>
                    <a:pt x="1288872" y="398170"/>
                  </a:lnTo>
                  <a:lnTo>
                    <a:pt x="1290548" y="410324"/>
                  </a:lnTo>
                  <a:lnTo>
                    <a:pt x="1313053" y="446468"/>
                  </a:lnTo>
                  <a:lnTo>
                    <a:pt x="1339850" y="455701"/>
                  </a:lnTo>
                  <a:lnTo>
                    <a:pt x="2340178" y="455701"/>
                  </a:lnTo>
                  <a:lnTo>
                    <a:pt x="2353043" y="453440"/>
                  </a:lnTo>
                  <a:lnTo>
                    <a:pt x="2363457" y="447281"/>
                  </a:lnTo>
                  <a:lnTo>
                    <a:pt x="2370353" y="438162"/>
                  </a:lnTo>
                  <a:lnTo>
                    <a:pt x="2372652" y="427024"/>
                  </a:lnTo>
                  <a:close/>
                </a:path>
                <a:path w="2471419" h="1394459">
                  <a:moveTo>
                    <a:pt x="2372652" y="265417"/>
                  </a:moveTo>
                  <a:lnTo>
                    <a:pt x="2338501" y="236156"/>
                  </a:lnTo>
                  <a:lnTo>
                    <a:pt x="1312799" y="217881"/>
                  </a:lnTo>
                  <a:lnTo>
                    <a:pt x="1300734" y="220129"/>
                  </a:lnTo>
                  <a:lnTo>
                    <a:pt x="1292517" y="226695"/>
                  </a:lnTo>
                  <a:lnTo>
                    <a:pt x="1288872" y="236562"/>
                  </a:lnTo>
                  <a:lnTo>
                    <a:pt x="1290548" y="248716"/>
                  </a:lnTo>
                  <a:lnTo>
                    <a:pt x="1313053" y="284848"/>
                  </a:lnTo>
                  <a:lnTo>
                    <a:pt x="1339850" y="294081"/>
                  </a:lnTo>
                  <a:lnTo>
                    <a:pt x="2340178" y="294081"/>
                  </a:lnTo>
                  <a:lnTo>
                    <a:pt x="2353043" y="291820"/>
                  </a:lnTo>
                  <a:lnTo>
                    <a:pt x="2363457" y="285661"/>
                  </a:lnTo>
                  <a:lnTo>
                    <a:pt x="2370353" y="276555"/>
                  </a:lnTo>
                  <a:lnTo>
                    <a:pt x="2372652" y="265417"/>
                  </a:lnTo>
                  <a:close/>
                </a:path>
                <a:path w="2471419" h="1394459">
                  <a:moveTo>
                    <a:pt x="2372652" y="106121"/>
                  </a:moveTo>
                  <a:lnTo>
                    <a:pt x="2338514" y="76860"/>
                  </a:lnTo>
                  <a:lnTo>
                    <a:pt x="1312786" y="58572"/>
                  </a:lnTo>
                  <a:lnTo>
                    <a:pt x="1300734" y="60833"/>
                  </a:lnTo>
                  <a:lnTo>
                    <a:pt x="1292517" y="67386"/>
                  </a:lnTo>
                  <a:lnTo>
                    <a:pt x="1288872" y="77254"/>
                  </a:lnTo>
                  <a:lnTo>
                    <a:pt x="1290535" y="89420"/>
                  </a:lnTo>
                  <a:lnTo>
                    <a:pt x="1313065" y="125552"/>
                  </a:lnTo>
                  <a:lnTo>
                    <a:pt x="1339850" y="134785"/>
                  </a:lnTo>
                  <a:lnTo>
                    <a:pt x="2340178" y="134785"/>
                  </a:lnTo>
                  <a:lnTo>
                    <a:pt x="2353043" y="132524"/>
                  </a:lnTo>
                  <a:lnTo>
                    <a:pt x="2363457" y="126365"/>
                  </a:lnTo>
                  <a:lnTo>
                    <a:pt x="2370353" y="117246"/>
                  </a:lnTo>
                  <a:lnTo>
                    <a:pt x="2372652" y="106121"/>
                  </a:lnTo>
                  <a:close/>
                </a:path>
                <a:path w="2471419" h="1394459">
                  <a:moveTo>
                    <a:pt x="2471229" y="1365707"/>
                  </a:moveTo>
                  <a:lnTo>
                    <a:pt x="2436025" y="1336776"/>
                  </a:lnTo>
                  <a:lnTo>
                    <a:pt x="33045" y="1317828"/>
                  </a:lnTo>
                  <a:lnTo>
                    <a:pt x="21755" y="1319784"/>
                  </a:lnTo>
                  <a:lnTo>
                    <a:pt x="15608" y="1325308"/>
                  </a:lnTo>
                  <a:lnTo>
                    <a:pt x="15049" y="1333538"/>
                  </a:lnTo>
                  <a:lnTo>
                    <a:pt x="20485" y="1343647"/>
                  </a:lnTo>
                  <a:lnTo>
                    <a:pt x="50812" y="1378419"/>
                  </a:lnTo>
                  <a:lnTo>
                    <a:pt x="94195" y="1394358"/>
                  </a:lnTo>
                  <a:lnTo>
                    <a:pt x="2439797" y="1394358"/>
                  </a:lnTo>
                  <a:lnTo>
                    <a:pt x="2452586" y="1392097"/>
                  </a:lnTo>
                  <a:lnTo>
                    <a:pt x="2462784" y="1385938"/>
                  </a:lnTo>
                  <a:lnTo>
                    <a:pt x="2469337" y="1376832"/>
                  </a:lnTo>
                  <a:lnTo>
                    <a:pt x="2471229" y="1365707"/>
                  </a:lnTo>
                  <a:close/>
                </a:path>
                <a:path w="2471419" h="1394459">
                  <a:moveTo>
                    <a:pt x="2471229" y="1206398"/>
                  </a:moveTo>
                  <a:lnTo>
                    <a:pt x="2436025" y="1177480"/>
                  </a:lnTo>
                  <a:lnTo>
                    <a:pt x="33045" y="1158532"/>
                  </a:lnTo>
                  <a:lnTo>
                    <a:pt x="21755" y="1160487"/>
                  </a:lnTo>
                  <a:lnTo>
                    <a:pt x="15608" y="1166012"/>
                  </a:lnTo>
                  <a:lnTo>
                    <a:pt x="15049" y="1174242"/>
                  </a:lnTo>
                  <a:lnTo>
                    <a:pt x="20485" y="1184338"/>
                  </a:lnTo>
                  <a:lnTo>
                    <a:pt x="50800" y="1219123"/>
                  </a:lnTo>
                  <a:lnTo>
                    <a:pt x="94195" y="1235075"/>
                  </a:lnTo>
                  <a:lnTo>
                    <a:pt x="2439797" y="1235075"/>
                  </a:lnTo>
                  <a:lnTo>
                    <a:pt x="2452586" y="1232801"/>
                  </a:lnTo>
                  <a:lnTo>
                    <a:pt x="2462784" y="1226642"/>
                  </a:lnTo>
                  <a:lnTo>
                    <a:pt x="2469337" y="1217536"/>
                  </a:lnTo>
                  <a:lnTo>
                    <a:pt x="2471229" y="1206398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15915323" y="6874003"/>
              <a:ext cx="339725" cy="306705"/>
            </a:xfrm>
            <a:custGeom>
              <a:avLst/>
              <a:gdLst/>
              <a:ahLst/>
              <a:cxnLst/>
              <a:rect l="l" t="t" r="r" b="b"/>
              <a:pathLst>
                <a:path w="339725" h="306704">
                  <a:moveTo>
                    <a:pt x="260808" y="0"/>
                  </a:moveTo>
                  <a:lnTo>
                    <a:pt x="208568" y="868"/>
                  </a:lnTo>
                  <a:lnTo>
                    <a:pt x="147375" y="2303"/>
                  </a:lnTo>
                  <a:lnTo>
                    <a:pt x="86515" y="4414"/>
                  </a:lnTo>
                  <a:lnTo>
                    <a:pt x="35276" y="7308"/>
                  </a:lnTo>
                  <a:lnTo>
                    <a:pt x="1657" y="33929"/>
                  </a:lnTo>
                  <a:lnTo>
                    <a:pt x="0" y="49275"/>
                  </a:lnTo>
                  <a:lnTo>
                    <a:pt x="19318" y="256034"/>
                  </a:lnTo>
                  <a:lnTo>
                    <a:pt x="52126" y="300087"/>
                  </a:lnTo>
                  <a:lnTo>
                    <a:pt x="291080" y="306273"/>
                  </a:lnTo>
                  <a:lnTo>
                    <a:pt x="309632" y="302751"/>
                  </a:lnTo>
                  <a:lnTo>
                    <a:pt x="324886" y="292758"/>
                  </a:lnTo>
                  <a:lnTo>
                    <a:pt x="335329" y="277789"/>
                  </a:lnTo>
                  <a:lnTo>
                    <a:pt x="339445" y="259342"/>
                  </a:lnTo>
                  <a:lnTo>
                    <a:pt x="337944" y="194984"/>
                  </a:lnTo>
                  <a:lnTo>
                    <a:pt x="331831" y="135302"/>
                  </a:lnTo>
                  <a:lnTo>
                    <a:pt x="323187" y="83123"/>
                  </a:lnTo>
                  <a:lnTo>
                    <a:pt x="314095" y="41276"/>
                  </a:lnTo>
                  <a:lnTo>
                    <a:pt x="278948" y="2849"/>
                  </a:lnTo>
                  <a:lnTo>
                    <a:pt x="260808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16328696" y="6966213"/>
              <a:ext cx="610870" cy="100330"/>
            </a:xfrm>
            <a:custGeom>
              <a:avLst/>
              <a:gdLst/>
              <a:ahLst/>
              <a:cxnLst/>
              <a:rect l="l" t="t" r="r" b="b"/>
              <a:pathLst>
                <a:path w="610869" h="100329">
                  <a:moveTo>
                    <a:pt x="28344" y="0"/>
                  </a:moveTo>
                  <a:lnTo>
                    <a:pt x="15806" y="2059"/>
                  </a:lnTo>
                  <a:lnTo>
                    <a:pt x="6283" y="8696"/>
                  </a:lnTo>
                  <a:lnTo>
                    <a:pt x="704" y="18874"/>
                  </a:lnTo>
                  <a:lnTo>
                    <a:pt x="0" y="31559"/>
                  </a:lnTo>
                  <a:lnTo>
                    <a:pt x="5319" y="67003"/>
                  </a:lnTo>
                  <a:lnTo>
                    <a:pt x="9870" y="79798"/>
                  </a:lnTo>
                  <a:lnTo>
                    <a:pt x="18604" y="90276"/>
                  </a:lnTo>
                  <a:lnTo>
                    <a:pt x="30262" y="97355"/>
                  </a:lnTo>
                  <a:lnTo>
                    <a:pt x="43590" y="99955"/>
                  </a:lnTo>
                  <a:lnTo>
                    <a:pt x="577375" y="99955"/>
                  </a:lnTo>
                  <a:lnTo>
                    <a:pt x="590280" y="97325"/>
                  </a:lnTo>
                  <a:lnTo>
                    <a:pt x="600787" y="90167"/>
                  </a:lnTo>
                  <a:lnTo>
                    <a:pt x="607816" y="79573"/>
                  </a:lnTo>
                  <a:lnTo>
                    <a:pt x="610285" y="66636"/>
                  </a:lnTo>
                  <a:lnTo>
                    <a:pt x="610169" y="57621"/>
                  </a:lnTo>
                  <a:lnTo>
                    <a:pt x="576464" y="22910"/>
                  </a:lnTo>
                  <a:lnTo>
                    <a:pt x="28344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17112676" y="6874003"/>
              <a:ext cx="339725" cy="306705"/>
            </a:xfrm>
            <a:custGeom>
              <a:avLst/>
              <a:gdLst/>
              <a:ahLst/>
              <a:cxnLst/>
              <a:rect l="l" t="t" r="r" b="b"/>
              <a:pathLst>
                <a:path w="339725" h="306704">
                  <a:moveTo>
                    <a:pt x="260808" y="0"/>
                  </a:moveTo>
                  <a:lnTo>
                    <a:pt x="208568" y="868"/>
                  </a:lnTo>
                  <a:lnTo>
                    <a:pt x="147375" y="2303"/>
                  </a:lnTo>
                  <a:lnTo>
                    <a:pt x="86515" y="4414"/>
                  </a:lnTo>
                  <a:lnTo>
                    <a:pt x="35276" y="7308"/>
                  </a:lnTo>
                  <a:lnTo>
                    <a:pt x="1655" y="33929"/>
                  </a:lnTo>
                  <a:lnTo>
                    <a:pt x="0" y="49275"/>
                  </a:lnTo>
                  <a:lnTo>
                    <a:pt x="19318" y="256034"/>
                  </a:lnTo>
                  <a:lnTo>
                    <a:pt x="52126" y="300087"/>
                  </a:lnTo>
                  <a:lnTo>
                    <a:pt x="291080" y="306273"/>
                  </a:lnTo>
                  <a:lnTo>
                    <a:pt x="309632" y="302751"/>
                  </a:lnTo>
                  <a:lnTo>
                    <a:pt x="324886" y="292758"/>
                  </a:lnTo>
                  <a:lnTo>
                    <a:pt x="335329" y="277789"/>
                  </a:lnTo>
                  <a:lnTo>
                    <a:pt x="339445" y="259342"/>
                  </a:lnTo>
                  <a:lnTo>
                    <a:pt x="337944" y="194984"/>
                  </a:lnTo>
                  <a:lnTo>
                    <a:pt x="331831" y="135302"/>
                  </a:lnTo>
                  <a:lnTo>
                    <a:pt x="323187" y="83123"/>
                  </a:lnTo>
                  <a:lnTo>
                    <a:pt x="314095" y="41276"/>
                  </a:lnTo>
                  <a:lnTo>
                    <a:pt x="278948" y="2849"/>
                  </a:lnTo>
                  <a:lnTo>
                    <a:pt x="260808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15983852" y="6966222"/>
              <a:ext cx="2152650" cy="735965"/>
            </a:xfrm>
            <a:custGeom>
              <a:avLst/>
              <a:gdLst/>
              <a:ahLst/>
              <a:cxnLst/>
              <a:rect l="l" t="t" r="r" b="b"/>
              <a:pathLst>
                <a:path w="2152650" h="735965">
                  <a:moveTo>
                    <a:pt x="329907" y="632040"/>
                  </a:moveTo>
                  <a:lnTo>
                    <a:pt x="329692" y="579970"/>
                  </a:lnTo>
                  <a:lnTo>
                    <a:pt x="327088" y="532815"/>
                  </a:lnTo>
                  <a:lnTo>
                    <a:pt x="314350" y="483196"/>
                  </a:lnTo>
                  <a:lnTo>
                    <a:pt x="314350" y="631520"/>
                  </a:lnTo>
                  <a:lnTo>
                    <a:pt x="313283" y="685495"/>
                  </a:lnTo>
                  <a:lnTo>
                    <a:pt x="290766" y="717423"/>
                  </a:lnTo>
                  <a:lnTo>
                    <a:pt x="276847" y="719861"/>
                  </a:lnTo>
                  <a:lnTo>
                    <a:pt x="276440" y="719861"/>
                  </a:lnTo>
                  <a:lnTo>
                    <a:pt x="73634" y="717905"/>
                  </a:lnTo>
                  <a:lnTo>
                    <a:pt x="37477" y="698233"/>
                  </a:lnTo>
                  <a:lnTo>
                    <a:pt x="14897" y="509574"/>
                  </a:lnTo>
                  <a:lnTo>
                    <a:pt x="16738" y="503847"/>
                  </a:lnTo>
                  <a:lnTo>
                    <a:pt x="192290" y="477100"/>
                  </a:lnTo>
                  <a:lnTo>
                    <a:pt x="231952" y="474522"/>
                  </a:lnTo>
                  <a:lnTo>
                    <a:pt x="264553" y="473303"/>
                  </a:lnTo>
                  <a:lnTo>
                    <a:pt x="278777" y="475399"/>
                  </a:lnTo>
                  <a:lnTo>
                    <a:pt x="311734" y="535495"/>
                  </a:lnTo>
                  <a:lnTo>
                    <a:pt x="314083" y="578446"/>
                  </a:lnTo>
                  <a:lnTo>
                    <a:pt x="314172" y="579970"/>
                  </a:lnTo>
                  <a:lnTo>
                    <a:pt x="314350" y="631520"/>
                  </a:lnTo>
                  <a:lnTo>
                    <a:pt x="314350" y="483196"/>
                  </a:lnTo>
                  <a:lnTo>
                    <a:pt x="264363" y="457733"/>
                  </a:lnTo>
                  <a:lnTo>
                    <a:pt x="231381" y="458952"/>
                  </a:lnTo>
                  <a:lnTo>
                    <a:pt x="191414" y="461556"/>
                  </a:lnTo>
                  <a:lnTo>
                    <a:pt x="39776" y="473837"/>
                  </a:lnTo>
                  <a:lnTo>
                    <a:pt x="30391" y="475399"/>
                  </a:lnTo>
                  <a:lnTo>
                    <a:pt x="30632" y="475399"/>
                  </a:lnTo>
                  <a:lnTo>
                    <a:pt x="22479" y="478472"/>
                  </a:lnTo>
                  <a:lnTo>
                    <a:pt x="0" y="509574"/>
                  </a:lnTo>
                  <a:lnTo>
                    <a:pt x="25" y="516953"/>
                  </a:lnTo>
                  <a:lnTo>
                    <a:pt x="17843" y="687108"/>
                  </a:lnTo>
                  <a:lnTo>
                    <a:pt x="23622" y="705345"/>
                  </a:lnTo>
                  <a:lnTo>
                    <a:pt x="35712" y="719861"/>
                  </a:lnTo>
                  <a:lnTo>
                    <a:pt x="35826" y="720001"/>
                  </a:lnTo>
                  <a:lnTo>
                    <a:pt x="52959" y="729792"/>
                  </a:lnTo>
                  <a:lnTo>
                    <a:pt x="73482" y="733475"/>
                  </a:lnTo>
                  <a:lnTo>
                    <a:pt x="276834" y="735431"/>
                  </a:lnTo>
                  <a:lnTo>
                    <a:pt x="296697" y="731799"/>
                  </a:lnTo>
                  <a:lnTo>
                    <a:pt x="313080" y="721918"/>
                  </a:lnTo>
                  <a:lnTo>
                    <a:pt x="314553" y="720001"/>
                  </a:lnTo>
                  <a:lnTo>
                    <a:pt x="314655" y="719861"/>
                  </a:lnTo>
                  <a:lnTo>
                    <a:pt x="324332" y="707237"/>
                  </a:lnTo>
                  <a:lnTo>
                    <a:pt x="328777" y="689216"/>
                  </a:lnTo>
                  <a:lnTo>
                    <a:pt x="329907" y="632040"/>
                  </a:lnTo>
                  <a:close/>
                </a:path>
                <a:path w="2152650" h="735965">
                  <a:moveTo>
                    <a:pt x="2152472" y="66636"/>
                  </a:moveTo>
                  <a:lnTo>
                    <a:pt x="2131618" y="26073"/>
                  </a:lnTo>
                  <a:lnTo>
                    <a:pt x="1570532" y="0"/>
                  </a:lnTo>
                  <a:lnTo>
                    <a:pt x="1557997" y="2057"/>
                  </a:lnTo>
                  <a:lnTo>
                    <a:pt x="1548472" y="8699"/>
                  </a:lnTo>
                  <a:lnTo>
                    <a:pt x="1542897" y="18872"/>
                  </a:lnTo>
                  <a:lnTo>
                    <a:pt x="1542186" y="31559"/>
                  </a:lnTo>
                  <a:lnTo>
                    <a:pt x="1547507" y="67005"/>
                  </a:lnTo>
                  <a:lnTo>
                    <a:pt x="1552067" y="79794"/>
                  </a:lnTo>
                  <a:lnTo>
                    <a:pt x="1560791" y="90271"/>
                  </a:lnTo>
                  <a:lnTo>
                    <a:pt x="1572450" y="97358"/>
                  </a:lnTo>
                  <a:lnTo>
                    <a:pt x="1585785" y="99949"/>
                  </a:lnTo>
                  <a:lnTo>
                    <a:pt x="2119566" y="99949"/>
                  </a:lnTo>
                  <a:lnTo>
                    <a:pt x="2132469" y="97320"/>
                  </a:lnTo>
                  <a:lnTo>
                    <a:pt x="2142985" y="90170"/>
                  </a:lnTo>
                  <a:lnTo>
                    <a:pt x="2150008" y="79565"/>
                  </a:lnTo>
                  <a:lnTo>
                    <a:pt x="2152472" y="66636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2" name="object 2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6020502" y="7460289"/>
              <a:ext cx="251213" cy="209480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16438255" y="7525454"/>
              <a:ext cx="1964055" cy="100965"/>
            </a:xfrm>
            <a:custGeom>
              <a:avLst/>
              <a:gdLst/>
              <a:ahLst/>
              <a:cxnLst/>
              <a:rect l="l" t="t" r="r" b="b"/>
              <a:pathLst>
                <a:path w="1964055" h="100965">
                  <a:moveTo>
                    <a:pt x="49498" y="0"/>
                  </a:moveTo>
                  <a:lnTo>
                    <a:pt x="26694" y="5309"/>
                  </a:lnTo>
                  <a:lnTo>
                    <a:pt x="9449" y="19534"/>
                  </a:lnTo>
                  <a:lnTo>
                    <a:pt x="0" y="39793"/>
                  </a:lnTo>
                  <a:lnTo>
                    <a:pt x="578" y="63202"/>
                  </a:lnTo>
                  <a:lnTo>
                    <a:pt x="7493" y="78482"/>
                  </a:lnTo>
                  <a:lnTo>
                    <a:pt x="18706" y="90379"/>
                  </a:lnTo>
                  <a:lnTo>
                    <a:pt x="33134" y="98067"/>
                  </a:lnTo>
                  <a:lnTo>
                    <a:pt x="49697" y="100719"/>
                  </a:lnTo>
                  <a:lnTo>
                    <a:pt x="1926163" y="84719"/>
                  </a:lnTo>
                  <a:lnTo>
                    <a:pt x="1941080" y="81545"/>
                  </a:lnTo>
                  <a:lnTo>
                    <a:pt x="1953169" y="73153"/>
                  </a:lnTo>
                  <a:lnTo>
                    <a:pt x="1961192" y="60817"/>
                  </a:lnTo>
                  <a:lnTo>
                    <a:pt x="1963911" y="45810"/>
                  </a:lnTo>
                  <a:lnTo>
                    <a:pt x="1960696" y="31297"/>
                  </a:lnTo>
                  <a:lnTo>
                    <a:pt x="1952526" y="19483"/>
                  </a:lnTo>
                  <a:lnTo>
                    <a:pt x="1940575" y="11522"/>
                  </a:lnTo>
                  <a:lnTo>
                    <a:pt x="1926017" y="8565"/>
                  </a:lnTo>
                  <a:lnTo>
                    <a:pt x="49498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16039143" y="7355291"/>
              <a:ext cx="237490" cy="314960"/>
            </a:xfrm>
            <a:custGeom>
              <a:avLst/>
              <a:gdLst/>
              <a:ahLst/>
              <a:cxnLst/>
              <a:rect l="l" t="t" r="r" b="b"/>
              <a:pathLst>
                <a:path w="237490" h="314959">
                  <a:moveTo>
                    <a:pt x="228529" y="0"/>
                  </a:moveTo>
                  <a:lnTo>
                    <a:pt x="221438" y="670"/>
                  </a:lnTo>
                  <a:lnTo>
                    <a:pt x="216018" y="6273"/>
                  </a:lnTo>
                  <a:lnTo>
                    <a:pt x="113435" y="234653"/>
                  </a:lnTo>
                  <a:lnTo>
                    <a:pt x="102954" y="235104"/>
                  </a:lnTo>
                  <a:lnTo>
                    <a:pt x="58955" y="156226"/>
                  </a:lnTo>
                  <a:lnTo>
                    <a:pt x="16014" y="144541"/>
                  </a:lnTo>
                  <a:lnTo>
                    <a:pt x="0" y="174486"/>
                  </a:lnTo>
                  <a:lnTo>
                    <a:pt x="2894" y="186226"/>
                  </a:lnTo>
                  <a:lnTo>
                    <a:pt x="31524" y="247406"/>
                  </a:lnTo>
                  <a:lnTo>
                    <a:pt x="52255" y="281166"/>
                  </a:lnTo>
                  <a:lnTo>
                    <a:pt x="75155" y="299536"/>
                  </a:lnTo>
                  <a:lnTo>
                    <a:pt x="110294" y="314546"/>
                  </a:lnTo>
                  <a:lnTo>
                    <a:pt x="151265" y="267434"/>
                  </a:lnTo>
                  <a:lnTo>
                    <a:pt x="182491" y="219188"/>
                  </a:lnTo>
                  <a:lnTo>
                    <a:pt x="205249" y="171241"/>
                  </a:lnTo>
                  <a:lnTo>
                    <a:pt x="220819" y="125023"/>
                  </a:lnTo>
                  <a:lnTo>
                    <a:pt x="230480" y="81966"/>
                  </a:lnTo>
                  <a:lnTo>
                    <a:pt x="235511" y="43500"/>
                  </a:lnTo>
                  <a:lnTo>
                    <a:pt x="237191" y="11058"/>
                  </a:lnTo>
                  <a:lnTo>
                    <a:pt x="234657" y="3662"/>
                  </a:lnTo>
                  <a:lnTo>
                    <a:pt x="228529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15983863" y="7858611"/>
              <a:ext cx="330200" cy="278130"/>
            </a:xfrm>
            <a:custGeom>
              <a:avLst/>
              <a:gdLst/>
              <a:ahLst/>
              <a:cxnLst/>
              <a:rect l="l" t="t" r="r" b="b"/>
              <a:pathLst>
                <a:path w="330200" h="278129">
                  <a:moveTo>
                    <a:pt x="265239" y="0"/>
                  </a:moveTo>
                  <a:lnTo>
                    <a:pt x="264354" y="0"/>
                  </a:lnTo>
                  <a:lnTo>
                    <a:pt x="231372" y="1230"/>
                  </a:lnTo>
                  <a:lnTo>
                    <a:pt x="191408" y="3821"/>
                  </a:lnTo>
                  <a:lnTo>
                    <a:pt x="39774" y="16104"/>
                  </a:lnTo>
                  <a:lnTo>
                    <a:pt x="4419" y="37706"/>
                  </a:lnTo>
                  <a:lnTo>
                    <a:pt x="0" y="51851"/>
                  </a:lnTo>
                  <a:lnTo>
                    <a:pt x="16" y="59223"/>
                  </a:lnTo>
                  <a:lnTo>
                    <a:pt x="17837" y="229385"/>
                  </a:lnTo>
                  <a:lnTo>
                    <a:pt x="52948" y="272063"/>
                  </a:lnTo>
                  <a:lnTo>
                    <a:pt x="276835" y="277698"/>
                  </a:lnTo>
                  <a:lnTo>
                    <a:pt x="296688" y="274077"/>
                  </a:lnTo>
                  <a:lnTo>
                    <a:pt x="313075" y="264190"/>
                  </a:lnTo>
                  <a:lnTo>
                    <a:pt x="314549" y="262266"/>
                  </a:lnTo>
                  <a:lnTo>
                    <a:pt x="314655" y="262128"/>
                  </a:lnTo>
                  <a:lnTo>
                    <a:pt x="276437" y="262128"/>
                  </a:lnTo>
                  <a:lnTo>
                    <a:pt x="73626" y="260180"/>
                  </a:lnTo>
                  <a:lnTo>
                    <a:pt x="37468" y="240506"/>
                  </a:lnTo>
                  <a:lnTo>
                    <a:pt x="14895" y="51851"/>
                  </a:lnTo>
                  <a:lnTo>
                    <a:pt x="16738" y="46113"/>
                  </a:lnTo>
                  <a:lnTo>
                    <a:pt x="192285" y="19369"/>
                  </a:lnTo>
                  <a:lnTo>
                    <a:pt x="231949" y="16791"/>
                  </a:lnTo>
                  <a:lnTo>
                    <a:pt x="264552" y="15570"/>
                  </a:lnTo>
                  <a:lnTo>
                    <a:pt x="305354" y="15570"/>
                  </a:lnTo>
                  <a:lnTo>
                    <a:pt x="300780" y="11045"/>
                  </a:lnTo>
                  <a:lnTo>
                    <a:pt x="284278" y="2894"/>
                  </a:lnTo>
                  <a:lnTo>
                    <a:pt x="265239" y="0"/>
                  </a:lnTo>
                  <a:close/>
                </a:path>
                <a:path w="330200" h="278129">
                  <a:moveTo>
                    <a:pt x="305354" y="15570"/>
                  </a:moveTo>
                  <a:lnTo>
                    <a:pt x="264552" y="15570"/>
                  </a:lnTo>
                  <a:lnTo>
                    <a:pt x="279290" y="17599"/>
                  </a:lnTo>
                  <a:lnTo>
                    <a:pt x="278845" y="17599"/>
                  </a:lnTo>
                  <a:lnTo>
                    <a:pt x="311726" y="77767"/>
                  </a:lnTo>
                  <a:lnTo>
                    <a:pt x="314077" y="120713"/>
                  </a:lnTo>
                  <a:lnTo>
                    <a:pt x="314161" y="122239"/>
                  </a:lnTo>
                  <a:lnTo>
                    <a:pt x="314344" y="173787"/>
                  </a:lnTo>
                  <a:lnTo>
                    <a:pt x="313277" y="227762"/>
                  </a:lnTo>
                  <a:lnTo>
                    <a:pt x="290757" y="259696"/>
                  </a:lnTo>
                  <a:lnTo>
                    <a:pt x="276845" y="262128"/>
                  </a:lnTo>
                  <a:lnTo>
                    <a:pt x="314655" y="262128"/>
                  </a:lnTo>
                  <a:lnTo>
                    <a:pt x="324325" y="249506"/>
                  </a:lnTo>
                  <a:lnTo>
                    <a:pt x="328770" y="231490"/>
                  </a:lnTo>
                  <a:lnTo>
                    <a:pt x="329907" y="174310"/>
                  </a:lnTo>
                  <a:lnTo>
                    <a:pt x="329686" y="122239"/>
                  </a:lnTo>
                  <a:lnTo>
                    <a:pt x="329679" y="120713"/>
                  </a:lnTo>
                  <a:lnTo>
                    <a:pt x="327080" y="75084"/>
                  </a:lnTo>
                  <a:lnTo>
                    <a:pt x="321148" y="39716"/>
                  </a:lnTo>
                  <a:lnTo>
                    <a:pt x="313472" y="23600"/>
                  </a:lnTo>
                  <a:lnTo>
                    <a:pt x="305354" y="1557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6" name="object 2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6020502" y="7894959"/>
              <a:ext cx="251213" cy="209480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16438255" y="7960123"/>
              <a:ext cx="1964055" cy="100965"/>
            </a:xfrm>
            <a:custGeom>
              <a:avLst/>
              <a:gdLst/>
              <a:ahLst/>
              <a:cxnLst/>
              <a:rect l="l" t="t" r="r" b="b"/>
              <a:pathLst>
                <a:path w="1964055" h="100965">
                  <a:moveTo>
                    <a:pt x="49498" y="0"/>
                  </a:moveTo>
                  <a:lnTo>
                    <a:pt x="26694" y="5309"/>
                  </a:lnTo>
                  <a:lnTo>
                    <a:pt x="9449" y="19534"/>
                  </a:lnTo>
                  <a:lnTo>
                    <a:pt x="0" y="39793"/>
                  </a:lnTo>
                  <a:lnTo>
                    <a:pt x="578" y="63202"/>
                  </a:lnTo>
                  <a:lnTo>
                    <a:pt x="7493" y="78482"/>
                  </a:lnTo>
                  <a:lnTo>
                    <a:pt x="18706" y="90379"/>
                  </a:lnTo>
                  <a:lnTo>
                    <a:pt x="33134" y="98067"/>
                  </a:lnTo>
                  <a:lnTo>
                    <a:pt x="49697" y="100719"/>
                  </a:lnTo>
                  <a:lnTo>
                    <a:pt x="1926163" y="84719"/>
                  </a:lnTo>
                  <a:lnTo>
                    <a:pt x="1941080" y="81545"/>
                  </a:lnTo>
                  <a:lnTo>
                    <a:pt x="1953169" y="73153"/>
                  </a:lnTo>
                  <a:lnTo>
                    <a:pt x="1961192" y="60817"/>
                  </a:lnTo>
                  <a:lnTo>
                    <a:pt x="1963911" y="45810"/>
                  </a:lnTo>
                  <a:lnTo>
                    <a:pt x="1960696" y="31297"/>
                  </a:lnTo>
                  <a:lnTo>
                    <a:pt x="1952526" y="19483"/>
                  </a:lnTo>
                  <a:lnTo>
                    <a:pt x="1940575" y="11522"/>
                  </a:lnTo>
                  <a:lnTo>
                    <a:pt x="1926017" y="8565"/>
                  </a:lnTo>
                  <a:lnTo>
                    <a:pt x="49498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16039143" y="7789960"/>
              <a:ext cx="237490" cy="314960"/>
            </a:xfrm>
            <a:custGeom>
              <a:avLst/>
              <a:gdLst/>
              <a:ahLst/>
              <a:cxnLst/>
              <a:rect l="l" t="t" r="r" b="b"/>
              <a:pathLst>
                <a:path w="237490" h="314959">
                  <a:moveTo>
                    <a:pt x="228529" y="0"/>
                  </a:moveTo>
                  <a:lnTo>
                    <a:pt x="221438" y="670"/>
                  </a:lnTo>
                  <a:lnTo>
                    <a:pt x="216018" y="6273"/>
                  </a:lnTo>
                  <a:lnTo>
                    <a:pt x="113435" y="234653"/>
                  </a:lnTo>
                  <a:lnTo>
                    <a:pt x="102954" y="235104"/>
                  </a:lnTo>
                  <a:lnTo>
                    <a:pt x="58955" y="156226"/>
                  </a:lnTo>
                  <a:lnTo>
                    <a:pt x="16014" y="144541"/>
                  </a:lnTo>
                  <a:lnTo>
                    <a:pt x="0" y="174482"/>
                  </a:lnTo>
                  <a:lnTo>
                    <a:pt x="2894" y="186215"/>
                  </a:lnTo>
                  <a:lnTo>
                    <a:pt x="31524" y="247402"/>
                  </a:lnTo>
                  <a:lnTo>
                    <a:pt x="52255" y="281166"/>
                  </a:lnTo>
                  <a:lnTo>
                    <a:pt x="75155" y="299541"/>
                  </a:lnTo>
                  <a:lnTo>
                    <a:pt x="110294" y="314557"/>
                  </a:lnTo>
                  <a:lnTo>
                    <a:pt x="151265" y="267440"/>
                  </a:lnTo>
                  <a:lnTo>
                    <a:pt x="182491" y="219192"/>
                  </a:lnTo>
                  <a:lnTo>
                    <a:pt x="205249" y="171243"/>
                  </a:lnTo>
                  <a:lnTo>
                    <a:pt x="220819" y="125024"/>
                  </a:lnTo>
                  <a:lnTo>
                    <a:pt x="230480" y="81966"/>
                  </a:lnTo>
                  <a:lnTo>
                    <a:pt x="235511" y="43500"/>
                  </a:lnTo>
                  <a:lnTo>
                    <a:pt x="237191" y="11058"/>
                  </a:lnTo>
                  <a:lnTo>
                    <a:pt x="234657" y="3662"/>
                  </a:lnTo>
                  <a:lnTo>
                    <a:pt x="228529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15983863" y="8293279"/>
              <a:ext cx="330200" cy="278130"/>
            </a:xfrm>
            <a:custGeom>
              <a:avLst/>
              <a:gdLst/>
              <a:ahLst/>
              <a:cxnLst/>
              <a:rect l="l" t="t" r="r" b="b"/>
              <a:pathLst>
                <a:path w="330200" h="278129">
                  <a:moveTo>
                    <a:pt x="265239" y="0"/>
                  </a:moveTo>
                  <a:lnTo>
                    <a:pt x="264354" y="0"/>
                  </a:lnTo>
                  <a:lnTo>
                    <a:pt x="231372" y="1230"/>
                  </a:lnTo>
                  <a:lnTo>
                    <a:pt x="191408" y="3821"/>
                  </a:lnTo>
                  <a:lnTo>
                    <a:pt x="39774" y="16104"/>
                  </a:lnTo>
                  <a:lnTo>
                    <a:pt x="4419" y="37706"/>
                  </a:lnTo>
                  <a:lnTo>
                    <a:pt x="0" y="51851"/>
                  </a:lnTo>
                  <a:lnTo>
                    <a:pt x="16" y="59233"/>
                  </a:lnTo>
                  <a:lnTo>
                    <a:pt x="17837" y="229396"/>
                  </a:lnTo>
                  <a:lnTo>
                    <a:pt x="52948" y="272071"/>
                  </a:lnTo>
                  <a:lnTo>
                    <a:pt x="276835" y="277698"/>
                  </a:lnTo>
                  <a:lnTo>
                    <a:pt x="296688" y="274077"/>
                  </a:lnTo>
                  <a:lnTo>
                    <a:pt x="313075" y="264190"/>
                  </a:lnTo>
                  <a:lnTo>
                    <a:pt x="314539" y="262279"/>
                  </a:lnTo>
                  <a:lnTo>
                    <a:pt x="314655" y="262128"/>
                  </a:lnTo>
                  <a:lnTo>
                    <a:pt x="276437" y="262128"/>
                  </a:lnTo>
                  <a:lnTo>
                    <a:pt x="73626" y="260180"/>
                  </a:lnTo>
                  <a:lnTo>
                    <a:pt x="37468" y="240512"/>
                  </a:lnTo>
                  <a:lnTo>
                    <a:pt x="14895" y="51851"/>
                  </a:lnTo>
                  <a:lnTo>
                    <a:pt x="16738" y="46113"/>
                  </a:lnTo>
                  <a:lnTo>
                    <a:pt x="192285" y="19369"/>
                  </a:lnTo>
                  <a:lnTo>
                    <a:pt x="231949" y="16791"/>
                  </a:lnTo>
                  <a:lnTo>
                    <a:pt x="264552" y="15570"/>
                  </a:lnTo>
                  <a:lnTo>
                    <a:pt x="305354" y="15570"/>
                  </a:lnTo>
                  <a:lnTo>
                    <a:pt x="300780" y="11045"/>
                  </a:lnTo>
                  <a:lnTo>
                    <a:pt x="284278" y="2894"/>
                  </a:lnTo>
                  <a:lnTo>
                    <a:pt x="265239" y="0"/>
                  </a:lnTo>
                  <a:close/>
                </a:path>
                <a:path w="330200" h="278129">
                  <a:moveTo>
                    <a:pt x="305354" y="15570"/>
                  </a:moveTo>
                  <a:lnTo>
                    <a:pt x="264552" y="15570"/>
                  </a:lnTo>
                  <a:lnTo>
                    <a:pt x="279506" y="17599"/>
                  </a:lnTo>
                  <a:lnTo>
                    <a:pt x="278904" y="17599"/>
                  </a:lnTo>
                  <a:lnTo>
                    <a:pt x="311726" y="77767"/>
                  </a:lnTo>
                  <a:lnTo>
                    <a:pt x="314077" y="120713"/>
                  </a:lnTo>
                  <a:lnTo>
                    <a:pt x="314161" y="122239"/>
                  </a:lnTo>
                  <a:lnTo>
                    <a:pt x="314344" y="173787"/>
                  </a:lnTo>
                  <a:lnTo>
                    <a:pt x="313277" y="227762"/>
                  </a:lnTo>
                  <a:lnTo>
                    <a:pt x="290757" y="259696"/>
                  </a:lnTo>
                  <a:lnTo>
                    <a:pt x="276845" y="262128"/>
                  </a:lnTo>
                  <a:lnTo>
                    <a:pt x="314655" y="262128"/>
                  </a:lnTo>
                  <a:lnTo>
                    <a:pt x="324325" y="249506"/>
                  </a:lnTo>
                  <a:lnTo>
                    <a:pt x="328770" y="231490"/>
                  </a:lnTo>
                  <a:lnTo>
                    <a:pt x="329907" y="174310"/>
                  </a:lnTo>
                  <a:lnTo>
                    <a:pt x="329686" y="122239"/>
                  </a:lnTo>
                  <a:lnTo>
                    <a:pt x="329679" y="120713"/>
                  </a:lnTo>
                  <a:lnTo>
                    <a:pt x="327080" y="75084"/>
                  </a:lnTo>
                  <a:lnTo>
                    <a:pt x="321148" y="39716"/>
                  </a:lnTo>
                  <a:lnTo>
                    <a:pt x="313472" y="23600"/>
                  </a:lnTo>
                  <a:lnTo>
                    <a:pt x="305354" y="1557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30" name="object 3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6020502" y="8329626"/>
              <a:ext cx="251213" cy="209480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16438255" y="8394790"/>
              <a:ext cx="1964055" cy="100965"/>
            </a:xfrm>
            <a:custGeom>
              <a:avLst/>
              <a:gdLst/>
              <a:ahLst/>
              <a:cxnLst/>
              <a:rect l="l" t="t" r="r" b="b"/>
              <a:pathLst>
                <a:path w="1964055" h="100965">
                  <a:moveTo>
                    <a:pt x="49498" y="0"/>
                  </a:moveTo>
                  <a:lnTo>
                    <a:pt x="26694" y="5309"/>
                  </a:lnTo>
                  <a:lnTo>
                    <a:pt x="9449" y="19534"/>
                  </a:lnTo>
                  <a:lnTo>
                    <a:pt x="0" y="39793"/>
                  </a:lnTo>
                  <a:lnTo>
                    <a:pt x="578" y="63202"/>
                  </a:lnTo>
                  <a:lnTo>
                    <a:pt x="7493" y="78482"/>
                  </a:lnTo>
                  <a:lnTo>
                    <a:pt x="18706" y="90379"/>
                  </a:lnTo>
                  <a:lnTo>
                    <a:pt x="33134" y="98067"/>
                  </a:lnTo>
                  <a:lnTo>
                    <a:pt x="49697" y="100719"/>
                  </a:lnTo>
                  <a:lnTo>
                    <a:pt x="1926163" y="84719"/>
                  </a:lnTo>
                  <a:lnTo>
                    <a:pt x="1941080" y="81545"/>
                  </a:lnTo>
                  <a:lnTo>
                    <a:pt x="1953169" y="73153"/>
                  </a:lnTo>
                  <a:lnTo>
                    <a:pt x="1961192" y="60817"/>
                  </a:lnTo>
                  <a:lnTo>
                    <a:pt x="1963911" y="45810"/>
                  </a:lnTo>
                  <a:lnTo>
                    <a:pt x="1960696" y="31297"/>
                  </a:lnTo>
                  <a:lnTo>
                    <a:pt x="1952526" y="19483"/>
                  </a:lnTo>
                  <a:lnTo>
                    <a:pt x="1940575" y="11522"/>
                  </a:lnTo>
                  <a:lnTo>
                    <a:pt x="1926017" y="8565"/>
                  </a:lnTo>
                  <a:lnTo>
                    <a:pt x="49498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16039143" y="8224627"/>
              <a:ext cx="237490" cy="314960"/>
            </a:xfrm>
            <a:custGeom>
              <a:avLst/>
              <a:gdLst/>
              <a:ahLst/>
              <a:cxnLst/>
              <a:rect l="l" t="t" r="r" b="b"/>
              <a:pathLst>
                <a:path w="237490" h="314959">
                  <a:moveTo>
                    <a:pt x="228529" y="0"/>
                  </a:moveTo>
                  <a:lnTo>
                    <a:pt x="221438" y="670"/>
                  </a:lnTo>
                  <a:lnTo>
                    <a:pt x="216018" y="6273"/>
                  </a:lnTo>
                  <a:lnTo>
                    <a:pt x="113435" y="234653"/>
                  </a:lnTo>
                  <a:lnTo>
                    <a:pt x="102954" y="235104"/>
                  </a:lnTo>
                  <a:lnTo>
                    <a:pt x="58955" y="156226"/>
                  </a:lnTo>
                  <a:lnTo>
                    <a:pt x="16014" y="144541"/>
                  </a:lnTo>
                  <a:lnTo>
                    <a:pt x="0" y="174486"/>
                  </a:lnTo>
                  <a:lnTo>
                    <a:pt x="2894" y="186226"/>
                  </a:lnTo>
                  <a:lnTo>
                    <a:pt x="31524" y="247406"/>
                  </a:lnTo>
                  <a:lnTo>
                    <a:pt x="52255" y="281168"/>
                  </a:lnTo>
                  <a:lnTo>
                    <a:pt x="75155" y="299541"/>
                  </a:lnTo>
                  <a:lnTo>
                    <a:pt x="110294" y="314557"/>
                  </a:lnTo>
                  <a:lnTo>
                    <a:pt x="151265" y="267440"/>
                  </a:lnTo>
                  <a:lnTo>
                    <a:pt x="182491" y="219192"/>
                  </a:lnTo>
                  <a:lnTo>
                    <a:pt x="205249" y="171243"/>
                  </a:lnTo>
                  <a:lnTo>
                    <a:pt x="220819" y="125024"/>
                  </a:lnTo>
                  <a:lnTo>
                    <a:pt x="230480" y="81966"/>
                  </a:lnTo>
                  <a:lnTo>
                    <a:pt x="235511" y="43500"/>
                  </a:lnTo>
                  <a:lnTo>
                    <a:pt x="237191" y="11058"/>
                  </a:lnTo>
                  <a:lnTo>
                    <a:pt x="234657" y="3662"/>
                  </a:lnTo>
                  <a:lnTo>
                    <a:pt x="228529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15983863" y="8727946"/>
              <a:ext cx="330200" cy="278130"/>
            </a:xfrm>
            <a:custGeom>
              <a:avLst/>
              <a:gdLst/>
              <a:ahLst/>
              <a:cxnLst/>
              <a:rect l="l" t="t" r="r" b="b"/>
              <a:pathLst>
                <a:path w="330200" h="278129">
                  <a:moveTo>
                    <a:pt x="265239" y="0"/>
                  </a:moveTo>
                  <a:lnTo>
                    <a:pt x="264354" y="0"/>
                  </a:lnTo>
                  <a:lnTo>
                    <a:pt x="231372" y="1230"/>
                  </a:lnTo>
                  <a:lnTo>
                    <a:pt x="191408" y="3821"/>
                  </a:lnTo>
                  <a:lnTo>
                    <a:pt x="39774" y="16104"/>
                  </a:lnTo>
                  <a:lnTo>
                    <a:pt x="4419" y="37706"/>
                  </a:lnTo>
                  <a:lnTo>
                    <a:pt x="0" y="51851"/>
                  </a:lnTo>
                  <a:lnTo>
                    <a:pt x="16" y="59233"/>
                  </a:lnTo>
                  <a:lnTo>
                    <a:pt x="17837" y="229396"/>
                  </a:lnTo>
                  <a:lnTo>
                    <a:pt x="52948" y="272071"/>
                  </a:lnTo>
                  <a:lnTo>
                    <a:pt x="276835" y="277698"/>
                  </a:lnTo>
                  <a:lnTo>
                    <a:pt x="296688" y="274077"/>
                  </a:lnTo>
                  <a:lnTo>
                    <a:pt x="313075" y="264190"/>
                  </a:lnTo>
                  <a:lnTo>
                    <a:pt x="314539" y="262279"/>
                  </a:lnTo>
                  <a:lnTo>
                    <a:pt x="314655" y="262128"/>
                  </a:lnTo>
                  <a:lnTo>
                    <a:pt x="276437" y="262128"/>
                  </a:lnTo>
                  <a:lnTo>
                    <a:pt x="73626" y="260180"/>
                  </a:lnTo>
                  <a:lnTo>
                    <a:pt x="37468" y="240512"/>
                  </a:lnTo>
                  <a:lnTo>
                    <a:pt x="14895" y="51851"/>
                  </a:lnTo>
                  <a:lnTo>
                    <a:pt x="16738" y="46113"/>
                  </a:lnTo>
                  <a:lnTo>
                    <a:pt x="25439" y="35768"/>
                  </a:lnTo>
                  <a:lnTo>
                    <a:pt x="32540" y="32309"/>
                  </a:lnTo>
                  <a:lnTo>
                    <a:pt x="30990" y="32309"/>
                  </a:lnTo>
                  <a:lnTo>
                    <a:pt x="192285" y="19369"/>
                  </a:lnTo>
                  <a:lnTo>
                    <a:pt x="231949" y="16791"/>
                  </a:lnTo>
                  <a:lnTo>
                    <a:pt x="264552" y="15570"/>
                  </a:lnTo>
                  <a:lnTo>
                    <a:pt x="305354" y="15570"/>
                  </a:lnTo>
                  <a:lnTo>
                    <a:pt x="300780" y="11045"/>
                  </a:lnTo>
                  <a:lnTo>
                    <a:pt x="284278" y="2894"/>
                  </a:lnTo>
                  <a:lnTo>
                    <a:pt x="265239" y="0"/>
                  </a:lnTo>
                  <a:close/>
                </a:path>
                <a:path w="330200" h="278129">
                  <a:moveTo>
                    <a:pt x="305354" y="15570"/>
                  </a:moveTo>
                  <a:lnTo>
                    <a:pt x="264552" y="15570"/>
                  </a:lnTo>
                  <a:lnTo>
                    <a:pt x="278662" y="17462"/>
                  </a:lnTo>
                  <a:lnTo>
                    <a:pt x="290978" y="23289"/>
                  </a:lnTo>
                  <a:lnTo>
                    <a:pt x="300472" y="32309"/>
                  </a:lnTo>
                  <a:lnTo>
                    <a:pt x="306111" y="43778"/>
                  </a:lnTo>
                  <a:lnTo>
                    <a:pt x="311726" y="77767"/>
                  </a:lnTo>
                  <a:lnTo>
                    <a:pt x="314077" y="120713"/>
                  </a:lnTo>
                  <a:lnTo>
                    <a:pt x="314161" y="122239"/>
                  </a:lnTo>
                  <a:lnTo>
                    <a:pt x="314344" y="173787"/>
                  </a:lnTo>
                  <a:lnTo>
                    <a:pt x="313277" y="227762"/>
                  </a:lnTo>
                  <a:lnTo>
                    <a:pt x="290757" y="259696"/>
                  </a:lnTo>
                  <a:lnTo>
                    <a:pt x="276845" y="262128"/>
                  </a:lnTo>
                  <a:lnTo>
                    <a:pt x="314655" y="262128"/>
                  </a:lnTo>
                  <a:lnTo>
                    <a:pt x="324325" y="249506"/>
                  </a:lnTo>
                  <a:lnTo>
                    <a:pt x="328770" y="231490"/>
                  </a:lnTo>
                  <a:lnTo>
                    <a:pt x="329907" y="174310"/>
                  </a:lnTo>
                  <a:lnTo>
                    <a:pt x="329686" y="122239"/>
                  </a:lnTo>
                  <a:lnTo>
                    <a:pt x="329679" y="120713"/>
                  </a:lnTo>
                  <a:lnTo>
                    <a:pt x="327080" y="75084"/>
                  </a:lnTo>
                  <a:lnTo>
                    <a:pt x="321148" y="39716"/>
                  </a:lnTo>
                  <a:lnTo>
                    <a:pt x="313472" y="23600"/>
                  </a:lnTo>
                  <a:lnTo>
                    <a:pt x="305354" y="1557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34" name="object 3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6020502" y="8764295"/>
              <a:ext cx="251213" cy="209480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16438255" y="8829457"/>
              <a:ext cx="1964055" cy="100965"/>
            </a:xfrm>
            <a:custGeom>
              <a:avLst/>
              <a:gdLst/>
              <a:ahLst/>
              <a:cxnLst/>
              <a:rect l="l" t="t" r="r" b="b"/>
              <a:pathLst>
                <a:path w="1964055" h="100965">
                  <a:moveTo>
                    <a:pt x="49498" y="0"/>
                  </a:moveTo>
                  <a:lnTo>
                    <a:pt x="26694" y="5309"/>
                  </a:lnTo>
                  <a:lnTo>
                    <a:pt x="9449" y="19534"/>
                  </a:lnTo>
                  <a:lnTo>
                    <a:pt x="0" y="39793"/>
                  </a:lnTo>
                  <a:lnTo>
                    <a:pt x="578" y="63202"/>
                  </a:lnTo>
                  <a:lnTo>
                    <a:pt x="7493" y="78482"/>
                  </a:lnTo>
                  <a:lnTo>
                    <a:pt x="18706" y="90379"/>
                  </a:lnTo>
                  <a:lnTo>
                    <a:pt x="33134" y="98067"/>
                  </a:lnTo>
                  <a:lnTo>
                    <a:pt x="49697" y="100719"/>
                  </a:lnTo>
                  <a:lnTo>
                    <a:pt x="1926163" y="84719"/>
                  </a:lnTo>
                  <a:lnTo>
                    <a:pt x="1941080" y="81545"/>
                  </a:lnTo>
                  <a:lnTo>
                    <a:pt x="1953169" y="73153"/>
                  </a:lnTo>
                  <a:lnTo>
                    <a:pt x="1961192" y="60817"/>
                  </a:lnTo>
                  <a:lnTo>
                    <a:pt x="1963911" y="45810"/>
                  </a:lnTo>
                  <a:lnTo>
                    <a:pt x="1960696" y="31297"/>
                  </a:lnTo>
                  <a:lnTo>
                    <a:pt x="1952526" y="19483"/>
                  </a:lnTo>
                  <a:lnTo>
                    <a:pt x="1940575" y="11522"/>
                  </a:lnTo>
                  <a:lnTo>
                    <a:pt x="1926017" y="8565"/>
                  </a:lnTo>
                  <a:lnTo>
                    <a:pt x="49498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16039143" y="8659296"/>
              <a:ext cx="237490" cy="314960"/>
            </a:xfrm>
            <a:custGeom>
              <a:avLst/>
              <a:gdLst/>
              <a:ahLst/>
              <a:cxnLst/>
              <a:rect l="l" t="t" r="r" b="b"/>
              <a:pathLst>
                <a:path w="237490" h="314959">
                  <a:moveTo>
                    <a:pt x="228529" y="0"/>
                  </a:moveTo>
                  <a:lnTo>
                    <a:pt x="221438" y="670"/>
                  </a:lnTo>
                  <a:lnTo>
                    <a:pt x="216018" y="6273"/>
                  </a:lnTo>
                  <a:lnTo>
                    <a:pt x="113435" y="234653"/>
                  </a:lnTo>
                  <a:lnTo>
                    <a:pt x="102954" y="235104"/>
                  </a:lnTo>
                  <a:lnTo>
                    <a:pt x="58955" y="156226"/>
                  </a:lnTo>
                  <a:lnTo>
                    <a:pt x="16014" y="144541"/>
                  </a:lnTo>
                  <a:lnTo>
                    <a:pt x="0" y="174486"/>
                  </a:lnTo>
                  <a:lnTo>
                    <a:pt x="2894" y="186226"/>
                  </a:lnTo>
                  <a:lnTo>
                    <a:pt x="31524" y="247406"/>
                  </a:lnTo>
                  <a:lnTo>
                    <a:pt x="52255" y="281168"/>
                  </a:lnTo>
                  <a:lnTo>
                    <a:pt x="75155" y="299541"/>
                  </a:lnTo>
                  <a:lnTo>
                    <a:pt x="110294" y="314557"/>
                  </a:lnTo>
                  <a:lnTo>
                    <a:pt x="151265" y="267440"/>
                  </a:lnTo>
                  <a:lnTo>
                    <a:pt x="182491" y="219192"/>
                  </a:lnTo>
                  <a:lnTo>
                    <a:pt x="205249" y="171243"/>
                  </a:lnTo>
                  <a:lnTo>
                    <a:pt x="220819" y="125024"/>
                  </a:lnTo>
                  <a:lnTo>
                    <a:pt x="230480" y="81966"/>
                  </a:lnTo>
                  <a:lnTo>
                    <a:pt x="235511" y="43500"/>
                  </a:lnTo>
                  <a:lnTo>
                    <a:pt x="237191" y="11058"/>
                  </a:lnTo>
                  <a:lnTo>
                    <a:pt x="234657" y="3662"/>
                  </a:lnTo>
                  <a:lnTo>
                    <a:pt x="228529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16479164" y="4258925"/>
              <a:ext cx="1214120" cy="651510"/>
            </a:xfrm>
            <a:custGeom>
              <a:avLst/>
              <a:gdLst/>
              <a:ahLst/>
              <a:cxnLst/>
              <a:rect l="l" t="t" r="r" b="b"/>
              <a:pathLst>
                <a:path w="1214119" h="651510">
                  <a:moveTo>
                    <a:pt x="1213624" y="651446"/>
                  </a:moveTo>
                  <a:lnTo>
                    <a:pt x="1205052" y="508469"/>
                  </a:lnTo>
                  <a:lnTo>
                    <a:pt x="1178534" y="450507"/>
                  </a:lnTo>
                  <a:lnTo>
                    <a:pt x="1119911" y="425488"/>
                  </a:lnTo>
                  <a:lnTo>
                    <a:pt x="800417" y="414553"/>
                  </a:lnTo>
                  <a:lnTo>
                    <a:pt x="873074" y="311962"/>
                  </a:lnTo>
                  <a:lnTo>
                    <a:pt x="877252" y="301066"/>
                  </a:lnTo>
                  <a:lnTo>
                    <a:pt x="909129" y="218020"/>
                  </a:lnTo>
                  <a:lnTo>
                    <a:pt x="870724" y="147447"/>
                  </a:lnTo>
                  <a:lnTo>
                    <a:pt x="860996" y="140144"/>
                  </a:lnTo>
                  <a:lnTo>
                    <a:pt x="757301" y="62268"/>
                  </a:lnTo>
                  <a:lnTo>
                    <a:pt x="707110" y="32359"/>
                  </a:lnTo>
                  <a:lnTo>
                    <a:pt x="695858" y="27800"/>
                  </a:lnTo>
                  <a:lnTo>
                    <a:pt x="695858" y="220599"/>
                  </a:lnTo>
                  <a:lnTo>
                    <a:pt x="689533" y="251917"/>
                  </a:lnTo>
                  <a:lnTo>
                    <a:pt x="672299" y="277495"/>
                  </a:lnTo>
                  <a:lnTo>
                    <a:pt x="646722" y="294741"/>
                  </a:lnTo>
                  <a:lnTo>
                    <a:pt x="615403" y="301066"/>
                  </a:lnTo>
                  <a:lnTo>
                    <a:pt x="584085" y="294741"/>
                  </a:lnTo>
                  <a:lnTo>
                    <a:pt x="558507" y="277495"/>
                  </a:lnTo>
                  <a:lnTo>
                    <a:pt x="541261" y="251917"/>
                  </a:lnTo>
                  <a:lnTo>
                    <a:pt x="534936" y="220599"/>
                  </a:lnTo>
                  <a:lnTo>
                    <a:pt x="541261" y="189280"/>
                  </a:lnTo>
                  <a:lnTo>
                    <a:pt x="558507" y="163715"/>
                  </a:lnTo>
                  <a:lnTo>
                    <a:pt x="584085" y="146469"/>
                  </a:lnTo>
                  <a:lnTo>
                    <a:pt x="615403" y="140144"/>
                  </a:lnTo>
                  <a:lnTo>
                    <a:pt x="646722" y="146469"/>
                  </a:lnTo>
                  <a:lnTo>
                    <a:pt x="672299" y="163715"/>
                  </a:lnTo>
                  <a:lnTo>
                    <a:pt x="689533" y="189280"/>
                  </a:lnTo>
                  <a:lnTo>
                    <a:pt x="695858" y="220599"/>
                  </a:lnTo>
                  <a:lnTo>
                    <a:pt x="695858" y="27800"/>
                  </a:lnTo>
                  <a:lnTo>
                    <a:pt x="659523" y="13042"/>
                  </a:lnTo>
                  <a:lnTo>
                    <a:pt x="614895" y="2768"/>
                  </a:lnTo>
                  <a:lnTo>
                    <a:pt x="573582" y="0"/>
                  </a:lnTo>
                  <a:lnTo>
                    <a:pt x="535965" y="3187"/>
                  </a:lnTo>
                  <a:lnTo>
                    <a:pt x="463486" y="30149"/>
                  </a:lnTo>
                  <a:lnTo>
                    <a:pt x="434276" y="60718"/>
                  </a:lnTo>
                  <a:lnTo>
                    <a:pt x="416839" y="99288"/>
                  </a:lnTo>
                  <a:lnTo>
                    <a:pt x="413296" y="142633"/>
                  </a:lnTo>
                  <a:lnTo>
                    <a:pt x="437057" y="402094"/>
                  </a:lnTo>
                  <a:lnTo>
                    <a:pt x="93916" y="390334"/>
                  </a:lnTo>
                  <a:lnTo>
                    <a:pt x="57581" y="396557"/>
                  </a:lnTo>
                  <a:lnTo>
                    <a:pt x="27711" y="415785"/>
                  </a:lnTo>
                  <a:lnTo>
                    <a:pt x="7454" y="444995"/>
                  </a:lnTo>
                  <a:lnTo>
                    <a:pt x="0" y="481088"/>
                  </a:lnTo>
                  <a:lnTo>
                    <a:pt x="0" y="629907"/>
                  </a:lnTo>
                  <a:lnTo>
                    <a:pt x="1213624" y="651446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17481356" y="5003734"/>
              <a:ext cx="495300" cy="857250"/>
            </a:xfrm>
            <a:custGeom>
              <a:avLst/>
              <a:gdLst/>
              <a:ahLst/>
              <a:cxnLst/>
              <a:rect l="l" t="t" r="r" b="b"/>
              <a:pathLst>
                <a:path w="495300" h="857250">
                  <a:moveTo>
                    <a:pt x="454090" y="0"/>
                  </a:moveTo>
                  <a:lnTo>
                    <a:pt x="25203" y="0"/>
                  </a:lnTo>
                  <a:lnTo>
                    <a:pt x="16973" y="3622"/>
                  </a:lnTo>
                  <a:lnTo>
                    <a:pt x="5371" y="16386"/>
                  </a:lnTo>
                  <a:lnTo>
                    <a:pt x="2533" y="24920"/>
                  </a:lnTo>
                  <a:lnTo>
                    <a:pt x="7906" y="84049"/>
                  </a:lnTo>
                  <a:lnTo>
                    <a:pt x="11890" y="135478"/>
                  </a:lnTo>
                  <a:lnTo>
                    <a:pt x="15280" y="187774"/>
                  </a:lnTo>
                  <a:lnTo>
                    <a:pt x="18041" y="240924"/>
                  </a:lnTo>
                  <a:lnTo>
                    <a:pt x="20196" y="296627"/>
                  </a:lnTo>
                  <a:lnTo>
                    <a:pt x="21584" y="351582"/>
                  </a:lnTo>
                  <a:lnTo>
                    <a:pt x="22234" y="405777"/>
                  </a:lnTo>
                  <a:lnTo>
                    <a:pt x="22178" y="459198"/>
                  </a:lnTo>
                  <a:lnTo>
                    <a:pt x="21446" y="511833"/>
                  </a:lnTo>
                  <a:lnTo>
                    <a:pt x="20070" y="563667"/>
                  </a:lnTo>
                  <a:lnTo>
                    <a:pt x="18079" y="614688"/>
                  </a:lnTo>
                  <a:lnTo>
                    <a:pt x="15506" y="664882"/>
                  </a:lnTo>
                  <a:lnTo>
                    <a:pt x="12381" y="714236"/>
                  </a:lnTo>
                  <a:lnTo>
                    <a:pt x="8734" y="762737"/>
                  </a:lnTo>
                  <a:lnTo>
                    <a:pt x="4597" y="810371"/>
                  </a:lnTo>
                  <a:lnTo>
                    <a:pt x="0" y="857125"/>
                  </a:lnTo>
                  <a:lnTo>
                    <a:pt x="241521" y="660189"/>
                  </a:lnTo>
                  <a:lnTo>
                    <a:pt x="483053" y="857125"/>
                  </a:lnTo>
                  <a:lnTo>
                    <a:pt x="485622" y="808574"/>
                  </a:lnTo>
                  <a:lnTo>
                    <a:pt x="487906" y="759468"/>
                  </a:lnTo>
                  <a:lnTo>
                    <a:pt x="489895" y="709812"/>
                  </a:lnTo>
                  <a:lnTo>
                    <a:pt x="491577" y="659612"/>
                  </a:lnTo>
                  <a:lnTo>
                    <a:pt x="492943" y="608874"/>
                  </a:lnTo>
                  <a:lnTo>
                    <a:pt x="493980" y="557602"/>
                  </a:lnTo>
                  <a:lnTo>
                    <a:pt x="494679" y="505801"/>
                  </a:lnTo>
                  <a:lnTo>
                    <a:pt x="495028" y="453479"/>
                  </a:lnTo>
                  <a:lnTo>
                    <a:pt x="495016" y="400639"/>
                  </a:lnTo>
                  <a:lnTo>
                    <a:pt x="494634" y="347287"/>
                  </a:lnTo>
                  <a:lnTo>
                    <a:pt x="493861" y="292795"/>
                  </a:lnTo>
                  <a:lnTo>
                    <a:pt x="492713" y="238869"/>
                  </a:lnTo>
                  <a:lnTo>
                    <a:pt x="491203" y="185516"/>
                  </a:lnTo>
                  <a:lnTo>
                    <a:pt x="489343" y="132741"/>
                  </a:lnTo>
                  <a:lnTo>
                    <a:pt x="487146" y="80551"/>
                  </a:lnTo>
                  <a:lnTo>
                    <a:pt x="484623" y="28951"/>
                  </a:lnTo>
                  <a:lnTo>
                    <a:pt x="465598" y="2241"/>
                  </a:lnTo>
                  <a:lnTo>
                    <a:pt x="454090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16057168" y="4834308"/>
              <a:ext cx="2026920" cy="252095"/>
            </a:xfrm>
            <a:custGeom>
              <a:avLst/>
              <a:gdLst/>
              <a:ahLst/>
              <a:cxnLst/>
              <a:rect l="l" t="t" r="r" b="b"/>
              <a:pathLst>
                <a:path w="2026919" h="252095">
                  <a:moveTo>
                    <a:pt x="1894664" y="0"/>
                  </a:moveTo>
                  <a:lnTo>
                    <a:pt x="100530" y="52"/>
                  </a:lnTo>
                  <a:lnTo>
                    <a:pt x="33820" y="26749"/>
                  </a:lnTo>
                  <a:lnTo>
                    <a:pt x="3957" y="92091"/>
                  </a:lnTo>
                  <a:lnTo>
                    <a:pt x="0" y="174476"/>
                  </a:lnTo>
                  <a:lnTo>
                    <a:pt x="4751" y="204421"/>
                  </a:lnTo>
                  <a:lnTo>
                    <a:pt x="20356" y="229116"/>
                  </a:lnTo>
                  <a:lnTo>
                    <a:pt x="44272" y="245891"/>
                  </a:lnTo>
                  <a:lnTo>
                    <a:pt x="73955" y="252076"/>
                  </a:lnTo>
                  <a:lnTo>
                    <a:pt x="1914632" y="252076"/>
                  </a:lnTo>
                  <a:lnTo>
                    <a:pt x="1963674" y="241037"/>
                  </a:lnTo>
                  <a:lnTo>
                    <a:pt x="2001761" y="211530"/>
                  </a:lnTo>
                  <a:lnTo>
                    <a:pt x="2024337" y="168967"/>
                  </a:lnTo>
                  <a:lnTo>
                    <a:pt x="2026849" y="118760"/>
                  </a:lnTo>
                  <a:lnTo>
                    <a:pt x="2025331" y="109996"/>
                  </a:lnTo>
                  <a:lnTo>
                    <a:pt x="2009343" y="65991"/>
                  </a:lnTo>
                  <a:lnTo>
                    <a:pt x="1980062" y="31160"/>
                  </a:lnTo>
                  <a:lnTo>
                    <a:pt x="1940749" y="8247"/>
                  </a:lnTo>
                  <a:lnTo>
                    <a:pt x="1894664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40" name="object 4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385209" y="9728080"/>
              <a:ext cx="402971" cy="188353"/>
            </a:xfrm>
            <a:prstGeom prst="rect">
              <a:avLst/>
            </a:prstGeom>
          </p:spPr>
        </p:pic>
        <p:pic>
          <p:nvPicPr>
            <p:cNvPr id="41" name="object 4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9308345" y="9732342"/>
              <a:ext cx="189072" cy="178214"/>
            </a:xfrm>
            <a:prstGeom prst="rect">
              <a:avLst/>
            </a:prstGeom>
          </p:spPr>
        </p:pic>
        <p:pic>
          <p:nvPicPr>
            <p:cNvPr id="42" name="object 4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665566" y="9593396"/>
              <a:ext cx="102206" cy="161974"/>
            </a:xfrm>
            <a:prstGeom prst="rect">
              <a:avLst/>
            </a:prstGeom>
          </p:spPr>
        </p:pic>
        <p:pic>
          <p:nvPicPr>
            <p:cNvPr id="43" name="object 4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294768" y="9574850"/>
              <a:ext cx="122616" cy="215796"/>
            </a:xfrm>
            <a:prstGeom prst="rect">
              <a:avLst/>
            </a:prstGeom>
          </p:spPr>
        </p:pic>
        <p:sp>
          <p:nvSpPr>
            <p:cNvPr id="44" name="object 44"/>
            <p:cNvSpPr/>
            <p:nvPr/>
          </p:nvSpPr>
          <p:spPr>
            <a:xfrm>
              <a:off x="18483498" y="8133817"/>
              <a:ext cx="938530" cy="1532890"/>
            </a:xfrm>
            <a:custGeom>
              <a:avLst/>
              <a:gdLst/>
              <a:ahLst/>
              <a:cxnLst/>
              <a:rect l="l" t="t" r="r" b="b"/>
              <a:pathLst>
                <a:path w="938530" h="1532890">
                  <a:moveTo>
                    <a:pt x="445536" y="0"/>
                  </a:moveTo>
                  <a:lnTo>
                    <a:pt x="0" y="65348"/>
                  </a:lnTo>
                  <a:lnTo>
                    <a:pt x="9952" y="122952"/>
                  </a:lnTo>
                  <a:lnTo>
                    <a:pt x="26173" y="221554"/>
                  </a:lnTo>
                  <a:lnTo>
                    <a:pt x="40028" y="308642"/>
                  </a:lnTo>
                  <a:lnTo>
                    <a:pt x="55612" y="409685"/>
                  </a:lnTo>
                  <a:lnTo>
                    <a:pt x="72324" y="521999"/>
                  </a:lnTo>
                  <a:lnTo>
                    <a:pt x="89562" y="642905"/>
                  </a:lnTo>
                  <a:lnTo>
                    <a:pt x="98190" y="705742"/>
                  </a:lnTo>
                  <a:lnTo>
                    <a:pt x="106724" y="769721"/>
                  </a:lnTo>
                  <a:lnTo>
                    <a:pt x="115087" y="834507"/>
                  </a:lnTo>
                  <a:lnTo>
                    <a:pt x="123206" y="899765"/>
                  </a:lnTo>
                  <a:lnTo>
                    <a:pt x="131005" y="965160"/>
                  </a:lnTo>
                  <a:lnTo>
                    <a:pt x="138408" y="1030356"/>
                  </a:lnTo>
                  <a:lnTo>
                    <a:pt x="145340" y="1095019"/>
                  </a:lnTo>
                  <a:lnTo>
                    <a:pt x="151726" y="1158813"/>
                  </a:lnTo>
                  <a:lnTo>
                    <a:pt x="157491" y="1221403"/>
                  </a:lnTo>
                  <a:lnTo>
                    <a:pt x="162559" y="1282454"/>
                  </a:lnTo>
                  <a:lnTo>
                    <a:pt x="166855" y="1341630"/>
                  </a:lnTo>
                  <a:lnTo>
                    <a:pt x="170305" y="1398597"/>
                  </a:lnTo>
                  <a:lnTo>
                    <a:pt x="172832" y="1453019"/>
                  </a:lnTo>
                  <a:lnTo>
                    <a:pt x="174528" y="1512665"/>
                  </a:lnTo>
                  <a:lnTo>
                    <a:pt x="180486" y="1519461"/>
                  </a:lnTo>
                  <a:lnTo>
                    <a:pt x="188517" y="1520581"/>
                  </a:lnTo>
                  <a:lnTo>
                    <a:pt x="207051" y="1522680"/>
                  </a:lnTo>
                  <a:lnTo>
                    <a:pt x="230889" y="1523996"/>
                  </a:lnTo>
                  <a:lnTo>
                    <a:pt x="258114" y="1523445"/>
                  </a:lnTo>
                  <a:lnTo>
                    <a:pt x="296022" y="1514634"/>
                  </a:lnTo>
                  <a:lnTo>
                    <a:pt x="300029" y="1446161"/>
                  </a:lnTo>
                  <a:lnTo>
                    <a:pt x="303722" y="1375317"/>
                  </a:lnTo>
                  <a:lnTo>
                    <a:pt x="307846" y="1285826"/>
                  </a:lnTo>
                  <a:lnTo>
                    <a:pt x="311916" y="1181419"/>
                  </a:lnTo>
                  <a:lnTo>
                    <a:pt x="313780" y="1124787"/>
                  </a:lnTo>
                  <a:lnTo>
                    <a:pt x="315449" y="1065825"/>
                  </a:lnTo>
                  <a:lnTo>
                    <a:pt x="316862" y="1004999"/>
                  </a:lnTo>
                  <a:lnTo>
                    <a:pt x="317958" y="942775"/>
                  </a:lnTo>
                  <a:lnTo>
                    <a:pt x="318678" y="879620"/>
                  </a:lnTo>
                  <a:lnTo>
                    <a:pt x="318961" y="816000"/>
                  </a:lnTo>
                  <a:lnTo>
                    <a:pt x="318746" y="752381"/>
                  </a:lnTo>
                  <a:lnTo>
                    <a:pt x="317972" y="689230"/>
                  </a:lnTo>
                  <a:lnTo>
                    <a:pt x="316580" y="627012"/>
                  </a:lnTo>
                  <a:lnTo>
                    <a:pt x="314508" y="566194"/>
                  </a:lnTo>
                  <a:lnTo>
                    <a:pt x="311695" y="507242"/>
                  </a:lnTo>
                  <a:lnTo>
                    <a:pt x="308082" y="450623"/>
                  </a:lnTo>
                  <a:lnTo>
                    <a:pt x="303608" y="396803"/>
                  </a:lnTo>
                  <a:lnTo>
                    <a:pt x="298212" y="346248"/>
                  </a:lnTo>
                  <a:lnTo>
                    <a:pt x="291834" y="299425"/>
                  </a:lnTo>
                  <a:lnTo>
                    <a:pt x="556105" y="857471"/>
                  </a:lnTo>
                  <a:lnTo>
                    <a:pt x="698805" y="1170811"/>
                  </a:lnTo>
                  <a:lnTo>
                    <a:pt x="769084" y="1354038"/>
                  </a:lnTo>
                  <a:lnTo>
                    <a:pt x="816090" y="1521744"/>
                  </a:lnTo>
                  <a:lnTo>
                    <a:pt x="817765" y="1528173"/>
                  </a:lnTo>
                  <a:lnTo>
                    <a:pt x="823671" y="1532497"/>
                  </a:lnTo>
                  <a:lnTo>
                    <a:pt x="871665" y="1528008"/>
                  </a:lnTo>
                  <a:lnTo>
                    <a:pt x="922547" y="1515754"/>
                  </a:lnTo>
                  <a:lnTo>
                    <a:pt x="938217" y="1496299"/>
                  </a:lnTo>
                  <a:lnTo>
                    <a:pt x="937741" y="1487431"/>
                  </a:lnTo>
                  <a:lnTo>
                    <a:pt x="911930" y="1383540"/>
                  </a:lnTo>
                  <a:lnTo>
                    <a:pt x="891630" y="1303883"/>
                  </a:lnTo>
                  <a:lnTo>
                    <a:pt x="867083" y="1209576"/>
                  </a:lnTo>
                  <a:lnTo>
                    <a:pt x="838804" y="1103488"/>
                  </a:lnTo>
                  <a:lnTo>
                    <a:pt x="823424" y="1046923"/>
                  </a:lnTo>
                  <a:lnTo>
                    <a:pt x="807304" y="988489"/>
                  </a:lnTo>
                  <a:lnTo>
                    <a:pt x="790507" y="928544"/>
                  </a:lnTo>
                  <a:lnTo>
                    <a:pt x="773097" y="867447"/>
                  </a:lnTo>
                  <a:lnTo>
                    <a:pt x="755139" y="805556"/>
                  </a:lnTo>
                  <a:lnTo>
                    <a:pt x="736696" y="743230"/>
                  </a:lnTo>
                  <a:lnTo>
                    <a:pt x="717833" y="680828"/>
                  </a:lnTo>
                  <a:lnTo>
                    <a:pt x="698614" y="618708"/>
                  </a:lnTo>
                  <a:lnTo>
                    <a:pt x="679103" y="557229"/>
                  </a:lnTo>
                  <a:lnTo>
                    <a:pt x="659364" y="496750"/>
                  </a:lnTo>
                  <a:lnTo>
                    <a:pt x="639462" y="437628"/>
                  </a:lnTo>
                  <a:lnTo>
                    <a:pt x="619459" y="380223"/>
                  </a:lnTo>
                  <a:lnTo>
                    <a:pt x="599421" y="324894"/>
                  </a:lnTo>
                  <a:lnTo>
                    <a:pt x="579412" y="271998"/>
                  </a:lnTo>
                  <a:lnTo>
                    <a:pt x="559496" y="221895"/>
                  </a:lnTo>
                  <a:lnTo>
                    <a:pt x="539736" y="174943"/>
                  </a:lnTo>
                  <a:lnTo>
                    <a:pt x="520198" y="131500"/>
                  </a:lnTo>
                  <a:lnTo>
                    <a:pt x="500944" y="91926"/>
                  </a:lnTo>
                  <a:lnTo>
                    <a:pt x="482040" y="56579"/>
                  </a:lnTo>
                  <a:lnTo>
                    <a:pt x="463549" y="25817"/>
                  </a:lnTo>
                  <a:lnTo>
                    <a:pt x="445536" y="0"/>
                  </a:lnTo>
                  <a:close/>
                </a:path>
              </a:pathLst>
            </a:custGeom>
            <a:solidFill>
              <a:srgbClr val="00255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45" name="object 4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707785" y="8364928"/>
              <a:ext cx="74133" cy="74290"/>
            </a:xfrm>
            <a:prstGeom prst="rect">
              <a:avLst/>
            </a:prstGeom>
          </p:spPr>
        </p:pic>
        <p:sp>
          <p:nvSpPr>
            <p:cNvPr id="46" name="object 46"/>
            <p:cNvSpPr/>
            <p:nvPr/>
          </p:nvSpPr>
          <p:spPr>
            <a:xfrm>
              <a:off x="18203189" y="6966872"/>
              <a:ext cx="704215" cy="567690"/>
            </a:xfrm>
            <a:custGeom>
              <a:avLst/>
              <a:gdLst/>
              <a:ahLst/>
              <a:cxnLst/>
              <a:rect l="l" t="t" r="r" b="b"/>
              <a:pathLst>
                <a:path w="704215" h="567690">
                  <a:moveTo>
                    <a:pt x="454047" y="0"/>
                  </a:moveTo>
                  <a:lnTo>
                    <a:pt x="400956" y="950"/>
                  </a:lnTo>
                  <a:lnTo>
                    <a:pt x="348660" y="3393"/>
                  </a:lnTo>
                  <a:lnTo>
                    <a:pt x="297937" y="7019"/>
                  </a:lnTo>
                  <a:lnTo>
                    <a:pt x="249565" y="11517"/>
                  </a:lnTo>
                  <a:lnTo>
                    <a:pt x="204321" y="16576"/>
                  </a:lnTo>
                  <a:lnTo>
                    <a:pt x="162984" y="21888"/>
                  </a:lnTo>
                  <a:lnTo>
                    <a:pt x="67254" y="41909"/>
                  </a:lnTo>
                  <a:lnTo>
                    <a:pt x="34403" y="88080"/>
                  </a:lnTo>
                  <a:lnTo>
                    <a:pt x="15932" y="202775"/>
                  </a:lnTo>
                  <a:lnTo>
                    <a:pt x="0" y="423118"/>
                  </a:lnTo>
                  <a:lnTo>
                    <a:pt x="53579" y="499294"/>
                  </a:lnTo>
                  <a:lnTo>
                    <a:pt x="685298" y="567396"/>
                  </a:lnTo>
                  <a:lnTo>
                    <a:pt x="704198" y="28491"/>
                  </a:lnTo>
                  <a:lnTo>
                    <a:pt x="658801" y="17326"/>
                  </a:lnTo>
                  <a:lnTo>
                    <a:pt x="610310" y="9205"/>
                  </a:lnTo>
                  <a:lnTo>
                    <a:pt x="559501" y="3817"/>
                  </a:lnTo>
                  <a:lnTo>
                    <a:pt x="507155" y="852"/>
                  </a:lnTo>
                  <a:lnTo>
                    <a:pt x="454047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18381930" y="6490836"/>
              <a:ext cx="311785" cy="517525"/>
            </a:xfrm>
            <a:custGeom>
              <a:avLst/>
              <a:gdLst/>
              <a:ahLst/>
              <a:cxnLst/>
              <a:rect l="l" t="t" r="r" b="b"/>
              <a:pathLst>
                <a:path w="311784" h="517525">
                  <a:moveTo>
                    <a:pt x="311581" y="134823"/>
                  </a:moveTo>
                  <a:lnTo>
                    <a:pt x="270789" y="72161"/>
                  </a:lnTo>
                  <a:lnTo>
                    <a:pt x="196799" y="37223"/>
                  </a:lnTo>
                  <a:lnTo>
                    <a:pt x="124307" y="10591"/>
                  </a:lnTo>
                  <a:lnTo>
                    <a:pt x="91630" y="0"/>
                  </a:lnTo>
                  <a:lnTo>
                    <a:pt x="50609" y="72758"/>
                  </a:lnTo>
                  <a:lnTo>
                    <a:pt x="28409" y="117005"/>
                  </a:lnTo>
                  <a:lnTo>
                    <a:pt x="17373" y="150723"/>
                  </a:lnTo>
                  <a:lnTo>
                    <a:pt x="1536" y="238188"/>
                  </a:lnTo>
                  <a:lnTo>
                    <a:pt x="0" y="275463"/>
                  </a:lnTo>
                  <a:lnTo>
                    <a:pt x="15087" y="304190"/>
                  </a:lnTo>
                  <a:lnTo>
                    <a:pt x="56667" y="324789"/>
                  </a:lnTo>
                  <a:lnTo>
                    <a:pt x="76809" y="327888"/>
                  </a:lnTo>
                  <a:lnTo>
                    <a:pt x="55194" y="494398"/>
                  </a:lnTo>
                  <a:lnTo>
                    <a:pt x="82092" y="511302"/>
                  </a:lnTo>
                  <a:lnTo>
                    <a:pt x="113677" y="517067"/>
                  </a:lnTo>
                  <a:lnTo>
                    <a:pt x="170345" y="511835"/>
                  </a:lnTo>
                  <a:lnTo>
                    <a:pt x="272453" y="495693"/>
                  </a:lnTo>
                  <a:lnTo>
                    <a:pt x="273634" y="453796"/>
                  </a:lnTo>
                  <a:lnTo>
                    <a:pt x="272961" y="410565"/>
                  </a:lnTo>
                  <a:lnTo>
                    <a:pt x="269468" y="339636"/>
                  </a:lnTo>
                  <a:lnTo>
                    <a:pt x="263029" y="228879"/>
                  </a:lnTo>
                  <a:lnTo>
                    <a:pt x="287324" y="192925"/>
                  </a:lnTo>
                  <a:lnTo>
                    <a:pt x="306552" y="158762"/>
                  </a:lnTo>
                  <a:lnTo>
                    <a:pt x="311581" y="134823"/>
                  </a:lnTo>
                  <a:close/>
                </a:path>
              </a:pathLst>
            </a:custGeom>
            <a:solidFill>
              <a:srgbClr val="F4D2AD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18405888" y="6345683"/>
              <a:ext cx="387985" cy="421640"/>
            </a:xfrm>
            <a:custGeom>
              <a:avLst/>
              <a:gdLst/>
              <a:ahLst/>
              <a:cxnLst/>
              <a:rect l="l" t="t" r="r" b="b"/>
              <a:pathLst>
                <a:path w="387984" h="421640">
                  <a:moveTo>
                    <a:pt x="61440" y="0"/>
                  </a:moveTo>
                  <a:lnTo>
                    <a:pt x="58801" y="848"/>
                  </a:lnTo>
                  <a:lnTo>
                    <a:pt x="29901" y="18866"/>
                  </a:lnTo>
                  <a:lnTo>
                    <a:pt x="8750" y="49323"/>
                  </a:lnTo>
                  <a:lnTo>
                    <a:pt x="0" y="87043"/>
                  </a:lnTo>
                  <a:lnTo>
                    <a:pt x="8300" y="126854"/>
                  </a:lnTo>
                  <a:lnTo>
                    <a:pt x="35546" y="158057"/>
                  </a:lnTo>
                  <a:lnTo>
                    <a:pt x="79732" y="186190"/>
                  </a:lnTo>
                  <a:lnTo>
                    <a:pt x="130295" y="210467"/>
                  </a:lnTo>
                  <a:lnTo>
                    <a:pt x="176670" y="230102"/>
                  </a:lnTo>
                  <a:lnTo>
                    <a:pt x="208294" y="244306"/>
                  </a:lnTo>
                  <a:lnTo>
                    <a:pt x="227480" y="256373"/>
                  </a:lnTo>
                  <a:lnTo>
                    <a:pt x="232243" y="270672"/>
                  </a:lnTo>
                  <a:lnTo>
                    <a:pt x="221116" y="296452"/>
                  </a:lnTo>
                  <a:lnTo>
                    <a:pt x="192629" y="342963"/>
                  </a:lnTo>
                  <a:lnTo>
                    <a:pt x="202608" y="344041"/>
                  </a:lnTo>
                  <a:lnTo>
                    <a:pt x="226984" y="346670"/>
                  </a:lnTo>
                  <a:lnTo>
                    <a:pt x="229152" y="349539"/>
                  </a:lnTo>
                  <a:lnTo>
                    <a:pt x="218074" y="414469"/>
                  </a:lnTo>
                  <a:lnTo>
                    <a:pt x="219529" y="416950"/>
                  </a:lnTo>
                  <a:lnTo>
                    <a:pt x="221979" y="417872"/>
                  </a:lnTo>
                  <a:lnTo>
                    <a:pt x="231795" y="420360"/>
                  </a:lnTo>
                  <a:lnTo>
                    <a:pt x="247820" y="421173"/>
                  </a:lnTo>
                  <a:lnTo>
                    <a:pt x="270463" y="417984"/>
                  </a:lnTo>
                  <a:lnTo>
                    <a:pt x="300134" y="408469"/>
                  </a:lnTo>
                  <a:lnTo>
                    <a:pt x="322891" y="395369"/>
                  </a:lnTo>
                  <a:lnTo>
                    <a:pt x="329866" y="383035"/>
                  </a:lnTo>
                  <a:lnTo>
                    <a:pt x="326845" y="372476"/>
                  </a:lnTo>
                  <a:lnTo>
                    <a:pt x="319610" y="364700"/>
                  </a:lnTo>
                  <a:lnTo>
                    <a:pt x="316804" y="362407"/>
                  </a:lnTo>
                  <a:lnTo>
                    <a:pt x="317243" y="358051"/>
                  </a:lnTo>
                  <a:lnTo>
                    <a:pt x="320280" y="356072"/>
                  </a:lnTo>
                  <a:lnTo>
                    <a:pt x="359489" y="322636"/>
                  </a:lnTo>
                  <a:lnTo>
                    <a:pt x="381698" y="287827"/>
                  </a:lnTo>
                  <a:lnTo>
                    <a:pt x="387379" y="256079"/>
                  </a:lnTo>
                  <a:lnTo>
                    <a:pt x="377001" y="231825"/>
                  </a:lnTo>
                  <a:lnTo>
                    <a:pt x="366955" y="223570"/>
                  </a:lnTo>
                  <a:lnTo>
                    <a:pt x="357929" y="219913"/>
                  </a:lnTo>
                  <a:lnTo>
                    <a:pt x="350091" y="219670"/>
                  </a:lnTo>
                  <a:lnTo>
                    <a:pt x="343609" y="221658"/>
                  </a:lnTo>
                  <a:lnTo>
                    <a:pt x="339724" y="223490"/>
                  </a:lnTo>
                  <a:lnTo>
                    <a:pt x="335421" y="220642"/>
                  </a:lnTo>
                  <a:lnTo>
                    <a:pt x="331520" y="178371"/>
                  </a:lnTo>
                  <a:lnTo>
                    <a:pt x="281463" y="116974"/>
                  </a:lnTo>
                  <a:lnTo>
                    <a:pt x="238589" y="93264"/>
                  </a:lnTo>
                  <a:lnTo>
                    <a:pt x="185771" y="74008"/>
                  </a:lnTo>
                  <a:lnTo>
                    <a:pt x="143152" y="57865"/>
                  </a:lnTo>
                  <a:lnTo>
                    <a:pt x="114429" y="40695"/>
                  </a:lnTo>
                  <a:lnTo>
                    <a:pt x="96859" y="24247"/>
                  </a:lnTo>
                  <a:lnTo>
                    <a:pt x="87701" y="10271"/>
                  </a:lnTo>
                  <a:lnTo>
                    <a:pt x="85701" y="6125"/>
                  </a:lnTo>
                  <a:lnTo>
                    <a:pt x="79670" y="6450"/>
                  </a:lnTo>
                  <a:lnTo>
                    <a:pt x="76088" y="15193"/>
                  </a:lnTo>
                  <a:lnTo>
                    <a:pt x="69712" y="15161"/>
                  </a:lnTo>
                  <a:lnTo>
                    <a:pt x="64277" y="1507"/>
                  </a:lnTo>
                  <a:lnTo>
                    <a:pt x="61440" y="0"/>
                  </a:lnTo>
                  <a:close/>
                </a:path>
              </a:pathLst>
            </a:custGeom>
            <a:solidFill>
              <a:srgbClr val="925F37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49" name="object 49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604700" y="6633940"/>
              <a:ext cx="74922" cy="105470"/>
            </a:xfrm>
            <a:prstGeom prst="rect">
              <a:avLst/>
            </a:prstGeom>
          </p:spPr>
        </p:pic>
        <p:sp>
          <p:nvSpPr>
            <p:cNvPr id="50" name="object 50"/>
            <p:cNvSpPr/>
            <p:nvPr/>
          </p:nvSpPr>
          <p:spPr>
            <a:xfrm>
              <a:off x="17848040" y="7303360"/>
              <a:ext cx="1720214" cy="856615"/>
            </a:xfrm>
            <a:custGeom>
              <a:avLst/>
              <a:gdLst/>
              <a:ahLst/>
              <a:cxnLst/>
              <a:rect l="l" t="t" r="r" b="b"/>
              <a:pathLst>
                <a:path w="1720215" h="856615">
                  <a:moveTo>
                    <a:pt x="66142" y="0"/>
                  </a:moveTo>
                  <a:lnTo>
                    <a:pt x="44320" y="8553"/>
                  </a:lnTo>
                  <a:lnTo>
                    <a:pt x="27119" y="24475"/>
                  </a:lnTo>
                  <a:lnTo>
                    <a:pt x="16753" y="46378"/>
                  </a:lnTo>
                  <a:lnTo>
                    <a:pt x="0" y="112229"/>
                  </a:lnTo>
                  <a:lnTo>
                    <a:pt x="1623280" y="856374"/>
                  </a:lnTo>
                  <a:lnTo>
                    <a:pt x="1719455" y="400440"/>
                  </a:lnTo>
                  <a:lnTo>
                    <a:pt x="1719663" y="374089"/>
                  </a:lnTo>
                  <a:lnTo>
                    <a:pt x="1710044" y="350544"/>
                  </a:lnTo>
                  <a:lnTo>
                    <a:pt x="1692270" y="332350"/>
                  </a:lnTo>
                  <a:lnTo>
                    <a:pt x="1668012" y="322055"/>
                  </a:lnTo>
                  <a:lnTo>
                    <a:pt x="90374" y="201"/>
                  </a:lnTo>
                  <a:lnTo>
                    <a:pt x="66142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17698454" y="7336846"/>
              <a:ext cx="1824989" cy="1026160"/>
            </a:xfrm>
            <a:custGeom>
              <a:avLst/>
              <a:gdLst/>
              <a:ahLst/>
              <a:cxnLst/>
              <a:rect l="l" t="t" r="r" b="b"/>
              <a:pathLst>
                <a:path w="1824990" h="1026159">
                  <a:moveTo>
                    <a:pt x="1824824" y="411073"/>
                  </a:moveTo>
                  <a:lnTo>
                    <a:pt x="1799094" y="370293"/>
                  </a:lnTo>
                  <a:lnTo>
                    <a:pt x="155486" y="114"/>
                  </a:lnTo>
                  <a:lnTo>
                    <a:pt x="142735" y="0"/>
                  </a:lnTo>
                  <a:lnTo>
                    <a:pt x="131470" y="4838"/>
                  </a:lnTo>
                  <a:lnTo>
                    <a:pt x="122999" y="13703"/>
                  </a:lnTo>
                  <a:lnTo>
                    <a:pt x="118656" y="25692"/>
                  </a:lnTo>
                  <a:lnTo>
                    <a:pt x="115366" y="49339"/>
                  </a:lnTo>
                  <a:lnTo>
                    <a:pt x="112915" y="49352"/>
                  </a:lnTo>
                  <a:lnTo>
                    <a:pt x="100812" y="55079"/>
                  </a:lnTo>
                  <a:lnTo>
                    <a:pt x="92075" y="65239"/>
                  </a:lnTo>
                  <a:lnTo>
                    <a:pt x="88239" y="78663"/>
                  </a:lnTo>
                  <a:lnTo>
                    <a:pt x="70904" y="368846"/>
                  </a:lnTo>
                  <a:lnTo>
                    <a:pt x="0" y="878509"/>
                  </a:lnTo>
                  <a:lnTo>
                    <a:pt x="1688160" y="1026020"/>
                  </a:lnTo>
                  <a:lnTo>
                    <a:pt x="1695462" y="994346"/>
                  </a:lnTo>
                  <a:lnTo>
                    <a:pt x="1711667" y="995857"/>
                  </a:lnTo>
                  <a:lnTo>
                    <a:pt x="1748078" y="766267"/>
                  </a:lnTo>
                  <a:lnTo>
                    <a:pt x="1824151" y="436524"/>
                  </a:lnTo>
                  <a:lnTo>
                    <a:pt x="1824824" y="411073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17622634" y="7436059"/>
              <a:ext cx="1917064" cy="1231265"/>
            </a:xfrm>
            <a:custGeom>
              <a:avLst/>
              <a:gdLst/>
              <a:ahLst/>
              <a:cxnLst/>
              <a:rect l="l" t="t" r="r" b="b"/>
              <a:pathLst>
                <a:path w="1917065" h="1231265">
                  <a:moveTo>
                    <a:pt x="1916684" y="424637"/>
                  </a:moveTo>
                  <a:lnTo>
                    <a:pt x="1906854" y="377634"/>
                  </a:lnTo>
                  <a:lnTo>
                    <a:pt x="1866684" y="351345"/>
                  </a:lnTo>
                  <a:lnTo>
                    <a:pt x="778471" y="145961"/>
                  </a:lnTo>
                  <a:lnTo>
                    <a:pt x="778141" y="120357"/>
                  </a:lnTo>
                  <a:lnTo>
                    <a:pt x="768375" y="97663"/>
                  </a:lnTo>
                  <a:lnTo>
                    <a:pt x="750798" y="80289"/>
                  </a:lnTo>
                  <a:lnTo>
                    <a:pt x="727087" y="70662"/>
                  </a:lnTo>
                  <a:lnTo>
                    <a:pt x="352717" y="0"/>
                  </a:lnTo>
                  <a:lnTo>
                    <a:pt x="327126" y="330"/>
                  </a:lnTo>
                  <a:lnTo>
                    <a:pt x="304431" y="10096"/>
                  </a:lnTo>
                  <a:lnTo>
                    <a:pt x="287058" y="27673"/>
                  </a:lnTo>
                  <a:lnTo>
                    <a:pt x="277431" y="51384"/>
                  </a:lnTo>
                  <a:lnTo>
                    <a:pt x="187655" y="34442"/>
                  </a:lnTo>
                  <a:lnTo>
                    <a:pt x="132029" y="46977"/>
                  </a:lnTo>
                  <a:lnTo>
                    <a:pt x="103073" y="96100"/>
                  </a:lnTo>
                  <a:lnTo>
                    <a:pt x="0" y="920584"/>
                  </a:lnTo>
                  <a:lnTo>
                    <a:pt x="2425" y="953325"/>
                  </a:lnTo>
                  <a:lnTo>
                    <a:pt x="16662" y="981659"/>
                  </a:lnTo>
                  <a:lnTo>
                    <a:pt x="40436" y="1002639"/>
                  </a:lnTo>
                  <a:lnTo>
                    <a:pt x="71488" y="1013307"/>
                  </a:lnTo>
                  <a:lnTo>
                    <a:pt x="1699171" y="1230668"/>
                  </a:lnTo>
                  <a:lnTo>
                    <a:pt x="1725155" y="1229118"/>
                  </a:lnTo>
                  <a:lnTo>
                    <a:pt x="1747939" y="1218412"/>
                  </a:lnTo>
                  <a:lnTo>
                    <a:pt x="1765261" y="1200150"/>
                  </a:lnTo>
                  <a:lnTo>
                    <a:pt x="1774875" y="1175969"/>
                  </a:lnTo>
                  <a:lnTo>
                    <a:pt x="1916684" y="424637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18731190" y="6995362"/>
              <a:ext cx="513715" cy="768985"/>
            </a:xfrm>
            <a:custGeom>
              <a:avLst/>
              <a:gdLst/>
              <a:ahLst/>
              <a:cxnLst/>
              <a:rect l="l" t="t" r="r" b="b"/>
              <a:pathLst>
                <a:path w="513715" h="768984">
                  <a:moveTo>
                    <a:pt x="176204" y="0"/>
                  </a:moveTo>
                  <a:lnTo>
                    <a:pt x="0" y="234987"/>
                  </a:lnTo>
                  <a:lnTo>
                    <a:pt x="43675" y="291554"/>
                  </a:lnTo>
                  <a:lnTo>
                    <a:pt x="84118" y="345792"/>
                  </a:lnTo>
                  <a:lnTo>
                    <a:pt x="121449" y="397741"/>
                  </a:lnTo>
                  <a:lnTo>
                    <a:pt x="155787" y="447439"/>
                  </a:lnTo>
                  <a:lnTo>
                    <a:pt x="187250" y="494925"/>
                  </a:lnTo>
                  <a:lnTo>
                    <a:pt x="215959" y="540238"/>
                  </a:lnTo>
                  <a:lnTo>
                    <a:pt x="242032" y="583418"/>
                  </a:lnTo>
                  <a:lnTo>
                    <a:pt x="265588" y="624503"/>
                  </a:lnTo>
                  <a:lnTo>
                    <a:pt x="286748" y="663533"/>
                  </a:lnTo>
                  <a:lnTo>
                    <a:pt x="305630" y="700546"/>
                  </a:lnTo>
                  <a:lnTo>
                    <a:pt x="322353" y="735581"/>
                  </a:lnTo>
                  <a:lnTo>
                    <a:pt x="337036" y="768678"/>
                  </a:lnTo>
                  <a:lnTo>
                    <a:pt x="513659" y="682544"/>
                  </a:lnTo>
                  <a:lnTo>
                    <a:pt x="477830" y="457135"/>
                  </a:lnTo>
                  <a:lnTo>
                    <a:pt x="430735" y="310900"/>
                  </a:lnTo>
                  <a:lnTo>
                    <a:pt x="340738" y="179851"/>
                  </a:lnTo>
                  <a:lnTo>
                    <a:pt x="176204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18951271" y="7677900"/>
              <a:ext cx="302260" cy="695325"/>
            </a:xfrm>
            <a:custGeom>
              <a:avLst/>
              <a:gdLst/>
              <a:ahLst/>
              <a:cxnLst/>
              <a:rect l="l" t="t" r="r" b="b"/>
              <a:pathLst>
                <a:path w="302259" h="695325">
                  <a:moveTo>
                    <a:pt x="293572" y="0"/>
                  </a:moveTo>
                  <a:lnTo>
                    <a:pt x="116959" y="86133"/>
                  </a:lnTo>
                  <a:lnTo>
                    <a:pt x="148136" y="168503"/>
                  </a:lnTo>
                  <a:lnTo>
                    <a:pt x="166953" y="236923"/>
                  </a:lnTo>
                  <a:lnTo>
                    <a:pt x="175989" y="292233"/>
                  </a:lnTo>
                  <a:lnTo>
                    <a:pt x="177819" y="335273"/>
                  </a:lnTo>
                  <a:lnTo>
                    <a:pt x="175023" y="366883"/>
                  </a:lnTo>
                  <a:lnTo>
                    <a:pt x="170177" y="387902"/>
                  </a:lnTo>
                  <a:lnTo>
                    <a:pt x="165858" y="399171"/>
                  </a:lnTo>
                  <a:lnTo>
                    <a:pt x="0" y="450049"/>
                  </a:lnTo>
                  <a:lnTo>
                    <a:pt x="4197" y="463569"/>
                  </a:lnTo>
                  <a:lnTo>
                    <a:pt x="17050" y="474548"/>
                  </a:lnTo>
                  <a:lnTo>
                    <a:pt x="36615" y="481180"/>
                  </a:lnTo>
                  <a:lnTo>
                    <a:pt x="60951" y="481660"/>
                  </a:lnTo>
                  <a:lnTo>
                    <a:pt x="81325" y="479369"/>
                  </a:lnTo>
                  <a:lnTo>
                    <a:pt x="93625" y="479353"/>
                  </a:lnTo>
                  <a:lnTo>
                    <a:pt x="102807" y="482283"/>
                  </a:lnTo>
                  <a:lnTo>
                    <a:pt x="113828" y="488833"/>
                  </a:lnTo>
                  <a:lnTo>
                    <a:pt x="95675" y="511759"/>
                  </a:lnTo>
                  <a:lnTo>
                    <a:pt x="73499" y="544593"/>
                  </a:lnTo>
                  <a:lnTo>
                    <a:pt x="51123" y="580085"/>
                  </a:lnTo>
                  <a:lnTo>
                    <a:pt x="25727" y="623067"/>
                  </a:lnTo>
                  <a:lnTo>
                    <a:pt x="9236" y="666741"/>
                  </a:lnTo>
                  <a:lnTo>
                    <a:pt x="10122" y="685998"/>
                  </a:lnTo>
                  <a:lnTo>
                    <a:pt x="24251" y="695310"/>
                  </a:lnTo>
                  <a:lnTo>
                    <a:pt x="56986" y="688509"/>
                  </a:lnTo>
                  <a:lnTo>
                    <a:pt x="113692" y="659424"/>
                  </a:lnTo>
                  <a:lnTo>
                    <a:pt x="150979" y="634910"/>
                  </a:lnTo>
                  <a:lnTo>
                    <a:pt x="175685" y="605057"/>
                  </a:lnTo>
                  <a:lnTo>
                    <a:pt x="198860" y="550353"/>
                  </a:lnTo>
                  <a:lnTo>
                    <a:pt x="231553" y="451284"/>
                  </a:lnTo>
                  <a:lnTo>
                    <a:pt x="252970" y="399927"/>
                  </a:lnTo>
                  <a:lnTo>
                    <a:pt x="270236" y="348654"/>
                  </a:lnTo>
                  <a:lnTo>
                    <a:pt x="283575" y="297557"/>
                  </a:lnTo>
                  <a:lnTo>
                    <a:pt x="293208" y="246733"/>
                  </a:lnTo>
                  <a:lnTo>
                    <a:pt x="299357" y="196275"/>
                  </a:lnTo>
                  <a:lnTo>
                    <a:pt x="302246" y="146278"/>
                  </a:lnTo>
                  <a:lnTo>
                    <a:pt x="302096" y="96837"/>
                  </a:lnTo>
                  <a:lnTo>
                    <a:pt x="299131" y="48046"/>
                  </a:lnTo>
                  <a:lnTo>
                    <a:pt x="293572" y="0"/>
                  </a:lnTo>
                  <a:close/>
                </a:path>
              </a:pathLst>
            </a:custGeom>
            <a:solidFill>
              <a:srgbClr val="F4D2AD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0" y="11140739"/>
              <a:ext cx="20104100" cy="168275"/>
            </a:xfrm>
            <a:custGeom>
              <a:avLst/>
              <a:gdLst/>
              <a:ahLst/>
              <a:cxnLst/>
              <a:rect l="l" t="t" r="r" b="b"/>
              <a:pathLst>
                <a:path w="20104100" h="168275">
                  <a:moveTo>
                    <a:pt x="20104099" y="0"/>
                  </a:moveTo>
                  <a:lnTo>
                    <a:pt x="0" y="0"/>
                  </a:lnTo>
                  <a:lnTo>
                    <a:pt x="0" y="167816"/>
                  </a:lnTo>
                  <a:lnTo>
                    <a:pt x="20104099" y="167816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6" name="object 56"/>
          <p:cNvSpPr txBox="1">
            <a:spLocks noGrp="1"/>
          </p:cNvSpPr>
          <p:nvPr>
            <p:ph type="title"/>
          </p:nvPr>
        </p:nvSpPr>
        <p:spPr>
          <a:xfrm>
            <a:off x="383608" y="373746"/>
            <a:ext cx="6626879" cy="469373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dirty="0"/>
              <a:t>ПРОЦЕСС</a:t>
            </a:r>
            <a:r>
              <a:rPr spc="-149" dirty="0"/>
              <a:t> </a:t>
            </a:r>
            <a:r>
              <a:rPr dirty="0"/>
              <a:t>ВВОДА</a:t>
            </a:r>
            <a:r>
              <a:rPr spc="-152" dirty="0"/>
              <a:t> </a:t>
            </a:r>
            <a:r>
              <a:rPr spc="-6" dirty="0" smtClean="0"/>
              <a:t>ТОВАРА</a:t>
            </a:r>
            <a:r>
              <a:rPr lang="ru-RU" spc="-6" dirty="0" smtClean="0"/>
              <a:t> СТМ</a:t>
            </a:r>
            <a:endParaRPr spc="-6" dirty="0"/>
          </a:p>
        </p:txBody>
      </p:sp>
      <p:grpSp>
        <p:nvGrpSpPr>
          <p:cNvPr id="57" name="object 57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58" name="object 58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object 59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0" name="object 60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10938683" y="6161991"/>
            <a:ext cx="616873" cy="20769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</a:pPr>
            <a:r>
              <a:rPr sz="1304" kern="0" dirty="0">
                <a:solidFill>
                  <a:srgbClr val="FFFFFF"/>
                </a:solidFill>
                <a:latin typeface="Verdana"/>
                <a:cs typeface="Verdana"/>
              </a:rPr>
              <a:t>стр.</a:t>
            </a:r>
            <a:r>
              <a:rPr sz="1304" kern="0" spc="-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304" kern="0" spc="-15" dirty="0">
                <a:solidFill>
                  <a:srgbClr val="FFFFFF"/>
                </a:solidFill>
                <a:latin typeface="Verdana"/>
                <a:cs typeface="Verdana"/>
              </a:rPr>
              <a:t>15</a:t>
            </a:r>
            <a:endParaRPr sz="130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57650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1024081" y="3886916"/>
            <a:ext cx="4702257" cy="1345601"/>
          </a:xfrm>
          <a:prstGeom prst="roundRect">
            <a:avLst/>
          </a:prstGeom>
          <a:solidFill>
            <a:srgbClr val="3CAC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endParaRPr lang="ru-RU" sz="1092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6465662" y="3886916"/>
            <a:ext cx="4910871" cy="1345601"/>
          </a:xfrm>
          <a:prstGeom prst="roundRect">
            <a:avLst/>
          </a:prstGeom>
          <a:solidFill>
            <a:srgbClr val="3CAC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endParaRPr lang="ru-RU" sz="1092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600023" y="1424560"/>
            <a:ext cx="1498286" cy="4148686"/>
          </a:xfrm>
          <a:custGeom>
            <a:avLst/>
            <a:gdLst/>
            <a:ahLst/>
            <a:cxnLst/>
            <a:rect l="l" t="t" r="r" b="b"/>
            <a:pathLst>
              <a:path w="2470784" h="6841490">
                <a:moveTo>
                  <a:pt x="2470710" y="0"/>
                </a:moveTo>
                <a:lnTo>
                  <a:pt x="153199" y="0"/>
                </a:lnTo>
                <a:lnTo>
                  <a:pt x="104774" y="7810"/>
                </a:lnTo>
                <a:lnTo>
                  <a:pt x="62719" y="29560"/>
                </a:lnTo>
                <a:lnTo>
                  <a:pt x="29557" y="62726"/>
                </a:lnTo>
                <a:lnTo>
                  <a:pt x="7809" y="104783"/>
                </a:lnTo>
                <a:lnTo>
                  <a:pt x="0" y="153209"/>
                </a:lnTo>
                <a:lnTo>
                  <a:pt x="0" y="6840995"/>
                </a:lnTo>
              </a:path>
            </a:pathLst>
          </a:custGeom>
          <a:ln w="29684">
            <a:solidFill>
              <a:srgbClr val="3CAC62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7093737" y="1424560"/>
            <a:ext cx="1498286" cy="4148686"/>
          </a:xfrm>
          <a:custGeom>
            <a:avLst/>
            <a:gdLst/>
            <a:ahLst/>
            <a:cxnLst/>
            <a:rect l="l" t="t" r="r" b="b"/>
            <a:pathLst>
              <a:path w="2470784" h="6841490">
                <a:moveTo>
                  <a:pt x="0" y="0"/>
                </a:moveTo>
                <a:lnTo>
                  <a:pt x="2317510" y="0"/>
                </a:lnTo>
                <a:lnTo>
                  <a:pt x="2365935" y="7810"/>
                </a:lnTo>
                <a:lnTo>
                  <a:pt x="2407990" y="29560"/>
                </a:lnTo>
                <a:lnTo>
                  <a:pt x="2441153" y="62726"/>
                </a:lnTo>
                <a:lnTo>
                  <a:pt x="2462900" y="104783"/>
                </a:lnTo>
                <a:lnTo>
                  <a:pt x="2470710" y="153209"/>
                </a:lnTo>
                <a:lnTo>
                  <a:pt x="2470710" y="6840995"/>
                </a:lnTo>
              </a:path>
            </a:pathLst>
          </a:custGeom>
          <a:ln w="29684">
            <a:solidFill>
              <a:srgbClr val="3CAC62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843946" y="5388335"/>
            <a:ext cx="10504176" cy="920178"/>
          </a:xfrm>
          <a:custGeom>
            <a:avLst/>
            <a:gdLst/>
            <a:ahLst/>
            <a:cxnLst/>
            <a:rect l="l" t="t" r="r" b="b"/>
            <a:pathLst>
              <a:path w="17322165" h="1175384">
                <a:moveTo>
                  <a:pt x="17063438" y="0"/>
                </a:moveTo>
                <a:lnTo>
                  <a:pt x="258609" y="0"/>
                </a:lnTo>
                <a:lnTo>
                  <a:pt x="212125" y="4166"/>
                </a:lnTo>
                <a:lnTo>
                  <a:pt x="168373" y="16179"/>
                </a:lnTo>
                <a:lnTo>
                  <a:pt x="128086" y="35308"/>
                </a:lnTo>
                <a:lnTo>
                  <a:pt x="91992" y="60822"/>
                </a:lnTo>
                <a:lnTo>
                  <a:pt x="60822" y="91992"/>
                </a:lnTo>
                <a:lnTo>
                  <a:pt x="35308" y="128086"/>
                </a:lnTo>
                <a:lnTo>
                  <a:pt x="16179" y="168373"/>
                </a:lnTo>
                <a:lnTo>
                  <a:pt x="4166" y="212125"/>
                </a:lnTo>
                <a:lnTo>
                  <a:pt x="0" y="258609"/>
                </a:lnTo>
                <a:lnTo>
                  <a:pt x="0" y="916474"/>
                </a:lnTo>
                <a:lnTo>
                  <a:pt x="4166" y="962962"/>
                </a:lnTo>
                <a:lnTo>
                  <a:pt x="16179" y="1006716"/>
                </a:lnTo>
                <a:lnTo>
                  <a:pt x="35308" y="1047005"/>
                </a:lnTo>
                <a:lnTo>
                  <a:pt x="60822" y="1083101"/>
                </a:lnTo>
                <a:lnTo>
                  <a:pt x="91992" y="1114271"/>
                </a:lnTo>
                <a:lnTo>
                  <a:pt x="128086" y="1139786"/>
                </a:lnTo>
                <a:lnTo>
                  <a:pt x="168373" y="1158915"/>
                </a:lnTo>
                <a:lnTo>
                  <a:pt x="212125" y="1170928"/>
                </a:lnTo>
                <a:lnTo>
                  <a:pt x="258609" y="1175095"/>
                </a:lnTo>
                <a:lnTo>
                  <a:pt x="17063438" y="1175095"/>
                </a:lnTo>
                <a:lnTo>
                  <a:pt x="17109926" y="1170928"/>
                </a:lnTo>
                <a:lnTo>
                  <a:pt x="17153680" y="1158915"/>
                </a:lnTo>
                <a:lnTo>
                  <a:pt x="17193969" y="1139786"/>
                </a:lnTo>
                <a:lnTo>
                  <a:pt x="17230064" y="1114271"/>
                </a:lnTo>
                <a:lnTo>
                  <a:pt x="17261235" y="1083101"/>
                </a:lnTo>
                <a:lnTo>
                  <a:pt x="17286749" y="1047005"/>
                </a:lnTo>
                <a:lnTo>
                  <a:pt x="17305879" y="1006716"/>
                </a:lnTo>
                <a:lnTo>
                  <a:pt x="17317892" y="962962"/>
                </a:lnTo>
                <a:lnTo>
                  <a:pt x="17322058" y="916474"/>
                </a:lnTo>
                <a:lnTo>
                  <a:pt x="17322058" y="258609"/>
                </a:lnTo>
                <a:lnTo>
                  <a:pt x="17317892" y="212125"/>
                </a:lnTo>
                <a:lnTo>
                  <a:pt x="17305879" y="168373"/>
                </a:lnTo>
                <a:lnTo>
                  <a:pt x="17286749" y="128086"/>
                </a:lnTo>
                <a:lnTo>
                  <a:pt x="17261235" y="91992"/>
                </a:lnTo>
                <a:lnTo>
                  <a:pt x="17230064" y="60822"/>
                </a:lnTo>
                <a:lnTo>
                  <a:pt x="17193969" y="35308"/>
                </a:lnTo>
                <a:lnTo>
                  <a:pt x="17153680" y="16179"/>
                </a:lnTo>
                <a:lnTo>
                  <a:pt x="17109926" y="4166"/>
                </a:lnTo>
                <a:lnTo>
                  <a:pt x="17063438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45192" y="5508349"/>
            <a:ext cx="10101615" cy="625448"/>
          </a:xfrm>
          <a:prstGeom prst="rect">
            <a:avLst/>
          </a:prstGeom>
        </p:spPr>
        <p:txBody>
          <a:bodyPr vert="horz" wrap="square" lIns="0" tIns="50058" rIns="0" bIns="0" rtlCol="0">
            <a:spAutoFit/>
          </a:bodyPr>
          <a:lstStyle/>
          <a:p>
            <a:pPr marL="7316" marR="3081" indent="-770" algn="ctr" defTabSz="554492">
              <a:lnSpc>
                <a:spcPct val="80600"/>
              </a:lnSpc>
              <a:spcBef>
                <a:spcPts val="394"/>
              </a:spcBef>
            </a:pPr>
            <a:r>
              <a:rPr sz="1400" b="1" kern="0" dirty="0" smtClean="0">
                <a:solidFill>
                  <a:srgbClr val="FFFFFF"/>
                </a:solidFill>
                <a:latin typeface="Verdana"/>
                <a:cs typeface="Verdana"/>
              </a:rPr>
              <a:t>В</a:t>
            </a:r>
            <a:r>
              <a:rPr sz="1400" b="1" kern="0" spc="-69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b="1" kern="0" dirty="0" err="1" smtClean="0">
                <a:solidFill>
                  <a:srgbClr val="FFFFFF"/>
                </a:solidFill>
                <a:latin typeface="Verdana"/>
                <a:cs typeface="Verdana"/>
              </a:rPr>
              <a:t>случае</a:t>
            </a:r>
            <a:r>
              <a:rPr sz="1400" b="1" kern="0" spc="-67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b="1" kern="0" dirty="0" err="1" smtClean="0">
                <a:solidFill>
                  <a:srgbClr val="FFFFFF"/>
                </a:solidFill>
                <a:latin typeface="Verdana"/>
                <a:cs typeface="Verdana"/>
              </a:rPr>
              <a:t>выявления</a:t>
            </a:r>
            <a:r>
              <a:rPr sz="1400" b="1" kern="0" spc="-67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b="1" kern="0" spc="-6" dirty="0" err="1" smtClean="0">
                <a:solidFill>
                  <a:srgbClr val="FFFFFF"/>
                </a:solidFill>
                <a:latin typeface="Verdana"/>
                <a:cs typeface="Verdana"/>
              </a:rPr>
              <a:t>нарушений</a:t>
            </a:r>
            <a:r>
              <a:rPr sz="1400" b="1" kern="0" spc="-6" dirty="0" smtClean="0">
                <a:solidFill>
                  <a:srgbClr val="FFFFFF"/>
                </a:solidFill>
                <a:latin typeface="Verdana"/>
                <a:cs typeface="Verdana"/>
              </a:rPr>
              <a:t>,</a:t>
            </a:r>
            <a:r>
              <a:rPr sz="1400" b="1" kern="0" spc="-67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b="1" kern="0" spc="-6" dirty="0" err="1" smtClean="0">
                <a:solidFill>
                  <a:srgbClr val="FFFFFF"/>
                </a:solidFill>
                <a:latin typeface="Verdana"/>
                <a:cs typeface="Verdana"/>
              </a:rPr>
              <a:t>несоответствий</a:t>
            </a:r>
            <a:r>
              <a:rPr sz="1400" b="1" kern="0" spc="-69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b="1" kern="0" dirty="0" err="1" smtClean="0">
                <a:solidFill>
                  <a:srgbClr val="FFFFFF"/>
                </a:solidFill>
                <a:latin typeface="Verdana"/>
                <a:cs typeface="Verdana"/>
              </a:rPr>
              <a:t>связываемся</a:t>
            </a:r>
            <a:r>
              <a:rPr sz="1400" b="1" kern="0" spc="-67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b="1" kern="0" dirty="0" smtClean="0">
                <a:solidFill>
                  <a:srgbClr val="FFFFFF"/>
                </a:solidFill>
                <a:latin typeface="Verdana"/>
                <a:cs typeface="Verdana"/>
              </a:rPr>
              <a:t>с</a:t>
            </a:r>
            <a:r>
              <a:rPr sz="1400" b="1" kern="0" spc="-67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b="1" kern="0" spc="-6" dirty="0" err="1" smtClean="0">
                <a:solidFill>
                  <a:srgbClr val="FFFFFF"/>
                </a:solidFill>
                <a:latin typeface="Verdana"/>
                <a:cs typeface="Verdana"/>
              </a:rPr>
              <a:t>производителем</a:t>
            </a:r>
            <a:r>
              <a:rPr sz="1400" b="1" kern="0" spc="-6" dirty="0" smtClean="0">
                <a:solidFill>
                  <a:srgbClr val="FFFFFF"/>
                </a:solidFill>
                <a:latin typeface="Verdana"/>
                <a:cs typeface="Verdana"/>
              </a:rPr>
              <a:t>. </a:t>
            </a:r>
          </a:p>
          <a:p>
            <a:pPr marL="7316" marR="3081" indent="-770" algn="ctr" defTabSz="554492">
              <a:lnSpc>
                <a:spcPct val="80600"/>
              </a:lnSpc>
              <a:spcBef>
                <a:spcPts val="394"/>
              </a:spcBef>
            </a:pPr>
            <a:r>
              <a:rPr sz="1400" kern="0" dirty="0" smtClean="0">
                <a:solidFill>
                  <a:srgbClr val="FFFFFF"/>
                </a:solidFill>
                <a:latin typeface="Verdana"/>
                <a:cs typeface="Verdana"/>
              </a:rPr>
              <a:t>В</a:t>
            </a:r>
            <a:r>
              <a:rPr sz="1400" kern="0" spc="39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зависимости</a:t>
            </a:r>
            <a:r>
              <a:rPr sz="1400" kern="0" spc="39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от</a:t>
            </a:r>
            <a:r>
              <a:rPr sz="1400" kern="0" spc="36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критичности</a:t>
            </a:r>
            <a:r>
              <a:rPr lang="ru-RU" sz="1400" kern="0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lang="ru-RU"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несответствия</a:t>
            </a:r>
            <a:r>
              <a:rPr sz="1400" kern="0" spc="39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smtClean="0">
                <a:solidFill>
                  <a:srgbClr val="FFFFFF"/>
                </a:solidFill>
                <a:latin typeface="Verdana"/>
                <a:cs typeface="Verdana"/>
              </a:rPr>
              <a:t>и</a:t>
            </a:r>
            <a:r>
              <a:rPr sz="1400" kern="0" spc="36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эффективности</a:t>
            </a:r>
            <a:r>
              <a:rPr sz="1400" kern="0" spc="39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предпринятых</a:t>
            </a:r>
            <a:r>
              <a:rPr sz="1400" kern="0" spc="42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мер</a:t>
            </a:r>
            <a:r>
              <a:rPr sz="1400" kern="0" spc="39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поставки</a:t>
            </a:r>
            <a:r>
              <a:rPr sz="1400" kern="0" spc="39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товаров</a:t>
            </a:r>
            <a:r>
              <a:rPr sz="1400" kern="0" spc="39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spc="-6" dirty="0" err="1" smtClean="0">
                <a:solidFill>
                  <a:srgbClr val="FFFFFF"/>
                </a:solidFill>
                <a:latin typeface="Verdana"/>
                <a:cs typeface="Verdana"/>
              </a:rPr>
              <a:t>поставщика</a:t>
            </a:r>
            <a:r>
              <a:rPr sz="1400" kern="0" spc="-6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могут</a:t>
            </a:r>
            <a:r>
              <a:rPr sz="1400" kern="0" spc="49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быть</a:t>
            </a:r>
            <a:r>
              <a:rPr sz="1400" kern="0" spc="52" dirty="0" smtClean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00" kern="0" dirty="0" err="1" smtClean="0">
                <a:solidFill>
                  <a:srgbClr val="FFFFFF"/>
                </a:solidFill>
                <a:latin typeface="Verdana"/>
                <a:cs typeface="Verdana"/>
              </a:rPr>
              <a:t>заблокированы</a:t>
            </a:r>
            <a:r>
              <a:rPr lang="ru-RU" sz="1400" kern="0" dirty="0" smtClean="0">
                <a:solidFill>
                  <a:srgbClr val="FFFFFF"/>
                </a:solidFill>
                <a:latin typeface="Verdana"/>
                <a:cs typeface="Verdana"/>
              </a:rPr>
              <a:t>.</a:t>
            </a:r>
            <a:endParaRPr sz="1400" kern="0" dirty="0">
              <a:solidFill>
                <a:prstClr val="white"/>
              </a:solidFill>
              <a:latin typeface="Verdana"/>
              <a:cs typeface="Verdan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040852" y="1560292"/>
            <a:ext cx="4685486" cy="2124016"/>
          </a:xfrm>
          <a:custGeom>
            <a:avLst/>
            <a:gdLst/>
            <a:ahLst/>
            <a:cxnLst/>
            <a:rect l="l" t="t" r="r" b="b"/>
            <a:pathLst>
              <a:path w="6607175" h="3502660">
                <a:moveTo>
                  <a:pt x="6270049" y="0"/>
                </a:moveTo>
                <a:lnTo>
                  <a:pt x="336837" y="0"/>
                </a:lnTo>
                <a:lnTo>
                  <a:pt x="291131" y="3075"/>
                </a:lnTo>
                <a:lnTo>
                  <a:pt x="247294" y="12032"/>
                </a:lnTo>
                <a:lnTo>
                  <a:pt x="205727" y="26471"/>
                </a:lnTo>
                <a:lnTo>
                  <a:pt x="166831" y="45989"/>
                </a:lnTo>
                <a:lnTo>
                  <a:pt x="131008" y="70186"/>
                </a:lnTo>
                <a:lnTo>
                  <a:pt x="98659" y="98660"/>
                </a:lnTo>
                <a:lnTo>
                  <a:pt x="70185" y="131010"/>
                </a:lnTo>
                <a:lnTo>
                  <a:pt x="45989" y="166834"/>
                </a:lnTo>
                <a:lnTo>
                  <a:pt x="26471" y="205731"/>
                </a:lnTo>
                <a:lnTo>
                  <a:pt x="12032" y="247300"/>
                </a:lnTo>
                <a:lnTo>
                  <a:pt x="3075" y="291140"/>
                </a:lnTo>
                <a:lnTo>
                  <a:pt x="0" y="336848"/>
                </a:lnTo>
                <a:lnTo>
                  <a:pt x="0" y="3165516"/>
                </a:lnTo>
                <a:lnTo>
                  <a:pt x="3075" y="3211222"/>
                </a:lnTo>
                <a:lnTo>
                  <a:pt x="12032" y="3255059"/>
                </a:lnTo>
                <a:lnTo>
                  <a:pt x="26471" y="3296626"/>
                </a:lnTo>
                <a:lnTo>
                  <a:pt x="45989" y="3335522"/>
                </a:lnTo>
                <a:lnTo>
                  <a:pt x="70185" y="3371345"/>
                </a:lnTo>
                <a:lnTo>
                  <a:pt x="98659" y="3403694"/>
                </a:lnTo>
                <a:lnTo>
                  <a:pt x="131008" y="3432168"/>
                </a:lnTo>
                <a:lnTo>
                  <a:pt x="166831" y="3456364"/>
                </a:lnTo>
                <a:lnTo>
                  <a:pt x="205727" y="3475883"/>
                </a:lnTo>
                <a:lnTo>
                  <a:pt x="247294" y="3490321"/>
                </a:lnTo>
                <a:lnTo>
                  <a:pt x="291131" y="3499279"/>
                </a:lnTo>
                <a:lnTo>
                  <a:pt x="336837" y="3502354"/>
                </a:lnTo>
                <a:lnTo>
                  <a:pt x="6270049" y="3502354"/>
                </a:lnTo>
                <a:lnTo>
                  <a:pt x="6315758" y="3499279"/>
                </a:lnTo>
                <a:lnTo>
                  <a:pt x="6359596" y="3490321"/>
                </a:lnTo>
                <a:lnTo>
                  <a:pt x="6401164" y="3475883"/>
                </a:lnTo>
                <a:lnTo>
                  <a:pt x="6440061" y="3456364"/>
                </a:lnTo>
                <a:lnTo>
                  <a:pt x="6475883" y="3432168"/>
                </a:lnTo>
                <a:lnTo>
                  <a:pt x="6508232" y="3403694"/>
                </a:lnTo>
                <a:lnTo>
                  <a:pt x="6536705" y="3371345"/>
                </a:lnTo>
                <a:lnTo>
                  <a:pt x="6560900" y="3335522"/>
                </a:lnTo>
                <a:lnTo>
                  <a:pt x="6580418" y="3296626"/>
                </a:lnTo>
                <a:lnTo>
                  <a:pt x="6594856" y="3255059"/>
                </a:lnTo>
                <a:lnTo>
                  <a:pt x="6603813" y="3211222"/>
                </a:lnTo>
                <a:lnTo>
                  <a:pt x="6606887" y="3165516"/>
                </a:lnTo>
                <a:lnTo>
                  <a:pt x="6606887" y="336848"/>
                </a:lnTo>
                <a:lnTo>
                  <a:pt x="6603813" y="291140"/>
                </a:lnTo>
                <a:lnTo>
                  <a:pt x="6594856" y="247300"/>
                </a:lnTo>
                <a:lnTo>
                  <a:pt x="6580418" y="205731"/>
                </a:lnTo>
                <a:lnTo>
                  <a:pt x="6560900" y="166834"/>
                </a:lnTo>
                <a:lnTo>
                  <a:pt x="6536705" y="131010"/>
                </a:lnTo>
                <a:lnTo>
                  <a:pt x="6508232" y="98660"/>
                </a:lnTo>
                <a:lnTo>
                  <a:pt x="6475883" y="70186"/>
                </a:lnTo>
                <a:lnTo>
                  <a:pt x="6440061" y="45989"/>
                </a:lnTo>
                <a:lnTo>
                  <a:pt x="6401164" y="26471"/>
                </a:lnTo>
                <a:lnTo>
                  <a:pt x="6359596" y="12032"/>
                </a:lnTo>
                <a:lnTo>
                  <a:pt x="6315758" y="3075"/>
                </a:lnTo>
                <a:lnTo>
                  <a:pt x="6270049" y="0"/>
                </a:lnTo>
                <a:close/>
              </a:path>
            </a:pathLst>
          </a:custGeom>
          <a:solidFill>
            <a:srgbClr val="ECECE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335807" y="1672358"/>
            <a:ext cx="3576480" cy="1822376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defTabSz="554492">
              <a:lnSpc>
                <a:spcPts val="2104"/>
              </a:lnSpc>
              <a:spcBef>
                <a:spcPts val="61"/>
              </a:spcBef>
            </a:pPr>
            <a:r>
              <a:rPr sz="1789" b="1" kern="0" spc="-6" dirty="0">
                <a:solidFill>
                  <a:srgbClr val="0A4DAC"/>
                </a:solidFill>
                <a:latin typeface="Verdana"/>
                <a:cs typeface="Verdana"/>
              </a:rPr>
              <a:t>ОБЪЕКТИВНОЕ</a:t>
            </a:r>
            <a:r>
              <a:rPr sz="1789" b="1" kern="0" spc="-124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789" b="1" kern="0" spc="-6" dirty="0">
                <a:solidFill>
                  <a:srgbClr val="0A4DAC"/>
                </a:solidFill>
                <a:latin typeface="Verdana"/>
                <a:cs typeface="Verdana"/>
              </a:rPr>
              <a:t>КАЧЕСТВО</a:t>
            </a:r>
            <a:endParaRPr sz="178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1486"/>
              </a:lnSpc>
            </a:pPr>
            <a:r>
              <a:rPr sz="1273" b="1" kern="0" dirty="0">
                <a:solidFill>
                  <a:srgbClr val="0A4DAC"/>
                </a:solidFill>
                <a:latin typeface="Verdana"/>
                <a:cs typeface="Verdana"/>
              </a:rPr>
              <a:t>(оценка</a:t>
            </a:r>
            <a:r>
              <a:rPr sz="1273" b="1" kern="0" spc="39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273" b="1" kern="0" dirty="0">
                <a:solidFill>
                  <a:srgbClr val="0A4DAC"/>
                </a:solidFill>
                <a:latin typeface="Verdana"/>
                <a:cs typeface="Verdana"/>
              </a:rPr>
              <a:t>с</a:t>
            </a:r>
            <a:r>
              <a:rPr sz="1273" b="1" kern="0" spc="39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273" b="1" kern="0" dirty="0">
                <a:solidFill>
                  <a:srgbClr val="0A4DAC"/>
                </a:solidFill>
                <a:latin typeface="Verdana"/>
                <a:cs typeface="Verdana"/>
              </a:rPr>
              <a:t>точки</a:t>
            </a:r>
            <a:r>
              <a:rPr sz="1273" b="1" kern="0" spc="39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273" b="1" kern="0" dirty="0">
                <a:solidFill>
                  <a:srgbClr val="0A4DAC"/>
                </a:solidFill>
                <a:latin typeface="Verdana"/>
                <a:cs typeface="Verdana"/>
              </a:rPr>
              <a:t>зрения</a:t>
            </a:r>
            <a:r>
              <a:rPr sz="1273" b="1" kern="0" spc="42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273" b="1" kern="0" spc="-6" dirty="0">
                <a:solidFill>
                  <a:srgbClr val="0A4DAC"/>
                </a:solidFill>
                <a:latin typeface="Verdana"/>
                <a:cs typeface="Verdana"/>
              </a:rPr>
              <a:t>экспертов)</a:t>
            </a:r>
            <a:endParaRPr sz="127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70198" indent="-162497" defTabSz="554492">
              <a:spcBef>
                <a:spcPts val="897"/>
              </a:spcBef>
              <a:buFontTx/>
              <a:buChar char="•"/>
              <a:tabLst>
                <a:tab pos="170198" algn="l"/>
              </a:tabLst>
            </a:pPr>
            <a:r>
              <a:rPr sz="1425" kern="0" dirty="0">
                <a:solidFill>
                  <a:srgbClr val="0A4DAC"/>
                </a:solidFill>
                <a:latin typeface="Verdana"/>
                <a:cs typeface="Verdana"/>
              </a:rPr>
              <a:t>Лабораторные</a:t>
            </a:r>
            <a:r>
              <a:rPr sz="1425" kern="0" spc="-3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425" kern="0" spc="-6" dirty="0">
                <a:solidFill>
                  <a:srgbClr val="0A4DAC"/>
                </a:solidFill>
                <a:latin typeface="Verdana"/>
                <a:cs typeface="Verdana"/>
              </a:rPr>
              <a:t>тесты</a:t>
            </a:r>
            <a:endParaRPr sz="142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70198" indent="-162497" defTabSz="554492">
              <a:spcBef>
                <a:spcPts val="9"/>
              </a:spcBef>
              <a:buFontTx/>
              <a:buChar char="•"/>
              <a:tabLst>
                <a:tab pos="170198" algn="l"/>
              </a:tabLst>
            </a:pPr>
            <a:r>
              <a:rPr sz="1425" kern="0" dirty="0">
                <a:solidFill>
                  <a:srgbClr val="0A4DAC"/>
                </a:solidFill>
                <a:latin typeface="Verdana"/>
                <a:cs typeface="Verdana"/>
              </a:rPr>
              <a:t>Нормативная</a:t>
            </a:r>
            <a:r>
              <a:rPr sz="1425" kern="0" spc="-6" dirty="0">
                <a:solidFill>
                  <a:srgbClr val="0A4DAC"/>
                </a:solidFill>
                <a:latin typeface="Verdana"/>
                <a:cs typeface="Verdana"/>
              </a:rPr>
              <a:t> документация</a:t>
            </a:r>
            <a:endParaRPr sz="142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69813" marR="3081" indent="-162497" defTabSz="554492">
              <a:lnSpc>
                <a:spcPct val="100499"/>
              </a:lnSpc>
              <a:spcAft>
                <a:spcPts val="1092"/>
              </a:spcAft>
              <a:buFontTx/>
              <a:buChar char="•"/>
              <a:tabLst>
                <a:tab pos="184831" algn="l"/>
              </a:tabLst>
            </a:pPr>
            <a:r>
              <a:rPr sz="1425" kern="0" dirty="0">
                <a:solidFill>
                  <a:srgbClr val="0A4DAC"/>
                </a:solidFill>
                <a:latin typeface="Verdana"/>
                <a:cs typeface="Verdana"/>
              </a:rPr>
              <a:t>Экспертные</a:t>
            </a:r>
            <a:r>
              <a:rPr sz="1425" kern="0" spc="3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425" kern="0" dirty="0">
                <a:solidFill>
                  <a:srgbClr val="0A4DAC"/>
                </a:solidFill>
                <a:latin typeface="Verdana"/>
                <a:cs typeface="Verdana"/>
              </a:rPr>
              <a:t>дегустации,</a:t>
            </a:r>
            <a:r>
              <a:rPr sz="1425" kern="0" spc="-3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lang="ru-RU" sz="1425" kern="0" spc="-6" dirty="0">
                <a:solidFill>
                  <a:srgbClr val="0A4DAC"/>
                </a:solidFill>
                <a:latin typeface="Verdana"/>
                <a:cs typeface="Verdana"/>
              </a:rPr>
              <a:t>инспекции</a:t>
            </a:r>
          </a:p>
          <a:p>
            <a:pPr marL="7316" marR="3081" defTabSz="554492">
              <a:lnSpc>
                <a:spcPct val="100499"/>
              </a:lnSpc>
              <a:spcAft>
                <a:spcPts val="1092"/>
              </a:spcAft>
              <a:tabLst>
                <a:tab pos="184831" algn="l"/>
              </a:tabLst>
            </a:pPr>
            <a:r>
              <a:rPr sz="1425" kern="0" spc="-6" dirty="0">
                <a:solidFill>
                  <a:srgbClr val="0A4DAC"/>
                </a:solidFill>
                <a:latin typeface="Verdana"/>
                <a:cs typeface="Verdana"/>
              </a:rPr>
              <a:t> 	</a:t>
            </a:r>
            <a:r>
              <a:rPr sz="1425" b="1" kern="0" dirty="0">
                <a:solidFill>
                  <a:srgbClr val="0A4DAC"/>
                </a:solidFill>
                <a:latin typeface="Verdana"/>
                <a:cs typeface="Verdana"/>
              </a:rPr>
              <a:t>Соответствие</a:t>
            </a:r>
            <a:r>
              <a:rPr sz="1425" b="1" kern="0" spc="-30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425" b="1" kern="0" spc="-6" dirty="0">
                <a:solidFill>
                  <a:srgbClr val="0A4DAC"/>
                </a:solidFill>
                <a:latin typeface="Verdana"/>
                <a:cs typeface="Verdana"/>
              </a:rPr>
              <a:t>требованиям 	</a:t>
            </a:r>
            <a:r>
              <a:rPr sz="1425" b="1" kern="0" dirty="0">
                <a:solidFill>
                  <a:srgbClr val="0A4DAC"/>
                </a:solidFill>
                <a:latin typeface="Verdana"/>
                <a:cs typeface="Verdana"/>
              </a:rPr>
              <a:t>нормативной</a:t>
            </a:r>
            <a:r>
              <a:rPr sz="1425" b="1" kern="0" spc="-12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425" b="1" kern="0" spc="-6" dirty="0">
                <a:solidFill>
                  <a:srgbClr val="0A4DAC"/>
                </a:solidFill>
                <a:latin typeface="Verdana"/>
                <a:cs typeface="Verdana"/>
              </a:rPr>
              <a:t>документации</a:t>
            </a:r>
            <a:endParaRPr sz="142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71489" y="2207600"/>
            <a:ext cx="887189" cy="887189"/>
          </a:xfrm>
          <a:custGeom>
            <a:avLst/>
            <a:gdLst/>
            <a:ahLst/>
            <a:cxnLst/>
            <a:rect l="l" t="t" r="r" b="b"/>
            <a:pathLst>
              <a:path w="1463039" h="1463039">
                <a:moveTo>
                  <a:pt x="731255" y="0"/>
                </a:moveTo>
                <a:lnTo>
                  <a:pt x="683174" y="1555"/>
                </a:lnTo>
                <a:lnTo>
                  <a:pt x="635925" y="6157"/>
                </a:lnTo>
                <a:lnTo>
                  <a:pt x="589601" y="13709"/>
                </a:lnTo>
                <a:lnTo>
                  <a:pt x="544302" y="24115"/>
                </a:lnTo>
                <a:lnTo>
                  <a:pt x="500121" y="37278"/>
                </a:lnTo>
                <a:lnTo>
                  <a:pt x="457157" y="53103"/>
                </a:lnTo>
                <a:lnTo>
                  <a:pt x="415504" y="71492"/>
                </a:lnTo>
                <a:lnTo>
                  <a:pt x="375261" y="92350"/>
                </a:lnTo>
                <a:lnTo>
                  <a:pt x="336522" y="115580"/>
                </a:lnTo>
                <a:lnTo>
                  <a:pt x="299384" y="141085"/>
                </a:lnTo>
                <a:lnTo>
                  <a:pt x="263945" y="168770"/>
                </a:lnTo>
                <a:lnTo>
                  <a:pt x="230299" y="198539"/>
                </a:lnTo>
                <a:lnTo>
                  <a:pt x="198543" y="230293"/>
                </a:lnTo>
                <a:lnTo>
                  <a:pt x="168775" y="263939"/>
                </a:lnTo>
                <a:lnTo>
                  <a:pt x="141089" y="299378"/>
                </a:lnTo>
                <a:lnTo>
                  <a:pt x="115583" y="336515"/>
                </a:lnTo>
                <a:lnTo>
                  <a:pt x="92352" y="375253"/>
                </a:lnTo>
                <a:lnTo>
                  <a:pt x="71494" y="415496"/>
                </a:lnTo>
                <a:lnTo>
                  <a:pt x="53104" y="457148"/>
                </a:lnTo>
                <a:lnTo>
                  <a:pt x="37279" y="500112"/>
                </a:lnTo>
                <a:lnTo>
                  <a:pt x="24116" y="544292"/>
                </a:lnTo>
                <a:lnTo>
                  <a:pt x="13709" y="589591"/>
                </a:lnTo>
                <a:lnTo>
                  <a:pt x="6157" y="635914"/>
                </a:lnTo>
                <a:lnTo>
                  <a:pt x="1555" y="683164"/>
                </a:lnTo>
                <a:lnTo>
                  <a:pt x="0" y="731244"/>
                </a:lnTo>
                <a:lnTo>
                  <a:pt x="1555" y="779325"/>
                </a:lnTo>
                <a:lnTo>
                  <a:pt x="6157" y="826574"/>
                </a:lnTo>
                <a:lnTo>
                  <a:pt x="13709" y="872897"/>
                </a:lnTo>
                <a:lnTo>
                  <a:pt x="24116" y="918197"/>
                </a:lnTo>
                <a:lnTo>
                  <a:pt x="37279" y="962377"/>
                </a:lnTo>
                <a:lnTo>
                  <a:pt x="53104" y="1005341"/>
                </a:lnTo>
                <a:lnTo>
                  <a:pt x="71494" y="1046993"/>
                </a:lnTo>
                <a:lnTo>
                  <a:pt x="92352" y="1087236"/>
                </a:lnTo>
                <a:lnTo>
                  <a:pt x="115583" y="1125974"/>
                </a:lnTo>
                <a:lnTo>
                  <a:pt x="141089" y="1163111"/>
                </a:lnTo>
                <a:lnTo>
                  <a:pt x="168775" y="1198550"/>
                </a:lnTo>
                <a:lnTo>
                  <a:pt x="198543" y="1232195"/>
                </a:lnTo>
                <a:lnTo>
                  <a:pt x="230299" y="1263950"/>
                </a:lnTo>
                <a:lnTo>
                  <a:pt x="263945" y="1293718"/>
                </a:lnTo>
                <a:lnTo>
                  <a:pt x="299384" y="1321403"/>
                </a:lnTo>
                <a:lnTo>
                  <a:pt x="336522" y="1346909"/>
                </a:lnTo>
                <a:lnTo>
                  <a:pt x="375261" y="1370139"/>
                </a:lnTo>
                <a:lnTo>
                  <a:pt x="415504" y="1390996"/>
                </a:lnTo>
                <a:lnTo>
                  <a:pt x="457157" y="1409386"/>
                </a:lnTo>
                <a:lnTo>
                  <a:pt x="500121" y="1425210"/>
                </a:lnTo>
                <a:lnTo>
                  <a:pt x="544302" y="1438374"/>
                </a:lnTo>
                <a:lnTo>
                  <a:pt x="589601" y="1448780"/>
                </a:lnTo>
                <a:lnTo>
                  <a:pt x="635925" y="1456332"/>
                </a:lnTo>
                <a:lnTo>
                  <a:pt x="683174" y="1460934"/>
                </a:lnTo>
                <a:lnTo>
                  <a:pt x="731255" y="1462489"/>
                </a:lnTo>
                <a:lnTo>
                  <a:pt x="779334" y="1460934"/>
                </a:lnTo>
                <a:lnTo>
                  <a:pt x="826583" y="1456332"/>
                </a:lnTo>
                <a:lnTo>
                  <a:pt x="872905" y="1448780"/>
                </a:lnTo>
                <a:lnTo>
                  <a:pt x="918204" y="1438374"/>
                </a:lnTo>
                <a:lnTo>
                  <a:pt x="962383" y="1425210"/>
                </a:lnTo>
                <a:lnTo>
                  <a:pt x="1005347" y="1409386"/>
                </a:lnTo>
                <a:lnTo>
                  <a:pt x="1046999" y="1390996"/>
                </a:lnTo>
                <a:lnTo>
                  <a:pt x="1087242" y="1370139"/>
                </a:lnTo>
                <a:lnTo>
                  <a:pt x="1125980" y="1346909"/>
                </a:lnTo>
                <a:lnTo>
                  <a:pt x="1163117" y="1321403"/>
                </a:lnTo>
                <a:lnTo>
                  <a:pt x="1198556" y="1293718"/>
                </a:lnTo>
                <a:lnTo>
                  <a:pt x="1232202" y="1263950"/>
                </a:lnTo>
                <a:lnTo>
                  <a:pt x="1263957" y="1232195"/>
                </a:lnTo>
                <a:lnTo>
                  <a:pt x="1293725" y="1198550"/>
                </a:lnTo>
                <a:lnTo>
                  <a:pt x="1321411" y="1163111"/>
                </a:lnTo>
                <a:lnTo>
                  <a:pt x="1346917" y="1125974"/>
                </a:lnTo>
                <a:lnTo>
                  <a:pt x="1370147" y="1087236"/>
                </a:lnTo>
                <a:lnTo>
                  <a:pt x="1391005" y="1046993"/>
                </a:lnTo>
                <a:lnTo>
                  <a:pt x="1409395" y="1005341"/>
                </a:lnTo>
                <a:lnTo>
                  <a:pt x="1425220" y="962377"/>
                </a:lnTo>
                <a:lnTo>
                  <a:pt x="1438384" y="918197"/>
                </a:lnTo>
                <a:lnTo>
                  <a:pt x="1448790" y="872897"/>
                </a:lnTo>
                <a:lnTo>
                  <a:pt x="1456342" y="826574"/>
                </a:lnTo>
                <a:lnTo>
                  <a:pt x="1460944" y="779325"/>
                </a:lnTo>
                <a:lnTo>
                  <a:pt x="1462499" y="731244"/>
                </a:lnTo>
                <a:lnTo>
                  <a:pt x="1460944" y="683164"/>
                </a:lnTo>
                <a:lnTo>
                  <a:pt x="1456342" y="635914"/>
                </a:lnTo>
                <a:lnTo>
                  <a:pt x="1448790" y="589591"/>
                </a:lnTo>
                <a:lnTo>
                  <a:pt x="1438384" y="544292"/>
                </a:lnTo>
                <a:lnTo>
                  <a:pt x="1425220" y="500112"/>
                </a:lnTo>
                <a:lnTo>
                  <a:pt x="1409395" y="457148"/>
                </a:lnTo>
                <a:lnTo>
                  <a:pt x="1391005" y="415496"/>
                </a:lnTo>
                <a:lnTo>
                  <a:pt x="1370147" y="375253"/>
                </a:lnTo>
                <a:lnTo>
                  <a:pt x="1346917" y="336515"/>
                </a:lnTo>
                <a:lnTo>
                  <a:pt x="1321411" y="299378"/>
                </a:lnTo>
                <a:lnTo>
                  <a:pt x="1293725" y="263939"/>
                </a:lnTo>
                <a:lnTo>
                  <a:pt x="1263957" y="230293"/>
                </a:lnTo>
                <a:lnTo>
                  <a:pt x="1232202" y="198539"/>
                </a:lnTo>
                <a:lnTo>
                  <a:pt x="1198556" y="168770"/>
                </a:lnTo>
                <a:lnTo>
                  <a:pt x="1163117" y="141085"/>
                </a:lnTo>
                <a:lnTo>
                  <a:pt x="1125980" y="115580"/>
                </a:lnTo>
                <a:lnTo>
                  <a:pt x="1087242" y="92350"/>
                </a:lnTo>
                <a:lnTo>
                  <a:pt x="1046999" y="71492"/>
                </a:lnTo>
                <a:lnTo>
                  <a:pt x="1005347" y="53103"/>
                </a:lnTo>
                <a:lnTo>
                  <a:pt x="962383" y="37278"/>
                </a:lnTo>
                <a:lnTo>
                  <a:pt x="918204" y="24115"/>
                </a:lnTo>
                <a:lnTo>
                  <a:pt x="872905" y="13709"/>
                </a:lnTo>
                <a:lnTo>
                  <a:pt x="826583" y="6157"/>
                </a:lnTo>
                <a:lnTo>
                  <a:pt x="779334" y="1555"/>
                </a:lnTo>
                <a:lnTo>
                  <a:pt x="731255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pic>
        <p:nvPicPr>
          <p:cNvPr id="13" name="object 1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042651" y="1589111"/>
            <a:ext cx="5228617" cy="2123831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5123556" y="1095962"/>
            <a:ext cx="5896494" cy="391873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2486" b="1" kern="0" spc="-6" dirty="0">
                <a:solidFill>
                  <a:srgbClr val="3CAC62"/>
                </a:solidFill>
                <a:latin typeface="Verdana"/>
                <a:cs typeface="Verdana"/>
              </a:rPr>
              <a:t>КАЧЕСТВО</a:t>
            </a:r>
            <a:endParaRPr sz="248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973947" y="1580690"/>
            <a:ext cx="4970403" cy="1884840"/>
          </a:xfrm>
          <a:prstGeom prst="rect">
            <a:avLst/>
          </a:prstGeom>
        </p:spPr>
        <p:txBody>
          <a:bodyPr vert="horz" wrap="square" lIns="0" tIns="110899" rIns="0" bIns="0" rtlCol="0">
            <a:spAutoFit/>
          </a:bodyPr>
          <a:lstStyle/>
          <a:p>
            <a:pPr marL="7701" defTabSz="554492">
              <a:spcBef>
                <a:spcPts val="873"/>
              </a:spcBef>
              <a:tabLst>
                <a:tab pos="886032" algn="l"/>
              </a:tabLst>
            </a:pPr>
            <a:r>
              <a:rPr lang="ru-RU" sz="1789" b="1" kern="0" spc="-12" dirty="0">
                <a:solidFill>
                  <a:srgbClr val="0A4DAC"/>
                </a:solidFill>
                <a:latin typeface="Verdana"/>
                <a:cs typeface="Verdana"/>
              </a:rPr>
              <a:t>ВОСПРИНИМАЕМОЕ</a:t>
            </a:r>
            <a:r>
              <a:rPr lang="ru-RU" sz="1789" b="1" kern="0" spc="-73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lang="ru-RU" sz="1789" b="1" kern="0" spc="-6" dirty="0">
                <a:solidFill>
                  <a:srgbClr val="0A4DAC"/>
                </a:solidFill>
                <a:latin typeface="Verdana"/>
                <a:cs typeface="Verdana"/>
              </a:rPr>
              <a:t>КАЧЕСТВО</a:t>
            </a:r>
            <a:endParaRPr lang="ru-RU" sz="178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tabLst>
                <a:tab pos="886032" algn="l"/>
              </a:tabLst>
            </a:pPr>
            <a:r>
              <a:rPr sz="1273" b="1" kern="0" spc="-6" dirty="0">
                <a:solidFill>
                  <a:srgbClr val="0A4DAC"/>
                </a:solidFill>
                <a:latin typeface="Verdana"/>
                <a:cs typeface="Verdana"/>
              </a:rPr>
              <a:t>(</a:t>
            </a:r>
            <a:r>
              <a:rPr lang="ru-RU" sz="1273" b="1" kern="0" spc="-6" dirty="0">
                <a:solidFill>
                  <a:srgbClr val="0A4DAC"/>
                </a:solidFill>
                <a:latin typeface="Verdana"/>
                <a:cs typeface="Verdana"/>
              </a:rPr>
              <a:t>оценка</a:t>
            </a:r>
            <a:r>
              <a:rPr lang="ru-RU" sz="1273" b="1" kern="0" dirty="0">
                <a:solidFill>
                  <a:srgbClr val="0A4DAC"/>
                </a:solidFill>
                <a:latin typeface="Verdana"/>
                <a:cs typeface="Verdana"/>
              </a:rPr>
              <a:t> с</a:t>
            </a:r>
            <a:r>
              <a:rPr lang="ru-RU" sz="1273" b="1" kern="0" spc="33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lang="ru-RU" sz="1273" b="1" kern="0" dirty="0">
                <a:solidFill>
                  <a:srgbClr val="0A4DAC"/>
                </a:solidFill>
                <a:latin typeface="Verdana"/>
                <a:cs typeface="Verdana"/>
              </a:rPr>
              <a:t>точки</a:t>
            </a:r>
            <a:r>
              <a:rPr lang="ru-RU" sz="1273" b="1" kern="0" spc="33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lang="ru-RU" sz="1273" b="1" kern="0" dirty="0">
                <a:solidFill>
                  <a:srgbClr val="0A4DAC"/>
                </a:solidFill>
                <a:latin typeface="Verdana"/>
                <a:cs typeface="Verdana"/>
              </a:rPr>
              <a:t>зрения</a:t>
            </a:r>
            <a:r>
              <a:rPr lang="ru-RU" sz="1273" b="1" kern="0" spc="36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lang="ru-RU" sz="1273" b="1" kern="0" spc="-6" dirty="0">
                <a:solidFill>
                  <a:srgbClr val="0A4DAC"/>
                </a:solidFill>
                <a:latin typeface="Verdana"/>
                <a:cs typeface="Verdana"/>
              </a:rPr>
              <a:t>покупателей)</a:t>
            </a:r>
            <a:endParaRPr lang="ru-RU" sz="127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69813" marR="635356" indent="-162497" defTabSz="554492">
              <a:lnSpc>
                <a:spcPct val="100499"/>
              </a:lnSpc>
              <a:spcBef>
                <a:spcPts val="891"/>
              </a:spcBef>
              <a:buFontTx/>
              <a:buChar char="•"/>
              <a:tabLst>
                <a:tab pos="185216" algn="l"/>
              </a:tabLst>
            </a:pPr>
            <a:r>
              <a:rPr lang="ru-RU" sz="1425" kern="0" dirty="0">
                <a:solidFill>
                  <a:srgbClr val="0A4DAC"/>
                </a:solidFill>
                <a:latin typeface="Verdana"/>
                <a:cs typeface="Verdana"/>
              </a:rPr>
              <a:t>Оценки покупателей на сайте и в мобильном приложении</a:t>
            </a:r>
          </a:p>
          <a:p>
            <a:pPr marL="169813" marR="708903" indent="-162497" defTabSz="554492">
              <a:lnSpc>
                <a:spcPct val="100499"/>
              </a:lnSpc>
              <a:buFontTx/>
              <a:buChar char="•"/>
              <a:tabLst>
                <a:tab pos="184831" algn="l"/>
              </a:tabLst>
            </a:pPr>
            <a:r>
              <a:rPr lang="ru-RU" sz="1425" kern="0" dirty="0">
                <a:solidFill>
                  <a:srgbClr val="0A4DAC"/>
                </a:solidFill>
                <a:latin typeface="Verdana"/>
                <a:cs typeface="Verdana"/>
              </a:rPr>
              <a:t>Отзывы, жалобы, обращения покупателей </a:t>
            </a:r>
          </a:p>
          <a:p>
            <a:pPr marL="7316" marR="708903" defTabSz="554492">
              <a:lnSpc>
                <a:spcPct val="100499"/>
              </a:lnSpc>
              <a:spcBef>
                <a:spcPts val="728"/>
              </a:spcBef>
              <a:tabLst>
                <a:tab pos="184831" algn="l"/>
              </a:tabLst>
            </a:pPr>
            <a:r>
              <a:rPr lang="ru-RU" sz="1425" b="1" kern="0" spc="-6" dirty="0">
                <a:solidFill>
                  <a:srgbClr val="0A4DAC"/>
                </a:solidFill>
                <a:latin typeface="Verdana"/>
                <a:cs typeface="Verdana"/>
              </a:rPr>
              <a:t>Подтверждение удовлетворенности</a:t>
            </a:r>
          </a:p>
          <a:p>
            <a:pPr marL="7316" marR="708903" defTabSz="554492">
              <a:lnSpc>
                <a:spcPct val="100499"/>
              </a:lnSpc>
              <a:tabLst>
                <a:tab pos="184831" algn="l"/>
              </a:tabLst>
            </a:pPr>
            <a:r>
              <a:rPr lang="ru-RU" sz="1425" b="1" kern="0" spc="-6" dirty="0">
                <a:solidFill>
                  <a:srgbClr val="0A4DAC"/>
                </a:solidFill>
                <a:latin typeface="Verdana"/>
                <a:cs typeface="Verdana"/>
              </a:rPr>
              <a:t>покупателей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1151771" y="3906438"/>
            <a:ext cx="4482152" cy="1217471"/>
          </a:xfrm>
          <a:prstGeom prst="rect">
            <a:avLst/>
          </a:prstGeom>
        </p:spPr>
        <p:txBody>
          <a:bodyPr vert="horz" wrap="square" lIns="0" tIns="92415" rIns="0" bIns="0" rtlCol="0">
            <a:spAutoFit/>
          </a:bodyPr>
          <a:lstStyle/>
          <a:p>
            <a:pPr marL="7701" defTabSz="554492">
              <a:spcBef>
                <a:spcPts val="728"/>
              </a:spcBef>
            </a:pP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Виды </a:t>
            </a:r>
            <a:r>
              <a:rPr sz="1425" b="1" kern="0" spc="-6" dirty="0">
                <a:solidFill>
                  <a:srgbClr val="FFFFFF"/>
                </a:solidFill>
                <a:latin typeface="Verdana"/>
                <a:cs typeface="Verdana"/>
              </a:rPr>
              <a:t>контроля:</a:t>
            </a:r>
            <a:endParaRPr sz="142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indent="-385" defTabSz="554492">
              <a:spcBef>
                <a:spcPts val="552"/>
              </a:spcBef>
              <a:buSzPct val="79487"/>
              <a:buFont typeface="Verdana"/>
              <a:buChar char="•"/>
              <a:tabLst>
                <a:tab pos="7701" algn="l"/>
                <a:tab pos="115519" algn="l"/>
              </a:tabLst>
            </a:pP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	Программа</a:t>
            </a:r>
            <a:r>
              <a:rPr sz="970" kern="0" spc="15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производственного</a:t>
            </a:r>
            <a:r>
              <a:rPr sz="970" kern="0" spc="18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контроля</a:t>
            </a:r>
            <a:r>
              <a:rPr sz="970" kern="0" spc="18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(ППК)</a:t>
            </a:r>
            <a:r>
              <a:rPr sz="970" kern="0" spc="18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spc="-6" dirty="0" err="1" smtClean="0">
                <a:solidFill>
                  <a:srgbClr val="FFFFFF"/>
                </a:solidFill>
                <a:latin typeface="Akrobat"/>
                <a:cs typeface="Akrobat"/>
              </a:rPr>
              <a:t>товаров</a:t>
            </a:r>
            <a:endParaRPr lang="ru-RU" sz="970" kern="0" spc="-6" dirty="0" smtClean="0">
              <a:solidFill>
                <a:srgbClr val="FFFFFF"/>
              </a:solidFill>
              <a:latin typeface="Akrobat"/>
              <a:cs typeface="Akrobat"/>
            </a:endParaRPr>
          </a:p>
          <a:p>
            <a:pPr marL="7701" marR="3081" indent="-385" defTabSz="554492">
              <a:spcBef>
                <a:spcPts val="552"/>
              </a:spcBef>
              <a:buSzPct val="79487"/>
              <a:buFont typeface="Verdana"/>
              <a:buChar char="•"/>
              <a:tabLst>
                <a:tab pos="7701" algn="l"/>
                <a:tab pos="115519" algn="l"/>
              </a:tabLst>
            </a:pPr>
            <a:r>
              <a:rPr lang="ru-RU" sz="970" kern="0" spc="-6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lang="ru-RU" sz="970" kern="0" spc="-6" dirty="0" smtClean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 err="1" smtClean="0">
                <a:solidFill>
                  <a:srgbClr val="FFFFFF"/>
                </a:solidFill>
                <a:latin typeface="Akrobat"/>
                <a:cs typeface="Akrobat"/>
              </a:rPr>
              <a:t>Контроль</a:t>
            </a:r>
            <a:r>
              <a:rPr sz="970" kern="0" spc="15" dirty="0" smtClean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качества</a:t>
            </a:r>
            <a:r>
              <a:rPr sz="970" kern="0" spc="18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в</a:t>
            </a:r>
            <a:r>
              <a:rPr sz="970" kern="0" spc="18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магазине</a:t>
            </a:r>
            <a:r>
              <a:rPr sz="970" kern="0" spc="15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и</a:t>
            </a:r>
            <a:r>
              <a:rPr sz="970" kern="0" spc="18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РЦ</a:t>
            </a:r>
            <a:r>
              <a:rPr sz="970" kern="0" spc="18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endParaRPr lang="ru-RU" sz="970" kern="0" spc="18" dirty="0" smtClean="0">
              <a:solidFill>
                <a:srgbClr val="FFFFFF"/>
              </a:solidFill>
              <a:latin typeface="Akrobat"/>
              <a:cs typeface="Akrobat"/>
            </a:endParaRPr>
          </a:p>
          <a:p>
            <a:pPr marL="7701" marR="3081" indent="-385" defTabSz="554492">
              <a:spcBef>
                <a:spcPts val="552"/>
              </a:spcBef>
              <a:buSzPct val="79487"/>
              <a:buFont typeface="Verdana"/>
              <a:buChar char="•"/>
              <a:tabLst>
                <a:tab pos="7701" algn="l"/>
                <a:tab pos="115519" algn="l"/>
              </a:tabLst>
            </a:pPr>
            <a:r>
              <a:rPr lang="ru-RU" sz="970" kern="0" dirty="0" smtClean="0">
                <a:solidFill>
                  <a:srgbClr val="FFFFFF"/>
                </a:solidFill>
                <a:latin typeface="Akrobat"/>
                <a:cs typeface="Akrobat"/>
              </a:rPr>
              <a:t>  </a:t>
            </a:r>
            <a:r>
              <a:rPr sz="970" kern="0" dirty="0" err="1" smtClean="0">
                <a:solidFill>
                  <a:srgbClr val="FFFFFF"/>
                </a:solidFill>
                <a:latin typeface="Akrobat"/>
                <a:cs typeface="Akrobat"/>
              </a:rPr>
              <a:t>Проверки</a:t>
            </a:r>
            <a:r>
              <a:rPr sz="970" kern="0" spc="24" dirty="0" smtClean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контролирующих</a:t>
            </a:r>
            <a:r>
              <a:rPr sz="970" kern="0" spc="24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 err="1">
                <a:solidFill>
                  <a:srgbClr val="FFFFFF"/>
                </a:solidFill>
                <a:latin typeface="Akrobat"/>
                <a:cs typeface="Akrobat"/>
              </a:rPr>
              <a:t>органов</a:t>
            </a:r>
            <a:r>
              <a:rPr sz="970" kern="0" spc="24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endParaRPr lang="ru-RU" sz="970" kern="0" spc="24" dirty="0" smtClean="0">
              <a:solidFill>
                <a:srgbClr val="FFFFFF"/>
              </a:solidFill>
              <a:latin typeface="Akrobat"/>
              <a:cs typeface="Akrobat"/>
            </a:endParaRPr>
          </a:p>
          <a:p>
            <a:pPr marL="7701" marR="3081" indent="-385" defTabSz="554492">
              <a:spcBef>
                <a:spcPts val="552"/>
              </a:spcBef>
              <a:buSzPct val="79487"/>
              <a:buFont typeface="Verdana"/>
              <a:buChar char="•"/>
              <a:tabLst>
                <a:tab pos="7701" algn="l"/>
                <a:tab pos="115519" algn="l"/>
              </a:tabLst>
            </a:pPr>
            <a:r>
              <a:rPr lang="ru-RU" sz="970" kern="0" dirty="0" smtClean="0">
                <a:solidFill>
                  <a:srgbClr val="FFFFFF"/>
                </a:solidFill>
                <a:latin typeface="Akrobat"/>
                <a:cs typeface="Akrobat"/>
              </a:rPr>
              <a:t>  </a:t>
            </a:r>
            <a:r>
              <a:rPr sz="970" kern="0" dirty="0" err="1" smtClean="0">
                <a:solidFill>
                  <a:srgbClr val="FFFFFF"/>
                </a:solidFill>
                <a:latin typeface="Akrobat"/>
                <a:cs typeface="Akrobat"/>
              </a:rPr>
              <a:t>Анализ</a:t>
            </a:r>
            <a:r>
              <a:rPr sz="970" kern="0" spc="24" dirty="0" smtClean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рекламаций</a:t>
            </a:r>
            <a:r>
              <a:rPr sz="970" kern="0" spc="27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 err="1">
                <a:solidFill>
                  <a:srgbClr val="FFFFFF"/>
                </a:solidFill>
                <a:latin typeface="Akrobat"/>
                <a:cs typeface="Akrobat"/>
              </a:rPr>
              <a:t>покупателей</a:t>
            </a:r>
            <a:r>
              <a:rPr sz="970" kern="0" spc="27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endParaRPr lang="ru-RU" sz="728" kern="0" dirty="0">
              <a:solidFill>
                <a:srgbClr val="FF0000"/>
              </a:solidFill>
              <a:latin typeface="Akrobat"/>
              <a:cs typeface="Akrobat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640777" y="3974017"/>
            <a:ext cx="4560640" cy="991256"/>
          </a:xfrm>
          <a:prstGeom prst="rect">
            <a:avLst/>
          </a:prstGeom>
        </p:spPr>
        <p:txBody>
          <a:bodyPr vert="horz" wrap="square" lIns="0" tIns="92415" rIns="0" bIns="0" rtlCol="0">
            <a:spAutoFit/>
          </a:bodyPr>
          <a:lstStyle/>
          <a:p>
            <a:pPr marL="7701" defTabSz="554492">
              <a:spcBef>
                <a:spcPts val="728"/>
              </a:spcBef>
            </a:pP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Виды </a:t>
            </a:r>
            <a:r>
              <a:rPr sz="1425" b="1" kern="0" spc="-6" dirty="0">
                <a:solidFill>
                  <a:srgbClr val="FFFFFF"/>
                </a:solidFill>
                <a:latin typeface="Verdana"/>
                <a:cs typeface="Verdana"/>
              </a:rPr>
              <a:t>контроля:</a:t>
            </a:r>
            <a:endParaRPr sz="142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indent="-385" defTabSz="554492">
              <a:spcBef>
                <a:spcPts val="552"/>
              </a:spcBef>
              <a:buSzPct val="79487"/>
              <a:buFont typeface="Verdana"/>
              <a:buChar char="•"/>
              <a:tabLst>
                <a:tab pos="7701" algn="l"/>
                <a:tab pos="115519" algn="l"/>
              </a:tabLst>
            </a:pPr>
            <a:r>
              <a:rPr lang="ru-RU" sz="970" kern="0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 err="1">
                <a:solidFill>
                  <a:srgbClr val="FFFFFF"/>
                </a:solidFill>
                <a:latin typeface="Akrobat"/>
                <a:cs typeface="Akrobat"/>
              </a:rPr>
              <a:t>Мониторинг</a:t>
            </a:r>
            <a:r>
              <a:rPr sz="970" kern="0" spc="9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отзывов,</a:t>
            </a:r>
            <a:r>
              <a:rPr sz="970" kern="0" spc="9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жалоб,</a:t>
            </a:r>
            <a:r>
              <a:rPr sz="970" kern="0" spc="9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Akrobat"/>
                <a:cs typeface="Akrobat"/>
              </a:rPr>
              <a:t>оценок</a:t>
            </a:r>
            <a:r>
              <a:rPr sz="970" kern="0" spc="9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 err="1">
                <a:solidFill>
                  <a:srgbClr val="FFFFFF"/>
                </a:solidFill>
                <a:latin typeface="Akrobat"/>
                <a:cs typeface="Akrobat"/>
              </a:rPr>
              <a:t>покупателей</a:t>
            </a:r>
            <a:r>
              <a:rPr sz="970" kern="0" spc="12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endParaRPr lang="ru-RU" sz="970" kern="0" spc="12" dirty="0" smtClean="0">
              <a:solidFill>
                <a:srgbClr val="FFFFFF"/>
              </a:solidFill>
              <a:latin typeface="Akrobat"/>
              <a:cs typeface="Akrobat"/>
            </a:endParaRPr>
          </a:p>
          <a:p>
            <a:pPr marL="7701" marR="3081" indent="-385" defTabSz="554492">
              <a:spcBef>
                <a:spcPts val="552"/>
              </a:spcBef>
              <a:buSzPct val="79487"/>
              <a:buFont typeface="Verdana"/>
              <a:buChar char="•"/>
              <a:tabLst>
                <a:tab pos="7701" algn="l"/>
                <a:tab pos="115519" algn="l"/>
              </a:tabLst>
            </a:pPr>
            <a:r>
              <a:rPr lang="ru-RU" sz="970" kern="0" spc="12" dirty="0">
                <a:solidFill>
                  <a:srgbClr val="FFFFFF"/>
                </a:solidFill>
                <a:latin typeface="Akrobat"/>
                <a:cs typeface="Akrobat"/>
              </a:rPr>
              <a:t> </a:t>
            </a:r>
            <a:r>
              <a:rPr sz="970" kern="0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Оценка</a:t>
            </a:r>
            <a:r>
              <a:rPr sz="970" kern="0" spc="15" dirty="0" smtClean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 </a:t>
            </a:r>
            <a:r>
              <a:rPr sz="970" kern="0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качества</a:t>
            </a:r>
            <a:r>
              <a:rPr sz="970" kern="0" spc="15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 </a:t>
            </a:r>
            <a:r>
              <a:rPr sz="970" kern="0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товаров:</a:t>
            </a:r>
            <a:r>
              <a:rPr sz="970" kern="0" spc="18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 </a:t>
            </a:r>
            <a:r>
              <a:rPr sz="970" kern="0" dirty="0" err="1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Мастерские</a:t>
            </a:r>
            <a:r>
              <a:rPr sz="970" kern="0" spc="15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 </a:t>
            </a:r>
            <a:endParaRPr lang="ru-RU" sz="970" kern="0" spc="15" dirty="0" smtClean="0">
              <a:solidFill>
                <a:prstClr val="white"/>
              </a:solidFill>
              <a:latin typeface="Akrobat" panose="00000600000000000000" pitchFamily="2" charset="-52"/>
              <a:cs typeface="Akrobat"/>
            </a:endParaRPr>
          </a:p>
          <a:p>
            <a:pPr marL="7701" marR="3081" indent="-385" defTabSz="554492">
              <a:spcBef>
                <a:spcPts val="552"/>
              </a:spcBef>
              <a:buSzPct val="79487"/>
              <a:buFont typeface="Verdana"/>
              <a:buChar char="•"/>
              <a:tabLst>
                <a:tab pos="7701" algn="l"/>
                <a:tab pos="115519" algn="l"/>
              </a:tabLst>
            </a:pPr>
            <a:r>
              <a:rPr lang="ru-RU" sz="970" kern="0" spc="15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 </a:t>
            </a:r>
            <a:r>
              <a:rPr lang="ru-RU" sz="970" kern="0" spc="15" dirty="0" smtClean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 </a:t>
            </a:r>
            <a:r>
              <a:rPr sz="970" kern="0" dirty="0" smtClean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Оценка</a:t>
            </a:r>
            <a:r>
              <a:rPr sz="970" kern="0" spc="18" dirty="0" smtClean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 </a:t>
            </a:r>
            <a:r>
              <a:rPr sz="970" kern="0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качества</a:t>
            </a:r>
            <a:r>
              <a:rPr sz="970" kern="0" spc="21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 </a:t>
            </a:r>
            <a:r>
              <a:rPr sz="970" kern="0" dirty="0" err="1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товаров</a:t>
            </a:r>
            <a:r>
              <a:rPr sz="970" kern="0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:</a:t>
            </a:r>
            <a:r>
              <a:rPr sz="970" kern="0" spc="21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 </a:t>
            </a:r>
            <a:r>
              <a:rPr sz="970" kern="0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Онлайн</a:t>
            </a:r>
            <a:r>
              <a:rPr sz="970" kern="0" spc="18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 </a:t>
            </a:r>
            <a:r>
              <a:rPr sz="970" kern="0" spc="-6" dirty="0" err="1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опросы</a:t>
            </a:r>
            <a:r>
              <a:rPr lang="ru-RU" sz="970" kern="0" spc="-6" dirty="0">
                <a:solidFill>
                  <a:prstClr val="white"/>
                </a:solidFill>
                <a:latin typeface="Akrobat" panose="00000600000000000000" pitchFamily="2" charset="-52"/>
                <a:cs typeface="Akrobat"/>
              </a:rPr>
              <a:t> </a:t>
            </a:r>
            <a:endParaRPr lang="ru-RU" sz="728" kern="0" dirty="0">
              <a:solidFill>
                <a:prstClr val="white"/>
              </a:solidFill>
              <a:latin typeface="Akrobat" panose="00000600000000000000" pitchFamily="2" charset="-52"/>
              <a:cs typeface="Akrobat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572402" y="2400051"/>
            <a:ext cx="451681" cy="448985"/>
            <a:chOff x="1891515" y="3957861"/>
            <a:chExt cx="744855" cy="740410"/>
          </a:xfrm>
        </p:grpSpPr>
        <p:sp>
          <p:nvSpPr>
            <p:cNvPr id="19" name="object 19"/>
            <p:cNvSpPr/>
            <p:nvPr/>
          </p:nvSpPr>
          <p:spPr>
            <a:xfrm>
              <a:off x="1891512" y="3957871"/>
              <a:ext cx="744855" cy="740410"/>
            </a:xfrm>
            <a:custGeom>
              <a:avLst/>
              <a:gdLst/>
              <a:ahLst/>
              <a:cxnLst/>
              <a:rect l="l" t="t" r="r" b="b"/>
              <a:pathLst>
                <a:path w="744855" h="740410">
                  <a:moveTo>
                    <a:pt x="167932" y="404152"/>
                  </a:moveTo>
                  <a:lnTo>
                    <a:pt x="144945" y="404152"/>
                  </a:lnTo>
                  <a:lnTo>
                    <a:pt x="144945" y="427545"/>
                  </a:lnTo>
                  <a:lnTo>
                    <a:pt x="167932" y="427545"/>
                  </a:lnTo>
                  <a:lnTo>
                    <a:pt x="167932" y="404152"/>
                  </a:lnTo>
                  <a:close/>
                </a:path>
                <a:path w="744855" h="740410">
                  <a:moveTo>
                    <a:pt x="744423" y="454660"/>
                  </a:moveTo>
                  <a:lnTo>
                    <a:pt x="744334" y="444500"/>
                  </a:lnTo>
                  <a:lnTo>
                    <a:pt x="744220" y="431800"/>
                  </a:lnTo>
                  <a:lnTo>
                    <a:pt x="744118" y="420370"/>
                  </a:lnTo>
                  <a:lnTo>
                    <a:pt x="744004" y="406400"/>
                  </a:lnTo>
                  <a:lnTo>
                    <a:pt x="743966" y="402590"/>
                  </a:lnTo>
                  <a:lnTo>
                    <a:pt x="731774" y="355600"/>
                  </a:lnTo>
                  <a:lnTo>
                    <a:pt x="722198" y="337489"/>
                  </a:lnTo>
                  <a:lnTo>
                    <a:pt x="722198" y="431800"/>
                  </a:lnTo>
                  <a:lnTo>
                    <a:pt x="717867" y="473710"/>
                  </a:lnTo>
                  <a:lnTo>
                    <a:pt x="704138" y="521970"/>
                  </a:lnTo>
                  <a:lnTo>
                    <a:pt x="683641" y="562610"/>
                  </a:lnTo>
                  <a:lnTo>
                    <a:pt x="656437" y="596900"/>
                  </a:lnTo>
                  <a:lnTo>
                    <a:pt x="622630" y="626110"/>
                  </a:lnTo>
                  <a:lnTo>
                    <a:pt x="582307" y="647700"/>
                  </a:lnTo>
                  <a:lnTo>
                    <a:pt x="527850" y="665480"/>
                  </a:lnTo>
                  <a:lnTo>
                    <a:pt x="512203" y="668020"/>
                  </a:lnTo>
                  <a:lnTo>
                    <a:pt x="468782" y="668020"/>
                  </a:lnTo>
                  <a:lnTo>
                    <a:pt x="468782" y="693420"/>
                  </a:lnTo>
                  <a:lnTo>
                    <a:pt x="468782" y="716280"/>
                  </a:lnTo>
                  <a:lnTo>
                    <a:pt x="205105" y="716280"/>
                  </a:lnTo>
                  <a:lnTo>
                    <a:pt x="205105" y="693420"/>
                  </a:lnTo>
                  <a:lnTo>
                    <a:pt x="468782" y="693420"/>
                  </a:lnTo>
                  <a:lnTo>
                    <a:pt x="468782" y="668020"/>
                  </a:lnTo>
                  <a:lnTo>
                    <a:pt x="418211" y="668020"/>
                  </a:lnTo>
                  <a:lnTo>
                    <a:pt x="412470" y="645160"/>
                  </a:lnTo>
                  <a:lnTo>
                    <a:pt x="464312" y="645160"/>
                  </a:lnTo>
                  <a:lnTo>
                    <a:pt x="475881" y="643890"/>
                  </a:lnTo>
                  <a:lnTo>
                    <a:pt x="484251" y="640080"/>
                  </a:lnTo>
                  <a:lnTo>
                    <a:pt x="489978" y="632460"/>
                  </a:lnTo>
                  <a:lnTo>
                    <a:pt x="493585" y="621030"/>
                  </a:lnTo>
                  <a:lnTo>
                    <a:pt x="503567" y="619760"/>
                  </a:lnTo>
                  <a:lnTo>
                    <a:pt x="581571" y="594360"/>
                  </a:lnTo>
                  <a:lnTo>
                    <a:pt x="621512" y="562610"/>
                  </a:lnTo>
                  <a:lnTo>
                    <a:pt x="651357" y="521970"/>
                  </a:lnTo>
                  <a:lnTo>
                    <a:pt x="669239" y="474980"/>
                  </a:lnTo>
                  <a:lnTo>
                    <a:pt x="672947" y="427990"/>
                  </a:lnTo>
                  <a:lnTo>
                    <a:pt x="673049" y="426720"/>
                  </a:lnTo>
                  <a:lnTo>
                    <a:pt x="673150" y="425450"/>
                  </a:lnTo>
                  <a:lnTo>
                    <a:pt x="673252" y="424180"/>
                  </a:lnTo>
                  <a:lnTo>
                    <a:pt x="673341" y="422910"/>
                  </a:lnTo>
                  <a:lnTo>
                    <a:pt x="671309" y="406400"/>
                  </a:lnTo>
                  <a:lnTo>
                    <a:pt x="667334" y="389890"/>
                  </a:lnTo>
                  <a:lnTo>
                    <a:pt x="661352" y="374650"/>
                  </a:lnTo>
                  <a:lnTo>
                    <a:pt x="658431" y="369570"/>
                  </a:lnTo>
                  <a:lnTo>
                    <a:pt x="653326" y="360680"/>
                  </a:lnTo>
                  <a:lnTo>
                    <a:pt x="650557" y="355600"/>
                  </a:lnTo>
                  <a:lnTo>
                    <a:pt x="650532" y="353060"/>
                  </a:lnTo>
                  <a:lnTo>
                    <a:pt x="654037" y="349250"/>
                  </a:lnTo>
                  <a:lnTo>
                    <a:pt x="661035" y="340360"/>
                  </a:lnTo>
                  <a:lnTo>
                    <a:pt x="666432" y="330200"/>
                  </a:lnTo>
                  <a:lnTo>
                    <a:pt x="670407" y="318770"/>
                  </a:lnTo>
                  <a:lnTo>
                    <a:pt x="673112" y="306070"/>
                  </a:lnTo>
                  <a:lnTo>
                    <a:pt x="676008" y="309880"/>
                  </a:lnTo>
                  <a:lnTo>
                    <a:pt x="678116" y="312420"/>
                  </a:lnTo>
                  <a:lnTo>
                    <a:pt x="680021" y="313690"/>
                  </a:lnTo>
                  <a:lnTo>
                    <a:pt x="703224" y="350520"/>
                  </a:lnTo>
                  <a:lnTo>
                    <a:pt x="717296" y="389890"/>
                  </a:lnTo>
                  <a:lnTo>
                    <a:pt x="722198" y="431800"/>
                  </a:lnTo>
                  <a:lnTo>
                    <a:pt x="722198" y="337489"/>
                  </a:lnTo>
                  <a:lnTo>
                    <a:pt x="708279" y="311150"/>
                  </a:lnTo>
                  <a:lnTo>
                    <a:pt x="703694" y="306070"/>
                  </a:lnTo>
                  <a:lnTo>
                    <a:pt x="673874" y="273050"/>
                  </a:lnTo>
                  <a:lnTo>
                    <a:pt x="672045" y="270510"/>
                  </a:lnTo>
                  <a:lnTo>
                    <a:pt x="669582" y="269240"/>
                  </a:lnTo>
                  <a:lnTo>
                    <a:pt x="668718" y="266700"/>
                  </a:lnTo>
                  <a:lnTo>
                    <a:pt x="663257" y="255270"/>
                  </a:lnTo>
                  <a:lnTo>
                    <a:pt x="656450" y="245110"/>
                  </a:lnTo>
                  <a:lnTo>
                    <a:pt x="649541" y="237617"/>
                  </a:lnTo>
                  <a:lnTo>
                    <a:pt x="649541" y="297180"/>
                  </a:lnTo>
                  <a:lnTo>
                    <a:pt x="649160" y="298958"/>
                  </a:lnTo>
                  <a:lnTo>
                    <a:pt x="649160" y="422910"/>
                  </a:lnTo>
                  <a:lnTo>
                    <a:pt x="649033" y="427990"/>
                  </a:lnTo>
                  <a:lnTo>
                    <a:pt x="646061" y="467360"/>
                  </a:lnTo>
                  <a:lnTo>
                    <a:pt x="631901" y="508000"/>
                  </a:lnTo>
                  <a:lnTo>
                    <a:pt x="608330" y="542290"/>
                  </a:lnTo>
                  <a:lnTo>
                    <a:pt x="576821" y="568960"/>
                  </a:lnTo>
                  <a:lnTo>
                    <a:pt x="538835" y="588010"/>
                  </a:lnTo>
                  <a:lnTo>
                    <a:pt x="495858" y="596900"/>
                  </a:lnTo>
                  <a:lnTo>
                    <a:pt x="494880" y="595630"/>
                  </a:lnTo>
                  <a:lnTo>
                    <a:pt x="493864" y="595630"/>
                  </a:lnTo>
                  <a:lnTo>
                    <a:pt x="489521" y="584200"/>
                  </a:lnTo>
                  <a:lnTo>
                    <a:pt x="483603" y="577850"/>
                  </a:lnTo>
                  <a:lnTo>
                    <a:pt x="475132" y="574040"/>
                  </a:lnTo>
                  <a:lnTo>
                    <a:pt x="468528" y="573341"/>
                  </a:lnTo>
                  <a:lnTo>
                    <a:pt x="468528" y="596900"/>
                  </a:lnTo>
                  <a:lnTo>
                    <a:pt x="468528" y="619760"/>
                  </a:lnTo>
                  <a:lnTo>
                    <a:pt x="393446" y="619760"/>
                  </a:lnTo>
                  <a:lnTo>
                    <a:pt x="393446" y="668020"/>
                  </a:lnTo>
                  <a:lnTo>
                    <a:pt x="280225" y="668020"/>
                  </a:lnTo>
                  <a:lnTo>
                    <a:pt x="286016" y="645160"/>
                  </a:lnTo>
                  <a:lnTo>
                    <a:pt x="387591" y="645160"/>
                  </a:lnTo>
                  <a:lnTo>
                    <a:pt x="393446" y="668020"/>
                  </a:lnTo>
                  <a:lnTo>
                    <a:pt x="393446" y="619760"/>
                  </a:lnTo>
                  <a:lnTo>
                    <a:pt x="204838" y="619760"/>
                  </a:lnTo>
                  <a:lnTo>
                    <a:pt x="204838" y="596900"/>
                  </a:lnTo>
                  <a:lnTo>
                    <a:pt x="468528" y="596900"/>
                  </a:lnTo>
                  <a:lnTo>
                    <a:pt x="468528" y="573341"/>
                  </a:lnTo>
                  <a:lnTo>
                    <a:pt x="463130" y="572770"/>
                  </a:lnTo>
                  <a:lnTo>
                    <a:pt x="357682" y="572770"/>
                  </a:lnTo>
                  <a:lnTo>
                    <a:pt x="335267" y="433070"/>
                  </a:lnTo>
                  <a:lnTo>
                    <a:pt x="346913" y="434340"/>
                  </a:lnTo>
                  <a:lnTo>
                    <a:pt x="351612" y="433070"/>
                  </a:lnTo>
                  <a:lnTo>
                    <a:pt x="356323" y="431800"/>
                  </a:lnTo>
                  <a:lnTo>
                    <a:pt x="363893" y="425450"/>
                  </a:lnTo>
                  <a:lnTo>
                    <a:pt x="370027" y="416560"/>
                  </a:lnTo>
                  <a:lnTo>
                    <a:pt x="373761" y="410210"/>
                  </a:lnTo>
                  <a:lnTo>
                    <a:pt x="377736" y="403860"/>
                  </a:lnTo>
                  <a:lnTo>
                    <a:pt x="381876" y="396240"/>
                  </a:lnTo>
                  <a:lnTo>
                    <a:pt x="386092" y="389890"/>
                  </a:lnTo>
                  <a:lnTo>
                    <a:pt x="402234" y="400050"/>
                  </a:lnTo>
                  <a:lnTo>
                    <a:pt x="382422" y="433070"/>
                  </a:lnTo>
                  <a:lnTo>
                    <a:pt x="377634" y="444500"/>
                  </a:lnTo>
                  <a:lnTo>
                    <a:pt x="377393" y="449580"/>
                  </a:lnTo>
                  <a:lnTo>
                    <a:pt x="377329" y="450850"/>
                  </a:lnTo>
                  <a:lnTo>
                    <a:pt x="377202" y="453390"/>
                  </a:lnTo>
                  <a:lnTo>
                    <a:pt x="381190" y="462280"/>
                  </a:lnTo>
                  <a:lnTo>
                    <a:pt x="389661" y="471170"/>
                  </a:lnTo>
                  <a:lnTo>
                    <a:pt x="395503" y="474980"/>
                  </a:lnTo>
                  <a:lnTo>
                    <a:pt x="407212" y="483870"/>
                  </a:lnTo>
                  <a:lnTo>
                    <a:pt x="413105" y="488950"/>
                  </a:lnTo>
                  <a:lnTo>
                    <a:pt x="423862" y="494030"/>
                  </a:lnTo>
                  <a:lnTo>
                    <a:pt x="434174" y="494030"/>
                  </a:lnTo>
                  <a:lnTo>
                    <a:pt x="443534" y="490220"/>
                  </a:lnTo>
                  <a:lnTo>
                    <a:pt x="451408" y="481330"/>
                  </a:lnTo>
                  <a:lnTo>
                    <a:pt x="457441" y="471170"/>
                  </a:lnTo>
                  <a:lnTo>
                    <a:pt x="472757" y="445770"/>
                  </a:lnTo>
                  <a:lnTo>
                    <a:pt x="484301" y="453390"/>
                  </a:lnTo>
                  <a:lnTo>
                    <a:pt x="496100" y="459740"/>
                  </a:lnTo>
                  <a:lnTo>
                    <a:pt x="508063" y="459740"/>
                  </a:lnTo>
                  <a:lnTo>
                    <a:pt x="520077" y="450850"/>
                  </a:lnTo>
                  <a:lnTo>
                    <a:pt x="523824" y="445770"/>
                  </a:lnTo>
                  <a:lnTo>
                    <a:pt x="530402" y="436880"/>
                  </a:lnTo>
                  <a:lnTo>
                    <a:pt x="531126" y="435610"/>
                  </a:lnTo>
                  <a:lnTo>
                    <a:pt x="536194" y="426720"/>
                  </a:lnTo>
                  <a:lnTo>
                    <a:pt x="536155" y="415290"/>
                  </a:lnTo>
                  <a:lnTo>
                    <a:pt x="528980" y="401320"/>
                  </a:lnTo>
                  <a:lnTo>
                    <a:pt x="536892" y="388620"/>
                  </a:lnTo>
                  <a:lnTo>
                    <a:pt x="548767" y="369570"/>
                  </a:lnTo>
                  <a:lnTo>
                    <a:pt x="569214" y="377190"/>
                  </a:lnTo>
                  <a:lnTo>
                    <a:pt x="589635" y="379730"/>
                  </a:lnTo>
                  <a:lnTo>
                    <a:pt x="610069" y="377190"/>
                  </a:lnTo>
                  <a:lnTo>
                    <a:pt x="630542" y="369570"/>
                  </a:lnTo>
                  <a:lnTo>
                    <a:pt x="638175" y="382270"/>
                  </a:lnTo>
                  <a:lnTo>
                    <a:pt x="643813" y="396240"/>
                  </a:lnTo>
                  <a:lnTo>
                    <a:pt x="647522" y="410210"/>
                  </a:lnTo>
                  <a:lnTo>
                    <a:pt x="649160" y="422910"/>
                  </a:lnTo>
                  <a:lnTo>
                    <a:pt x="649160" y="298958"/>
                  </a:lnTo>
                  <a:lnTo>
                    <a:pt x="644639" y="320040"/>
                  </a:lnTo>
                  <a:lnTo>
                    <a:pt x="631659" y="339090"/>
                  </a:lnTo>
                  <a:lnTo>
                    <a:pt x="612559" y="351790"/>
                  </a:lnTo>
                  <a:lnTo>
                    <a:pt x="589343" y="355600"/>
                  </a:lnTo>
                  <a:lnTo>
                    <a:pt x="565962" y="351790"/>
                  </a:lnTo>
                  <a:lnTo>
                    <a:pt x="546849" y="337820"/>
                  </a:lnTo>
                  <a:lnTo>
                    <a:pt x="533984" y="318770"/>
                  </a:lnTo>
                  <a:lnTo>
                    <a:pt x="529310" y="295910"/>
                  </a:lnTo>
                  <a:lnTo>
                    <a:pt x="534149" y="271780"/>
                  </a:lnTo>
                  <a:lnTo>
                    <a:pt x="547166" y="252730"/>
                  </a:lnTo>
                  <a:lnTo>
                    <a:pt x="566407" y="240030"/>
                  </a:lnTo>
                  <a:lnTo>
                    <a:pt x="589876" y="236220"/>
                  </a:lnTo>
                  <a:lnTo>
                    <a:pt x="613206" y="241300"/>
                  </a:lnTo>
                  <a:lnTo>
                    <a:pt x="632218" y="254000"/>
                  </a:lnTo>
                  <a:lnTo>
                    <a:pt x="644994" y="273050"/>
                  </a:lnTo>
                  <a:lnTo>
                    <a:pt x="649541" y="297180"/>
                  </a:lnTo>
                  <a:lnTo>
                    <a:pt x="649541" y="237617"/>
                  </a:lnTo>
                  <a:lnTo>
                    <a:pt x="648258" y="236220"/>
                  </a:lnTo>
                  <a:lnTo>
                    <a:pt x="638683" y="227330"/>
                  </a:lnTo>
                  <a:lnTo>
                    <a:pt x="643267" y="219710"/>
                  </a:lnTo>
                  <a:lnTo>
                    <a:pt x="656399" y="186690"/>
                  </a:lnTo>
                  <a:lnTo>
                    <a:pt x="651916" y="177800"/>
                  </a:lnTo>
                  <a:lnTo>
                    <a:pt x="642950" y="170180"/>
                  </a:lnTo>
                  <a:lnTo>
                    <a:pt x="632815" y="163690"/>
                  </a:lnTo>
                  <a:lnTo>
                    <a:pt x="632815" y="191770"/>
                  </a:lnTo>
                  <a:lnTo>
                    <a:pt x="617461" y="215900"/>
                  </a:lnTo>
                  <a:lnTo>
                    <a:pt x="557415" y="218440"/>
                  </a:lnTo>
                  <a:lnTo>
                    <a:pt x="517575" y="252730"/>
                  </a:lnTo>
                  <a:lnTo>
                    <a:pt x="505409" y="300990"/>
                  </a:lnTo>
                  <a:lnTo>
                    <a:pt x="511797" y="327660"/>
                  </a:lnTo>
                  <a:lnTo>
                    <a:pt x="529399" y="355600"/>
                  </a:lnTo>
                  <a:lnTo>
                    <a:pt x="512483" y="382295"/>
                  </a:lnTo>
                  <a:lnTo>
                    <a:pt x="512483" y="420370"/>
                  </a:lnTo>
                  <a:lnTo>
                    <a:pt x="501777" y="435610"/>
                  </a:lnTo>
                  <a:lnTo>
                    <a:pt x="466483" y="412750"/>
                  </a:lnTo>
                  <a:lnTo>
                    <a:pt x="452501" y="403694"/>
                  </a:lnTo>
                  <a:lnTo>
                    <a:pt x="452501" y="433070"/>
                  </a:lnTo>
                  <a:lnTo>
                    <a:pt x="429590" y="471170"/>
                  </a:lnTo>
                  <a:lnTo>
                    <a:pt x="400862" y="449580"/>
                  </a:lnTo>
                  <a:lnTo>
                    <a:pt x="422516" y="412750"/>
                  </a:lnTo>
                  <a:lnTo>
                    <a:pt x="452501" y="433070"/>
                  </a:lnTo>
                  <a:lnTo>
                    <a:pt x="452501" y="403694"/>
                  </a:lnTo>
                  <a:lnTo>
                    <a:pt x="431203" y="389890"/>
                  </a:lnTo>
                  <a:lnTo>
                    <a:pt x="380238" y="356870"/>
                  </a:lnTo>
                  <a:lnTo>
                    <a:pt x="378282" y="355600"/>
                  </a:lnTo>
                  <a:lnTo>
                    <a:pt x="365836" y="347548"/>
                  </a:lnTo>
                  <a:lnTo>
                    <a:pt x="365836" y="375920"/>
                  </a:lnTo>
                  <a:lnTo>
                    <a:pt x="345376" y="410210"/>
                  </a:lnTo>
                  <a:lnTo>
                    <a:pt x="332676" y="400672"/>
                  </a:lnTo>
                  <a:lnTo>
                    <a:pt x="332676" y="572770"/>
                  </a:lnTo>
                  <a:lnTo>
                    <a:pt x="207924" y="572770"/>
                  </a:lnTo>
                  <a:lnTo>
                    <a:pt x="196088" y="574040"/>
                  </a:lnTo>
                  <a:lnTo>
                    <a:pt x="187490" y="579120"/>
                  </a:lnTo>
                  <a:lnTo>
                    <a:pt x="182245" y="588010"/>
                  </a:lnTo>
                  <a:lnTo>
                    <a:pt x="180441" y="599440"/>
                  </a:lnTo>
                  <a:lnTo>
                    <a:pt x="180467" y="619760"/>
                  </a:lnTo>
                  <a:lnTo>
                    <a:pt x="182410" y="629920"/>
                  </a:lnTo>
                  <a:lnTo>
                    <a:pt x="187502" y="637540"/>
                  </a:lnTo>
                  <a:lnTo>
                    <a:pt x="195262" y="642620"/>
                  </a:lnTo>
                  <a:lnTo>
                    <a:pt x="205219" y="645160"/>
                  </a:lnTo>
                  <a:lnTo>
                    <a:pt x="261112" y="645160"/>
                  </a:lnTo>
                  <a:lnTo>
                    <a:pt x="255282" y="669290"/>
                  </a:lnTo>
                  <a:lnTo>
                    <a:pt x="207835" y="669290"/>
                  </a:lnTo>
                  <a:lnTo>
                    <a:pt x="196037" y="670560"/>
                  </a:lnTo>
                  <a:lnTo>
                    <a:pt x="187477" y="675640"/>
                  </a:lnTo>
                  <a:lnTo>
                    <a:pt x="182232" y="684530"/>
                  </a:lnTo>
                  <a:lnTo>
                    <a:pt x="180441" y="695960"/>
                  </a:lnTo>
                  <a:lnTo>
                    <a:pt x="180428" y="717550"/>
                  </a:lnTo>
                  <a:lnTo>
                    <a:pt x="70942" y="717550"/>
                  </a:lnTo>
                  <a:lnTo>
                    <a:pt x="49847" y="712470"/>
                  </a:lnTo>
                  <a:lnTo>
                    <a:pt x="34429" y="702310"/>
                  </a:lnTo>
                  <a:lnTo>
                    <a:pt x="25831" y="684530"/>
                  </a:lnTo>
                  <a:lnTo>
                    <a:pt x="25425" y="670560"/>
                  </a:lnTo>
                  <a:lnTo>
                    <a:pt x="25349" y="668020"/>
                  </a:lnTo>
                  <a:lnTo>
                    <a:pt x="25273" y="665480"/>
                  </a:lnTo>
                  <a:lnTo>
                    <a:pt x="25196" y="662940"/>
                  </a:lnTo>
                  <a:lnTo>
                    <a:pt x="30568" y="629920"/>
                  </a:lnTo>
                  <a:lnTo>
                    <a:pt x="39560" y="572770"/>
                  </a:lnTo>
                  <a:lnTo>
                    <a:pt x="131724" y="572770"/>
                  </a:lnTo>
                  <a:lnTo>
                    <a:pt x="131724" y="548640"/>
                  </a:lnTo>
                  <a:lnTo>
                    <a:pt x="43446" y="548640"/>
                  </a:lnTo>
                  <a:lnTo>
                    <a:pt x="51168" y="500380"/>
                  </a:lnTo>
                  <a:lnTo>
                    <a:pt x="167817" y="500380"/>
                  </a:lnTo>
                  <a:lnTo>
                    <a:pt x="167817" y="476250"/>
                  </a:lnTo>
                  <a:lnTo>
                    <a:pt x="55067" y="476250"/>
                  </a:lnTo>
                  <a:lnTo>
                    <a:pt x="62687" y="427990"/>
                  </a:lnTo>
                  <a:lnTo>
                    <a:pt x="119811" y="427990"/>
                  </a:lnTo>
                  <a:lnTo>
                    <a:pt x="119811" y="403860"/>
                  </a:lnTo>
                  <a:lnTo>
                    <a:pt x="66649" y="403860"/>
                  </a:lnTo>
                  <a:lnTo>
                    <a:pt x="70383" y="381000"/>
                  </a:lnTo>
                  <a:lnTo>
                    <a:pt x="293916" y="381000"/>
                  </a:lnTo>
                  <a:lnTo>
                    <a:pt x="292862" y="389890"/>
                  </a:lnTo>
                  <a:lnTo>
                    <a:pt x="294411" y="397510"/>
                  </a:lnTo>
                  <a:lnTo>
                    <a:pt x="298513" y="405130"/>
                  </a:lnTo>
                  <a:lnTo>
                    <a:pt x="305130" y="410210"/>
                  </a:lnTo>
                  <a:lnTo>
                    <a:pt x="306578" y="411480"/>
                  </a:lnTo>
                  <a:lnTo>
                    <a:pt x="307809" y="414020"/>
                  </a:lnTo>
                  <a:lnTo>
                    <a:pt x="314274" y="454660"/>
                  </a:lnTo>
                  <a:lnTo>
                    <a:pt x="320421" y="492760"/>
                  </a:lnTo>
                  <a:lnTo>
                    <a:pt x="332651" y="570230"/>
                  </a:lnTo>
                  <a:lnTo>
                    <a:pt x="332676" y="572770"/>
                  </a:lnTo>
                  <a:lnTo>
                    <a:pt x="332676" y="400672"/>
                  </a:lnTo>
                  <a:lnTo>
                    <a:pt x="316661" y="388620"/>
                  </a:lnTo>
                  <a:lnTo>
                    <a:pt x="335826" y="356870"/>
                  </a:lnTo>
                  <a:lnTo>
                    <a:pt x="365836" y="375920"/>
                  </a:lnTo>
                  <a:lnTo>
                    <a:pt x="365836" y="347548"/>
                  </a:lnTo>
                  <a:lnTo>
                    <a:pt x="317512" y="316230"/>
                  </a:lnTo>
                  <a:lnTo>
                    <a:pt x="328218" y="300990"/>
                  </a:lnTo>
                  <a:lnTo>
                    <a:pt x="512483" y="420370"/>
                  </a:lnTo>
                  <a:lnTo>
                    <a:pt x="512483" y="382295"/>
                  </a:lnTo>
                  <a:lnTo>
                    <a:pt x="508469" y="388620"/>
                  </a:lnTo>
                  <a:lnTo>
                    <a:pt x="372770" y="300990"/>
                  </a:lnTo>
                  <a:lnTo>
                    <a:pt x="355066" y="289560"/>
                  </a:lnTo>
                  <a:lnTo>
                    <a:pt x="358178" y="284480"/>
                  </a:lnTo>
                  <a:lnTo>
                    <a:pt x="372935" y="260350"/>
                  </a:lnTo>
                  <a:lnTo>
                    <a:pt x="473189" y="96520"/>
                  </a:lnTo>
                  <a:lnTo>
                    <a:pt x="632815" y="191770"/>
                  </a:lnTo>
                  <a:lnTo>
                    <a:pt x="632815" y="163690"/>
                  </a:lnTo>
                  <a:lnTo>
                    <a:pt x="619163" y="154940"/>
                  </a:lnTo>
                  <a:lnTo>
                    <a:pt x="625221" y="143510"/>
                  </a:lnTo>
                  <a:lnTo>
                    <a:pt x="626579" y="140970"/>
                  </a:lnTo>
                  <a:lnTo>
                    <a:pt x="628777" y="140970"/>
                  </a:lnTo>
                  <a:lnTo>
                    <a:pt x="631799" y="143510"/>
                  </a:lnTo>
                  <a:lnTo>
                    <a:pt x="642048" y="147320"/>
                  </a:lnTo>
                  <a:lnTo>
                    <a:pt x="651281" y="147320"/>
                  </a:lnTo>
                  <a:lnTo>
                    <a:pt x="659638" y="143510"/>
                  </a:lnTo>
                  <a:lnTo>
                    <a:pt x="686663" y="110490"/>
                  </a:lnTo>
                  <a:lnTo>
                    <a:pt x="691476" y="95250"/>
                  </a:lnTo>
                  <a:lnTo>
                    <a:pt x="691603" y="90170"/>
                  </a:lnTo>
                  <a:lnTo>
                    <a:pt x="687552" y="81280"/>
                  </a:lnTo>
                  <a:lnTo>
                    <a:pt x="679335" y="73660"/>
                  </a:lnTo>
                  <a:lnTo>
                    <a:pt x="667918" y="66967"/>
                  </a:lnTo>
                  <a:lnTo>
                    <a:pt x="667918" y="95250"/>
                  </a:lnTo>
                  <a:lnTo>
                    <a:pt x="646404" y="123190"/>
                  </a:lnTo>
                  <a:lnTo>
                    <a:pt x="605828" y="99822"/>
                  </a:lnTo>
                  <a:lnTo>
                    <a:pt x="605828" y="128270"/>
                  </a:lnTo>
                  <a:lnTo>
                    <a:pt x="598360" y="143510"/>
                  </a:lnTo>
                  <a:lnTo>
                    <a:pt x="530390" y="101600"/>
                  </a:lnTo>
                  <a:lnTo>
                    <a:pt x="534581" y="96520"/>
                  </a:lnTo>
                  <a:lnTo>
                    <a:pt x="539826" y="90170"/>
                  </a:lnTo>
                  <a:lnTo>
                    <a:pt x="605828" y="128270"/>
                  </a:lnTo>
                  <a:lnTo>
                    <a:pt x="605828" y="99822"/>
                  </a:lnTo>
                  <a:lnTo>
                    <a:pt x="522973" y="52070"/>
                  </a:lnTo>
                  <a:lnTo>
                    <a:pt x="544525" y="22860"/>
                  </a:lnTo>
                  <a:lnTo>
                    <a:pt x="667918" y="95250"/>
                  </a:lnTo>
                  <a:lnTo>
                    <a:pt x="667918" y="66967"/>
                  </a:lnTo>
                  <a:lnTo>
                    <a:pt x="592747" y="22860"/>
                  </a:lnTo>
                  <a:lnTo>
                    <a:pt x="558050" y="2540"/>
                  </a:lnTo>
                  <a:lnTo>
                    <a:pt x="548652" y="0"/>
                  </a:lnTo>
                  <a:lnTo>
                    <a:pt x="539788" y="0"/>
                  </a:lnTo>
                  <a:lnTo>
                    <a:pt x="509587" y="29210"/>
                  </a:lnTo>
                  <a:lnTo>
                    <a:pt x="499427" y="53340"/>
                  </a:lnTo>
                  <a:lnTo>
                    <a:pt x="499300" y="57150"/>
                  </a:lnTo>
                  <a:lnTo>
                    <a:pt x="503656" y="66040"/>
                  </a:lnTo>
                  <a:lnTo>
                    <a:pt x="512572" y="73660"/>
                  </a:lnTo>
                  <a:lnTo>
                    <a:pt x="516331" y="76200"/>
                  </a:lnTo>
                  <a:lnTo>
                    <a:pt x="518718" y="77470"/>
                  </a:lnTo>
                  <a:lnTo>
                    <a:pt x="509447" y="90170"/>
                  </a:lnTo>
                  <a:lnTo>
                    <a:pt x="490867" y="78740"/>
                  </a:lnTo>
                  <a:lnTo>
                    <a:pt x="478167" y="72390"/>
                  </a:lnTo>
                  <a:lnTo>
                    <a:pt x="467461" y="72390"/>
                  </a:lnTo>
                  <a:lnTo>
                    <a:pt x="458139" y="77470"/>
                  </a:lnTo>
                  <a:lnTo>
                    <a:pt x="449580" y="88900"/>
                  </a:lnTo>
                  <a:lnTo>
                    <a:pt x="373494" y="213360"/>
                  </a:lnTo>
                  <a:lnTo>
                    <a:pt x="346671" y="256540"/>
                  </a:lnTo>
                  <a:lnTo>
                    <a:pt x="344220" y="260350"/>
                  </a:lnTo>
                  <a:lnTo>
                    <a:pt x="314667" y="260350"/>
                  </a:lnTo>
                  <a:lnTo>
                    <a:pt x="314667" y="344170"/>
                  </a:lnTo>
                  <a:lnTo>
                    <a:pt x="309664" y="355600"/>
                  </a:lnTo>
                  <a:lnTo>
                    <a:pt x="27559" y="355600"/>
                  </a:lnTo>
                  <a:lnTo>
                    <a:pt x="24066" y="353060"/>
                  </a:lnTo>
                  <a:lnTo>
                    <a:pt x="24155" y="288290"/>
                  </a:lnTo>
                  <a:lnTo>
                    <a:pt x="28524" y="284480"/>
                  </a:lnTo>
                  <a:lnTo>
                    <a:pt x="51104" y="284480"/>
                  </a:lnTo>
                  <a:lnTo>
                    <a:pt x="62992" y="285750"/>
                  </a:lnTo>
                  <a:lnTo>
                    <a:pt x="74358" y="290830"/>
                  </a:lnTo>
                  <a:lnTo>
                    <a:pt x="85610" y="298450"/>
                  </a:lnTo>
                  <a:lnTo>
                    <a:pt x="123075" y="321310"/>
                  </a:lnTo>
                  <a:lnTo>
                    <a:pt x="164350" y="331470"/>
                  </a:lnTo>
                  <a:lnTo>
                    <a:pt x="206679" y="330200"/>
                  </a:lnTo>
                  <a:lnTo>
                    <a:pt x="247294" y="317500"/>
                  </a:lnTo>
                  <a:lnTo>
                    <a:pt x="259956" y="308610"/>
                  </a:lnTo>
                  <a:lnTo>
                    <a:pt x="283451" y="292100"/>
                  </a:lnTo>
                  <a:lnTo>
                    <a:pt x="289306" y="288290"/>
                  </a:lnTo>
                  <a:lnTo>
                    <a:pt x="295351" y="284480"/>
                  </a:lnTo>
                  <a:lnTo>
                    <a:pt x="309308" y="284480"/>
                  </a:lnTo>
                  <a:lnTo>
                    <a:pt x="296316" y="304800"/>
                  </a:lnTo>
                  <a:lnTo>
                    <a:pt x="293319" y="320040"/>
                  </a:lnTo>
                  <a:lnTo>
                    <a:pt x="299656" y="332740"/>
                  </a:lnTo>
                  <a:lnTo>
                    <a:pt x="314667" y="344170"/>
                  </a:lnTo>
                  <a:lnTo>
                    <a:pt x="314667" y="260350"/>
                  </a:lnTo>
                  <a:lnTo>
                    <a:pt x="312547" y="260350"/>
                  </a:lnTo>
                  <a:lnTo>
                    <a:pt x="332752" y="210820"/>
                  </a:lnTo>
                  <a:lnTo>
                    <a:pt x="336067" y="162560"/>
                  </a:lnTo>
                  <a:lnTo>
                    <a:pt x="325869" y="119380"/>
                  </a:lnTo>
                  <a:lnTo>
                    <a:pt x="312750" y="95669"/>
                  </a:lnTo>
                  <a:lnTo>
                    <a:pt x="312750" y="175260"/>
                  </a:lnTo>
                  <a:lnTo>
                    <a:pt x="306044" y="217170"/>
                  </a:lnTo>
                  <a:lnTo>
                    <a:pt x="287274" y="254000"/>
                  </a:lnTo>
                  <a:lnTo>
                    <a:pt x="258635" y="281940"/>
                  </a:lnTo>
                  <a:lnTo>
                    <a:pt x="222326" y="300990"/>
                  </a:lnTo>
                  <a:lnTo>
                    <a:pt x="180568" y="308610"/>
                  </a:lnTo>
                  <a:lnTo>
                    <a:pt x="138760" y="300990"/>
                  </a:lnTo>
                  <a:lnTo>
                    <a:pt x="102412" y="281940"/>
                  </a:lnTo>
                  <a:lnTo>
                    <a:pt x="73710" y="254000"/>
                  </a:lnTo>
                  <a:lnTo>
                    <a:pt x="54876" y="217170"/>
                  </a:lnTo>
                  <a:lnTo>
                    <a:pt x="48120" y="175260"/>
                  </a:lnTo>
                  <a:lnTo>
                    <a:pt x="54864" y="134620"/>
                  </a:lnTo>
                  <a:lnTo>
                    <a:pt x="73609" y="97790"/>
                  </a:lnTo>
                  <a:lnTo>
                    <a:pt x="102158" y="68580"/>
                  </a:lnTo>
                  <a:lnTo>
                    <a:pt x="138328" y="50800"/>
                  </a:lnTo>
                  <a:lnTo>
                    <a:pt x="179908" y="43180"/>
                  </a:lnTo>
                  <a:lnTo>
                    <a:pt x="221767" y="49530"/>
                  </a:lnTo>
                  <a:lnTo>
                    <a:pt x="258203" y="68580"/>
                  </a:lnTo>
                  <a:lnTo>
                    <a:pt x="286981" y="97790"/>
                  </a:lnTo>
                  <a:lnTo>
                    <a:pt x="305904" y="133350"/>
                  </a:lnTo>
                  <a:lnTo>
                    <a:pt x="312750" y="175260"/>
                  </a:lnTo>
                  <a:lnTo>
                    <a:pt x="312750" y="95669"/>
                  </a:lnTo>
                  <a:lnTo>
                    <a:pt x="305498" y="82550"/>
                  </a:lnTo>
                  <a:lnTo>
                    <a:pt x="278295" y="53340"/>
                  </a:lnTo>
                  <a:lnTo>
                    <a:pt x="260134" y="43180"/>
                  </a:lnTo>
                  <a:lnTo>
                    <a:pt x="232892" y="27940"/>
                  </a:lnTo>
                  <a:lnTo>
                    <a:pt x="183400" y="19050"/>
                  </a:lnTo>
                  <a:lnTo>
                    <a:pt x="133731" y="26670"/>
                  </a:lnTo>
                  <a:lnTo>
                    <a:pt x="87769" y="49530"/>
                  </a:lnTo>
                  <a:lnTo>
                    <a:pt x="52070" y="86360"/>
                  </a:lnTo>
                  <a:lnTo>
                    <a:pt x="30314" y="132080"/>
                  </a:lnTo>
                  <a:lnTo>
                    <a:pt x="24358" y="165100"/>
                  </a:lnTo>
                  <a:lnTo>
                    <a:pt x="25450" y="195580"/>
                  </a:lnTo>
                  <a:lnTo>
                    <a:pt x="25539" y="198120"/>
                  </a:lnTo>
                  <a:lnTo>
                    <a:pt x="33693" y="228600"/>
                  </a:lnTo>
                  <a:lnTo>
                    <a:pt x="48628" y="260350"/>
                  </a:lnTo>
                  <a:lnTo>
                    <a:pt x="38049" y="260350"/>
                  </a:lnTo>
                  <a:lnTo>
                    <a:pt x="2768" y="281940"/>
                  </a:lnTo>
                  <a:lnTo>
                    <a:pt x="0" y="334010"/>
                  </a:lnTo>
                  <a:lnTo>
                    <a:pt x="2209" y="355600"/>
                  </a:lnTo>
                  <a:lnTo>
                    <a:pt x="9575" y="369570"/>
                  </a:lnTo>
                  <a:lnTo>
                    <a:pt x="23152" y="377190"/>
                  </a:lnTo>
                  <a:lnTo>
                    <a:pt x="44030" y="379730"/>
                  </a:lnTo>
                  <a:lnTo>
                    <a:pt x="44259" y="379730"/>
                  </a:lnTo>
                  <a:lnTo>
                    <a:pt x="44475" y="381000"/>
                  </a:lnTo>
                  <a:lnTo>
                    <a:pt x="45554" y="381000"/>
                  </a:lnTo>
                  <a:lnTo>
                    <a:pt x="45427" y="382270"/>
                  </a:lnTo>
                  <a:lnTo>
                    <a:pt x="45300" y="383540"/>
                  </a:lnTo>
                  <a:lnTo>
                    <a:pt x="45186" y="386080"/>
                  </a:lnTo>
                  <a:lnTo>
                    <a:pt x="1054" y="661670"/>
                  </a:lnTo>
                  <a:lnTo>
                    <a:pt x="2679" y="692150"/>
                  </a:lnTo>
                  <a:lnTo>
                    <a:pt x="15875" y="717550"/>
                  </a:lnTo>
                  <a:lnTo>
                    <a:pt x="38201" y="734060"/>
                  </a:lnTo>
                  <a:lnTo>
                    <a:pt x="67183" y="740410"/>
                  </a:lnTo>
                  <a:lnTo>
                    <a:pt x="467829" y="740410"/>
                  </a:lnTo>
                  <a:lnTo>
                    <a:pt x="492963" y="716280"/>
                  </a:lnTo>
                  <a:lnTo>
                    <a:pt x="493179" y="715010"/>
                  </a:lnTo>
                  <a:lnTo>
                    <a:pt x="493191" y="693420"/>
                  </a:lnTo>
                  <a:lnTo>
                    <a:pt x="498703" y="692150"/>
                  </a:lnTo>
                  <a:lnTo>
                    <a:pt x="508165" y="692150"/>
                  </a:lnTo>
                  <a:lnTo>
                    <a:pt x="524256" y="688340"/>
                  </a:lnTo>
                  <a:lnTo>
                    <a:pt x="571715" y="678180"/>
                  </a:lnTo>
                  <a:lnTo>
                    <a:pt x="619315" y="655320"/>
                  </a:lnTo>
                  <a:lnTo>
                    <a:pt x="659536" y="627380"/>
                  </a:lnTo>
                  <a:lnTo>
                    <a:pt x="692277" y="593090"/>
                  </a:lnTo>
                  <a:lnTo>
                    <a:pt x="717423" y="552450"/>
                  </a:lnTo>
                  <a:lnTo>
                    <a:pt x="734834" y="506730"/>
                  </a:lnTo>
                  <a:lnTo>
                    <a:pt x="744423" y="45466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0" name="object 2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990461" y="4064842"/>
              <a:ext cx="174664" cy="146812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444887" y="4217165"/>
              <a:ext cx="72123" cy="72112"/>
            </a:xfrm>
            <a:prstGeom prst="rect">
              <a:avLst/>
            </a:prstGeom>
          </p:spPr>
        </p:pic>
      </p:grpSp>
      <p:sp>
        <p:nvSpPr>
          <p:cNvPr id="22" name="object 22"/>
          <p:cNvSpPr txBox="1">
            <a:spLocks noGrp="1"/>
          </p:cNvSpPr>
          <p:nvPr>
            <p:ph type="title"/>
          </p:nvPr>
        </p:nvSpPr>
        <p:spPr>
          <a:xfrm>
            <a:off x="383608" y="373746"/>
            <a:ext cx="6626879" cy="469373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dirty="0"/>
              <a:t>КОНТРОЛЬ</a:t>
            </a:r>
            <a:r>
              <a:rPr spc="-191" dirty="0"/>
              <a:t> </a:t>
            </a:r>
            <a:r>
              <a:rPr spc="-6" dirty="0" smtClean="0"/>
              <a:t>КАЧЕСТВА</a:t>
            </a:r>
            <a:r>
              <a:rPr lang="ru-RU" spc="-6" dirty="0" smtClean="0"/>
              <a:t> СТМ</a:t>
            </a:r>
            <a:endParaRPr spc="-6" dirty="0"/>
          </a:p>
        </p:txBody>
      </p:sp>
      <p:grpSp>
        <p:nvGrpSpPr>
          <p:cNvPr id="23" name="object 23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24" name="object 24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6" name="object 26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879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69513" y="2089644"/>
            <a:ext cx="2417050" cy="990001"/>
          </a:xfrm>
          <a:custGeom>
            <a:avLst/>
            <a:gdLst/>
            <a:ahLst/>
            <a:cxnLst/>
            <a:rect l="l" t="t" r="r" b="b"/>
            <a:pathLst>
              <a:path w="3985895" h="1632585">
                <a:moveTo>
                  <a:pt x="3694201" y="0"/>
                </a:moveTo>
                <a:lnTo>
                  <a:pt x="291572" y="0"/>
                </a:lnTo>
                <a:lnTo>
                  <a:pt x="244277" y="3816"/>
                </a:lnTo>
                <a:lnTo>
                  <a:pt x="199412" y="14864"/>
                </a:lnTo>
                <a:lnTo>
                  <a:pt x="157577" y="32544"/>
                </a:lnTo>
                <a:lnTo>
                  <a:pt x="119373" y="56256"/>
                </a:lnTo>
                <a:lnTo>
                  <a:pt x="85399" y="85399"/>
                </a:lnTo>
                <a:lnTo>
                  <a:pt x="56256" y="119373"/>
                </a:lnTo>
                <a:lnTo>
                  <a:pt x="32544" y="157577"/>
                </a:lnTo>
                <a:lnTo>
                  <a:pt x="14864" y="199412"/>
                </a:lnTo>
                <a:lnTo>
                  <a:pt x="3816" y="244277"/>
                </a:lnTo>
                <a:lnTo>
                  <a:pt x="0" y="291572"/>
                </a:lnTo>
                <a:lnTo>
                  <a:pt x="0" y="1340922"/>
                </a:lnTo>
                <a:lnTo>
                  <a:pt x="3816" y="1388217"/>
                </a:lnTo>
                <a:lnTo>
                  <a:pt x="14864" y="1433082"/>
                </a:lnTo>
                <a:lnTo>
                  <a:pt x="32544" y="1474917"/>
                </a:lnTo>
                <a:lnTo>
                  <a:pt x="56256" y="1513121"/>
                </a:lnTo>
                <a:lnTo>
                  <a:pt x="85399" y="1547095"/>
                </a:lnTo>
                <a:lnTo>
                  <a:pt x="119373" y="1576238"/>
                </a:lnTo>
                <a:lnTo>
                  <a:pt x="157577" y="1599950"/>
                </a:lnTo>
                <a:lnTo>
                  <a:pt x="199412" y="1617630"/>
                </a:lnTo>
                <a:lnTo>
                  <a:pt x="244277" y="1628678"/>
                </a:lnTo>
                <a:lnTo>
                  <a:pt x="291572" y="1632494"/>
                </a:lnTo>
                <a:lnTo>
                  <a:pt x="3694201" y="1632494"/>
                </a:lnTo>
                <a:lnTo>
                  <a:pt x="3741496" y="1628678"/>
                </a:lnTo>
                <a:lnTo>
                  <a:pt x="3786361" y="1617630"/>
                </a:lnTo>
                <a:lnTo>
                  <a:pt x="3828196" y="1599950"/>
                </a:lnTo>
                <a:lnTo>
                  <a:pt x="3866400" y="1576238"/>
                </a:lnTo>
                <a:lnTo>
                  <a:pt x="3900374" y="1547095"/>
                </a:lnTo>
                <a:lnTo>
                  <a:pt x="3929517" y="1513121"/>
                </a:lnTo>
                <a:lnTo>
                  <a:pt x="3953229" y="1474917"/>
                </a:lnTo>
                <a:lnTo>
                  <a:pt x="3970909" y="1433082"/>
                </a:lnTo>
                <a:lnTo>
                  <a:pt x="3981957" y="1388217"/>
                </a:lnTo>
                <a:lnTo>
                  <a:pt x="3985773" y="1340922"/>
                </a:lnTo>
                <a:lnTo>
                  <a:pt x="3985773" y="291572"/>
                </a:lnTo>
                <a:lnTo>
                  <a:pt x="3981957" y="244277"/>
                </a:lnTo>
                <a:lnTo>
                  <a:pt x="3970909" y="199412"/>
                </a:lnTo>
                <a:lnTo>
                  <a:pt x="3953229" y="157577"/>
                </a:lnTo>
                <a:lnTo>
                  <a:pt x="3929517" y="119373"/>
                </a:lnTo>
                <a:lnTo>
                  <a:pt x="3900374" y="85399"/>
                </a:lnTo>
                <a:lnTo>
                  <a:pt x="3866400" y="56256"/>
                </a:lnTo>
                <a:lnTo>
                  <a:pt x="3828196" y="32544"/>
                </a:lnTo>
                <a:lnTo>
                  <a:pt x="3786361" y="14864"/>
                </a:lnTo>
                <a:lnTo>
                  <a:pt x="3741496" y="3816"/>
                </a:lnTo>
                <a:lnTo>
                  <a:pt x="3694201" y="0"/>
                </a:lnTo>
                <a:close/>
              </a:path>
            </a:pathLst>
          </a:custGeom>
          <a:solidFill>
            <a:srgbClr val="3CAC62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25045" y="2314213"/>
            <a:ext cx="1899524" cy="513357"/>
          </a:xfrm>
          <a:prstGeom prst="rect">
            <a:avLst/>
          </a:prstGeom>
        </p:spPr>
        <p:txBody>
          <a:bodyPr vert="horz" wrap="square" lIns="0" tIns="13092" rIns="0" bIns="0" rtlCol="0">
            <a:spAutoFit/>
          </a:bodyPr>
          <a:lstStyle/>
          <a:p>
            <a:pPr marL="7701" marR="3081" indent="-385" algn="ctr" defTabSz="554492">
              <a:lnSpc>
                <a:spcPts val="1340"/>
              </a:lnSpc>
              <a:spcBef>
                <a:spcPts val="103"/>
              </a:spcBef>
            </a:pP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ПРОГРАММА </a:t>
            </a:r>
            <a:r>
              <a:rPr sz="1122" b="1" kern="0" spc="-12" dirty="0">
                <a:solidFill>
                  <a:srgbClr val="FFFFFF"/>
                </a:solidFill>
                <a:latin typeface="Verdana"/>
                <a:cs typeface="Verdana"/>
              </a:rPr>
              <a:t>ПРОИЗВОДСТВЕННОГО </a:t>
            </a: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КОНТРОЛЯ</a:t>
            </a:r>
            <a:endParaRPr sz="112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289679" y="2089644"/>
            <a:ext cx="2417050" cy="990001"/>
          </a:xfrm>
          <a:custGeom>
            <a:avLst/>
            <a:gdLst/>
            <a:ahLst/>
            <a:cxnLst/>
            <a:rect l="l" t="t" r="r" b="b"/>
            <a:pathLst>
              <a:path w="3985894" h="1632585">
                <a:moveTo>
                  <a:pt x="3694201" y="0"/>
                </a:moveTo>
                <a:lnTo>
                  <a:pt x="291572" y="0"/>
                </a:lnTo>
                <a:lnTo>
                  <a:pt x="244277" y="3816"/>
                </a:lnTo>
                <a:lnTo>
                  <a:pt x="199412" y="14864"/>
                </a:lnTo>
                <a:lnTo>
                  <a:pt x="157577" y="32544"/>
                </a:lnTo>
                <a:lnTo>
                  <a:pt x="119373" y="56256"/>
                </a:lnTo>
                <a:lnTo>
                  <a:pt x="85399" y="85399"/>
                </a:lnTo>
                <a:lnTo>
                  <a:pt x="56256" y="119373"/>
                </a:lnTo>
                <a:lnTo>
                  <a:pt x="32544" y="157577"/>
                </a:lnTo>
                <a:lnTo>
                  <a:pt x="14864" y="199412"/>
                </a:lnTo>
                <a:lnTo>
                  <a:pt x="3816" y="244277"/>
                </a:lnTo>
                <a:lnTo>
                  <a:pt x="0" y="291572"/>
                </a:lnTo>
                <a:lnTo>
                  <a:pt x="0" y="1340922"/>
                </a:lnTo>
                <a:lnTo>
                  <a:pt x="3816" y="1388217"/>
                </a:lnTo>
                <a:lnTo>
                  <a:pt x="14864" y="1433082"/>
                </a:lnTo>
                <a:lnTo>
                  <a:pt x="32544" y="1474917"/>
                </a:lnTo>
                <a:lnTo>
                  <a:pt x="56256" y="1513121"/>
                </a:lnTo>
                <a:lnTo>
                  <a:pt x="85399" y="1547095"/>
                </a:lnTo>
                <a:lnTo>
                  <a:pt x="119373" y="1576238"/>
                </a:lnTo>
                <a:lnTo>
                  <a:pt x="157577" y="1599950"/>
                </a:lnTo>
                <a:lnTo>
                  <a:pt x="199412" y="1617630"/>
                </a:lnTo>
                <a:lnTo>
                  <a:pt x="244277" y="1628678"/>
                </a:lnTo>
                <a:lnTo>
                  <a:pt x="291572" y="1632494"/>
                </a:lnTo>
                <a:lnTo>
                  <a:pt x="3694201" y="1632494"/>
                </a:lnTo>
                <a:lnTo>
                  <a:pt x="3741496" y="1628678"/>
                </a:lnTo>
                <a:lnTo>
                  <a:pt x="3786361" y="1617630"/>
                </a:lnTo>
                <a:lnTo>
                  <a:pt x="3828196" y="1599950"/>
                </a:lnTo>
                <a:lnTo>
                  <a:pt x="3866400" y="1576238"/>
                </a:lnTo>
                <a:lnTo>
                  <a:pt x="3900374" y="1547095"/>
                </a:lnTo>
                <a:lnTo>
                  <a:pt x="3929517" y="1513121"/>
                </a:lnTo>
                <a:lnTo>
                  <a:pt x="3953229" y="1474917"/>
                </a:lnTo>
                <a:lnTo>
                  <a:pt x="3970909" y="1433082"/>
                </a:lnTo>
                <a:lnTo>
                  <a:pt x="3981957" y="1388217"/>
                </a:lnTo>
                <a:lnTo>
                  <a:pt x="3985773" y="1340922"/>
                </a:lnTo>
                <a:lnTo>
                  <a:pt x="3985773" y="291572"/>
                </a:lnTo>
                <a:lnTo>
                  <a:pt x="3981957" y="244277"/>
                </a:lnTo>
                <a:lnTo>
                  <a:pt x="3970909" y="199412"/>
                </a:lnTo>
                <a:lnTo>
                  <a:pt x="3953229" y="157577"/>
                </a:lnTo>
                <a:lnTo>
                  <a:pt x="3929517" y="119373"/>
                </a:lnTo>
                <a:lnTo>
                  <a:pt x="3900374" y="85399"/>
                </a:lnTo>
                <a:lnTo>
                  <a:pt x="3866400" y="56256"/>
                </a:lnTo>
                <a:lnTo>
                  <a:pt x="3828196" y="32544"/>
                </a:lnTo>
                <a:lnTo>
                  <a:pt x="3786361" y="14864"/>
                </a:lnTo>
                <a:lnTo>
                  <a:pt x="3741496" y="3816"/>
                </a:lnTo>
                <a:lnTo>
                  <a:pt x="3694201" y="0"/>
                </a:lnTo>
                <a:close/>
              </a:path>
            </a:pathLst>
          </a:custGeom>
          <a:solidFill>
            <a:srgbClr val="3CAC62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646175" y="2314213"/>
            <a:ext cx="1698905" cy="513357"/>
          </a:xfrm>
          <a:prstGeom prst="rect">
            <a:avLst/>
          </a:prstGeom>
        </p:spPr>
        <p:txBody>
          <a:bodyPr vert="horz" wrap="square" lIns="0" tIns="13092" rIns="0" bIns="0" rtlCol="0">
            <a:spAutoFit/>
          </a:bodyPr>
          <a:lstStyle/>
          <a:p>
            <a:pPr marL="7701" marR="3081" indent="-770" algn="ctr" defTabSz="554492">
              <a:lnSpc>
                <a:spcPts val="1340"/>
              </a:lnSpc>
              <a:spcBef>
                <a:spcPts val="103"/>
              </a:spcBef>
            </a:pP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ПРОВЕРКИ КОНТРОЛИРУЮЩИХ ОРГАНОВ</a:t>
            </a:r>
            <a:endParaRPr sz="112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467129" y="2089644"/>
            <a:ext cx="2417050" cy="990001"/>
          </a:xfrm>
          <a:custGeom>
            <a:avLst/>
            <a:gdLst/>
            <a:ahLst/>
            <a:cxnLst/>
            <a:rect l="l" t="t" r="r" b="b"/>
            <a:pathLst>
              <a:path w="3985895" h="1632585">
                <a:moveTo>
                  <a:pt x="3694201" y="0"/>
                </a:moveTo>
                <a:lnTo>
                  <a:pt x="291572" y="0"/>
                </a:lnTo>
                <a:lnTo>
                  <a:pt x="244277" y="3816"/>
                </a:lnTo>
                <a:lnTo>
                  <a:pt x="199412" y="14864"/>
                </a:lnTo>
                <a:lnTo>
                  <a:pt x="157577" y="32544"/>
                </a:lnTo>
                <a:lnTo>
                  <a:pt x="119373" y="56256"/>
                </a:lnTo>
                <a:lnTo>
                  <a:pt x="85399" y="85399"/>
                </a:lnTo>
                <a:lnTo>
                  <a:pt x="56256" y="119373"/>
                </a:lnTo>
                <a:lnTo>
                  <a:pt x="32544" y="157577"/>
                </a:lnTo>
                <a:lnTo>
                  <a:pt x="14864" y="199412"/>
                </a:lnTo>
                <a:lnTo>
                  <a:pt x="3816" y="244277"/>
                </a:lnTo>
                <a:lnTo>
                  <a:pt x="0" y="291572"/>
                </a:lnTo>
                <a:lnTo>
                  <a:pt x="0" y="1340922"/>
                </a:lnTo>
                <a:lnTo>
                  <a:pt x="3816" y="1388217"/>
                </a:lnTo>
                <a:lnTo>
                  <a:pt x="14864" y="1433082"/>
                </a:lnTo>
                <a:lnTo>
                  <a:pt x="32544" y="1474917"/>
                </a:lnTo>
                <a:lnTo>
                  <a:pt x="56256" y="1513121"/>
                </a:lnTo>
                <a:lnTo>
                  <a:pt x="85399" y="1547095"/>
                </a:lnTo>
                <a:lnTo>
                  <a:pt x="119373" y="1576238"/>
                </a:lnTo>
                <a:lnTo>
                  <a:pt x="157577" y="1599950"/>
                </a:lnTo>
                <a:lnTo>
                  <a:pt x="199412" y="1617630"/>
                </a:lnTo>
                <a:lnTo>
                  <a:pt x="244277" y="1628678"/>
                </a:lnTo>
                <a:lnTo>
                  <a:pt x="291572" y="1632494"/>
                </a:lnTo>
                <a:lnTo>
                  <a:pt x="3694201" y="1632494"/>
                </a:lnTo>
                <a:lnTo>
                  <a:pt x="3741496" y="1628678"/>
                </a:lnTo>
                <a:lnTo>
                  <a:pt x="3786361" y="1617630"/>
                </a:lnTo>
                <a:lnTo>
                  <a:pt x="3828196" y="1599950"/>
                </a:lnTo>
                <a:lnTo>
                  <a:pt x="3866400" y="1576238"/>
                </a:lnTo>
                <a:lnTo>
                  <a:pt x="3900374" y="1547095"/>
                </a:lnTo>
                <a:lnTo>
                  <a:pt x="3929517" y="1513121"/>
                </a:lnTo>
                <a:lnTo>
                  <a:pt x="3953229" y="1474917"/>
                </a:lnTo>
                <a:lnTo>
                  <a:pt x="3970909" y="1433082"/>
                </a:lnTo>
                <a:lnTo>
                  <a:pt x="3981957" y="1388217"/>
                </a:lnTo>
                <a:lnTo>
                  <a:pt x="3985773" y="1340922"/>
                </a:lnTo>
                <a:lnTo>
                  <a:pt x="3985773" y="291572"/>
                </a:lnTo>
                <a:lnTo>
                  <a:pt x="3981957" y="244277"/>
                </a:lnTo>
                <a:lnTo>
                  <a:pt x="3970909" y="199412"/>
                </a:lnTo>
                <a:lnTo>
                  <a:pt x="3953229" y="157577"/>
                </a:lnTo>
                <a:lnTo>
                  <a:pt x="3929517" y="119373"/>
                </a:lnTo>
                <a:lnTo>
                  <a:pt x="3900374" y="85399"/>
                </a:lnTo>
                <a:lnTo>
                  <a:pt x="3866400" y="56256"/>
                </a:lnTo>
                <a:lnTo>
                  <a:pt x="3828196" y="32544"/>
                </a:lnTo>
                <a:lnTo>
                  <a:pt x="3786361" y="14864"/>
                </a:lnTo>
                <a:lnTo>
                  <a:pt x="3741496" y="3816"/>
                </a:lnTo>
                <a:lnTo>
                  <a:pt x="3694201" y="0"/>
                </a:lnTo>
                <a:close/>
              </a:path>
            </a:pathLst>
          </a:custGeom>
          <a:solidFill>
            <a:srgbClr val="3CAC62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699450" y="2314212"/>
            <a:ext cx="1946116" cy="513357"/>
          </a:xfrm>
          <a:prstGeom prst="rect">
            <a:avLst/>
          </a:prstGeom>
        </p:spPr>
        <p:txBody>
          <a:bodyPr vert="horz" wrap="square" lIns="0" tIns="13092" rIns="0" bIns="0" rtlCol="0">
            <a:spAutoFit/>
          </a:bodyPr>
          <a:lstStyle/>
          <a:p>
            <a:pPr marL="7701" marR="3081" indent="516755" defTabSz="554492">
              <a:lnSpc>
                <a:spcPts val="1340"/>
              </a:lnSpc>
              <a:spcBef>
                <a:spcPts val="103"/>
              </a:spcBef>
            </a:pP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КОНТРОЛЬ </a:t>
            </a:r>
            <a:r>
              <a:rPr sz="1122" b="1" kern="0" dirty="0">
                <a:solidFill>
                  <a:srgbClr val="FFFFFF"/>
                </a:solidFill>
                <a:latin typeface="Verdana"/>
                <a:cs typeface="Verdana"/>
              </a:rPr>
              <a:t>КАЧЕСТВА</a:t>
            </a:r>
            <a:r>
              <a:rPr sz="1122" b="1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122" b="1" kern="0" dirty="0">
                <a:solidFill>
                  <a:srgbClr val="FFFFFF"/>
                </a:solidFill>
                <a:latin typeface="Verdana"/>
                <a:cs typeface="Verdana"/>
              </a:rPr>
              <a:t>В</a:t>
            </a:r>
            <a:r>
              <a:rPr sz="1122" b="1" kern="0" spc="-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МАГАЗИНЕ</a:t>
            </a:r>
            <a:endParaRPr sz="112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6674" defTabSz="554492">
              <a:lnSpc>
                <a:spcPts val="1295"/>
              </a:lnSpc>
            </a:pPr>
            <a:r>
              <a:rPr sz="1122" b="1" kern="0" dirty="0">
                <a:solidFill>
                  <a:srgbClr val="FFFFFF"/>
                </a:solidFill>
                <a:latin typeface="Verdana"/>
                <a:cs typeface="Verdana"/>
              </a:rPr>
              <a:t>И</a:t>
            </a:r>
            <a:r>
              <a:rPr sz="1122" b="1" kern="0" spc="-15" dirty="0">
                <a:solidFill>
                  <a:srgbClr val="FFFFFF"/>
                </a:solidFill>
                <a:latin typeface="Verdana"/>
                <a:cs typeface="Verdana"/>
              </a:rPr>
              <a:t> РЦ</a:t>
            </a:r>
            <a:endParaRPr sz="112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07008" y="2089644"/>
            <a:ext cx="2417050" cy="990001"/>
          </a:xfrm>
          <a:custGeom>
            <a:avLst/>
            <a:gdLst/>
            <a:ahLst/>
            <a:cxnLst/>
            <a:rect l="l" t="t" r="r" b="b"/>
            <a:pathLst>
              <a:path w="3985894" h="1632585">
                <a:moveTo>
                  <a:pt x="3694201" y="0"/>
                </a:moveTo>
                <a:lnTo>
                  <a:pt x="291572" y="0"/>
                </a:lnTo>
                <a:lnTo>
                  <a:pt x="244277" y="3816"/>
                </a:lnTo>
                <a:lnTo>
                  <a:pt x="199412" y="14864"/>
                </a:lnTo>
                <a:lnTo>
                  <a:pt x="157577" y="32544"/>
                </a:lnTo>
                <a:lnTo>
                  <a:pt x="119373" y="56256"/>
                </a:lnTo>
                <a:lnTo>
                  <a:pt x="85399" y="85399"/>
                </a:lnTo>
                <a:lnTo>
                  <a:pt x="56256" y="119373"/>
                </a:lnTo>
                <a:lnTo>
                  <a:pt x="32544" y="157577"/>
                </a:lnTo>
                <a:lnTo>
                  <a:pt x="14864" y="199412"/>
                </a:lnTo>
                <a:lnTo>
                  <a:pt x="3816" y="244277"/>
                </a:lnTo>
                <a:lnTo>
                  <a:pt x="0" y="291572"/>
                </a:lnTo>
                <a:lnTo>
                  <a:pt x="0" y="1340922"/>
                </a:lnTo>
                <a:lnTo>
                  <a:pt x="3816" y="1388217"/>
                </a:lnTo>
                <a:lnTo>
                  <a:pt x="14864" y="1433082"/>
                </a:lnTo>
                <a:lnTo>
                  <a:pt x="32544" y="1474917"/>
                </a:lnTo>
                <a:lnTo>
                  <a:pt x="56256" y="1513121"/>
                </a:lnTo>
                <a:lnTo>
                  <a:pt x="85399" y="1547095"/>
                </a:lnTo>
                <a:lnTo>
                  <a:pt x="119373" y="1576238"/>
                </a:lnTo>
                <a:lnTo>
                  <a:pt x="157577" y="1599950"/>
                </a:lnTo>
                <a:lnTo>
                  <a:pt x="199412" y="1617630"/>
                </a:lnTo>
                <a:lnTo>
                  <a:pt x="244277" y="1628678"/>
                </a:lnTo>
                <a:lnTo>
                  <a:pt x="291572" y="1632494"/>
                </a:lnTo>
                <a:lnTo>
                  <a:pt x="3694201" y="1632494"/>
                </a:lnTo>
                <a:lnTo>
                  <a:pt x="3741496" y="1628678"/>
                </a:lnTo>
                <a:lnTo>
                  <a:pt x="3786361" y="1617630"/>
                </a:lnTo>
                <a:lnTo>
                  <a:pt x="3828196" y="1599950"/>
                </a:lnTo>
                <a:lnTo>
                  <a:pt x="3866400" y="1576238"/>
                </a:lnTo>
                <a:lnTo>
                  <a:pt x="3900374" y="1547095"/>
                </a:lnTo>
                <a:lnTo>
                  <a:pt x="3929517" y="1513121"/>
                </a:lnTo>
                <a:lnTo>
                  <a:pt x="3953229" y="1474917"/>
                </a:lnTo>
                <a:lnTo>
                  <a:pt x="3970909" y="1433082"/>
                </a:lnTo>
                <a:lnTo>
                  <a:pt x="3981957" y="1388217"/>
                </a:lnTo>
                <a:lnTo>
                  <a:pt x="3985773" y="1340922"/>
                </a:lnTo>
                <a:lnTo>
                  <a:pt x="3985773" y="291572"/>
                </a:lnTo>
                <a:lnTo>
                  <a:pt x="3981957" y="244277"/>
                </a:lnTo>
                <a:lnTo>
                  <a:pt x="3970909" y="199412"/>
                </a:lnTo>
                <a:lnTo>
                  <a:pt x="3953229" y="157577"/>
                </a:lnTo>
                <a:lnTo>
                  <a:pt x="3929517" y="119373"/>
                </a:lnTo>
                <a:lnTo>
                  <a:pt x="3900374" y="85399"/>
                </a:lnTo>
                <a:lnTo>
                  <a:pt x="3866400" y="56256"/>
                </a:lnTo>
                <a:lnTo>
                  <a:pt x="3828196" y="32544"/>
                </a:lnTo>
                <a:lnTo>
                  <a:pt x="3786361" y="14864"/>
                </a:lnTo>
                <a:lnTo>
                  <a:pt x="3741496" y="3816"/>
                </a:lnTo>
                <a:lnTo>
                  <a:pt x="3694201" y="0"/>
                </a:lnTo>
                <a:close/>
              </a:path>
            </a:pathLst>
          </a:custGeom>
          <a:solidFill>
            <a:srgbClr val="3CAC62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164554" y="2314213"/>
            <a:ext cx="2296139" cy="513357"/>
          </a:xfrm>
          <a:prstGeom prst="rect">
            <a:avLst/>
          </a:prstGeom>
        </p:spPr>
        <p:txBody>
          <a:bodyPr vert="horz" wrap="square" lIns="0" tIns="13092" rIns="0" bIns="0" rtlCol="0">
            <a:spAutoFit/>
          </a:bodyPr>
          <a:lstStyle/>
          <a:p>
            <a:pPr marL="7701" marR="3081" indent="-5391" algn="ctr" defTabSz="554492">
              <a:lnSpc>
                <a:spcPts val="1340"/>
              </a:lnSpc>
              <a:spcBef>
                <a:spcPts val="103"/>
              </a:spcBef>
            </a:pPr>
            <a:r>
              <a:rPr sz="1122" b="1" kern="0" spc="-55" dirty="0">
                <a:solidFill>
                  <a:srgbClr val="FFFFFF"/>
                </a:solidFill>
                <a:latin typeface="Verdana"/>
                <a:cs typeface="Verdana"/>
              </a:rPr>
              <a:t>АНАЛИЗ</a:t>
            </a:r>
            <a:r>
              <a:rPr sz="1122" b="1" kern="0" spc="-6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РЕКЛАМАЦИЙ </a:t>
            </a:r>
            <a:r>
              <a:rPr sz="1122" b="1" kern="0" spc="-58" dirty="0">
                <a:solidFill>
                  <a:srgbClr val="FFFFFF"/>
                </a:solidFill>
                <a:latin typeface="Verdana"/>
                <a:cs typeface="Verdana"/>
              </a:rPr>
              <a:t>ПОКУПАТЕЛЕЙ,</a:t>
            </a:r>
            <a:r>
              <a:rPr sz="1122" b="1" kern="0" spc="-3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122" b="1" kern="0" spc="-45" dirty="0">
                <a:solidFill>
                  <a:srgbClr val="FFFFFF"/>
                </a:solidFill>
                <a:latin typeface="Verdana"/>
                <a:cs typeface="Verdana"/>
              </a:rPr>
              <a:t>ЭКСПЕРТНЫЕ </a:t>
            </a:r>
            <a:r>
              <a:rPr sz="1122" b="1" kern="0" spc="-24" dirty="0">
                <a:solidFill>
                  <a:srgbClr val="FFFFFF"/>
                </a:solidFill>
                <a:latin typeface="Verdana"/>
                <a:cs typeface="Verdana"/>
              </a:rPr>
              <a:t>ДЕГУСТАЦИИ/ОЦЕНКА</a:t>
            </a:r>
            <a:endParaRPr sz="112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55280" y="3229554"/>
            <a:ext cx="1846000" cy="77246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indent="-55834" algn="ctr" defTabSz="554492">
              <a:lnSpc>
                <a:spcPct val="100499"/>
              </a:lnSpc>
              <a:spcBef>
                <a:spcPts val="58"/>
              </a:spcBef>
            </a:pPr>
            <a:r>
              <a:rPr sz="1243" kern="0" spc="-6" dirty="0">
                <a:solidFill>
                  <a:srgbClr val="003B95"/>
                </a:solidFill>
                <a:latin typeface="Verdana"/>
                <a:cs typeface="Verdana"/>
              </a:rPr>
              <a:t>Лабораторные </a:t>
            </a: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испытания</a:t>
            </a:r>
            <a:r>
              <a:rPr sz="1243" kern="0" spc="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kern="0" spc="-6" dirty="0">
                <a:solidFill>
                  <a:srgbClr val="003B95"/>
                </a:solidFill>
                <a:latin typeface="Verdana"/>
                <a:cs typeface="Verdana"/>
              </a:rPr>
              <a:t>продукции </a:t>
            </a: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243" kern="0" spc="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kern="0" spc="-6" dirty="0">
                <a:solidFill>
                  <a:srgbClr val="003B95"/>
                </a:solidFill>
                <a:latin typeface="Verdana"/>
                <a:cs typeface="Verdana"/>
              </a:rPr>
              <a:t>аккредитованных лабораториях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094976" y="3229554"/>
            <a:ext cx="1161355" cy="77246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indent="770" algn="ctr" defTabSz="554492">
              <a:lnSpc>
                <a:spcPct val="100499"/>
              </a:lnSpc>
              <a:spcBef>
                <a:spcPts val="58"/>
              </a:spcBef>
            </a:pPr>
            <a:r>
              <a:rPr sz="1243" kern="0" spc="-6" dirty="0">
                <a:solidFill>
                  <a:srgbClr val="003B95"/>
                </a:solidFill>
                <a:latin typeface="Verdana"/>
                <a:cs typeface="Verdana"/>
              </a:rPr>
              <a:t>Обнаружения </a:t>
            </a: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при</a:t>
            </a:r>
            <a:r>
              <a:rPr sz="1243" kern="0" spc="-6" dirty="0">
                <a:solidFill>
                  <a:srgbClr val="003B95"/>
                </a:solidFill>
                <a:latin typeface="Verdana"/>
                <a:cs typeface="Verdana"/>
              </a:rPr>
              <a:t> хранении </a:t>
            </a: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и </a:t>
            </a:r>
            <a:r>
              <a:rPr sz="1243" kern="0" spc="-6" dirty="0">
                <a:solidFill>
                  <a:srgbClr val="003B95"/>
                </a:solidFill>
                <a:latin typeface="Verdana"/>
                <a:cs typeface="Verdana"/>
              </a:rPr>
              <a:t>реализации продукции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471933" y="3228760"/>
            <a:ext cx="2058170" cy="710605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" algn="ctr" defTabSz="554492">
              <a:spcBef>
                <a:spcPts val="67"/>
              </a:spcBef>
            </a:pPr>
            <a:r>
              <a:rPr sz="1243" kern="0" spc="-6" dirty="0">
                <a:solidFill>
                  <a:srgbClr val="003B95"/>
                </a:solidFill>
                <a:latin typeface="Verdana"/>
                <a:cs typeface="Verdana"/>
              </a:rPr>
              <a:t>Информирование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316" marR="3081" algn="ctr" defTabSz="554492">
              <a:lnSpc>
                <a:spcPct val="100499"/>
              </a:lnSpc>
            </a:pP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о</a:t>
            </a:r>
            <a:r>
              <a:rPr sz="1243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выявлении</a:t>
            </a:r>
            <a:r>
              <a:rPr sz="1243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kern="0" spc="-6" dirty="0">
                <a:solidFill>
                  <a:srgbClr val="003B95"/>
                </a:solidFill>
                <a:latin typeface="Verdana"/>
                <a:cs typeface="Verdana"/>
              </a:rPr>
              <a:t>нарушений </a:t>
            </a: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РПН, РСХН</a:t>
            </a:r>
            <a:r>
              <a:rPr sz="1243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243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kern="0" spc="-15" dirty="0">
                <a:solidFill>
                  <a:srgbClr val="003B95"/>
                </a:solidFill>
                <a:latin typeface="Verdana"/>
                <a:cs typeface="Verdana"/>
              </a:rPr>
              <a:t>НКО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75974" defTabSz="554492">
              <a:lnSpc>
                <a:spcPts val="1007"/>
              </a:lnSpc>
            </a:pPr>
            <a:r>
              <a:rPr sz="879" kern="0" dirty="0">
                <a:solidFill>
                  <a:srgbClr val="003B95"/>
                </a:solidFill>
                <a:latin typeface="Verdana"/>
                <a:cs typeface="Verdana"/>
              </a:rPr>
              <a:t>(Роскачество,</a:t>
            </a:r>
            <a:r>
              <a:rPr sz="879" kern="0" spc="6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879" kern="0" dirty="0">
                <a:solidFill>
                  <a:srgbClr val="003B95"/>
                </a:solidFill>
                <a:latin typeface="Verdana"/>
                <a:cs typeface="Verdana"/>
              </a:rPr>
              <a:t>ЦККРТУ</a:t>
            </a:r>
            <a:r>
              <a:rPr sz="879" kern="0" spc="6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879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879" kern="0" spc="6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879" kern="0" spc="-12" dirty="0">
                <a:solidFill>
                  <a:srgbClr val="003B95"/>
                </a:solidFill>
                <a:latin typeface="Verdana"/>
                <a:cs typeface="Verdana"/>
              </a:rPr>
              <a:t>др.)</a:t>
            </a:r>
            <a:endParaRPr sz="879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647820" y="4393079"/>
            <a:ext cx="10878074" cy="1785159"/>
          </a:xfrm>
          <a:custGeom>
            <a:avLst/>
            <a:gdLst/>
            <a:ahLst/>
            <a:cxnLst/>
            <a:rect l="l" t="t" r="r" b="b"/>
            <a:pathLst>
              <a:path w="17938750" h="2943859">
                <a:moveTo>
                  <a:pt x="17655525" y="0"/>
                </a:moveTo>
                <a:lnTo>
                  <a:pt x="282776" y="0"/>
                </a:lnTo>
                <a:lnTo>
                  <a:pt x="236908" y="3701"/>
                </a:lnTo>
                <a:lnTo>
                  <a:pt x="193397" y="14416"/>
                </a:lnTo>
                <a:lnTo>
                  <a:pt x="152824" y="31563"/>
                </a:lnTo>
                <a:lnTo>
                  <a:pt x="115772" y="54559"/>
                </a:lnTo>
                <a:lnTo>
                  <a:pt x="82823" y="82823"/>
                </a:lnTo>
                <a:lnTo>
                  <a:pt x="54559" y="115772"/>
                </a:lnTo>
                <a:lnTo>
                  <a:pt x="31563" y="152824"/>
                </a:lnTo>
                <a:lnTo>
                  <a:pt x="14416" y="193397"/>
                </a:lnTo>
                <a:lnTo>
                  <a:pt x="3701" y="236908"/>
                </a:lnTo>
                <a:lnTo>
                  <a:pt x="0" y="282776"/>
                </a:lnTo>
                <a:lnTo>
                  <a:pt x="0" y="2661018"/>
                </a:lnTo>
                <a:lnTo>
                  <a:pt x="3701" y="2706886"/>
                </a:lnTo>
                <a:lnTo>
                  <a:pt x="14416" y="2750397"/>
                </a:lnTo>
                <a:lnTo>
                  <a:pt x="31563" y="2790970"/>
                </a:lnTo>
                <a:lnTo>
                  <a:pt x="54559" y="2828022"/>
                </a:lnTo>
                <a:lnTo>
                  <a:pt x="82823" y="2860971"/>
                </a:lnTo>
                <a:lnTo>
                  <a:pt x="115772" y="2889235"/>
                </a:lnTo>
                <a:lnTo>
                  <a:pt x="152824" y="2912232"/>
                </a:lnTo>
                <a:lnTo>
                  <a:pt x="193397" y="2929379"/>
                </a:lnTo>
                <a:lnTo>
                  <a:pt x="236908" y="2940094"/>
                </a:lnTo>
                <a:lnTo>
                  <a:pt x="282776" y="2943795"/>
                </a:lnTo>
                <a:lnTo>
                  <a:pt x="17655525" y="2943795"/>
                </a:lnTo>
                <a:lnTo>
                  <a:pt x="17701393" y="2940094"/>
                </a:lnTo>
                <a:lnTo>
                  <a:pt x="17744904" y="2929379"/>
                </a:lnTo>
                <a:lnTo>
                  <a:pt x="17785477" y="2912232"/>
                </a:lnTo>
                <a:lnTo>
                  <a:pt x="17822529" y="2889235"/>
                </a:lnTo>
                <a:lnTo>
                  <a:pt x="17855478" y="2860971"/>
                </a:lnTo>
                <a:lnTo>
                  <a:pt x="17883742" y="2828022"/>
                </a:lnTo>
                <a:lnTo>
                  <a:pt x="17906738" y="2790970"/>
                </a:lnTo>
                <a:lnTo>
                  <a:pt x="17923885" y="2750397"/>
                </a:lnTo>
                <a:lnTo>
                  <a:pt x="17934600" y="2706886"/>
                </a:lnTo>
                <a:lnTo>
                  <a:pt x="17938301" y="2661018"/>
                </a:lnTo>
                <a:lnTo>
                  <a:pt x="17938301" y="282776"/>
                </a:lnTo>
                <a:lnTo>
                  <a:pt x="17934600" y="236908"/>
                </a:lnTo>
                <a:lnTo>
                  <a:pt x="17923885" y="193397"/>
                </a:lnTo>
                <a:lnTo>
                  <a:pt x="17906738" y="152824"/>
                </a:lnTo>
                <a:lnTo>
                  <a:pt x="17883742" y="115772"/>
                </a:lnTo>
                <a:lnTo>
                  <a:pt x="17855478" y="82823"/>
                </a:lnTo>
                <a:lnTo>
                  <a:pt x="17822529" y="54559"/>
                </a:lnTo>
                <a:lnTo>
                  <a:pt x="17785477" y="31563"/>
                </a:lnTo>
                <a:lnTo>
                  <a:pt x="17744904" y="14416"/>
                </a:lnTo>
                <a:lnTo>
                  <a:pt x="17701393" y="3701"/>
                </a:lnTo>
                <a:lnTo>
                  <a:pt x="17655525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9111905" y="3228760"/>
            <a:ext cx="2406654" cy="79414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316" marR="3081" algn="ctr" defTabSz="554492">
              <a:lnSpc>
                <a:spcPct val="100499"/>
              </a:lnSpc>
              <a:spcBef>
                <a:spcPts val="58"/>
              </a:spcBef>
            </a:pP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Информация</a:t>
            </a:r>
            <a:r>
              <a:rPr sz="1243" kern="0" spc="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от</a:t>
            </a:r>
            <a:r>
              <a:rPr sz="1243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kern="0" spc="-6" dirty="0">
                <a:solidFill>
                  <a:srgbClr val="003B95"/>
                </a:solidFill>
                <a:latin typeface="Verdana"/>
                <a:cs typeface="Verdana"/>
              </a:rPr>
              <a:t>покупателей </a:t>
            </a: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из</a:t>
            </a:r>
            <a:r>
              <a:rPr sz="1243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003B95"/>
                </a:solidFill>
                <a:latin typeface="Verdana"/>
                <a:cs typeface="Verdana"/>
              </a:rPr>
              <a:t>всех</a:t>
            </a:r>
            <a:r>
              <a:rPr sz="1243" kern="0" spc="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kern="0" spc="-6" dirty="0">
                <a:solidFill>
                  <a:srgbClr val="003B95"/>
                </a:solidFill>
                <a:latin typeface="Verdana"/>
                <a:cs typeface="Verdana"/>
              </a:rPr>
              <a:t>источников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algn="ctr" defTabSz="554492">
              <a:lnSpc>
                <a:spcPts val="1007"/>
              </a:lnSpc>
            </a:pPr>
            <a:r>
              <a:rPr sz="879" kern="0" dirty="0">
                <a:solidFill>
                  <a:srgbClr val="003B95"/>
                </a:solidFill>
                <a:latin typeface="Verdana"/>
                <a:cs typeface="Verdana"/>
              </a:rPr>
              <a:t>(сайт/мобильное</a:t>
            </a:r>
            <a:r>
              <a:rPr sz="879" kern="0" spc="15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879" kern="0" spc="-6" dirty="0">
                <a:solidFill>
                  <a:srgbClr val="003B95"/>
                </a:solidFill>
                <a:latin typeface="Verdana"/>
                <a:cs typeface="Verdana"/>
              </a:rPr>
              <a:t>приложение,</a:t>
            </a:r>
            <a:endParaRPr sz="879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65846" marR="61225" algn="ctr" defTabSz="554492">
              <a:lnSpc>
                <a:spcPct val="102299"/>
              </a:lnSpc>
              <a:spcBef>
                <a:spcPts val="3"/>
              </a:spcBef>
            </a:pPr>
            <a:r>
              <a:rPr sz="879" kern="0" dirty="0">
                <a:solidFill>
                  <a:srgbClr val="003B95"/>
                </a:solidFill>
                <a:latin typeface="Verdana"/>
                <a:cs typeface="Verdana"/>
              </a:rPr>
              <a:t>горячая</a:t>
            </a:r>
            <a:r>
              <a:rPr sz="879" kern="0" spc="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879" kern="0" dirty="0">
                <a:solidFill>
                  <a:srgbClr val="003B95"/>
                </a:solidFill>
                <a:latin typeface="Verdana"/>
                <a:cs typeface="Verdana"/>
              </a:rPr>
              <a:t>линия,</a:t>
            </a:r>
            <a:r>
              <a:rPr sz="879" kern="0" spc="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879" kern="0" dirty="0">
                <a:solidFill>
                  <a:srgbClr val="003B95"/>
                </a:solidFill>
                <a:latin typeface="Verdana"/>
                <a:cs typeface="Verdana"/>
              </a:rPr>
              <a:t>чаты</a:t>
            </a:r>
            <a:r>
              <a:rPr sz="879" kern="0" spc="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879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879" kern="0" spc="5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879" kern="0" spc="-6" dirty="0">
                <a:solidFill>
                  <a:srgbClr val="003B95"/>
                </a:solidFill>
                <a:latin typeface="Verdana"/>
                <a:cs typeface="Verdana"/>
              </a:rPr>
              <a:t>мессенджерах, </a:t>
            </a:r>
            <a:r>
              <a:rPr sz="879" kern="0" dirty="0">
                <a:solidFill>
                  <a:srgbClr val="003B95"/>
                </a:solidFill>
                <a:latin typeface="Verdana"/>
                <a:cs typeface="Verdana"/>
              </a:rPr>
              <a:t>соц.сети,</a:t>
            </a:r>
            <a:r>
              <a:rPr sz="879" kern="0" spc="8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879" kern="0" spc="-12" dirty="0">
                <a:solidFill>
                  <a:srgbClr val="003B95"/>
                </a:solidFill>
                <a:latin typeface="Verdana"/>
                <a:cs typeface="Verdana"/>
              </a:rPr>
              <a:t>СМИ)</a:t>
            </a:r>
            <a:endParaRPr sz="879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98621" y="4538742"/>
            <a:ext cx="10456043" cy="1476247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lnSpc>
                <a:spcPts val="1925"/>
              </a:lnSpc>
              <a:spcBef>
                <a:spcPts val="55"/>
              </a:spcBef>
            </a:pP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При</a:t>
            </a:r>
            <a:r>
              <a:rPr sz="1607" kern="0" spc="-7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выявлении</a:t>
            </a:r>
            <a:r>
              <a:rPr sz="1607" kern="0" spc="-7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6" dirty="0">
                <a:solidFill>
                  <a:srgbClr val="003B95"/>
                </a:solidFill>
                <a:latin typeface="Verdana"/>
                <a:cs typeface="Verdana"/>
              </a:rPr>
              <a:t>несоответствий</a:t>
            </a:r>
            <a:r>
              <a:rPr sz="1607" kern="0" spc="-7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товара,</a:t>
            </a:r>
            <a:r>
              <a:rPr sz="1607" kern="0" spc="-7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Поставщику</a:t>
            </a:r>
            <a:r>
              <a:rPr sz="1607" kern="0" spc="-7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6" dirty="0">
                <a:solidFill>
                  <a:srgbClr val="003B95"/>
                </a:solidFill>
                <a:latin typeface="Verdana"/>
                <a:cs typeface="Verdana"/>
              </a:rPr>
              <a:t>предоставляется</a:t>
            </a:r>
            <a:r>
              <a:rPr sz="1607" kern="0" spc="-7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полная</a:t>
            </a:r>
            <a:r>
              <a:rPr sz="1607" kern="0" spc="-7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6" dirty="0">
                <a:solidFill>
                  <a:srgbClr val="003B95"/>
                </a:solidFill>
                <a:latin typeface="Verdana"/>
                <a:cs typeface="Verdana"/>
              </a:rPr>
              <a:t>информация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1922"/>
              </a:lnSpc>
            </a:pP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607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запрашивается</a:t>
            </a:r>
            <a:r>
              <a:rPr sz="1607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официальный</a:t>
            </a:r>
            <a:r>
              <a:rPr sz="1607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ответ,</a:t>
            </a:r>
            <a:r>
              <a:rPr sz="1607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коренная</a:t>
            </a:r>
            <a:r>
              <a:rPr sz="1607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причина</a:t>
            </a:r>
            <a:r>
              <a:rPr sz="1607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6" dirty="0">
                <a:solidFill>
                  <a:srgbClr val="003B95"/>
                </a:solidFill>
                <a:latin typeface="Verdana"/>
                <a:cs typeface="Verdana"/>
              </a:rPr>
              <a:t>несоответствий</a:t>
            </a:r>
            <a:r>
              <a:rPr sz="1607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607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КД</a:t>
            </a:r>
            <a:r>
              <a:rPr sz="1607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по</a:t>
            </a:r>
            <a:r>
              <a:rPr sz="1607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их</a:t>
            </a:r>
            <a:r>
              <a:rPr sz="1607" kern="0" spc="-6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6" dirty="0">
                <a:solidFill>
                  <a:srgbClr val="003B95"/>
                </a:solidFill>
                <a:latin typeface="Verdana"/>
                <a:cs typeface="Verdana"/>
              </a:rPr>
              <a:t>устранению.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1925"/>
              </a:lnSpc>
            </a:pPr>
            <a:r>
              <a:rPr sz="1607" b="1" kern="0" spc="-6" dirty="0">
                <a:solidFill>
                  <a:srgbClr val="003B95"/>
                </a:solidFill>
                <a:latin typeface="Verdana"/>
                <a:cs typeface="Verdana"/>
              </a:rPr>
              <a:t>Ожидаемый</a:t>
            </a:r>
            <a:r>
              <a:rPr sz="1607" b="1" kern="0" spc="-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срок</a:t>
            </a:r>
            <a:r>
              <a:rPr sz="1607" b="1" kern="0" spc="-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ответа</a:t>
            </a:r>
            <a:r>
              <a:rPr sz="1607" b="1" kern="0" spc="-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–</a:t>
            </a:r>
            <a:r>
              <a:rPr sz="1607" b="1" kern="0" spc="-4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до</a:t>
            </a:r>
            <a:r>
              <a:rPr sz="1607" b="1" kern="0" spc="-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5</a:t>
            </a:r>
            <a:r>
              <a:rPr sz="1607" b="1" kern="0" spc="-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рабочих</a:t>
            </a:r>
            <a:r>
              <a:rPr sz="1607" b="1" kern="0" spc="-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spc="-6" dirty="0">
                <a:solidFill>
                  <a:srgbClr val="003B95"/>
                </a:solidFill>
                <a:latin typeface="Verdana"/>
                <a:cs typeface="Verdana"/>
              </a:rPr>
              <a:t>дней.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164422" defTabSz="554492">
              <a:spcBef>
                <a:spcPts val="1919"/>
              </a:spcBef>
            </a:pP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Если</a:t>
            </a:r>
            <a:r>
              <a:rPr sz="1607" kern="0" spc="-8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требуется</a:t>
            </a:r>
            <a:r>
              <a:rPr sz="1607" kern="0" spc="-8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проведение</a:t>
            </a:r>
            <a:r>
              <a:rPr sz="1607" kern="0" spc="-8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лабораторных</a:t>
            </a:r>
            <a:r>
              <a:rPr sz="1607" kern="0" spc="-8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испытаний,</a:t>
            </a:r>
            <a:r>
              <a:rPr sz="1607" kern="0" spc="-8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то</a:t>
            </a:r>
            <a:r>
              <a:rPr sz="1607" kern="0" spc="-8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срок</a:t>
            </a:r>
            <a:r>
              <a:rPr sz="1607" kern="0" spc="-8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предоставления</a:t>
            </a:r>
            <a:r>
              <a:rPr sz="1607" kern="0" spc="-8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6" dirty="0">
                <a:solidFill>
                  <a:srgbClr val="003B95"/>
                </a:solidFill>
                <a:latin typeface="Verdana"/>
                <a:cs typeface="Verdana"/>
              </a:rPr>
              <a:t>ответа согласовывается</a:t>
            </a:r>
            <a:r>
              <a:rPr sz="1607" kern="0" spc="-7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дополнительно</a:t>
            </a:r>
            <a:r>
              <a:rPr sz="1607" kern="0" spc="-7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по</a:t>
            </a:r>
            <a:r>
              <a:rPr sz="1607" kern="0" spc="-7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электронной</a:t>
            </a:r>
            <a:r>
              <a:rPr sz="1607" kern="0" spc="-7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почте.</a:t>
            </a:r>
            <a:r>
              <a:rPr sz="1607" kern="0" spc="-7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 err="1">
                <a:solidFill>
                  <a:srgbClr val="003B95"/>
                </a:solidFill>
                <a:latin typeface="Verdana"/>
                <a:cs typeface="Verdana"/>
              </a:rPr>
              <a:t>Просим</a:t>
            </a:r>
            <a:r>
              <a:rPr sz="1607" kern="0" spc="-7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 err="1" smtClean="0">
                <a:solidFill>
                  <a:srgbClr val="003B95"/>
                </a:solidFill>
                <a:latin typeface="Verdana"/>
                <a:cs typeface="Verdana"/>
              </a:rPr>
              <a:t>сообщать</a:t>
            </a:r>
            <a:r>
              <a:rPr sz="1607" kern="0" spc="-76" dirty="0" smtClean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об</a:t>
            </a:r>
            <a:r>
              <a:rPr sz="1607" kern="0" spc="-7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6" dirty="0">
                <a:solidFill>
                  <a:srgbClr val="003B95"/>
                </a:solidFill>
                <a:latin typeface="Verdana"/>
                <a:cs typeface="Verdana"/>
              </a:rPr>
              <a:t>этом.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632275" y="603635"/>
            <a:ext cx="7897827" cy="802964"/>
          </a:xfrm>
          <a:prstGeom prst="rect">
            <a:avLst/>
          </a:prstGeom>
        </p:spPr>
        <p:txBody>
          <a:bodyPr vert="horz" wrap="square" lIns="0" tIns="10782" rIns="0" bIns="0" rtlCol="0">
            <a:spAutoFit/>
          </a:bodyPr>
          <a:lstStyle/>
          <a:p>
            <a:pPr marL="7701">
              <a:spcBef>
                <a:spcPts val="85"/>
              </a:spcBef>
            </a:pPr>
            <a:r>
              <a:rPr sz="2426" dirty="0"/>
              <a:t>ПРОВЕРКА</a:t>
            </a:r>
            <a:r>
              <a:rPr sz="2426" spc="30" dirty="0"/>
              <a:t> </a:t>
            </a:r>
            <a:r>
              <a:rPr sz="2426" dirty="0"/>
              <a:t>СООТВЕТСТВИЯ</a:t>
            </a:r>
            <a:r>
              <a:rPr sz="2426" spc="30" dirty="0"/>
              <a:t> </a:t>
            </a:r>
            <a:r>
              <a:rPr sz="2426" dirty="0"/>
              <a:t>ТОВАРА</a:t>
            </a:r>
            <a:r>
              <a:rPr sz="2426" spc="30" dirty="0"/>
              <a:t> </a:t>
            </a:r>
            <a:r>
              <a:rPr lang="ru-RU" sz="2426" spc="30" dirty="0" smtClean="0"/>
              <a:t>СТМ </a:t>
            </a:r>
            <a:r>
              <a:rPr sz="2426" spc="-15" dirty="0" smtClean="0"/>
              <a:t>:</a:t>
            </a:r>
            <a:endParaRPr sz="2426" dirty="0"/>
          </a:p>
          <a:p>
            <a:pPr marL="7701">
              <a:spcBef>
                <a:spcPts val="52"/>
              </a:spcBef>
            </a:pPr>
            <a:r>
              <a:rPr sz="2638" b="0" dirty="0"/>
              <a:t>объективное</a:t>
            </a:r>
            <a:r>
              <a:rPr sz="2638" b="0" spc="3" dirty="0"/>
              <a:t> </a:t>
            </a:r>
            <a:r>
              <a:rPr sz="2638" b="0" spc="-6" dirty="0"/>
              <a:t>качество</a:t>
            </a:r>
            <a:endParaRPr sz="2638" dirty="0"/>
          </a:p>
        </p:txBody>
      </p:sp>
      <p:grpSp>
        <p:nvGrpSpPr>
          <p:cNvPr id="17" name="object 17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18" name="object 18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0" name="object 20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309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666009" y="4330875"/>
            <a:ext cx="4292315" cy="1707062"/>
          </a:xfrm>
          <a:custGeom>
            <a:avLst/>
            <a:gdLst/>
            <a:ahLst/>
            <a:cxnLst/>
            <a:rect l="l" t="t" r="r" b="b"/>
            <a:pathLst>
              <a:path w="7078345" h="3971290">
                <a:moveTo>
                  <a:pt x="6781311" y="0"/>
                </a:moveTo>
                <a:lnTo>
                  <a:pt x="296786" y="0"/>
                </a:lnTo>
                <a:lnTo>
                  <a:pt x="248646" y="3884"/>
                </a:lnTo>
                <a:lnTo>
                  <a:pt x="202979" y="15130"/>
                </a:lnTo>
                <a:lnTo>
                  <a:pt x="160395" y="33126"/>
                </a:lnTo>
                <a:lnTo>
                  <a:pt x="121508" y="57262"/>
                </a:lnTo>
                <a:lnTo>
                  <a:pt x="86926" y="86926"/>
                </a:lnTo>
                <a:lnTo>
                  <a:pt x="57262" y="121508"/>
                </a:lnTo>
                <a:lnTo>
                  <a:pt x="33126" y="160395"/>
                </a:lnTo>
                <a:lnTo>
                  <a:pt x="15130" y="202979"/>
                </a:lnTo>
                <a:lnTo>
                  <a:pt x="3884" y="248646"/>
                </a:lnTo>
                <a:lnTo>
                  <a:pt x="0" y="296786"/>
                </a:lnTo>
                <a:lnTo>
                  <a:pt x="0" y="3674275"/>
                </a:lnTo>
                <a:lnTo>
                  <a:pt x="3884" y="3722416"/>
                </a:lnTo>
                <a:lnTo>
                  <a:pt x="15130" y="3768083"/>
                </a:lnTo>
                <a:lnTo>
                  <a:pt x="33126" y="3810666"/>
                </a:lnTo>
                <a:lnTo>
                  <a:pt x="57262" y="3849554"/>
                </a:lnTo>
                <a:lnTo>
                  <a:pt x="86926" y="3884135"/>
                </a:lnTo>
                <a:lnTo>
                  <a:pt x="121508" y="3913799"/>
                </a:lnTo>
                <a:lnTo>
                  <a:pt x="160395" y="3937935"/>
                </a:lnTo>
                <a:lnTo>
                  <a:pt x="202979" y="3955931"/>
                </a:lnTo>
                <a:lnTo>
                  <a:pt x="248646" y="3967177"/>
                </a:lnTo>
                <a:lnTo>
                  <a:pt x="296786" y="3971062"/>
                </a:lnTo>
                <a:lnTo>
                  <a:pt x="6781311" y="3971062"/>
                </a:lnTo>
                <a:lnTo>
                  <a:pt x="6829452" y="3967177"/>
                </a:lnTo>
                <a:lnTo>
                  <a:pt x="6875119" y="3955931"/>
                </a:lnTo>
                <a:lnTo>
                  <a:pt x="6917702" y="3937935"/>
                </a:lnTo>
                <a:lnTo>
                  <a:pt x="6956590" y="3913799"/>
                </a:lnTo>
                <a:lnTo>
                  <a:pt x="6991171" y="3884135"/>
                </a:lnTo>
                <a:lnTo>
                  <a:pt x="7020836" y="3849554"/>
                </a:lnTo>
                <a:lnTo>
                  <a:pt x="7044971" y="3810666"/>
                </a:lnTo>
                <a:lnTo>
                  <a:pt x="7062968" y="3768083"/>
                </a:lnTo>
                <a:lnTo>
                  <a:pt x="7074214" y="3722416"/>
                </a:lnTo>
                <a:lnTo>
                  <a:pt x="7078098" y="3674275"/>
                </a:lnTo>
                <a:lnTo>
                  <a:pt x="7078098" y="296786"/>
                </a:lnTo>
                <a:lnTo>
                  <a:pt x="7074214" y="248646"/>
                </a:lnTo>
                <a:lnTo>
                  <a:pt x="7062968" y="202979"/>
                </a:lnTo>
                <a:lnTo>
                  <a:pt x="7044971" y="160395"/>
                </a:lnTo>
                <a:lnTo>
                  <a:pt x="7020836" y="121508"/>
                </a:lnTo>
                <a:lnTo>
                  <a:pt x="6991171" y="86926"/>
                </a:lnTo>
                <a:lnTo>
                  <a:pt x="6956590" y="57262"/>
                </a:lnTo>
                <a:lnTo>
                  <a:pt x="6917702" y="33126"/>
                </a:lnTo>
                <a:lnTo>
                  <a:pt x="6875119" y="15130"/>
                </a:lnTo>
                <a:lnTo>
                  <a:pt x="6829452" y="3884"/>
                </a:lnTo>
                <a:lnTo>
                  <a:pt x="6781311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rgbClr val="F9B80E"/>
              </a:solidFill>
            </a:endParaRPr>
          </a:p>
        </p:txBody>
      </p:sp>
      <p:sp>
        <p:nvSpPr>
          <p:cNvPr id="2" name="object 2"/>
          <p:cNvSpPr/>
          <p:nvPr/>
        </p:nvSpPr>
        <p:spPr>
          <a:xfrm>
            <a:off x="601407" y="1606080"/>
            <a:ext cx="4310413" cy="2272202"/>
          </a:xfrm>
          <a:custGeom>
            <a:avLst/>
            <a:gdLst/>
            <a:ahLst/>
            <a:cxnLst/>
            <a:rect l="l" t="t" r="r" b="b"/>
            <a:pathLst>
              <a:path w="7108190" h="3041015">
                <a:moveTo>
                  <a:pt x="6793824" y="0"/>
                </a:moveTo>
                <a:lnTo>
                  <a:pt x="314126" y="0"/>
                </a:lnTo>
                <a:lnTo>
                  <a:pt x="267708" y="3406"/>
                </a:lnTo>
                <a:lnTo>
                  <a:pt x="223404" y="13300"/>
                </a:lnTo>
                <a:lnTo>
                  <a:pt x="181701" y="29196"/>
                </a:lnTo>
                <a:lnTo>
                  <a:pt x="143083" y="50609"/>
                </a:lnTo>
                <a:lnTo>
                  <a:pt x="108038" y="77051"/>
                </a:lnTo>
                <a:lnTo>
                  <a:pt x="77051" y="108038"/>
                </a:lnTo>
                <a:lnTo>
                  <a:pt x="50609" y="143083"/>
                </a:lnTo>
                <a:lnTo>
                  <a:pt x="29196" y="181701"/>
                </a:lnTo>
                <a:lnTo>
                  <a:pt x="13300" y="223404"/>
                </a:lnTo>
                <a:lnTo>
                  <a:pt x="3406" y="267708"/>
                </a:lnTo>
                <a:lnTo>
                  <a:pt x="0" y="314126"/>
                </a:lnTo>
                <a:lnTo>
                  <a:pt x="0" y="2726629"/>
                </a:lnTo>
                <a:lnTo>
                  <a:pt x="3406" y="2773049"/>
                </a:lnTo>
                <a:lnTo>
                  <a:pt x="13300" y="2817354"/>
                </a:lnTo>
                <a:lnTo>
                  <a:pt x="29196" y="2859058"/>
                </a:lnTo>
                <a:lnTo>
                  <a:pt x="50609" y="2897676"/>
                </a:lnTo>
                <a:lnTo>
                  <a:pt x="77051" y="2932721"/>
                </a:lnTo>
                <a:lnTo>
                  <a:pt x="108038" y="2963707"/>
                </a:lnTo>
                <a:lnTo>
                  <a:pt x="143083" y="2990149"/>
                </a:lnTo>
                <a:lnTo>
                  <a:pt x="181701" y="3011560"/>
                </a:lnTo>
                <a:lnTo>
                  <a:pt x="223404" y="3027456"/>
                </a:lnTo>
                <a:lnTo>
                  <a:pt x="267708" y="3037349"/>
                </a:lnTo>
                <a:lnTo>
                  <a:pt x="314126" y="3040755"/>
                </a:lnTo>
                <a:lnTo>
                  <a:pt x="6793824" y="3040755"/>
                </a:lnTo>
                <a:lnTo>
                  <a:pt x="6840244" y="3037349"/>
                </a:lnTo>
                <a:lnTo>
                  <a:pt x="6884550" y="3027456"/>
                </a:lnTo>
                <a:lnTo>
                  <a:pt x="6926254" y="3011560"/>
                </a:lnTo>
                <a:lnTo>
                  <a:pt x="6964871" y="2990149"/>
                </a:lnTo>
                <a:lnTo>
                  <a:pt x="6999916" y="2963707"/>
                </a:lnTo>
                <a:lnTo>
                  <a:pt x="7030902" y="2932721"/>
                </a:lnTo>
                <a:lnTo>
                  <a:pt x="7057344" y="2897676"/>
                </a:lnTo>
                <a:lnTo>
                  <a:pt x="7078756" y="2859058"/>
                </a:lnTo>
                <a:lnTo>
                  <a:pt x="7094651" y="2817354"/>
                </a:lnTo>
                <a:lnTo>
                  <a:pt x="7104545" y="2773049"/>
                </a:lnTo>
                <a:lnTo>
                  <a:pt x="7107951" y="2726629"/>
                </a:lnTo>
                <a:lnTo>
                  <a:pt x="7107951" y="314126"/>
                </a:lnTo>
                <a:lnTo>
                  <a:pt x="7104545" y="267708"/>
                </a:lnTo>
                <a:lnTo>
                  <a:pt x="7094651" y="223404"/>
                </a:lnTo>
                <a:lnTo>
                  <a:pt x="7078756" y="181701"/>
                </a:lnTo>
                <a:lnTo>
                  <a:pt x="7057344" y="143083"/>
                </a:lnTo>
                <a:lnTo>
                  <a:pt x="7030902" y="108038"/>
                </a:lnTo>
                <a:lnTo>
                  <a:pt x="6999916" y="77051"/>
                </a:lnTo>
                <a:lnTo>
                  <a:pt x="6964871" y="50609"/>
                </a:lnTo>
                <a:lnTo>
                  <a:pt x="6926254" y="29196"/>
                </a:lnTo>
                <a:lnTo>
                  <a:pt x="6884550" y="13300"/>
                </a:lnTo>
                <a:lnTo>
                  <a:pt x="6840244" y="3406"/>
                </a:lnTo>
                <a:lnTo>
                  <a:pt x="6793824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45538" y="4424358"/>
            <a:ext cx="3822151" cy="1224644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461692" defTabSz="554492">
              <a:lnSpc>
                <a:spcPct val="100600"/>
              </a:lnSpc>
              <a:spcBef>
                <a:spcPts val="58"/>
              </a:spcBef>
            </a:pPr>
            <a:r>
              <a:rPr sz="1789" b="1" kern="0" dirty="0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1789" b="1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789" b="1" kern="0" dirty="0">
                <a:solidFill>
                  <a:srgbClr val="003B95"/>
                </a:solidFill>
                <a:latin typeface="Verdana"/>
                <a:cs typeface="Verdana"/>
              </a:rPr>
              <a:t>основе</a:t>
            </a:r>
            <a:r>
              <a:rPr sz="1789" b="1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789" b="1" kern="0" spc="-6" dirty="0">
                <a:solidFill>
                  <a:srgbClr val="003B95"/>
                </a:solidFill>
                <a:latin typeface="Verdana"/>
                <a:cs typeface="Verdana"/>
              </a:rPr>
              <a:t>собранной </a:t>
            </a:r>
            <a:r>
              <a:rPr sz="1789" b="1" kern="0" dirty="0">
                <a:solidFill>
                  <a:srgbClr val="003B95"/>
                </a:solidFill>
                <a:latin typeface="Verdana"/>
                <a:cs typeface="Verdana"/>
              </a:rPr>
              <a:t>информации</a:t>
            </a:r>
            <a:r>
              <a:rPr sz="1789" b="1" kern="0" spc="-3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789" b="1" kern="0" spc="-6" dirty="0">
                <a:solidFill>
                  <a:srgbClr val="003B95"/>
                </a:solidFill>
                <a:latin typeface="Verdana"/>
                <a:cs typeface="Verdana"/>
              </a:rPr>
              <a:t>выявляется</a:t>
            </a:r>
            <a:endParaRPr sz="1789" kern="0" dirty="0">
              <a:solidFill>
                <a:srgbClr val="003B95"/>
              </a:solidFill>
              <a:latin typeface="Verdana"/>
              <a:cs typeface="Verdana"/>
            </a:endParaRPr>
          </a:p>
          <a:p>
            <a:pPr marL="184061" indent="-176359" defTabSz="554492">
              <a:spcBef>
                <a:spcPts val="2116"/>
              </a:spcBef>
              <a:buFontTx/>
              <a:buChar char="•"/>
              <a:tabLst>
                <a:tab pos="184061" algn="l"/>
              </a:tabLst>
            </a:pP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Какой</a:t>
            </a:r>
            <a:r>
              <a:rPr sz="1546" kern="0" spc="-2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товар</a:t>
            </a:r>
            <a:r>
              <a:rPr sz="1546" kern="0" spc="-2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требует</a:t>
            </a:r>
            <a:r>
              <a:rPr sz="1546" kern="0" spc="-2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003B95"/>
                </a:solidFill>
                <a:latin typeface="Verdana"/>
                <a:cs typeface="Verdana"/>
              </a:rPr>
              <a:t>доработки</a:t>
            </a:r>
            <a:endParaRPr sz="1546" kern="0" dirty="0">
              <a:solidFill>
                <a:srgbClr val="003B95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1228"/>
              </a:lnSpc>
            </a:pP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что</a:t>
            </a:r>
            <a:r>
              <a:rPr sz="1546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необходимо</a:t>
            </a:r>
            <a:r>
              <a:rPr sz="1546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улучшить</a:t>
            </a:r>
            <a:r>
              <a:rPr sz="1546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546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spc="-6" dirty="0" err="1">
                <a:solidFill>
                  <a:srgbClr val="003B95"/>
                </a:solidFill>
                <a:latin typeface="Verdana"/>
                <a:cs typeface="Verdana"/>
              </a:rPr>
              <a:t>товаре</a:t>
            </a:r>
            <a:endParaRPr lang="ru-RU" sz="1092" kern="0" dirty="0">
              <a:solidFill>
                <a:srgbClr val="003B95"/>
              </a:solidFill>
              <a:latin typeface="Verdana"/>
              <a:cs typeface="Verdan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35901" y="1670007"/>
            <a:ext cx="4061606" cy="206250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defTabSz="554492">
              <a:lnSpc>
                <a:spcPct val="100600"/>
              </a:lnSpc>
              <a:spcBef>
                <a:spcPts val="58"/>
              </a:spcBef>
              <a:tabLst>
                <a:tab pos="1856779" algn="l"/>
              </a:tabLst>
            </a:pPr>
            <a:r>
              <a:rPr sz="1789" b="1" kern="0" dirty="0">
                <a:solidFill>
                  <a:prstClr val="white"/>
                </a:solidFill>
                <a:latin typeface="Verdana"/>
                <a:cs typeface="Verdana"/>
              </a:rPr>
              <a:t>Для</a:t>
            </a:r>
            <a:r>
              <a:rPr sz="1789" b="1" kern="0" spc="-3" dirty="0">
                <a:solidFill>
                  <a:prstClr val="white"/>
                </a:solidFill>
                <a:latin typeface="Verdana"/>
                <a:cs typeface="Verdana"/>
              </a:rPr>
              <a:t> </a:t>
            </a:r>
            <a:r>
              <a:rPr sz="1789" b="1" kern="0" dirty="0">
                <a:solidFill>
                  <a:prstClr val="white"/>
                </a:solidFill>
                <a:latin typeface="Verdana"/>
                <a:cs typeface="Verdana"/>
              </a:rPr>
              <a:t>оценки</a:t>
            </a:r>
            <a:r>
              <a:rPr sz="1789" b="1" kern="0" spc="-3" dirty="0">
                <a:solidFill>
                  <a:prstClr val="white"/>
                </a:solidFill>
                <a:latin typeface="Verdana"/>
                <a:cs typeface="Verdana"/>
              </a:rPr>
              <a:t> </a:t>
            </a:r>
            <a:r>
              <a:rPr sz="1789" b="1" kern="0" dirty="0">
                <a:solidFill>
                  <a:prstClr val="white"/>
                </a:solidFill>
                <a:latin typeface="Verdana"/>
                <a:cs typeface="Verdana"/>
              </a:rPr>
              <a:t>качества </a:t>
            </a:r>
            <a:r>
              <a:rPr sz="1789" b="1" kern="0" spc="-6" dirty="0">
                <a:solidFill>
                  <a:prstClr val="white"/>
                </a:solidFill>
                <a:latin typeface="Verdana"/>
                <a:cs typeface="Verdana"/>
              </a:rPr>
              <a:t>товара </a:t>
            </a:r>
            <a:r>
              <a:rPr sz="1789" b="1" kern="0" dirty="0">
                <a:solidFill>
                  <a:prstClr val="white"/>
                </a:solidFill>
                <a:latin typeface="Verdana"/>
                <a:cs typeface="Verdana"/>
              </a:rPr>
              <a:t>и</a:t>
            </a:r>
            <a:r>
              <a:rPr sz="1789" b="1" kern="0" spc="3" dirty="0">
                <a:solidFill>
                  <a:prstClr val="white"/>
                </a:solidFill>
                <a:latin typeface="Verdana"/>
                <a:cs typeface="Verdana"/>
              </a:rPr>
              <a:t> </a:t>
            </a:r>
            <a:r>
              <a:rPr sz="1789" b="1" kern="0" spc="-6" dirty="0" err="1">
                <a:solidFill>
                  <a:prstClr val="white"/>
                </a:solidFill>
                <a:latin typeface="Verdana"/>
                <a:cs typeface="Verdana"/>
              </a:rPr>
              <a:t>удовлетворенност</a:t>
            </a:r>
            <a:r>
              <a:rPr lang="ru-RU" sz="1789" b="1" kern="0" spc="-6" dirty="0">
                <a:solidFill>
                  <a:prstClr val="white"/>
                </a:solidFill>
                <a:latin typeface="Verdana"/>
                <a:cs typeface="Verdana"/>
              </a:rPr>
              <a:t>и</a:t>
            </a:r>
            <a:r>
              <a:rPr sz="1789" b="1" kern="0" spc="-6" dirty="0">
                <a:solidFill>
                  <a:prstClr val="white"/>
                </a:solidFill>
                <a:latin typeface="Verdana"/>
                <a:cs typeface="Verdana"/>
              </a:rPr>
              <a:t> покупателей</a:t>
            </a:r>
            <a:r>
              <a:rPr sz="1789" b="1" kern="0" dirty="0">
                <a:solidFill>
                  <a:prstClr val="white"/>
                </a:solidFill>
                <a:latin typeface="Verdana"/>
                <a:cs typeface="Verdana"/>
              </a:rPr>
              <a:t>	</a:t>
            </a:r>
            <a:r>
              <a:rPr sz="1789" b="1" kern="0" spc="-6" dirty="0">
                <a:solidFill>
                  <a:prstClr val="white"/>
                </a:solidFill>
                <a:latin typeface="Verdana"/>
                <a:cs typeface="Verdana"/>
              </a:rPr>
              <a:t>проводится</a:t>
            </a:r>
            <a:endParaRPr sz="1789" kern="0" dirty="0">
              <a:solidFill>
                <a:prstClr val="white"/>
              </a:solidFill>
              <a:latin typeface="Verdana"/>
              <a:cs typeface="Verdana"/>
            </a:endParaRPr>
          </a:p>
          <a:p>
            <a:pPr marL="183676" marR="159031" indent="-176359" defTabSz="554492">
              <a:spcBef>
                <a:spcPts val="2116"/>
              </a:spcBef>
              <a:buFontTx/>
              <a:buChar char="•"/>
              <a:tabLst>
                <a:tab pos="204469" algn="l"/>
              </a:tabLst>
            </a:pPr>
            <a:r>
              <a:rPr sz="1546" kern="0" dirty="0">
                <a:solidFill>
                  <a:prstClr val="white"/>
                </a:solidFill>
                <a:latin typeface="Verdana"/>
                <a:cs typeface="Verdana"/>
              </a:rPr>
              <a:t>постоянный</a:t>
            </a:r>
            <a:r>
              <a:rPr sz="1546" kern="0" spc="-27" dirty="0">
                <a:solidFill>
                  <a:prstClr val="white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prstClr val="white"/>
                </a:solidFill>
                <a:latin typeface="Verdana"/>
                <a:cs typeface="Verdana"/>
              </a:rPr>
              <a:t>мониторинг</a:t>
            </a:r>
            <a:r>
              <a:rPr sz="1546" kern="0" spc="-27" dirty="0">
                <a:solidFill>
                  <a:prstClr val="white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prstClr val="white"/>
                </a:solidFill>
                <a:latin typeface="Verdana"/>
                <a:cs typeface="Verdana"/>
              </a:rPr>
              <a:t>отзывов, 	</a:t>
            </a:r>
            <a:r>
              <a:rPr sz="1546" kern="0" dirty="0">
                <a:solidFill>
                  <a:prstClr val="white"/>
                </a:solidFill>
                <a:latin typeface="Verdana"/>
                <a:cs typeface="Verdana"/>
              </a:rPr>
              <a:t>жалоб,</a:t>
            </a:r>
            <a:r>
              <a:rPr sz="1546" kern="0" spc="-24" dirty="0">
                <a:solidFill>
                  <a:prstClr val="white"/>
                </a:solidFill>
                <a:latin typeface="Verdana"/>
                <a:cs typeface="Verdana"/>
              </a:rPr>
              <a:t> </a:t>
            </a:r>
            <a:r>
              <a:rPr sz="1546" kern="0" dirty="0" err="1">
                <a:solidFill>
                  <a:prstClr val="white"/>
                </a:solidFill>
                <a:latin typeface="Verdana"/>
                <a:cs typeface="Verdana"/>
              </a:rPr>
              <a:t>оценок</a:t>
            </a:r>
            <a:r>
              <a:rPr sz="1546" kern="0" spc="-24" dirty="0">
                <a:solidFill>
                  <a:prstClr val="white"/>
                </a:solidFill>
                <a:latin typeface="Verdana"/>
                <a:cs typeface="Verdana"/>
              </a:rPr>
              <a:t> </a:t>
            </a:r>
            <a:r>
              <a:rPr sz="1546" kern="0" spc="-6" dirty="0" err="1" smtClean="0">
                <a:solidFill>
                  <a:prstClr val="white"/>
                </a:solidFill>
                <a:latin typeface="Verdana"/>
                <a:cs typeface="Verdana"/>
              </a:rPr>
              <a:t>покупателей</a:t>
            </a:r>
            <a:r>
              <a:rPr lang="ru-RU" sz="1546" kern="0" spc="-6" dirty="0" smtClean="0">
                <a:solidFill>
                  <a:prstClr val="white"/>
                </a:solidFill>
                <a:latin typeface="Verdana"/>
                <a:cs typeface="Verdana"/>
              </a:rPr>
              <a:t> (ПИТ)</a:t>
            </a:r>
            <a:endParaRPr sz="1546" kern="0" dirty="0">
              <a:solidFill>
                <a:prstClr val="white"/>
              </a:solidFill>
              <a:latin typeface="Verdana"/>
              <a:cs typeface="Verdana"/>
            </a:endParaRPr>
          </a:p>
          <a:p>
            <a:pPr marL="184061" indent="-176359" defTabSz="554492">
              <a:spcBef>
                <a:spcPts val="9"/>
              </a:spcBef>
              <a:buFontTx/>
              <a:buChar char="•"/>
              <a:tabLst>
                <a:tab pos="184061" algn="l"/>
              </a:tabLst>
            </a:pPr>
            <a:r>
              <a:rPr sz="1546" kern="0" dirty="0">
                <a:solidFill>
                  <a:prstClr val="white"/>
                </a:solidFill>
                <a:latin typeface="Verdana"/>
                <a:cs typeface="Verdana"/>
              </a:rPr>
              <a:t>потребительские</a:t>
            </a:r>
            <a:r>
              <a:rPr sz="1546" kern="0" spc="-15" dirty="0">
                <a:solidFill>
                  <a:prstClr val="white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prstClr val="white"/>
                </a:solidFill>
                <a:latin typeface="Verdana"/>
                <a:cs typeface="Verdana"/>
              </a:rPr>
              <a:t>тесты</a:t>
            </a:r>
            <a:r>
              <a:rPr sz="1546" kern="0" spc="-6" dirty="0">
                <a:solidFill>
                  <a:prstClr val="white"/>
                </a:solidFill>
                <a:latin typeface="Verdana"/>
                <a:cs typeface="Verdana"/>
              </a:rPr>
              <a:t> товаров</a:t>
            </a:r>
            <a:endParaRPr sz="1546" kern="0" dirty="0">
              <a:solidFill>
                <a:prstClr val="white"/>
              </a:solidFill>
              <a:latin typeface="Verdana"/>
              <a:cs typeface="Verdana"/>
            </a:endParaRPr>
          </a:p>
          <a:p>
            <a:pPr marL="184061" indent="-176359" defTabSz="554492">
              <a:spcBef>
                <a:spcPts val="3"/>
              </a:spcBef>
              <a:buFontTx/>
              <a:buChar char="•"/>
              <a:tabLst>
                <a:tab pos="184061" algn="l"/>
              </a:tabLst>
            </a:pPr>
            <a:r>
              <a:rPr sz="1546" kern="0" dirty="0">
                <a:solidFill>
                  <a:prstClr val="white"/>
                </a:solidFill>
                <a:latin typeface="Verdana"/>
                <a:cs typeface="Verdana"/>
              </a:rPr>
              <a:t>онлайн</a:t>
            </a:r>
            <a:r>
              <a:rPr sz="1546" kern="0" spc="-15" dirty="0">
                <a:solidFill>
                  <a:prstClr val="white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prstClr val="white"/>
                </a:solidFill>
                <a:latin typeface="Verdana"/>
                <a:cs typeface="Verdana"/>
              </a:rPr>
              <a:t>опросы</a:t>
            </a:r>
            <a:r>
              <a:rPr sz="1546" kern="0" spc="-15" dirty="0">
                <a:solidFill>
                  <a:prstClr val="white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prstClr val="white"/>
                </a:solidFill>
                <a:latin typeface="Verdana"/>
                <a:cs typeface="Verdana"/>
              </a:rPr>
              <a:t>покупателей</a:t>
            </a:r>
            <a:endParaRPr sz="1546" kern="0" dirty="0">
              <a:solidFill>
                <a:prstClr val="white"/>
              </a:solidFill>
              <a:latin typeface="Verdana"/>
              <a:cs typeface="Verdan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339389" y="1567460"/>
            <a:ext cx="6352795" cy="4424007"/>
            <a:chOff x="8804343" y="2584857"/>
            <a:chExt cx="10476230" cy="7295515"/>
          </a:xfrm>
        </p:grpSpPr>
        <p:sp>
          <p:nvSpPr>
            <p:cNvPr id="7" name="object 7"/>
            <p:cNvSpPr/>
            <p:nvPr/>
          </p:nvSpPr>
          <p:spPr>
            <a:xfrm>
              <a:off x="12840878" y="3456547"/>
              <a:ext cx="4172585" cy="5705475"/>
            </a:xfrm>
            <a:custGeom>
              <a:avLst/>
              <a:gdLst/>
              <a:ahLst/>
              <a:cxnLst/>
              <a:rect l="l" t="t" r="r" b="b"/>
              <a:pathLst>
                <a:path w="4172584" h="5705475">
                  <a:moveTo>
                    <a:pt x="3733017" y="0"/>
                  </a:moveTo>
                  <a:lnTo>
                    <a:pt x="439075" y="0"/>
                  </a:lnTo>
                  <a:lnTo>
                    <a:pt x="391233" y="2576"/>
                  </a:lnTo>
                  <a:lnTo>
                    <a:pt x="344883" y="10127"/>
                  </a:lnTo>
                  <a:lnTo>
                    <a:pt x="300293" y="22384"/>
                  </a:lnTo>
                  <a:lnTo>
                    <a:pt x="257731" y="39079"/>
                  </a:lnTo>
                  <a:lnTo>
                    <a:pt x="217465" y="59946"/>
                  </a:lnTo>
                  <a:lnTo>
                    <a:pt x="179763" y="84715"/>
                  </a:lnTo>
                  <a:lnTo>
                    <a:pt x="144892" y="113119"/>
                  </a:lnTo>
                  <a:lnTo>
                    <a:pt x="113120" y="144890"/>
                  </a:lnTo>
                  <a:lnTo>
                    <a:pt x="84715" y="179760"/>
                  </a:lnTo>
                  <a:lnTo>
                    <a:pt x="59946" y="217462"/>
                  </a:lnTo>
                  <a:lnTo>
                    <a:pt x="39080" y="257727"/>
                  </a:lnTo>
                  <a:lnTo>
                    <a:pt x="22384" y="300288"/>
                  </a:lnTo>
                  <a:lnTo>
                    <a:pt x="10127" y="344876"/>
                  </a:lnTo>
                  <a:lnTo>
                    <a:pt x="2576" y="391224"/>
                  </a:lnTo>
                  <a:lnTo>
                    <a:pt x="0" y="439065"/>
                  </a:lnTo>
                  <a:lnTo>
                    <a:pt x="0" y="5266331"/>
                  </a:lnTo>
                  <a:lnTo>
                    <a:pt x="2576" y="5314172"/>
                  </a:lnTo>
                  <a:lnTo>
                    <a:pt x="10127" y="5360520"/>
                  </a:lnTo>
                  <a:lnTo>
                    <a:pt x="22384" y="5405108"/>
                  </a:lnTo>
                  <a:lnTo>
                    <a:pt x="39080" y="5447669"/>
                  </a:lnTo>
                  <a:lnTo>
                    <a:pt x="59946" y="5487934"/>
                  </a:lnTo>
                  <a:lnTo>
                    <a:pt x="84715" y="5525636"/>
                  </a:lnTo>
                  <a:lnTo>
                    <a:pt x="113120" y="5560506"/>
                  </a:lnTo>
                  <a:lnTo>
                    <a:pt x="144892" y="5592277"/>
                  </a:lnTo>
                  <a:lnTo>
                    <a:pt x="179763" y="5620681"/>
                  </a:lnTo>
                  <a:lnTo>
                    <a:pt x="217465" y="5645450"/>
                  </a:lnTo>
                  <a:lnTo>
                    <a:pt x="257731" y="5666317"/>
                  </a:lnTo>
                  <a:lnTo>
                    <a:pt x="300293" y="5683012"/>
                  </a:lnTo>
                  <a:lnTo>
                    <a:pt x="344883" y="5695269"/>
                  </a:lnTo>
                  <a:lnTo>
                    <a:pt x="391233" y="5702820"/>
                  </a:lnTo>
                  <a:lnTo>
                    <a:pt x="439075" y="5705396"/>
                  </a:lnTo>
                  <a:lnTo>
                    <a:pt x="3733017" y="5705396"/>
                  </a:lnTo>
                  <a:lnTo>
                    <a:pt x="3780859" y="5702820"/>
                  </a:lnTo>
                  <a:lnTo>
                    <a:pt x="3827208" y="5695269"/>
                  </a:lnTo>
                  <a:lnTo>
                    <a:pt x="3871798" y="5683012"/>
                  </a:lnTo>
                  <a:lnTo>
                    <a:pt x="3914359" y="5666317"/>
                  </a:lnTo>
                  <a:lnTo>
                    <a:pt x="3954624" y="5645450"/>
                  </a:lnTo>
                  <a:lnTo>
                    <a:pt x="3992326" y="5620681"/>
                  </a:lnTo>
                  <a:lnTo>
                    <a:pt x="4027196" y="5592277"/>
                  </a:lnTo>
                  <a:lnTo>
                    <a:pt x="4058966" y="5560506"/>
                  </a:lnTo>
                  <a:lnTo>
                    <a:pt x="4087370" y="5525636"/>
                  </a:lnTo>
                  <a:lnTo>
                    <a:pt x="4112138" y="5487934"/>
                  </a:lnTo>
                  <a:lnTo>
                    <a:pt x="4133004" y="5447669"/>
                  </a:lnTo>
                  <a:lnTo>
                    <a:pt x="4149699" y="5405108"/>
                  </a:lnTo>
                  <a:lnTo>
                    <a:pt x="4161955" y="5360520"/>
                  </a:lnTo>
                  <a:lnTo>
                    <a:pt x="4169506" y="5314172"/>
                  </a:lnTo>
                  <a:lnTo>
                    <a:pt x="4172082" y="5266331"/>
                  </a:lnTo>
                  <a:lnTo>
                    <a:pt x="4172082" y="439065"/>
                  </a:lnTo>
                  <a:lnTo>
                    <a:pt x="4169506" y="391224"/>
                  </a:lnTo>
                  <a:lnTo>
                    <a:pt x="4161955" y="344876"/>
                  </a:lnTo>
                  <a:lnTo>
                    <a:pt x="4149699" y="300288"/>
                  </a:lnTo>
                  <a:lnTo>
                    <a:pt x="4133004" y="257727"/>
                  </a:lnTo>
                  <a:lnTo>
                    <a:pt x="4112138" y="217462"/>
                  </a:lnTo>
                  <a:lnTo>
                    <a:pt x="4087370" y="179760"/>
                  </a:lnTo>
                  <a:lnTo>
                    <a:pt x="4058966" y="144890"/>
                  </a:lnTo>
                  <a:lnTo>
                    <a:pt x="4027196" y="113119"/>
                  </a:lnTo>
                  <a:lnTo>
                    <a:pt x="3992326" y="84715"/>
                  </a:lnTo>
                  <a:lnTo>
                    <a:pt x="3954624" y="59946"/>
                  </a:lnTo>
                  <a:lnTo>
                    <a:pt x="3914359" y="39079"/>
                  </a:lnTo>
                  <a:lnTo>
                    <a:pt x="3871798" y="22384"/>
                  </a:lnTo>
                  <a:lnTo>
                    <a:pt x="3827208" y="10127"/>
                  </a:lnTo>
                  <a:lnTo>
                    <a:pt x="3780859" y="2576"/>
                  </a:lnTo>
                  <a:lnTo>
                    <a:pt x="3733017" y="0"/>
                  </a:lnTo>
                  <a:close/>
                </a:path>
              </a:pathLst>
            </a:custGeom>
            <a:solidFill>
              <a:srgbClr val="B1B1B1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3018656" y="3610498"/>
              <a:ext cx="3816985" cy="5394325"/>
            </a:xfrm>
            <a:custGeom>
              <a:avLst/>
              <a:gdLst/>
              <a:ahLst/>
              <a:cxnLst/>
              <a:rect l="l" t="t" r="r" b="b"/>
              <a:pathLst>
                <a:path w="3816984" h="5394325">
                  <a:moveTo>
                    <a:pt x="3462240" y="0"/>
                  </a:moveTo>
                  <a:lnTo>
                    <a:pt x="354292" y="0"/>
                  </a:lnTo>
                  <a:lnTo>
                    <a:pt x="306217" y="3234"/>
                  </a:lnTo>
                  <a:lnTo>
                    <a:pt x="260108" y="12655"/>
                  </a:lnTo>
                  <a:lnTo>
                    <a:pt x="216386" y="27842"/>
                  </a:lnTo>
                  <a:lnTo>
                    <a:pt x="175474" y="48371"/>
                  </a:lnTo>
                  <a:lnTo>
                    <a:pt x="137795" y="73821"/>
                  </a:lnTo>
                  <a:lnTo>
                    <a:pt x="103770" y="103770"/>
                  </a:lnTo>
                  <a:lnTo>
                    <a:pt x="73821" y="137795"/>
                  </a:lnTo>
                  <a:lnTo>
                    <a:pt x="48371" y="175474"/>
                  </a:lnTo>
                  <a:lnTo>
                    <a:pt x="27842" y="216386"/>
                  </a:lnTo>
                  <a:lnTo>
                    <a:pt x="12655" y="260108"/>
                  </a:lnTo>
                  <a:lnTo>
                    <a:pt x="3234" y="306217"/>
                  </a:lnTo>
                  <a:lnTo>
                    <a:pt x="0" y="354292"/>
                  </a:lnTo>
                  <a:lnTo>
                    <a:pt x="0" y="5039940"/>
                  </a:lnTo>
                  <a:lnTo>
                    <a:pt x="3234" y="5088015"/>
                  </a:lnTo>
                  <a:lnTo>
                    <a:pt x="12655" y="5134125"/>
                  </a:lnTo>
                  <a:lnTo>
                    <a:pt x="27842" y="5177847"/>
                  </a:lnTo>
                  <a:lnTo>
                    <a:pt x="48371" y="5218758"/>
                  </a:lnTo>
                  <a:lnTo>
                    <a:pt x="73821" y="5256438"/>
                  </a:lnTo>
                  <a:lnTo>
                    <a:pt x="103770" y="5290463"/>
                  </a:lnTo>
                  <a:lnTo>
                    <a:pt x="137795" y="5320411"/>
                  </a:lnTo>
                  <a:lnTo>
                    <a:pt x="175474" y="5345862"/>
                  </a:lnTo>
                  <a:lnTo>
                    <a:pt x="216386" y="5366391"/>
                  </a:lnTo>
                  <a:lnTo>
                    <a:pt x="260108" y="5381577"/>
                  </a:lnTo>
                  <a:lnTo>
                    <a:pt x="306217" y="5390999"/>
                  </a:lnTo>
                  <a:lnTo>
                    <a:pt x="354292" y="5394233"/>
                  </a:lnTo>
                  <a:lnTo>
                    <a:pt x="3462240" y="5394233"/>
                  </a:lnTo>
                  <a:lnTo>
                    <a:pt x="3510315" y="5390999"/>
                  </a:lnTo>
                  <a:lnTo>
                    <a:pt x="3556424" y="5381577"/>
                  </a:lnTo>
                  <a:lnTo>
                    <a:pt x="3600146" y="5366391"/>
                  </a:lnTo>
                  <a:lnTo>
                    <a:pt x="3641058" y="5345862"/>
                  </a:lnTo>
                  <a:lnTo>
                    <a:pt x="3678737" y="5320411"/>
                  </a:lnTo>
                  <a:lnTo>
                    <a:pt x="3712762" y="5290463"/>
                  </a:lnTo>
                  <a:lnTo>
                    <a:pt x="3742711" y="5256438"/>
                  </a:lnTo>
                  <a:lnTo>
                    <a:pt x="3768161" y="5218758"/>
                  </a:lnTo>
                  <a:lnTo>
                    <a:pt x="3788690" y="5177847"/>
                  </a:lnTo>
                  <a:lnTo>
                    <a:pt x="3803877" y="5134125"/>
                  </a:lnTo>
                  <a:lnTo>
                    <a:pt x="3813298" y="5088015"/>
                  </a:lnTo>
                  <a:lnTo>
                    <a:pt x="3816533" y="5039940"/>
                  </a:lnTo>
                  <a:lnTo>
                    <a:pt x="3816533" y="354292"/>
                  </a:lnTo>
                  <a:lnTo>
                    <a:pt x="3813298" y="306217"/>
                  </a:lnTo>
                  <a:lnTo>
                    <a:pt x="3803877" y="260108"/>
                  </a:lnTo>
                  <a:lnTo>
                    <a:pt x="3788690" y="216386"/>
                  </a:lnTo>
                  <a:lnTo>
                    <a:pt x="3768161" y="175474"/>
                  </a:lnTo>
                  <a:lnTo>
                    <a:pt x="3742711" y="137795"/>
                  </a:lnTo>
                  <a:lnTo>
                    <a:pt x="3712762" y="103770"/>
                  </a:lnTo>
                  <a:lnTo>
                    <a:pt x="3678737" y="73821"/>
                  </a:lnTo>
                  <a:lnTo>
                    <a:pt x="3641058" y="48371"/>
                  </a:lnTo>
                  <a:lnTo>
                    <a:pt x="3600146" y="27842"/>
                  </a:lnTo>
                  <a:lnTo>
                    <a:pt x="3556424" y="12655"/>
                  </a:lnTo>
                  <a:lnTo>
                    <a:pt x="3510315" y="3234"/>
                  </a:lnTo>
                  <a:lnTo>
                    <a:pt x="346224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3268058" y="4806854"/>
              <a:ext cx="3054985" cy="3710940"/>
            </a:xfrm>
            <a:custGeom>
              <a:avLst/>
              <a:gdLst/>
              <a:ahLst/>
              <a:cxnLst/>
              <a:rect l="l" t="t" r="r" b="b"/>
              <a:pathLst>
                <a:path w="3054984" h="3710940">
                  <a:moveTo>
                    <a:pt x="152146" y="211912"/>
                  </a:moveTo>
                  <a:lnTo>
                    <a:pt x="105321" y="211912"/>
                  </a:lnTo>
                  <a:lnTo>
                    <a:pt x="2959" y="244589"/>
                  </a:lnTo>
                  <a:lnTo>
                    <a:pt x="17119" y="299034"/>
                  </a:lnTo>
                  <a:lnTo>
                    <a:pt x="85725" y="279984"/>
                  </a:lnTo>
                  <a:lnTo>
                    <a:pt x="85725" y="595782"/>
                  </a:lnTo>
                  <a:lnTo>
                    <a:pt x="152146" y="595782"/>
                  </a:lnTo>
                  <a:lnTo>
                    <a:pt x="152146" y="211912"/>
                  </a:lnTo>
                  <a:close/>
                </a:path>
                <a:path w="3054984" h="3710940">
                  <a:moveTo>
                    <a:pt x="244487" y="571525"/>
                  </a:moveTo>
                  <a:lnTo>
                    <a:pt x="242582" y="562102"/>
                  </a:lnTo>
                  <a:lnTo>
                    <a:pt x="237388" y="554393"/>
                  </a:lnTo>
                  <a:lnTo>
                    <a:pt x="229679" y="549198"/>
                  </a:lnTo>
                  <a:lnTo>
                    <a:pt x="220243" y="547293"/>
                  </a:lnTo>
                  <a:lnTo>
                    <a:pt x="210807" y="549198"/>
                  </a:lnTo>
                  <a:lnTo>
                    <a:pt x="203098" y="554393"/>
                  </a:lnTo>
                  <a:lnTo>
                    <a:pt x="197904" y="562102"/>
                  </a:lnTo>
                  <a:lnTo>
                    <a:pt x="195999" y="571525"/>
                  </a:lnTo>
                  <a:lnTo>
                    <a:pt x="197904" y="580974"/>
                  </a:lnTo>
                  <a:lnTo>
                    <a:pt x="203098" y="588683"/>
                  </a:lnTo>
                  <a:lnTo>
                    <a:pt x="210807" y="593877"/>
                  </a:lnTo>
                  <a:lnTo>
                    <a:pt x="220243" y="595782"/>
                  </a:lnTo>
                  <a:lnTo>
                    <a:pt x="229679" y="593877"/>
                  </a:lnTo>
                  <a:lnTo>
                    <a:pt x="237388" y="588683"/>
                  </a:lnTo>
                  <a:lnTo>
                    <a:pt x="242582" y="580974"/>
                  </a:lnTo>
                  <a:lnTo>
                    <a:pt x="244487" y="571525"/>
                  </a:lnTo>
                  <a:close/>
                </a:path>
                <a:path w="3054984" h="3710940">
                  <a:moveTo>
                    <a:pt x="273583" y="1568526"/>
                  </a:moveTo>
                  <a:lnTo>
                    <a:pt x="93535" y="1568526"/>
                  </a:lnTo>
                  <a:lnTo>
                    <a:pt x="171386" y="1503641"/>
                  </a:lnTo>
                  <a:lnTo>
                    <a:pt x="214820" y="1465846"/>
                  </a:lnTo>
                  <a:lnTo>
                    <a:pt x="245529" y="1432013"/>
                  </a:lnTo>
                  <a:lnTo>
                    <a:pt x="263766" y="1397355"/>
                  </a:lnTo>
                  <a:lnTo>
                    <a:pt x="269786" y="1357122"/>
                  </a:lnTo>
                  <a:lnTo>
                    <a:pt x="260692" y="1310335"/>
                  </a:lnTo>
                  <a:lnTo>
                    <a:pt x="235115" y="1274343"/>
                  </a:lnTo>
                  <a:lnTo>
                    <a:pt x="195668" y="1251229"/>
                  </a:lnTo>
                  <a:lnTo>
                    <a:pt x="144907" y="1243050"/>
                  </a:lnTo>
                  <a:lnTo>
                    <a:pt x="99695" y="1248321"/>
                  </a:lnTo>
                  <a:lnTo>
                    <a:pt x="63398" y="1263738"/>
                  </a:lnTo>
                  <a:lnTo>
                    <a:pt x="32994" y="1288669"/>
                  </a:lnTo>
                  <a:lnTo>
                    <a:pt x="5422" y="1322527"/>
                  </a:lnTo>
                  <a:lnTo>
                    <a:pt x="52451" y="1359293"/>
                  </a:lnTo>
                  <a:lnTo>
                    <a:pt x="73583" y="1334452"/>
                  </a:lnTo>
                  <a:lnTo>
                    <a:pt x="94221" y="1316710"/>
                  </a:lnTo>
                  <a:lnTo>
                    <a:pt x="115862" y="1306068"/>
                  </a:lnTo>
                  <a:lnTo>
                    <a:pt x="140030" y="1302524"/>
                  </a:lnTo>
                  <a:lnTo>
                    <a:pt x="164172" y="1306487"/>
                  </a:lnTo>
                  <a:lnTo>
                    <a:pt x="183553" y="1317993"/>
                  </a:lnTo>
                  <a:lnTo>
                    <a:pt x="196443" y="1336509"/>
                  </a:lnTo>
                  <a:lnTo>
                    <a:pt x="201129" y="1361465"/>
                  </a:lnTo>
                  <a:lnTo>
                    <a:pt x="197358" y="1385633"/>
                  </a:lnTo>
                  <a:lnTo>
                    <a:pt x="185178" y="1408899"/>
                  </a:lnTo>
                  <a:lnTo>
                    <a:pt x="163258" y="1433982"/>
                  </a:lnTo>
                  <a:lnTo>
                    <a:pt x="130302" y="1463636"/>
                  </a:lnTo>
                  <a:lnTo>
                    <a:pt x="0" y="1574469"/>
                  </a:lnTo>
                  <a:lnTo>
                    <a:pt x="0" y="1626920"/>
                  </a:lnTo>
                  <a:lnTo>
                    <a:pt x="273583" y="1626920"/>
                  </a:lnTo>
                  <a:lnTo>
                    <a:pt x="273583" y="1568526"/>
                  </a:lnTo>
                  <a:close/>
                </a:path>
                <a:path w="3054984" h="3710940">
                  <a:moveTo>
                    <a:pt x="665810" y="3059417"/>
                  </a:moveTo>
                  <a:lnTo>
                    <a:pt x="193624" y="3059417"/>
                  </a:lnTo>
                  <a:lnTo>
                    <a:pt x="193624" y="3107207"/>
                  </a:lnTo>
                  <a:lnTo>
                    <a:pt x="665810" y="3107207"/>
                  </a:lnTo>
                  <a:lnTo>
                    <a:pt x="665810" y="3059417"/>
                  </a:lnTo>
                  <a:close/>
                </a:path>
                <a:path w="3054984" h="3710940">
                  <a:moveTo>
                    <a:pt x="848487" y="3165462"/>
                  </a:moveTo>
                  <a:lnTo>
                    <a:pt x="525856" y="3165462"/>
                  </a:lnTo>
                  <a:lnTo>
                    <a:pt x="525856" y="3213252"/>
                  </a:lnTo>
                  <a:lnTo>
                    <a:pt x="848487" y="3213252"/>
                  </a:lnTo>
                  <a:lnTo>
                    <a:pt x="848487" y="3165462"/>
                  </a:lnTo>
                  <a:close/>
                </a:path>
                <a:path w="3054984" h="3710940">
                  <a:moveTo>
                    <a:pt x="1247381" y="3059417"/>
                  </a:moveTo>
                  <a:lnTo>
                    <a:pt x="775182" y="3059417"/>
                  </a:lnTo>
                  <a:lnTo>
                    <a:pt x="775182" y="3107207"/>
                  </a:lnTo>
                  <a:lnTo>
                    <a:pt x="1247381" y="3107207"/>
                  </a:lnTo>
                  <a:lnTo>
                    <a:pt x="1247381" y="3059417"/>
                  </a:lnTo>
                  <a:close/>
                </a:path>
                <a:path w="3054984" h="3710940">
                  <a:moveTo>
                    <a:pt x="1428597" y="370179"/>
                  </a:moveTo>
                  <a:lnTo>
                    <a:pt x="428993" y="370179"/>
                  </a:lnTo>
                  <a:lnTo>
                    <a:pt x="428993" y="437527"/>
                  </a:lnTo>
                  <a:lnTo>
                    <a:pt x="1428597" y="437527"/>
                  </a:lnTo>
                  <a:lnTo>
                    <a:pt x="1428597" y="370179"/>
                  </a:lnTo>
                  <a:close/>
                </a:path>
                <a:path w="3054984" h="3710940">
                  <a:moveTo>
                    <a:pt x="1492097" y="2440063"/>
                  </a:moveTo>
                  <a:lnTo>
                    <a:pt x="706996" y="2440063"/>
                  </a:lnTo>
                  <a:lnTo>
                    <a:pt x="706996" y="2507399"/>
                  </a:lnTo>
                  <a:lnTo>
                    <a:pt x="1492097" y="2507399"/>
                  </a:lnTo>
                  <a:lnTo>
                    <a:pt x="1492097" y="2440063"/>
                  </a:lnTo>
                  <a:close/>
                </a:path>
                <a:path w="3054984" h="3710940">
                  <a:moveTo>
                    <a:pt x="1492097" y="1401305"/>
                  </a:moveTo>
                  <a:lnTo>
                    <a:pt x="706996" y="1401305"/>
                  </a:lnTo>
                  <a:lnTo>
                    <a:pt x="706996" y="1468653"/>
                  </a:lnTo>
                  <a:lnTo>
                    <a:pt x="1492097" y="1468653"/>
                  </a:lnTo>
                  <a:lnTo>
                    <a:pt x="1492097" y="1401305"/>
                  </a:lnTo>
                  <a:close/>
                </a:path>
                <a:path w="3054984" h="3710940">
                  <a:moveTo>
                    <a:pt x="1842198" y="520573"/>
                  </a:moveTo>
                  <a:lnTo>
                    <a:pt x="428993" y="520573"/>
                  </a:lnTo>
                  <a:lnTo>
                    <a:pt x="428993" y="587921"/>
                  </a:lnTo>
                  <a:lnTo>
                    <a:pt x="1842198" y="587921"/>
                  </a:lnTo>
                  <a:lnTo>
                    <a:pt x="1842198" y="520573"/>
                  </a:lnTo>
                  <a:close/>
                </a:path>
                <a:path w="3054984" h="3710940">
                  <a:moveTo>
                    <a:pt x="1962429" y="219773"/>
                  </a:moveTo>
                  <a:lnTo>
                    <a:pt x="428993" y="219773"/>
                  </a:lnTo>
                  <a:lnTo>
                    <a:pt x="428993" y="287121"/>
                  </a:lnTo>
                  <a:lnTo>
                    <a:pt x="1962429" y="287121"/>
                  </a:lnTo>
                  <a:lnTo>
                    <a:pt x="1962429" y="219773"/>
                  </a:lnTo>
                  <a:close/>
                </a:path>
                <a:path w="3054984" h="3710940">
                  <a:moveTo>
                    <a:pt x="2022221" y="3350044"/>
                  </a:moveTo>
                  <a:lnTo>
                    <a:pt x="1857375" y="3350044"/>
                  </a:lnTo>
                  <a:lnTo>
                    <a:pt x="1857375" y="3369487"/>
                  </a:lnTo>
                  <a:lnTo>
                    <a:pt x="2022221" y="3369487"/>
                  </a:lnTo>
                  <a:lnTo>
                    <a:pt x="2022221" y="3350044"/>
                  </a:lnTo>
                  <a:close/>
                </a:path>
                <a:path w="3054984" h="3710940">
                  <a:moveTo>
                    <a:pt x="2022221" y="3242081"/>
                  </a:moveTo>
                  <a:lnTo>
                    <a:pt x="1857375" y="3242081"/>
                  </a:lnTo>
                  <a:lnTo>
                    <a:pt x="1857375" y="3268459"/>
                  </a:lnTo>
                  <a:lnTo>
                    <a:pt x="2022221" y="3268459"/>
                  </a:lnTo>
                  <a:lnTo>
                    <a:pt x="2022221" y="3242081"/>
                  </a:lnTo>
                  <a:close/>
                </a:path>
                <a:path w="3054984" h="3710940">
                  <a:moveTo>
                    <a:pt x="2053056" y="2289657"/>
                  </a:moveTo>
                  <a:lnTo>
                    <a:pt x="706996" y="2289657"/>
                  </a:lnTo>
                  <a:lnTo>
                    <a:pt x="706996" y="2356993"/>
                  </a:lnTo>
                  <a:lnTo>
                    <a:pt x="2053056" y="2356993"/>
                  </a:lnTo>
                  <a:lnTo>
                    <a:pt x="2053056" y="2289657"/>
                  </a:lnTo>
                  <a:close/>
                </a:path>
                <a:path w="3054984" h="3710940">
                  <a:moveTo>
                    <a:pt x="2053056" y="1401305"/>
                  </a:moveTo>
                  <a:lnTo>
                    <a:pt x="1613801" y="1401305"/>
                  </a:lnTo>
                  <a:lnTo>
                    <a:pt x="1613801" y="1468653"/>
                  </a:lnTo>
                  <a:lnTo>
                    <a:pt x="2053056" y="1468653"/>
                  </a:lnTo>
                  <a:lnTo>
                    <a:pt x="2053056" y="1401305"/>
                  </a:lnTo>
                  <a:close/>
                </a:path>
                <a:path w="3054984" h="3710940">
                  <a:moveTo>
                    <a:pt x="2053056" y="1250899"/>
                  </a:moveTo>
                  <a:lnTo>
                    <a:pt x="441680" y="1250899"/>
                  </a:lnTo>
                  <a:lnTo>
                    <a:pt x="441680" y="1318247"/>
                  </a:lnTo>
                  <a:lnTo>
                    <a:pt x="2053056" y="1318247"/>
                  </a:lnTo>
                  <a:lnTo>
                    <a:pt x="2053056" y="1250899"/>
                  </a:lnTo>
                  <a:close/>
                </a:path>
                <a:path w="3054984" h="3710940">
                  <a:moveTo>
                    <a:pt x="2061108" y="3294202"/>
                  </a:moveTo>
                  <a:lnTo>
                    <a:pt x="1818487" y="3294202"/>
                  </a:lnTo>
                  <a:lnTo>
                    <a:pt x="1818487" y="3320592"/>
                  </a:lnTo>
                  <a:lnTo>
                    <a:pt x="2061108" y="3320592"/>
                  </a:lnTo>
                  <a:lnTo>
                    <a:pt x="2061108" y="3294202"/>
                  </a:lnTo>
                  <a:close/>
                </a:path>
                <a:path w="3054984" h="3710940">
                  <a:moveTo>
                    <a:pt x="2224138" y="3230676"/>
                  </a:moveTo>
                  <a:lnTo>
                    <a:pt x="2207691" y="3175800"/>
                  </a:lnTo>
                  <a:lnTo>
                    <a:pt x="2184514" y="3133179"/>
                  </a:lnTo>
                  <a:lnTo>
                    <a:pt x="2155012" y="3095447"/>
                  </a:lnTo>
                  <a:lnTo>
                    <a:pt x="2119947" y="3063227"/>
                  </a:lnTo>
                  <a:lnTo>
                    <a:pt x="2080133" y="3037103"/>
                  </a:lnTo>
                  <a:lnTo>
                    <a:pt x="2036305" y="3017697"/>
                  </a:lnTo>
                  <a:lnTo>
                    <a:pt x="1989277" y="3005607"/>
                  </a:lnTo>
                  <a:lnTo>
                    <a:pt x="1939798" y="3001454"/>
                  </a:lnTo>
                  <a:lnTo>
                    <a:pt x="1893951" y="3005048"/>
                  </a:lnTo>
                  <a:lnTo>
                    <a:pt x="1850136" y="3015526"/>
                  </a:lnTo>
                  <a:lnTo>
                    <a:pt x="1808975" y="3032353"/>
                  </a:lnTo>
                  <a:lnTo>
                    <a:pt x="1771091" y="3055023"/>
                  </a:lnTo>
                  <a:lnTo>
                    <a:pt x="1737093" y="3083039"/>
                  </a:lnTo>
                  <a:lnTo>
                    <a:pt x="1707603" y="3115881"/>
                  </a:lnTo>
                  <a:lnTo>
                    <a:pt x="1683245" y="3153029"/>
                  </a:lnTo>
                  <a:lnTo>
                    <a:pt x="1664627" y="3193986"/>
                  </a:lnTo>
                  <a:lnTo>
                    <a:pt x="1652384" y="3238246"/>
                  </a:lnTo>
                  <a:lnTo>
                    <a:pt x="1652447" y="3246209"/>
                  </a:lnTo>
                  <a:lnTo>
                    <a:pt x="1655457" y="3253295"/>
                  </a:lnTo>
                  <a:lnTo>
                    <a:pt x="1660893" y="3258718"/>
                  </a:lnTo>
                  <a:lnTo>
                    <a:pt x="1668259" y="3261753"/>
                  </a:lnTo>
                  <a:lnTo>
                    <a:pt x="1670824" y="3262122"/>
                  </a:lnTo>
                  <a:lnTo>
                    <a:pt x="1672094" y="3262122"/>
                  </a:lnTo>
                  <a:lnTo>
                    <a:pt x="1706372" y="3197288"/>
                  </a:lnTo>
                  <a:lnTo>
                    <a:pt x="1729828" y="3153600"/>
                  </a:lnTo>
                  <a:lnTo>
                    <a:pt x="1760969" y="3115754"/>
                  </a:lnTo>
                  <a:lnTo>
                    <a:pt x="1798675" y="3084690"/>
                  </a:lnTo>
                  <a:lnTo>
                    <a:pt x="1841804" y="3061347"/>
                  </a:lnTo>
                  <a:lnTo>
                    <a:pt x="1889226" y="3046653"/>
                  </a:lnTo>
                  <a:lnTo>
                    <a:pt x="1939798" y="3041548"/>
                  </a:lnTo>
                  <a:lnTo>
                    <a:pt x="1988439" y="3046234"/>
                  </a:lnTo>
                  <a:lnTo>
                    <a:pt x="2034209" y="3059734"/>
                  </a:lnTo>
                  <a:lnTo>
                    <a:pt x="2076094" y="3081299"/>
                  </a:lnTo>
                  <a:lnTo>
                    <a:pt x="2113115" y="3110141"/>
                  </a:lnTo>
                  <a:lnTo>
                    <a:pt x="2144242" y="3145459"/>
                  </a:lnTo>
                  <a:lnTo>
                    <a:pt x="2168499" y="3186506"/>
                  </a:lnTo>
                  <a:lnTo>
                    <a:pt x="2184857" y="3232480"/>
                  </a:lnTo>
                  <a:lnTo>
                    <a:pt x="2188299" y="3239668"/>
                  </a:lnTo>
                  <a:lnTo>
                    <a:pt x="2194026" y="3244799"/>
                  </a:lnTo>
                  <a:lnTo>
                    <a:pt x="2201253" y="3247415"/>
                  </a:lnTo>
                  <a:lnTo>
                    <a:pt x="2209203" y="3247059"/>
                  </a:lnTo>
                  <a:lnTo>
                    <a:pt x="2216391" y="3243618"/>
                  </a:lnTo>
                  <a:lnTo>
                    <a:pt x="2221522" y="3237903"/>
                  </a:lnTo>
                  <a:lnTo>
                    <a:pt x="2224138" y="3230676"/>
                  </a:lnTo>
                  <a:close/>
                </a:path>
                <a:path w="3054984" h="3710940">
                  <a:moveTo>
                    <a:pt x="2226145" y="3347999"/>
                  </a:moveTo>
                  <a:lnTo>
                    <a:pt x="2223274" y="3340862"/>
                  </a:lnTo>
                  <a:lnTo>
                    <a:pt x="2217953" y="3335324"/>
                  </a:lnTo>
                  <a:lnTo>
                    <a:pt x="2210651" y="3332149"/>
                  </a:lnTo>
                  <a:lnTo>
                    <a:pt x="2202688" y="3332061"/>
                  </a:lnTo>
                  <a:lnTo>
                    <a:pt x="2195550" y="3334918"/>
                  </a:lnTo>
                  <a:lnTo>
                    <a:pt x="2190013" y="3340239"/>
                  </a:lnTo>
                  <a:lnTo>
                    <a:pt x="2186825" y="3347542"/>
                  </a:lnTo>
                  <a:lnTo>
                    <a:pt x="2171535" y="3394951"/>
                  </a:lnTo>
                  <a:lnTo>
                    <a:pt x="2147697" y="3437572"/>
                  </a:lnTo>
                  <a:lnTo>
                    <a:pt x="2116442" y="3474491"/>
                  </a:lnTo>
                  <a:lnTo>
                    <a:pt x="2078888" y="3504781"/>
                  </a:lnTo>
                  <a:lnTo>
                    <a:pt x="2036178" y="3527564"/>
                  </a:lnTo>
                  <a:lnTo>
                    <a:pt x="1989442" y="3541890"/>
                  </a:lnTo>
                  <a:lnTo>
                    <a:pt x="1939798" y="3546868"/>
                  </a:lnTo>
                  <a:lnTo>
                    <a:pt x="1889709" y="3541826"/>
                  </a:lnTo>
                  <a:lnTo>
                    <a:pt x="1842643" y="3527323"/>
                  </a:lnTo>
                  <a:lnTo>
                    <a:pt x="1799742" y="3504285"/>
                  </a:lnTo>
                  <a:lnTo>
                    <a:pt x="1762112" y="3473615"/>
                  </a:lnTo>
                  <a:lnTo>
                    <a:pt x="1730908" y="3436264"/>
                  </a:lnTo>
                  <a:lnTo>
                    <a:pt x="1707248" y="3393135"/>
                  </a:lnTo>
                  <a:lnTo>
                    <a:pt x="1692275" y="3345154"/>
                  </a:lnTo>
                  <a:lnTo>
                    <a:pt x="1689163" y="3337826"/>
                  </a:lnTo>
                  <a:lnTo>
                    <a:pt x="1683664" y="3332442"/>
                  </a:lnTo>
                  <a:lnTo>
                    <a:pt x="1676565" y="3329521"/>
                  </a:lnTo>
                  <a:lnTo>
                    <a:pt x="1668614" y="3329533"/>
                  </a:lnTo>
                  <a:lnTo>
                    <a:pt x="1661287" y="3332632"/>
                  </a:lnTo>
                  <a:lnTo>
                    <a:pt x="1655889" y="3338131"/>
                  </a:lnTo>
                  <a:lnTo>
                    <a:pt x="1652955" y="3345230"/>
                  </a:lnTo>
                  <a:lnTo>
                    <a:pt x="1652981" y="3353193"/>
                  </a:lnTo>
                  <a:lnTo>
                    <a:pt x="1665554" y="3396881"/>
                  </a:lnTo>
                  <a:lnTo>
                    <a:pt x="1684401" y="3437331"/>
                  </a:lnTo>
                  <a:lnTo>
                    <a:pt x="1708886" y="3474008"/>
                  </a:lnTo>
                  <a:lnTo>
                    <a:pt x="1738414" y="3506432"/>
                  </a:lnTo>
                  <a:lnTo>
                    <a:pt x="1772335" y="3534079"/>
                  </a:lnTo>
                  <a:lnTo>
                    <a:pt x="1810054" y="3556470"/>
                  </a:lnTo>
                  <a:lnTo>
                    <a:pt x="1850948" y="3573081"/>
                  </a:lnTo>
                  <a:lnTo>
                    <a:pt x="1894408" y="3583419"/>
                  </a:lnTo>
                  <a:lnTo>
                    <a:pt x="1939798" y="3586975"/>
                  </a:lnTo>
                  <a:lnTo>
                    <a:pt x="1990280" y="3582543"/>
                  </a:lnTo>
                  <a:lnTo>
                    <a:pt x="2038324" y="3569703"/>
                  </a:lnTo>
                  <a:lnTo>
                    <a:pt x="2083028" y="3549180"/>
                  </a:lnTo>
                  <a:lnTo>
                    <a:pt x="2123541" y="3521672"/>
                  </a:lnTo>
                  <a:lnTo>
                    <a:pt x="2158987" y="3487877"/>
                  </a:lnTo>
                  <a:lnTo>
                    <a:pt x="2188464" y="3448532"/>
                  </a:lnTo>
                  <a:lnTo>
                    <a:pt x="2211108" y="3404324"/>
                  </a:lnTo>
                  <a:lnTo>
                    <a:pt x="2226043" y="3355962"/>
                  </a:lnTo>
                  <a:lnTo>
                    <a:pt x="2226145" y="3347999"/>
                  </a:lnTo>
                  <a:close/>
                </a:path>
                <a:path w="3054984" h="3710940">
                  <a:moveTo>
                    <a:pt x="2355977" y="3294215"/>
                  </a:moveTo>
                  <a:lnTo>
                    <a:pt x="2353170" y="3245739"/>
                  </a:lnTo>
                  <a:lnTo>
                    <a:pt x="2344966" y="3198901"/>
                  </a:lnTo>
                  <a:lnTo>
                    <a:pt x="2331682" y="3153994"/>
                  </a:lnTo>
                  <a:lnTo>
                    <a:pt x="2313609" y="3111347"/>
                  </a:lnTo>
                  <a:lnTo>
                    <a:pt x="2298966" y="3085287"/>
                  </a:lnTo>
                  <a:lnTo>
                    <a:pt x="2298966" y="3294215"/>
                  </a:lnTo>
                  <a:lnTo>
                    <a:pt x="2295690" y="3342678"/>
                  </a:lnTo>
                  <a:lnTo>
                    <a:pt x="2286114" y="3389579"/>
                  </a:lnTo>
                  <a:lnTo>
                    <a:pt x="2270696" y="3433876"/>
                  </a:lnTo>
                  <a:lnTo>
                    <a:pt x="2249855" y="3475342"/>
                  </a:lnTo>
                  <a:lnTo>
                    <a:pt x="2224036" y="3513556"/>
                  </a:lnTo>
                  <a:lnTo>
                    <a:pt x="2193645" y="3548062"/>
                  </a:lnTo>
                  <a:lnTo>
                    <a:pt x="2159139" y="3578441"/>
                  </a:lnTo>
                  <a:lnTo>
                    <a:pt x="2120938" y="3604272"/>
                  </a:lnTo>
                  <a:lnTo>
                    <a:pt x="2079472" y="3625113"/>
                  </a:lnTo>
                  <a:lnTo>
                    <a:pt x="2035175" y="3640531"/>
                  </a:lnTo>
                  <a:lnTo>
                    <a:pt x="1988477" y="3650094"/>
                  </a:lnTo>
                  <a:lnTo>
                    <a:pt x="1939798" y="3653383"/>
                  </a:lnTo>
                  <a:lnTo>
                    <a:pt x="1891131" y="3650094"/>
                  </a:lnTo>
                  <a:lnTo>
                    <a:pt x="1844433" y="3640531"/>
                  </a:lnTo>
                  <a:lnTo>
                    <a:pt x="1800136" y="3625113"/>
                  </a:lnTo>
                  <a:lnTo>
                    <a:pt x="1758657" y="3604272"/>
                  </a:lnTo>
                  <a:lnTo>
                    <a:pt x="1720456" y="3578441"/>
                  </a:lnTo>
                  <a:lnTo>
                    <a:pt x="1685950" y="3548062"/>
                  </a:lnTo>
                  <a:lnTo>
                    <a:pt x="1655559" y="3513556"/>
                  </a:lnTo>
                  <a:lnTo>
                    <a:pt x="1629740" y="3475342"/>
                  </a:lnTo>
                  <a:lnTo>
                    <a:pt x="1608899" y="3433876"/>
                  </a:lnTo>
                  <a:lnTo>
                    <a:pt x="1593481" y="3389579"/>
                  </a:lnTo>
                  <a:lnTo>
                    <a:pt x="1583918" y="3342881"/>
                  </a:lnTo>
                  <a:lnTo>
                    <a:pt x="1580629" y="3294215"/>
                  </a:lnTo>
                  <a:lnTo>
                    <a:pt x="1583905" y="3245739"/>
                  </a:lnTo>
                  <a:lnTo>
                    <a:pt x="1583918" y="3245535"/>
                  </a:lnTo>
                  <a:lnTo>
                    <a:pt x="1593469" y="3198901"/>
                  </a:lnTo>
                  <a:lnTo>
                    <a:pt x="1608899" y="3154540"/>
                  </a:lnTo>
                  <a:lnTo>
                    <a:pt x="1629740" y="3113074"/>
                  </a:lnTo>
                  <a:lnTo>
                    <a:pt x="1655559" y="3074873"/>
                  </a:lnTo>
                  <a:lnTo>
                    <a:pt x="1685950" y="3040354"/>
                  </a:lnTo>
                  <a:lnTo>
                    <a:pt x="1720456" y="3009976"/>
                  </a:lnTo>
                  <a:lnTo>
                    <a:pt x="1758657" y="2984157"/>
                  </a:lnTo>
                  <a:lnTo>
                    <a:pt x="1800136" y="2963316"/>
                  </a:lnTo>
                  <a:lnTo>
                    <a:pt x="1844433" y="2947898"/>
                  </a:lnTo>
                  <a:lnTo>
                    <a:pt x="1891131" y="2938335"/>
                  </a:lnTo>
                  <a:lnTo>
                    <a:pt x="1939798" y="2935046"/>
                  </a:lnTo>
                  <a:lnTo>
                    <a:pt x="1988477" y="2938335"/>
                  </a:lnTo>
                  <a:lnTo>
                    <a:pt x="2035175" y="2947898"/>
                  </a:lnTo>
                  <a:lnTo>
                    <a:pt x="2079472" y="2963316"/>
                  </a:lnTo>
                  <a:lnTo>
                    <a:pt x="2120938" y="2984157"/>
                  </a:lnTo>
                  <a:lnTo>
                    <a:pt x="2159139" y="3009976"/>
                  </a:lnTo>
                  <a:lnTo>
                    <a:pt x="2193645" y="3040354"/>
                  </a:lnTo>
                  <a:lnTo>
                    <a:pt x="2224036" y="3074873"/>
                  </a:lnTo>
                  <a:lnTo>
                    <a:pt x="2249855" y="3113074"/>
                  </a:lnTo>
                  <a:lnTo>
                    <a:pt x="2270696" y="3154540"/>
                  </a:lnTo>
                  <a:lnTo>
                    <a:pt x="2286127" y="3198901"/>
                  </a:lnTo>
                  <a:lnTo>
                    <a:pt x="2295677" y="3245535"/>
                  </a:lnTo>
                  <a:lnTo>
                    <a:pt x="2298966" y="3294215"/>
                  </a:lnTo>
                  <a:lnTo>
                    <a:pt x="2298966" y="3085287"/>
                  </a:lnTo>
                  <a:lnTo>
                    <a:pt x="2264435" y="3034068"/>
                  </a:lnTo>
                  <a:lnTo>
                    <a:pt x="2233942" y="3000070"/>
                  </a:lnTo>
                  <a:lnTo>
                    <a:pt x="2199944" y="2969577"/>
                  </a:lnTo>
                  <a:lnTo>
                    <a:pt x="2162746" y="2942920"/>
                  </a:lnTo>
                  <a:lnTo>
                    <a:pt x="2122665" y="2920403"/>
                  </a:lnTo>
                  <a:lnTo>
                    <a:pt x="2080018" y="2902331"/>
                  </a:lnTo>
                  <a:lnTo>
                    <a:pt x="2035111" y="2889046"/>
                  </a:lnTo>
                  <a:lnTo>
                    <a:pt x="1988273" y="2880842"/>
                  </a:lnTo>
                  <a:lnTo>
                    <a:pt x="1939798" y="2878036"/>
                  </a:lnTo>
                  <a:lnTo>
                    <a:pt x="1891334" y="2880842"/>
                  </a:lnTo>
                  <a:lnTo>
                    <a:pt x="1844497" y="2889046"/>
                  </a:lnTo>
                  <a:lnTo>
                    <a:pt x="1799590" y="2902331"/>
                  </a:lnTo>
                  <a:lnTo>
                    <a:pt x="1756943" y="2920403"/>
                  </a:lnTo>
                  <a:lnTo>
                    <a:pt x="1716862" y="2942920"/>
                  </a:lnTo>
                  <a:lnTo>
                    <a:pt x="1679663" y="2969577"/>
                  </a:lnTo>
                  <a:lnTo>
                    <a:pt x="1645653" y="3000070"/>
                  </a:lnTo>
                  <a:lnTo>
                    <a:pt x="1615173" y="3034068"/>
                  </a:lnTo>
                  <a:lnTo>
                    <a:pt x="1588516" y="3071266"/>
                  </a:lnTo>
                  <a:lnTo>
                    <a:pt x="1565986" y="3111347"/>
                  </a:lnTo>
                  <a:lnTo>
                    <a:pt x="1547926" y="3153994"/>
                  </a:lnTo>
                  <a:lnTo>
                    <a:pt x="1534642" y="3198901"/>
                  </a:lnTo>
                  <a:lnTo>
                    <a:pt x="1526463" y="3245535"/>
                  </a:lnTo>
                  <a:lnTo>
                    <a:pt x="1526425" y="3245739"/>
                  </a:lnTo>
                  <a:lnTo>
                    <a:pt x="1523631" y="3294215"/>
                  </a:lnTo>
                  <a:lnTo>
                    <a:pt x="1526425" y="3342678"/>
                  </a:lnTo>
                  <a:lnTo>
                    <a:pt x="1534655" y="3389579"/>
                  </a:lnTo>
                  <a:lnTo>
                    <a:pt x="1547926" y="3434423"/>
                  </a:lnTo>
                  <a:lnTo>
                    <a:pt x="1565986" y="3477069"/>
                  </a:lnTo>
                  <a:lnTo>
                    <a:pt x="1588516" y="3517150"/>
                  </a:lnTo>
                  <a:lnTo>
                    <a:pt x="1615173" y="3554349"/>
                  </a:lnTo>
                  <a:lnTo>
                    <a:pt x="1645653" y="3588347"/>
                  </a:lnTo>
                  <a:lnTo>
                    <a:pt x="1679663" y="3618839"/>
                  </a:lnTo>
                  <a:lnTo>
                    <a:pt x="1716862" y="3645497"/>
                  </a:lnTo>
                  <a:lnTo>
                    <a:pt x="1756943" y="3668014"/>
                  </a:lnTo>
                  <a:lnTo>
                    <a:pt x="1799590" y="3686086"/>
                  </a:lnTo>
                  <a:lnTo>
                    <a:pt x="1844497" y="3699370"/>
                  </a:lnTo>
                  <a:lnTo>
                    <a:pt x="1891334" y="3707574"/>
                  </a:lnTo>
                  <a:lnTo>
                    <a:pt x="1939798" y="3710381"/>
                  </a:lnTo>
                  <a:lnTo>
                    <a:pt x="1988273" y="3707574"/>
                  </a:lnTo>
                  <a:lnTo>
                    <a:pt x="2035111" y="3699370"/>
                  </a:lnTo>
                  <a:lnTo>
                    <a:pt x="2080018" y="3686086"/>
                  </a:lnTo>
                  <a:lnTo>
                    <a:pt x="2122665" y="3668014"/>
                  </a:lnTo>
                  <a:lnTo>
                    <a:pt x="2162746" y="3645497"/>
                  </a:lnTo>
                  <a:lnTo>
                    <a:pt x="2199944" y="3618839"/>
                  </a:lnTo>
                  <a:lnTo>
                    <a:pt x="2233942" y="3588347"/>
                  </a:lnTo>
                  <a:lnTo>
                    <a:pt x="2264435" y="3554349"/>
                  </a:lnTo>
                  <a:lnTo>
                    <a:pt x="2291092" y="3517150"/>
                  </a:lnTo>
                  <a:lnTo>
                    <a:pt x="2313609" y="3477069"/>
                  </a:lnTo>
                  <a:lnTo>
                    <a:pt x="2331682" y="3434423"/>
                  </a:lnTo>
                  <a:lnTo>
                    <a:pt x="2344953" y="3389579"/>
                  </a:lnTo>
                  <a:lnTo>
                    <a:pt x="2353132" y="3342881"/>
                  </a:lnTo>
                  <a:lnTo>
                    <a:pt x="2353170" y="3342678"/>
                  </a:lnTo>
                  <a:lnTo>
                    <a:pt x="2355977" y="3294215"/>
                  </a:lnTo>
                  <a:close/>
                </a:path>
                <a:path w="3054984" h="3710940">
                  <a:moveTo>
                    <a:pt x="3049397" y="55003"/>
                  </a:moveTo>
                  <a:lnTo>
                    <a:pt x="3048355" y="36334"/>
                  </a:lnTo>
                  <a:lnTo>
                    <a:pt x="3040392" y="19431"/>
                  </a:lnTo>
                  <a:lnTo>
                    <a:pt x="3026041" y="6413"/>
                  </a:lnTo>
                  <a:lnTo>
                    <a:pt x="3007779" y="0"/>
                  </a:lnTo>
                  <a:lnTo>
                    <a:pt x="2989110" y="1041"/>
                  </a:lnTo>
                  <a:lnTo>
                    <a:pt x="2972193" y="9004"/>
                  </a:lnTo>
                  <a:lnTo>
                    <a:pt x="2959189" y="23355"/>
                  </a:lnTo>
                  <a:lnTo>
                    <a:pt x="2955544" y="29476"/>
                  </a:lnTo>
                  <a:lnTo>
                    <a:pt x="2955544" y="220027"/>
                  </a:lnTo>
                  <a:lnTo>
                    <a:pt x="2955544" y="775271"/>
                  </a:lnTo>
                  <a:lnTo>
                    <a:pt x="2330310" y="775271"/>
                  </a:lnTo>
                  <a:lnTo>
                    <a:pt x="2330310" y="150431"/>
                  </a:lnTo>
                  <a:lnTo>
                    <a:pt x="2883471" y="150431"/>
                  </a:lnTo>
                  <a:lnTo>
                    <a:pt x="2653601" y="536257"/>
                  </a:lnTo>
                  <a:lnTo>
                    <a:pt x="2484666" y="331901"/>
                  </a:lnTo>
                  <a:lnTo>
                    <a:pt x="2469616" y="319722"/>
                  </a:lnTo>
                  <a:lnTo>
                    <a:pt x="2416010" y="325386"/>
                  </a:lnTo>
                  <a:lnTo>
                    <a:pt x="2398534" y="358368"/>
                  </a:lnTo>
                  <a:lnTo>
                    <a:pt x="2400350" y="376974"/>
                  </a:lnTo>
                  <a:lnTo>
                    <a:pt x="2622499" y="651713"/>
                  </a:lnTo>
                  <a:lnTo>
                    <a:pt x="2660078" y="669417"/>
                  </a:lnTo>
                  <a:lnTo>
                    <a:pt x="2663812" y="669264"/>
                  </a:lnTo>
                  <a:lnTo>
                    <a:pt x="2701975" y="645617"/>
                  </a:lnTo>
                  <a:lnTo>
                    <a:pt x="2955544" y="220027"/>
                  </a:lnTo>
                  <a:lnTo>
                    <a:pt x="2955544" y="29476"/>
                  </a:lnTo>
                  <a:lnTo>
                    <a:pt x="2903143" y="117411"/>
                  </a:lnTo>
                  <a:lnTo>
                    <a:pt x="2297798" y="117411"/>
                  </a:lnTo>
                  <a:lnTo>
                    <a:pt x="2297798" y="150431"/>
                  </a:lnTo>
                  <a:lnTo>
                    <a:pt x="2297798" y="775271"/>
                  </a:lnTo>
                  <a:lnTo>
                    <a:pt x="2297798" y="808291"/>
                  </a:lnTo>
                  <a:lnTo>
                    <a:pt x="2988056" y="808291"/>
                  </a:lnTo>
                  <a:lnTo>
                    <a:pt x="2988056" y="775639"/>
                  </a:lnTo>
                  <a:lnTo>
                    <a:pt x="2988056" y="775271"/>
                  </a:lnTo>
                  <a:lnTo>
                    <a:pt x="2988056" y="165455"/>
                  </a:lnTo>
                  <a:lnTo>
                    <a:pt x="3042970" y="73279"/>
                  </a:lnTo>
                  <a:lnTo>
                    <a:pt x="3049397" y="55003"/>
                  </a:lnTo>
                  <a:close/>
                </a:path>
                <a:path w="3054984" h="3710940">
                  <a:moveTo>
                    <a:pt x="3054756" y="2124887"/>
                  </a:moveTo>
                  <a:lnTo>
                    <a:pt x="3053702" y="2106218"/>
                  </a:lnTo>
                  <a:lnTo>
                    <a:pt x="3045739" y="2089302"/>
                  </a:lnTo>
                  <a:lnTo>
                    <a:pt x="3031388" y="2076297"/>
                  </a:lnTo>
                  <a:lnTo>
                    <a:pt x="3013125" y="2069884"/>
                  </a:lnTo>
                  <a:lnTo>
                    <a:pt x="2994456" y="2070925"/>
                  </a:lnTo>
                  <a:lnTo>
                    <a:pt x="2977540" y="2078888"/>
                  </a:lnTo>
                  <a:lnTo>
                    <a:pt x="2964535" y="2093226"/>
                  </a:lnTo>
                  <a:lnTo>
                    <a:pt x="2960903" y="2099322"/>
                  </a:lnTo>
                  <a:lnTo>
                    <a:pt x="2960903" y="2289911"/>
                  </a:lnTo>
                  <a:lnTo>
                    <a:pt x="2960903" y="2845371"/>
                  </a:lnTo>
                  <a:lnTo>
                    <a:pt x="2335657" y="2845371"/>
                  </a:lnTo>
                  <a:lnTo>
                    <a:pt x="2335657" y="2220531"/>
                  </a:lnTo>
                  <a:lnTo>
                    <a:pt x="2888678" y="2220531"/>
                  </a:lnTo>
                  <a:lnTo>
                    <a:pt x="2658948" y="2606141"/>
                  </a:lnTo>
                  <a:lnTo>
                    <a:pt x="2490012" y="2401786"/>
                  </a:lnTo>
                  <a:lnTo>
                    <a:pt x="2474963" y="2389594"/>
                  </a:lnTo>
                  <a:lnTo>
                    <a:pt x="2421356" y="2395270"/>
                  </a:lnTo>
                  <a:lnTo>
                    <a:pt x="2403881" y="2428252"/>
                  </a:lnTo>
                  <a:lnTo>
                    <a:pt x="2405710" y="2446858"/>
                  </a:lnTo>
                  <a:lnTo>
                    <a:pt x="2627846" y="2721597"/>
                  </a:lnTo>
                  <a:lnTo>
                    <a:pt x="2665425" y="2739301"/>
                  </a:lnTo>
                  <a:lnTo>
                    <a:pt x="2669159" y="2739148"/>
                  </a:lnTo>
                  <a:lnTo>
                    <a:pt x="2707335" y="2715488"/>
                  </a:lnTo>
                  <a:lnTo>
                    <a:pt x="2960903" y="2289911"/>
                  </a:lnTo>
                  <a:lnTo>
                    <a:pt x="2960903" y="2099322"/>
                  </a:lnTo>
                  <a:lnTo>
                    <a:pt x="2908350" y="2187511"/>
                  </a:lnTo>
                  <a:lnTo>
                    <a:pt x="2303145" y="2187511"/>
                  </a:lnTo>
                  <a:lnTo>
                    <a:pt x="2303145" y="2220531"/>
                  </a:lnTo>
                  <a:lnTo>
                    <a:pt x="2303145" y="2845371"/>
                  </a:lnTo>
                  <a:lnTo>
                    <a:pt x="2303145" y="2878391"/>
                  </a:lnTo>
                  <a:lnTo>
                    <a:pt x="2993415" y="2878391"/>
                  </a:lnTo>
                  <a:lnTo>
                    <a:pt x="2993415" y="2845524"/>
                  </a:lnTo>
                  <a:lnTo>
                    <a:pt x="2993415" y="2845371"/>
                  </a:lnTo>
                  <a:lnTo>
                    <a:pt x="2993415" y="2235339"/>
                  </a:lnTo>
                  <a:lnTo>
                    <a:pt x="3048330" y="2143163"/>
                  </a:lnTo>
                  <a:lnTo>
                    <a:pt x="3054756" y="2124887"/>
                  </a:lnTo>
                  <a:close/>
                </a:path>
                <a:path w="3054984" h="3710940">
                  <a:moveTo>
                    <a:pt x="3054756" y="1086142"/>
                  </a:moveTo>
                  <a:lnTo>
                    <a:pt x="3053702" y="1067473"/>
                  </a:lnTo>
                  <a:lnTo>
                    <a:pt x="3045739" y="1050556"/>
                  </a:lnTo>
                  <a:lnTo>
                    <a:pt x="3031388" y="1037551"/>
                  </a:lnTo>
                  <a:lnTo>
                    <a:pt x="3013125" y="1031125"/>
                  </a:lnTo>
                  <a:lnTo>
                    <a:pt x="2994456" y="1032167"/>
                  </a:lnTo>
                  <a:lnTo>
                    <a:pt x="2977540" y="1040130"/>
                  </a:lnTo>
                  <a:lnTo>
                    <a:pt x="2964535" y="1054481"/>
                  </a:lnTo>
                  <a:lnTo>
                    <a:pt x="2960903" y="1060589"/>
                  </a:lnTo>
                  <a:lnTo>
                    <a:pt x="2960903" y="1251153"/>
                  </a:lnTo>
                  <a:lnTo>
                    <a:pt x="2960903" y="1806511"/>
                  </a:lnTo>
                  <a:lnTo>
                    <a:pt x="2335657" y="1806511"/>
                  </a:lnTo>
                  <a:lnTo>
                    <a:pt x="2335657" y="1181671"/>
                  </a:lnTo>
                  <a:lnTo>
                    <a:pt x="2888754" y="1181671"/>
                  </a:lnTo>
                  <a:lnTo>
                    <a:pt x="2658948" y="1567395"/>
                  </a:lnTo>
                  <a:lnTo>
                    <a:pt x="2490012" y="1363040"/>
                  </a:lnTo>
                  <a:lnTo>
                    <a:pt x="2474963" y="1350848"/>
                  </a:lnTo>
                  <a:lnTo>
                    <a:pt x="2421356" y="1356525"/>
                  </a:lnTo>
                  <a:lnTo>
                    <a:pt x="2403881" y="1389507"/>
                  </a:lnTo>
                  <a:lnTo>
                    <a:pt x="2405710" y="1408112"/>
                  </a:lnTo>
                  <a:lnTo>
                    <a:pt x="2627846" y="1682864"/>
                  </a:lnTo>
                  <a:lnTo>
                    <a:pt x="2665425" y="1700542"/>
                  </a:lnTo>
                  <a:lnTo>
                    <a:pt x="2669159" y="1700403"/>
                  </a:lnTo>
                  <a:lnTo>
                    <a:pt x="2707335" y="1676742"/>
                  </a:lnTo>
                  <a:lnTo>
                    <a:pt x="2960903" y="1251153"/>
                  </a:lnTo>
                  <a:lnTo>
                    <a:pt x="2960903" y="1060589"/>
                  </a:lnTo>
                  <a:lnTo>
                    <a:pt x="2908427" y="1148651"/>
                  </a:lnTo>
                  <a:lnTo>
                    <a:pt x="2303145" y="1148651"/>
                  </a:lnTo>
                  <a:lnTo>
                    <a:pt x="2303145" y="1181671"/>
                  </a:lnTo>
                  <a:lnTo>
                    <a:pt x="2303145" y="1806511"/>
                  </a:lnTo>
                  <a:lnTo>
                    <a:pt x="2303145" y="1839531"/>
                  </a:lnTo>
                  <a:lnTo>
                    <a:pt x="2993415" y="1839531"/>
                  </a:lnTo>
                  <a:lnTo>
                    <a:pt x="2993415" y="1806778"/>
                  </a:lnTo>
                  <a:lnTo>
                    <a:pt x="2993415" y="1806511"/>
                  </a:lnTo>
                  <a:lnTo>
                    <a:pt x="2993415" y="1196581"/>
                  </a:lnTo>
                  <a:lnTo>
                    <a:pt x="3048330" y="1104404"/>
                  </a:lnTo>
                  <a:lnTo>
                    <a:pt x="3054756" y="1086142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6272561" y="9549191"/>
              <a:ext cx="325120" cy="266065"/>
            </a:xfrm>
            <a:custGeom>
              <a:avLst/>
              <a:gdLst/>
              <a:ahLst/>
              <a:cxnLst/>
              <a:rect l="l" t="t" r="r" b="b"/>
              <a:pathLst>
                <a:path w="325119" h="266065">
                  <a:moveTo>
                    <a:pt x="70908" y="0"/>
                  </a:moveTo>
                  <a:lnTo>
                    <a:pt x="30428" y="77086"/>
                  </a:lnTo>
                  <a:lnTo>
                    <a:pt x="0" y="114876"/>
                  </a:lnTo>
                  <a:lnTo>
                    <a:pt x="210464" y="265541"/>
                  </a:lnTo>
                  <a:lnTo>
                    <a:pt x="324566" y="77254"/>
                  </a:lnTo>
                  <a:lnTo>
                    <a:pt x="318471" y="8586"/>
                  </a:lnTo>
                  <a:lnTo>
                    <a:pt x="70908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5888363" y="9621616"/>
              <a:ext cx="749300" cy="259079"/>
            </a:xfrm>
            <a:custGeom>
              <a:avLst/>
              <a:gdLst/>
              <a:ahLst/>
              <a:cxnLst/>
              <a:rect l="l" t="t" r="r" b="b"/>
              <a:pathLst>
                <a:path w="749300" h="259079">
                  <a:moveTo>
                    <a:pt x="710983" y="0"/>
                  </a:moveTo>
                  <a:lnTo>
                    <a:pt x="706282" y="3884"/>
                  </a:lnTo>
                  <a:lnTo>
                    <a:pt x="680392" y="25854"/>
                  </a:lnTo>
                  <a:lnTo>
                    <a:pt x="642162" y="52919"/>
                  </a:lnTo>
                  <a:lnTo>
                    <a:pt x="598778" y="69712"/>
                  </a:lnTo>
                  <a:lnTo>
                    <a:pt x="557428" y="60867"/>
                  </a:lnTo>
                  <a:lnTo>
                    <a:pt x="496848" y="26301"/>
                  </a:lnTo>
                  <a:lnTo>
                    <a:pt x="446605" y="8888"/>
                  </a:lnTo>
                  <a:lnTo>
                    <a:pt x="412329" y="2750"/>
                  </a:lnTo>
                  <a:lnTo>
                    <a:pt x="399652" y="2010"/>
                  </a:lnTo>
                  <a:lnTo>
                    <a:pt x="10355" y="169952"/>
                  </a:lnTo>
                  <a:lnTo>
                    <a:pt x="4094" y="172507"/>
                  </a:lnTo>
                  <a:lnTo>
                    <a:pt x="0" y="179690"/>
                  </a:lnTo>
                  <a:lnTo>
                    <a:pt x="1622" y="250296"/>
                  </a:lnTo>
                  <a:lnTo>
                    <a:pt x="8732" y="258683"/>
                  </a:lnTo>
                  <a:lnTo>
                    <a:pt x="749244" y="258683"/>
                  </a:lnTo>
                  <a:lnTo>
                    <a:pt x="717433" y="3486"/>
                  </a:lnTo>
                  <a:lnTo>
                    <a:pt x="710983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7467491" y="9518258"/>
              <a:ext cx="323850" cy="297180"/>
            </a:xfrm>
            <a:custGeom>
              <a:avLst/>
              <a:gdLst/>
              <a:ahLst/>
              <a:cxnLst/>
              <a:rect l="l" t="t" r="r" b="b"/>
              <a:pathLst>
                <a:path w="323850" h="297179">
                  <a:moveTo>
                    <a:pt x="299917" y="0"/>
                  </a:moveTo>
                  <a:lnTo>
                    <a:pt x="73432" y="31810"/>
                  </a:lnTo>
                  <a:lnTo>
                    <a:pt x="31213" y="108687"/>
                  </a:lnTo>
                  <a:lnTo>
                    <a:pt x="0" y="146382"/>
                  </a:lnTo>
                  <a:lnTo>
                    <a:pt x="205543" y="296640"/>
                  </a:lnTo>
                  <a:lnTo>
                    <a:pt x="323801" y="108855"/>
                  </a:lnTo>
                  <a:lnTo>
                    <a:pt x="299917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6218827" y="6395573"/>
              <a:ext cx="1606550" cy="3484879"/>
            </a:xfrm>
            <a:custGeom>
              <a:avLst/>
              <a:gdLst/>
              <a:ahLst/>
              <a:cxnLst/>
              <a:rect l="l" t="t" r="r" b="b"/>
              <a:pathLst>
                <a:path w="1606550" h="3484879">
                  <a:moveTo>
                    <a:pt x="1154328" y="77965"/>
                  </a:moveTo>
                  <a:lnTo>
                    <a:pt x="87566" y="0"/>
                  </a:lnTo>
                  <a:lnTo>
                    <a:pt x="39420" y="689343"/>
                  </a:lnTo>
                  <a:lnTo>
                    <a:pt x="14249" y="1075512"/>
                  </a:lnTo>
                  <a:lnTo>
                    <a:pt x="3848" y="1299248"/>
                  </a:lnTo>
                  <a:lnTo>
                    <a:pt x="0" y="1501292"/>
                  </a:lnTo>
                  <a:lnTo>
                    <a:pt x="10591" y="1893443"/>
                  </a:lnTo>
                  <a:lnTo>
                    <a:pt x="38125" y="2450566"/>
                  </a:lnTo>
                  <a:lnTo>
                    <a:pt x="66484" y="2948914"/>
                  </a:lnTo>
                  <a:lnTo>
                    <a:pt x="79514" y="3164763"/>
                  </a:lnTo>
                  <a:lnTo>
                    <a:pt x="473430" y="3171583"/>
                  </a:lnTo>
                  <a:lnTo>
                    <a:pt x="638517" y="1826856"/>
                  </a:lnTo>
                  <a:lnTo>
                    <a:pt x="764476" y="1056360"/>
                  </a:lnTo>
                  <a:lnTo>
                    <a:pt x="915136" y="570064"/>
                  </a:lnTo>
                  <a:lnTo>
                    <a:pt x="1154328" y="77965"/>
                  </a:lnTo>
                  <a:close/>
                </a:path>
                <a:path w="1606550" h="3484879">
                  <a:moveTo>
                    <a:pt x="1606308" y="3484727"/>
                  </a:moveTo>
                  <a:lnTo>
                    <a:pt x="1581137" y="3230207"/>
                  </a:lnTo>
                  <a:lnTo>
                    <a:pt x="1574800" y="3226727"/>
                  </a:lnTo>
                  <a:lnTo>
                    <a:pt x="1570012" y="3230613"/>
                  </a:lnTo>
                  <a:lnTo>
                    <a:pt x="1543710" y="3252520"/>
                  </a:lnTo>
                  <a:lnTo>
                    <a:pt x="1504988" y="3279508"/>
                  </a:lnTo>
                  <a:lnTo>
                    <a:pt x="1461414" y="3296259"/>
                  </a:lnTo>
                  <a:lnTo>
                    <a:pt x="1420507" y="3287445"/>
                  </a:lnTo>
                  <a:lnTo>
                    <a:pt x="1361122" y="3252965"/>
                  </a:lnTo>
                  <a:lnTo>
                    <a:pt x="1311579" y="3235604"/>
                  </a:lnTo>
                  <a:lnTo>
                    <a:pt x="1277645" y="3229483"/>
                  </a:lnTo>
                  <a:lnTo>
                    <a:pt x="1265059" y="3228746"/>
                  </a:lnTo>
                  <a:lnTo>
                    <a:pt x="873556" y="3396234"/>
                  </a:lnTo>
                  <a:lnTo>
                    <a:pt x="867270" y="3398786"/>
                  </a:lnTo>
                  <a:lnTo>
                    <a:pt x="863028" y="3405949"/>
                  </a:lnTo>
                  <a:lnTo>
                    <a:pt x="862850" y="3476358"/>
                  </a:lnTo>
                  <a:lnTo>
                    <a:pt x="869708" y="3484727"/>
                  </a:lnTo>
                  <a:lnTo>
                    <a:pt x="1606308" y="3484727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4" name="object 1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804343" y="2584857"/>
              <a:ext cx="10476216" cy="7103507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816282" y="2629360"/>
              <a:ext cx="245877" cy="245877"/>
            </a:xfrm>
            <a:prstGeom prst="rect">
              <a:avLst/>
            </a:prstGeom>
          </p:spPr>
        </p:pic>
      </p:grp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632276" y="590937"/>
            <a:ext cx="8253474" cy="71780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2335" dirty="0"/>
              <a:t>ОЦЕНКА</a:t>
            </a:r>
            <a:r>
              <a:rPr sz="2335" spc="-6" dirty="0"/>
              <a:t> </a:t>
            </a:r>
            <a:r>
              <a:rPr sz="2335" dirty="0"/>
              <a:t>УДОВЛЕТВОРЕННОСТИ </a:t>
            </a:r>
            <a:r>
              <a:rPr sz="2335" spc="-6" dirty="0"/>
              <a:t>ПОКУПАТЕЛЕЙ:</a:t>
            </a:r>
            <a:endParaRPr sz="2335" dirty="0"/>
          </a:p>
          <a:p>
            <a:pPr marL="7701">
              <a:spcBef>
                <a:spcPts val="70"/>
              </a:spcBef>
            </a:pPr>
            <a:r>
              <a:rPr sz="2183" b="0" dirty="0"/>
              <a:t>воспринимаемое</a:t>
            </a:r>
            <a:r>
              <a:rPr sz="2183" b="0" spc="3" dirty="0"/>
              <a:t> </a:t>
            </a:r>
            <a:r>
              <a:rPr sz="2183" b="0" spc="-6" dirty="0"/>
              <a:t>качество</a:t>
            </a:r>
            <a:endParaRPr sz="2183" dirty="0"/>
          </a:p>
        </p:txBody>
      </p:sp>
      <p:grpSp>
        <p:nvGrpSpPr>
          <p:cNvPr id="17" name="object 17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18" name="object 18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0" name="object 20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96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49116" y="4437041"/>
            <a:ext cx="3669280" cy="914528"/>
          </a:xfrm>
          <a:custGeom>
            <a:avLst/>
            <a:gdLst/>
            <a:ahLst/>
            <a:cxnLst/>
            <a:rect l="l" t="t" r="r" b="b"/>
            <a:pathLst>
              <a:path w="6050915" h="1508125">
                <a:moveTo>
                  <a:pt x="5933034" y="0"/>
                </a:moveTo>
                <a:lnTo>
                  <a:pt x="117535" y="0"/>
                </a:lnTo>
                <a:lnTo>
                  <a:pt x="71782" y="9237"/>
                </a:lnTo>
                <a:lnTo>
                  <a:pt x="34423" y="34426"/>
                </a:lnTo>
                <a:lnTo>
                  <a:pt x="9235" y="71787"/>
                </a:lnTo>
                <a:lnTo>
                  <a:pt x="0" y="117535"/>
                </a:lnTo>
                <a:lnTo>
                  <a:pt x="0" y="1390271"/>
                </a:lnTo>
                <a:lnTo>
                  <a:pt x="9235" y="1436020"/>
                </a:lnTo>
                <a:lnTo>
                  <a:pt x="34423" y="1473380"/>
                </a:lnTo>
                <a:lnTo>
                  <a:pt x="71782" y="1498570"/>
                </a:lnTo>
                <a:lnTo>
                  <a:pt x="117535" y="1507807"/>
                </a:lnTo>
                <a:lnTo>
                  <a:pt x="5933034" y="1507807"/>
                </a:lnTo>
                <a:lnTo>
                  <a:pt x="5978782" y="1498570"/>
                </a:lnTo>
                <a:lnTo>
                  <a:pt x="6016142" y="1473380"/>
                </a:lnTo>
                <a:lnTo>
                  <a:pt x="6041332" y="1436020"/>
                </a:lnTo>
                <a:lnTo>
                  <a:pt x="6050569" y="1390271"/>
                </a:lnTo>
                <a:lnTo>
                  <a:pt x="6050569" y="117535"/>
                </a:lnTo>
                <a:lnTo>
                  <a:pt x="6041332" y="71787"/>
                </a:lnTo>
                <a:lnTo>
                  <a:pt x="6016142" y="34426"/>
                </a:lnTo>
                <a:lnTo>
                  <a:pt x="5978782" y="9237"/>
                </a:lnTo>
                <a:lnTo>
                  <a:pt x="5933034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5680130" y="4790266"/>
            <a:ext cx="5844425" cy="1376221"/>
          </a:xfrm>
          <a:custGeom>
            <a:avLst/>
            <a:gdLst/>
            <a:ahLst/>
            <a:cxnLst/>
            <a:rect l="l" t="t" r="r" b="b"/>
            <a:pathLst>
              <a:path w="10077450" h="2269490">
                <a:moveTo>
                  <a:pt x="9777136" y="0"/>
                </a:moveTo>
                <a:lnTo>
                  <a:pt x="299791" y="0"/>
                </a:lnTo>
                <a:lnTo>
                  <a:pt x="251165" y="3923"/>
                </a:lnTo>
                <a:lnTo>
                  <a:pt x="205036" y="15284"/>
                </a:lnTo>
                <a:lnTo>
                  <a:pt x="162022" y="33463"/>
                </a:lnTo>
                <a:lnTo>
                  <a:pt x="122740" y="57843"/>
                </a:lnTo>
                <a:lnTo>
                  <a:pt x="87808" y="87808"/>
                </a:lnTo>
                <a:lnTo>
                  <a:pt x="57843" y="122740"/>
                </a:lnTo>
                <a:lnTo>
                  <a:pt x="33463" y="162022"/>
                </a:lnTo>
                <a:lnTo>
                  <a:pt x="15284" y="205036"/>
                </a:lnTo>
                <a:lnTo>
                  <a:pt x="3923" y="251165"/>
                </a:lnTo>
                <a:lnTo>
                  <a:pt x="0" y="299791"/>
                </a:lnTo>
                <a:lnTo>
                  <a:pt x="0" y="1969385"/>
                </a:lnTo>
                <a:lnTo>
                  <a:pt x="3923" y="2018011"/>
                </a:lnTo>
                <a:lnTo>
                  <a:pt x="15284" y="2064140"/>
                </a:lnTo>
                <a:lnTo>
                  <a:pt x="33463" y="2107154"/>
                </a:lnTo>
                <a:lnTo>
                  <a:pt x="57843" y="2146436"/>
                </a:lnTo>
                <a:lnTo>
                  <a:pt x="87808" y="2181368"/>
                </a:lnTo>
                <a:lnTo>
                  <a:pt x="122740" y="2211333"/>
                </a:lnTo>
                <a:lnTo>
                  <a:pt x="162022" y="2235713"/>
                </a:lnTo>
                <a:lnTo>
                  <a:pt x="205036" y="2253892"/>
                </a:lnTo>
                <a:lnTo>
                  <a:pt x="251165" y="2265253"/>
                </a:lnTo>
                <a:lnTo>
                  <a:pt x="299791" y="2269176"/>
                </a:lnTo>
                <a:lnTo>
                  <a:pt x="9777136" y="2269176"/>
                </a:lnTo>
                <a:lnTo>
                  <a:pt x="9825766" y="2265253"/>
                </a:lnTo>
                <a:lnTo>
                  <a:pt x="9871896" y="2253892"/>
                </a:lnTo>
                <a:lnTo>
                  <a:pt x="9914910" y="2235713"/>
                </a:lnTo>
                <a:lnTo>
                  <a:pt x="9954192" y="2211333"/>
                </a:lnTo>
                <a:lnTo>
                  <a:pt x="9989123" y="2181368"/>
                </a:lnTo>
                <a:lnTo>
                  <a:pt x="10019087" y="2146436"/>
                </a:lnTo>
                <a:lnTo>
                  <a:pt x="10043467" y="2107154"/>
                </a:lnTo>
                <a:lnTo>
                  <a:pt x="10061645" y="2064140"/>
                </a:lnTo>
                <a:lnTo>
                  <a:pt x="10073005" y="2018011"/>
                </a:lnTo>
                <a:lnTo>
                  <a:pt x="10076928" y="1969385"/>
                </a:lnTo>
                <a:lnTo>
                  <a:pt x="10076928" y="299791"/>
                </a:lnTo>
                <a:lnTo>
                  <a:pt x="10073005" y="251165"/>
                </a:lnTo>
                <a:lnTo>
                  <a:pt x="10061645" y="205036"/>
                </a:lnTo>
                <a:lnTo>
                  <a:pt x="10043467" y="162022"/>
                </a:lnTo>
                <a:lnTo>
                  <a:pt x="10019087" y="122740"/>
                </a:lnTo>
                <a:lnTo>
                  <a:pt x="9989123" y="87808"/>
                </a:lnTo>
                <a:lnTo>
                  <a:pt x="9954192" y="57843"/>
                </a:lnTo>
                <a:lnTo>
                  <a:pt x="9914910" y="33463"/>
                </a:lnTo>
                <a:lnTo>
                  <a:pt x="9871896" y="15284"/>
                </a:lnTo>
                <a:lnTo>
                  <a:pt x="9825766" y="3923"/>
                </a:lnTo>
                <a:lnTo>
                  <a:pt x="9777136" y="0"/>
                </a:lnTo>
                <a:close/>
              </a:path>
            </a:pathLst>
          </a:custGeom>
          <a:solidFill>
            <a:srgbClr val="3CAC62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42331" y="1571833"/>
            <a:ext cx="6286949" cy="242522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 defTabSz="554492">
              <a:spcBef>
                <a:spcPts val="55"/>
              </a:spcBef>
            </a:pP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База</a:t>
            </a:r>
            <a:r>
              <a:rPr sz="1607" b="1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отзывов</a:t>
            </a:r>
            <a:r>
              <a:rPr sz="1607" b="1" kern="0" spc="-6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и</a:t>
            </a:r>
            <a:r>
              <a:rPr sz="1607" b="1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обращений</a:t>
            </a:r>
            <a:r>
              <a:rPr sz="1607" b="1" kern="0" spc="-6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spc="-6" dirty="0">
                <a:solidFill>
                  <a:srgbClr val="003B95"/>
                </a:solidFill>
                <a:latin typeface="Verdana"/>
                <a:cs typeface="Verdana"/>
              </a:rPr>
              <a:t>покупателей</a:t>
            </a:r>
            <a:r>
              <a:rPr sz="1607" b="1" kern="0" spc="-6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1607" b="1" kern="0" spc="-6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spc="-6" dirty="0">
                <a:solidFill>
                  <a:srgbClr val="003B95"/>
                </a:solidFill>
                <a:latin typeface="Verdana"/>
                <a:cs typeface="Verdana"/>
              </a:rPr>
              <a:t>качество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товаров</a:t>
            </a:r>
            <a:r>
              <a:rPr sz="1607" b="1" kern="0" spc="-9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формируется</a:t>
            </a:r>
            <a:r>
              <a:rPr sz="1607" b="1" kern="0" spc="-9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из</a:t>
            </a:r>
            <a:r>
              <a:rPr sz="1607" b="1" kern="0" spc="-8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dirty="0">
                <a:solidFill>
                  <a:srgbClr val="003B95"/>
                </a:solidFill>
                <a:latin typeface="Verdana"/>
                <a:cs typeface="Verdana"/>
              </a:rPr>
              <a:t>нескольких</a:t>
            </a:r>
            <a:r>
              <a:rPr sz="1607" b="1" kern="0" spc="-9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b="1" kern="0" spc="-6" dirty="0">
                <a:solidFill>
                  <a:srgbClr val="003B95"/>
                </a:solidFill>
                <a:latin typeface="Verdana"/>
                <a:cs typeface="Verdana"/>
              </a:rPr>
              <a:t>источников: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90222" indent="-182520" defTabSz="554492">
              <a:lnSpc>
                <a:spcPts val="1916"/>
              </a:lnSpc>
              <a:buFontTx/>
              <a:buChar char="•"/>
              <a:tabLst>
                <a:tab pos="190222" algn="l"/>
              </a:tabLst>
            </a:pPr>
            <a:r>
              <a:rPr sz="1607" kern="0" spc="-12" dirty="0">
                <a:solidFill>
                  <a:srgbClr val="003B95"/>
                </a:solidFill>
                <a:latin typeface="Verdana"/>
                <a:cs typeface="Verdana"/>
              </a:rPr>
              <a:t>Сайт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90222" indent="-182520" defTabSz="554492">
              <a:lnSpc>
                <a:spcPts val="1922"/>
              </a:lnSpc>
              <a:buFontTx/>
              <a:buChar char="•"/>
              <a:tabLst>
                <a:tab pos="190222" algn="l"/>
              </a:tabLst>
            </a:pP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Мобильное</a:t>
            </a:r>
            <a:r>
              <a:rPr sz="1607" kern="0" spc="-97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6" dirty="0">
                <a:solidFill>
                  <a:srgbClr val="003B95"/>
                </a:solidFill>
                <a:latin typeface="Verdana"/>
                <a:cs typeface="Verdana"/>
              </a:rPr>
              <a:t>приложение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90222" indent="-182520" defTabSz="554492">
              <a:lnSpc>
                <a:spcPts val="1922"/>
              </a:lnSpc>
              <a:buFontTx/>
              <a:buChar char="•"/>
              <a:tabLst>
                <a:tab pos="190222" algn="l"/>
              </a:tabLst>
            </a:pP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Электронная</a:t>
            </a:r>
            <a:r>
              <a:rPr sz="1607" kern="0" spc="-1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6" dirty="0">
                <a:solidFill>
                  <a:srgbClr val="003B95"/>
                </a:solidFill>
                <a:latin typeface="Verdana"/>
                <a:cs typeface="Verdana"/>
              </a:rPr>
              <a:t>почта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90222" indent="-182520" defTabSz="554492">
              <a:lnSpc>
                <a:spcPts val="1922"/>
              </a:lnSpc>
              <a:buFontTx/>
              <a:buChar char="•"/>
              <a:tabLst>
                <a:tab pos="190222" algn="l"/>
              </a:tabLst>
            </a:pP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Горячая</a:t>
            </a:r>
            <a:r>
              <a:rPr sz="1607" kern="0" spc="-7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6" dirty="0">
                <a:solidFill>
                  <a:srgbClr val="003B95"/>
                </a:solidFill>
                <a:latin typeface="Verdana"/>
                <a:cs typeface="Verdana"/>
              </a:rPr>
              <a:t>линия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90222" indent="-182520" defTabSz="554492">
              <a:lnSpc>
                <a:spcPts val="1922"/>
              </a:lnSpc>
              <a:buFontTx/>
              <a:buChar char="•"/>
              <a:tabLst>
                <a:tab pos="190222" algn="l"/>
              </a:tabLst>
            </a:pP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Социальные</a:t>
            </a:r>
            <a:r>
              <a:rPr sz="1607" kern="0" spc="-10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12" dirty="0">
                <a:solidFill>
                  <a:srgbClr val="003B95"/>
                </a:solidFill>
                <a:latin typeface="Verdana"/>
                <a:cs typeface="Verdana"/>
              </a:rPr>
              <a:t>сети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90222" indent="-182520" defTabSz="554492">
              <a:lnSpc>
                <a:spcPts val="1922"/>
              </a:lnSpc>
              <a:buFontTx/>
              <a:buChar char="•"/>
              <a:tabLst>
                <a:tab pos="190222" algn="l"/>
              </a:tabLst>
            </a:pPr>
            <a:r>
              <a:rPr sz="1607" kern="0" spc="-12" dirty="0" err="1">
                <a:solidFill>
                  <a:srgbClr val="003B95"/>
                </a:solidFill>
                <a:latin typeface="Verdana"/>
                <a:cs typeface="Verdana"/>
              </a:rPr>
              <a:t>Сайт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90222" indent="-182520" defTabSz="554492">
              <a:lnSpc>
                <a:spcPts val="1907"/>
              </a:lnSpc>
              <a:buFontTx/>
              <a:buChar char="•"/>
              <a:tabLst>
                <a:tab pos="190222" algn="l"/>
              </a:tabLst>
            </a:pPr>
            <a:r>
              <a:rPr sz="1607" kern="0" dirty="0" err="1">
                <a:solidFill>
                  <a:srgbClr val="003B95"/>
                </a:solidFill>
                <a:latin typeface="Verdana"/>
                <a:cs typeface="Verdana"/>
              </a:rPr>
              <a:t>Обращения</a:t>
            </a:r>
            <a:r>
              <a:rPr sz="1607" kern="0" spc="-8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 err="1">
                <a:solidFill>
                  <a:srgbClr val="003B95"/>
                </a:solidFill>
                <a:latin typeface="Verdana"/>
                <a:cs typeface="Verdana"/>
              </a:rPr>
              <a:t>покупателей</a:t>
            </a:r>
            <a:r>
              <a:rPr sz="1607" kern="0" spc="-8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607" kern="0" spc="-8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607" kern="0" spc="-6" dirty="0" err="1">
                <a:solidFill>
                  <a:srgbClr val="003B95"/>
                </a:solidFill>
                <a:latin typeface="Verdana"/>
                <a:cs typeface="Verdana"/>
              </a:rPr>
              <a:t>магазинах</a:t>
            </a:r>
            <a:endParaRPr sz="160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95227" defTabSz="554492">
              <a:lnSpc>
                <a:spcPts val="1655"/>
              </a:lnSpc>
            </a:pP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(</a:t>
            </a:r>
            <a:r>
              <a:rPr sz="1395" kern="0" dirty="0" err="1">
                <a:solidFill>
                  <a:srgbClr val="003B95"/>
                </a:solidFill>
                <a:latin typeface="Verdana"/>
                <a:cs typeface="Verdana"/>
              </a:rPr>
              <a:t>информационная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spc="-6" dirty="0" err="1">
                <a:solidFill>
                  <a:srgbClr val="003B95"/>
                </a:solidFill>
                <a:latin typeface="Verdana"/>
                <a:cs typeface="Verdana"/>
              </a:rPr>
              <a:t>стойка</a:t>
            </a:r>
            <a:r>
              <a:rPr sz="1395" kern="0" spc="-6" dirty="0">
                <a:solidFill>
                  <a:srgbClr val="003B95"/>
                </a:solidFill>
                <a:latin typeface="Verdana"/>
                <a:cs typeface="Verdana"/>
              </a:rPr>
              <a:t>)</a:t>
            </a:r>
            <a:endParaRPr sz="139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99495" y="4538436"/>
            <a:ext cx="3421299" cy="65141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815951" defTabSz="554492">
              <a:lnSpc>
                <a:spcPct val="100400"/>
              </a:lnSpc>
              <a:spcBef>
                <a:spcPts val="58"/>
              </a:spcBef>
            </a:pPr>
            <a:r>
              <a:rPr sz="1395" b="1" kern="0" dirty="0">
                <a:solidFill>
                  <a:srgbClr val="003B95"/>
                </a:solidFill>
                <a:latin typeface="Verdana"/>
                <a:cs typeface="Verdana"/>
              </a:rPr>
              <a:t>Каждый</a:t>
            </a:r>
            <a:r>
              <a:rPr sz="1395" b="1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003B95"/>
                </a:solidFill>
                <a:latin typeface="Verdana"/>
                <a:cs typeface="Verdana"/>
              </a:rPr>
              <a:t>месяц</a:t>
            </a:r>
            <a:r>
              <a:rPr sz="1395" b="1" kern="0" spc="-6" dirty="0">
                <a:solidFill>
                  <a:srgbClr val="003B95"/>
                </a:solidFill>
                <a:latin typeface="Verdana"/>
                <a:cs typeface="Verdana"/>
              </a:rPr>
              <a:t> получаем </a:t>
            </a:r>
            <a:r>
              <a:rPr sz="1395" b="1" kern="0" dirty="0">
                <a:solidFill>
                  <a:srgbClr val="003B95"/>
                </a:solidFill>
                <a:latin typeface="Verdana"/>
                <a:cs typeface="Verdana"/>
              </a:rPr>
              <a:t>около 100 000 </a:t>
            </a:r>
            <a:r>
              <a:rPr sz="1395" b="1" kern="0" spc="-6" dirty="0">
                <a:solidFill>
                  <a:srgbClr val="003B95"/>
                </a:solidFill>
                <a:latin typeface="Verdana"/>
                <a:cs typeface="Verdana"/>
              </a:rPr>
              <a:t>отзывов</a:t>
            </a:r>
            <a:endParaRPr sz="1395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spcBef>
                <a:spcPts val="6"/>
              </a:spcBef>
            </a:pPr>
            <a:r>
              <a:rPr sz="1395" b="1" kern="0" dirty="0">
                <a:solidFill>
                  <a:srgbClr val="003B95"/>
                </a:solidFill>
                <a:latin typeface="Verdana"/>
                <a:cs typeface="Verdana"/>
              </a:rPr>
              <a:t>обращений</a:t>
            </a:r>
            <a:r>
              <a:rPr sz="1395" b="1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003B95"/>
                </a:solidFill>
                <a:latin typeface="Verdana"/>
                <a:cs typeface="Verdana"/>
              </a:rPr>
              <a:t>по</a:t>
            </a:r>
            <a:r>
              <a:rPr sz="1395" b="1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b="1" kern="0" dirty="0">
                <a:solidFill>
                  <a:srgbClr val="003B95"/>
                </a:solidFill>
                <a:latin typeface="Verdana"/>
                <a:cs typeface="Verdana"/>
              </a:rPr>
              <a:t>качеству</a:t>
            </a:r>
            <a:r>
              <a:rPr sz="1395" b="1" kern="0" spc="-6" dirty="0">
                <a:solidFill>
                  <a:srgbClr val="003B95"/>
                </a:solidFill>
                <a:latin typeface="Verdana"/>
                <a:cs typeface="Verdana"/>
              </a:rPr>
              <a:t> товаров.</a:t>
            </a:r>
            <a:endParaRPr sz="1395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64245" y="5592183"/>
            <a:ext cx="4025080" cy="620384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defTabSz="554492">
              <a:spcBef>
                <a:spcPts val="64"/>
              </a:spcBef>
            </a:pPr>
            <a:r>
              <a:rPr sz="1395" b="1" kern="0" dirty="0">
                <a:solidFill>
                  <a:srgbClr val="0A4DAC"/>
                </a:solidFill>
                <a:latin typeface="Verdana"/>
                <a:cs typeface="Verdana"/>
              </a:rPr>
              <a:t>Оценки</a:t>
            </a:r>
            <a:r>
              <a:rPr sz="1395" b="1" kern="0" spc="-15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395" b="1" kern="0" spc="-6" dirty="0">
                <a:solidFill>
                  <a:srgbClr val="0A4DAC"/>
                </a:solidFill>
                <a:latin typeface="Verdana"/>
                <a:cs typeface="Verdana"/>
              </a:rPr>
              <a:t>преобразуются</a:t>
            </a:r>
            <a:endParaRPr sz="1395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1662"/>
              </a:lnSpc>
              <a:spcBef>
                <a:spcPts val="6"/>
              </a:spcBef>
            </a:pPr>
            <a:r>
              <a:rPr sz="1395" b="1" kern="0" dirty="0">
                <a:solidFill>
                  <a:srgbClr val="0A4DAC"/>
                </a:solidFill>
                <a:latin typeface="Verdana"/>
                <a:cs typeface="Verdana"/>
              </a:rPr>
              <a:t>в ПОТРЕБИТЕЛЬСКИЙ ИНДЕКС </a:t>
            </a:r>
            <a:r>
              <a:rPr sz="1395" b="1" kern="0" spc="-6" dirty="0">
                <a:solidFill>
                  <a:srgbClr val="0A4DAC"/>
                </a:solidFill>
                <a:latin typeface="Verdana"/>
                <a:cs typeface="Verdana"/>
              </a:rPr>
              <a:t>ТОВАРА</a:t>
            </a:r>
            <a:endParaRPr sz="1395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1407"/>
              </a:lnSpc>
            </a:pPr>
            <a:r>
              <a:rPr sz="1182" kern="0" dirty="0">
                <a:solidFill>
                  <a:srgbClr val="0A4DAC"/>
                </a:solidFill>
                <a:latin typeface="Verdana"/>
                <a:cs typeface="Verdana"/>
              </a:rPr>
              <a:t>(рассчитывается</a:t>
            </a:r>
            <a:r>
              <a:rPr sz="1182" kern="0" spc="42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182" kern="0" dirty="0">
                <a:solidFill>
                  <a:srgbClr val="0A4DAC"/>
                </a:solidFill>
                <a:latin typeface="Verdana"/>
                <a:cs typeface="Verdana"/>
              </a:rPr>
              <a:t>если</a:t>
            </a:r>
            <a:r>
              <a:rPr sz="1182" kern="0" spc="42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182" kern="0" dirty="0">
                <a:solidFill>
                  <a:srgbClr val="0A4DAC"/>
                </a:solidFill>
                <a:latin typeface="Verdana"/>
                <a:cs typeface="Verdana"/>
              </a:rPr>
              <a:t>по</a:t>
            </a:r>
            <a:r>
              <a:rPr sz="1182" kern="0" spc="42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182" kern="0" dirty="0">
                <a:solidFill>
                  <a:srgbClr val="0A4DAC"/>
                </a:solidFill>
                <a:latin typeface="Verdana"/>
                <a:cs typeface="Verdana"/>
              </a:rPr>
              <a:t>товару</a:t>
            </a:r>
            <a:r>
              <a:rPr sz="1182" kern="0" spc="42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182" kern="0" dirty="0">
                <a:solidFill>
                  <a:srgbClr val="0A4DAC"/>
                </a:solidFill>
                <a:latin typeface="Verdana"/>
                <a:cs typeface="Verdana"/>
              </a:rPr>
              <a:t>более</a:t>
            </a:r>
            <a:r>
              <a:rPr sz="1182" kern="0" spc="42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182" kern="0" dirty="0">
                <a:solidFill>
                  <a:srgbClr val="0A4DAC"/>
                </a:solidFill>
                <a:latin typeface="Verdana"/>
                <a:cs typeface="Verdana"/>
              </a:rPr>
              <a:t>6</a:t>
            </a:r>
            <a:r>
              <a:rPr sz="1182" kern="0" spc="45" dirty="0">
                <a:solidFill>
                  <a:srgbClr val="0A4DAC"/>
                </a:solidFill>
                <a:latin typeface="Verdana"/>
                <a:cs typeface="Verdana"/>
              </a:rPr>
              <a:t> </a:t>
            </a:r>
            <a:r>
              <a:rPr sz="1182" kern="0" spc="-6" dirty="0">
                <a:solidFill>
                  <a:srgbClr val="0A4DAC"/>
                </a:solidFill>
                <a:latin typeface="Verdana"/>
                <a:cs typeface="Verdana"/>
              </a:rPr>
              <a:t>отзывов)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739182" y="5328983"/>
            <a:ext cx="4656201" cy="233628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 defTabSz="554492">
              <a:spcBef>
                <a:spcPts val="76"/>
              </a:spcBef>
            </a:pP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∑</a:t>
            </a:r>
            <a:r>
              <a:rPr sz="1455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ОЦЕНОК</a:t>
            </a:r>
            <a:r>
              <a:rPr sz="1455" kern="0" spc="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«5»</a:t>
            </a:r>
            <a:r>
              <a:rPr sz="1455" kern="0" spc="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–</a:t>
            </a:r>
            <a:r>
              <a:rPr sz="1455" kern="0" spc="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∑ ОЦЕНОК</a:t>
            </a:r>
            <a:r>
              <a:rPr sz="1455" kern="0" spc="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«1»</a:t>
            </a:r>
            <a:r>
              <a:rPr sz="1455" kern="0" spc="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И</a:t>
            </a:r>
            <a:r>
              <a:rPr sz="1455" kern="0" spc="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spc="-15" dirty="0">
                <a:solidFill>
                  <a:srgbClr val="FFFFFF"/>
                </a:solidFill>
                <a:latin typeface="Verdana"/>
                <a:cs typeface="Verdana"/>
              </a:rPr>
              <a:t>«2»</a:t>
            </a:r>
            <a:endParaRPr sz="145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044228" y="5691611"/>
            <a:ext cx="2045463" cy="233628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 defTabSz="554492">
              <a:spcBef>
                <a:spcPts val="76"/>
              </a:spcBef>
            </a:pP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∑</a:t>
            </a:r>
            <a:r>
              <a:rPr sz="1455" kern="0" spc="1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dirty="0">
                <a:solidFill>
                  <a:srgbClr val="FFFFFF"/>
                </a:solidFill>
                <a:latin typeface="Verdana"/>
                <a:cs typeface="Verdana"/>
              </a:rPr>
              <a:t>ОЦЕНОК</a:t>
            </a:r>
            <a:r>
              <a:rPr sz="1455" kern="0" spc="1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kern="0" spc="-6" dirty="0">
                <a:solidFill>
                  <a:srgbClr val="FFFFFF"/>
                </a:solidFill>
                <a:latin typeface="Verdana"/>
                <a:cs typeface="Verdana"/>
              </a:rPr>
              <a:t>«1-</a:t>
            </a:r>
            <a:r>
              <a:rPr sz="1455" kern="0" spc="-21" dirty="0">
                <a:solidFill>
                  <a:srgbClr val="FFFFFF"/>
                </a:solidFill>
                <a:latin typeface="Verdana"/>
                <a:cs typeface="Verdana"/>
              </a:rPr>
              <a:t>5»</a:t>
            </a:r>
            <a:endParaRPr sz="145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6780159" y="5611776"/>
            <a:ext cx="3692831" cy="69468"/>
          </a:xfrm>
          <a:custGeom>
            <a:avLst/>
            <a:gdLst/>
            <a:ahLst/>
            <a:cxnLst/>
            <a:rect l="l" t="t" r="r" b="b"/>
            <a:pathLst>
              <a:path w="7584440">
                <a:moveTo>
                  <a:pt x="0" y="0"/>
                </a:moveTo>
                <a:lnTo>
                  <a:pt x="7583821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099799" y="5457927"/>
            <a:ext cx="688110" cy="233628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 defTabSz="554492">
              <a:spcBef>
                <a:spcPts val="76"/>
              </a:spcBef>
            </a:pPr>
            <a:r>
              <a:rPr sz="1455" kern="0" spc="-12" dirty="0">
                <a:solidFill>
                  <a:srgbClr val="FFFFFF"/>
                </a:solidFill>
                <a:latin typeface="Verdana"/>
                <a:cs typeface="Verdana"/>
              </a:rPr>
              <a:t>ПИТ=</a:t>
            </a:r>
            <a:endParaRPr sz="145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288718" y="4984217"/>
            <a:ext cx="5556482" cy="232461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defTabSz="554492">
              <a:spcBef>
                <a:spcPts val="67"/>
              </a:spcBef>
            </a:pP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ПОКУПАТЕЛЬСКИЙ</a:t>
            </a:r>
            <a:r>
              <a:rPr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ИНДЕКС</a:t>
            </a:r>
            <a:r>
              <a:rPr sz="1455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dirty="0">
                <a:solidFill>
                  <a:srgbClr val="FFFFFF"/>
                </a:solidFill>
                <a:latin typeface="Verdana"/>
                <a:cs typeface="Verdana"/>
              </a:rPr>
              <a:t>ТОВАРА</a:t>
            </a:r>
            <a:r>
              <a:rPr sz="1455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55" b="1" kern="0" spc="-6" dirty="0">
                <a:solidFill>
                  <a:srgbClr val="FFFFFF"/>
                </a:solidFill>
                <a:latin typeface="Verdana"/>
                <a:cs typeface="Verdana"/>
              </a:rPr>
              <a:t>(ПИТ)</a:t>
            </a:r>
            <a:endParaRPr sz="145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7427609" y="1359634"/>
            <a:ext cx="3906480" cy="3288836"/>
            <a:chOff x="12247971" y="2242136"/>
            <a:chExt cx="6442075" cy="5423535"/>
          </a:xfrm>
        </p:grpSpPr>
        <p:sp>
          <p:nvSpPr>
            <p:cNvPr id="13" name="object 13"/>
            <p:cNvSpPr/>
            <p:nvPr/>
          </p:nvSpPr>
          <p:spPr>
            <a:xfrm>
              <a:off x="14673602" y="2242136"/>
              <a:ext cx="474980" cy="5219065"/>
            </a:xfrm>
            <a:custGeom>
              <a:avLst/>
              <a:gdLst/>
              <a:ahLst/>
              <a:cxnLst/>
              <a:rect l="l" t="t" r="r" b="b"/>
              <a:pathLst>
                <a:path w="474980" h="5219065">
                  <a:moveTo>
                    <a:pt x="213250" y="0"/>
                  </a:moveTo>
                  <a:lnTo>
                    <a:pt x="0" y="5218521"/>
                  </a:lnTo>
                  <a:lnTo>
                    <a:pt x="474749" y="5218521"/>
                  </a:lnTo>
                  <a:lnTo>
                    <a:pt x="242715" y="3664"/>
                  </a:lnTo>
                  <a:lnTo>
                    <a:pt x="213250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3796030" y="6996677"/>
              <a:ext cx="2223770" cy="222885"/>
            </a:xfrm>
            <a:custGeom>
              <a:avLst/>
              <a:gdLst/>
              <a:ahLst/>
              <a:cxnLst/>
              <a:rect l="l" t="t" r="r" b="b"/>
              <a:pathLst>
                <a:path w="2223769" h="222884">
                  <a:moveTo>
                    <a:pt x="2223398" y="0"/>
                  </a:moveTo>
                  <a:lnTo>
                    <a:pt x="0" y="0"/>
                  </a:lnTo>
                  <a:lnTo>
                    <a:pt x="0" y="222841"/>
                  </a:lnTo>
                  <a:lnTo>
                    <a:pt x="2223398" y="222841"/>
                  </a:lnTo>
                  <a:lnTo>
                    <a:pt x="2223398" y="0"/>
                  </a:lnTo>
                  <a:close/>
                </a:path>
              </a:pathLst>
            </a:custGeom>
            <a:solidFill>
              <a:srgbClr val="2E6DC8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12356757" y="2740056"/>
              <a:ext cx="4214495" cy="4925695"/>
            </a:xfrm>
            <a:custGeom>
              <a:avLst/>
              <a:gdLst/>
              <a:ahLst/>
              <a:cxnLst/>
              <a:rect l="l" t="t" r="r" b="b"/>
              <a:pathLst>
                <a:path w="4214494" h="4925695">
                  <a:moveTo>
                    <a:pt x="4057548" y="4702302"/>
                  </a:moveTo>
                  <a:lnTo>
                    <a:pt x="3868699" y="4702302"/>
                  </a:lnTo>
                  <a:lnTo>
                    <a:pt x="3868699" y="4479468"/>
                  </a:lnTo>
                  <a:lnTo>
                    <a:pt x="1250416" y="4479468"/>
                  </a:lnTo>
                  <a:lnTo>
                    <a:pt x="1250416" y="4702302"/>
                  </a:lnTo>
                  <a:lnTo>
                    <a:pt x="1044384" y="4702302"/>
                  </a:lnTo>
                  <a:lnTo>
                    <a:pt x="1044384" y="4925136"/>
                  </a:lnTo>
                  <a:lnTo>
                    <a:pt x="4057548" y="4925136"/>
                  </a:lnTo>
                  <a:lnTo>
                    <a:pt x="4057548" y="4702302"/>
                  </a:lnTo>
                  <a:close/>
                </a:path>
                <a:path w="4214494" h="4925695">
                  <a:moveTo>
                    <a:pt x="4214063" y="362686"/>
                  </a:moveTo>
                  <a:lnTo>
                    <a:pt x="1109472" y="20091"/>
                  </a:lnTo>
                  <a:lnTo>
                    <a:pt x="1098524" y="0"/>
                  </a:lnTo>
                  <a:lnTo>
                    <a:pt x="1084884" y="17386"/>
                  </a:lnTo>
                  <a:lnTo>
                    <a:pt x="1023747" y="10629"/>
                  </a:lnTo>
                  <a:lnTo>
                    <a:pt x="1012875" y="109156"/>
                  </a:lnTo>
                  <a:lnTo>
                    <a:pt x="0" y="1400073"/>
                  </a:lnTo>
                  <a:lnTo>
                    <a:pt x="30086" y="1423682"/>
                  </a:lnTo>
                  <a:lnTo>
                    <a:pt x="1056474" y="115544"/>
                  </a:lnTo>
                  <a:lnTo>
                    <a:pt x="1121918" y="122758"/>
                  </a:lnTo>
                  <a:lnTo>
                    <a:pt x="1841639" y="1442224"/>
                  </a:lnTo>
                  <a:lnTo>
                    <a:pt x="1875205" y="1423911"/>
                  </a:lnTo>
                  <a:lnTo>
                    <a:pt x="1168273" y="127876"/>
                  </a:lnTo>
                  <a:lnTo>
                    <a:pt x="4203014" y="462775"/>
                  </a:lnTo>
                  <a:lnTo>
                    <a:pt x="4214063" y="362686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6" name="object 1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3313345" y="2682221"/>
              <a:ext cx="232893" cy="232893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14566692" y="2699181"/>
              <a:ext cx="678180" cy="678180"/>
            </a:xfrm>
            <a:custGeom>
              <a:avLst/>
              <a:gdLst/>
              <a:ahLst/>
              <a:cxnLst/>
              <a:rect l="l" t="t" r="r" b="b"/>
              <a:pathLst>
                <a:path w="678180" h="678179">
                  <a:moveTo>
                    <a:pt x="338900" y="0"/>
                  </a:moveTo>
                  <a:lnTo>
                    <a:pt x="292914" y="3093"/>
                  </a:lnTo>
                  <a:lnTo>
                    <a:pt x="248808" y="12106"/>
                  </a:lnTo>
                  <a:lnTo>
                    <a:pt x="206986" y="26633"/>
                  </a:lnTo>
                  <a:lnTo>
                    <a:pt x="167852" y="46270"/>
                  </a:lnTo>
                  <a:lnTo>
                    <a:pt x="131809" y="70615"/>
                  </a:lnTo>
                  <a:lnTo>
                    <a:pt x="99262" y="99263"/>
                  </a:lnTo>
                  <a:lnTo>
                    <a:pt x="70615" y="131811"/>
                  </a:lnTo>
                  <a:lnTo>
                    <a:pt x="46270" y="167855"/>
                  </a:lnTo>
                  <a:lnTo>
                    <a:pt x="26632" y="206990"/>
                  </a:lnTo>
                  <a:lnTo>
                    <a:pt x="12106" y="248814"/>
                  </a:lnTo>
                  <a:lnTo>
                    <a:pt x="3093" y="292922"/>
                  </a:lnTo>
                  <a:lnTo>
                    <a:pt x="0" y="338911"/>
                  </a:lnTo>
                  <a:lnTo>
                    <a:pt x="3093" y="384899"/>
                  </a:lnTo>
                  <a:lnTo>
                    <a:pt x="12106" y="429007"/>
                  </a:lnTo>
                  <a:lnTo>
                    <a:pt x="26632" y="470831"/>
                  </a:lnTo>
                  <a:lnTo>
                    <a:pt x="46270" y="509967"/>
                  </a:lnTo>
                  <a:lnTo>
                    <a:pt x="70615" y="546010"/>
                  </a:lnTo>
                  <a:lnTo>
                    <a:pt x="99262" y="578558"/>
                  </a:lnTo>
                  <a:lnTo>
                    <a:pt x="131809" y="607206"/>
                  </a:lnTo>
                  <a:lnTo>
                    <a:pt x="167852" y="631551"/>
                  </a:lnTo>
                  <a:lnTo>
                    <a:pt x="206986" y="651189"/>
                  </a:lnTo>
                  <a:lnTo>
                    <a:pt x="248808" y="665716"/>
                  </a:lnTo>
                  <a:lnTo>
                    <a:pt x="292914" y="674728"/>
                  </a:lnTo>
                  <a:lnTo>
                    <a:pt x="338900" y="677822"/>
                  </a:lnTo>
                  <a:lnTo>
                    <a:pt x="384889" y="674728"/>
                  </a:lnTo>
                  <a:lnTo>
                    <a:pt x="428997" y="665716"/>
                  </a:lnTo>
                  <a:lnTo>
                    <a:pt x="470821" y="651189"/>
                  </a:lnTo>
                  <a:lnTo>
                    <a:pt x="509956" y="631551"/>
                  </a:lnTo>
                  <a:lnTo>
                    <a:pt x="546000" y="607206"/>
                  </a:lnTo>
                  <a:lnTo>
                    <a:pt x="578547" y="578558"/>
                  </a:lnTo>
                  <a:lnTo>
                    <a:pt x="607196" y="546010"/>
                  </a:lnTo>
                  <a:lnTo>
                    <a:pt x="631540" y="509967"/>
                  </a:lnTo>
                  <a:lnTo>
                    <a:pt x="651178" y="470831"/>
                  </a:lnTo>
                  <a:lnTo>
                    <a:pt x="665705" y="429007"/>
                  </a:lnTo>
                  <a:lnTo>
                    <a:pt x="674718" y="384899"/>
                  </a:lnTo>
                  <a:lnTo>
                    <a:pt x="677811" y="338911"/>
                  </a:lnTo>
                  <a:lnTo>
                    <a:pt x="674718" y="292922"/>
                  </a:lnTo>
                  <a:lnTo>
                    <a:pt x="665705" y="248814"/>
                  </a:lnTo>
                  <a:lnTo>
                    <a:pt x="651178" y="206990"/>
                  </a:lnTo>
                  <a:lnTo>
                    <a:pt x="631540" y="167855"/>
                  </a:lnTo>
                  <a:lnTo>
                    <a:pt x="607196" y="131811"/>
                  </a:lnTo>
                  <a:lnTo>
                    <a:pt x="578547" y="99263"/>
                  </a:lnTo>
                  <a:lnTo>
                    <a:pt x="546000" y="70615"/>
                  </a:lnTo>
                  <a:lnTo>
                    <a:pt x="509956" y="46270"/>
                  </a:lnTo>
                  <a:lnTo>
                    <a:pt x="470821" y="26633"/>
                  </a:lnTo>
                  <a:lnTo>
                    <a:pt x="428997" y="12106"/>
                  </a:lnTo>
                  <a:lnTo>
                    <a:pt x="384889" y="3093"/>
                  </a:lnTo>
                  <a:lnTo>
                    <a:pt x="338900" y="0"/>
                  </a:lnTo>
                  <a:close/>
                </a:path>
              </a:pathLst>
            </a:custGeom>
            <a:solidFill>
              <a:srgbClr val="003B9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8" name="object 1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5491074" y="3045001"/>
              <a:ext cx="1911357" cy="2741070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15393199" y="4733457"/>
              <a:ext cx="2081530" cy="145415"/>
            </a:xfrm>
            <a:custGeom>
              <a:avLst/>
              <a:gdLst/>
              <a:ahLst/>
              <a:cxnLst/>
              <a:rect l="l" t="t" r="r" b="b"/>
              <a:pathLst>
                <a:path w="2081530" h="145414">
                  <a:moveTo>
                    <a:pt x="2073758" y="0"/>
                  </a:moveTo>
                  <a:lnTo>
                    <a:pt x="7298" y="0"/>
                  </a:lnTo>
                  <a:lnTo>
                    <a:pt x="0" y="7298"/>
                  </a:lnTo>
                  <a:lnTo>
                    <a:pt x="0" y="138027"/>
                  </a:lnTo>
                  <a:lnTo>
                    <a:pt x="7298" y="145325"/>
                  </a:lnTo>
                  <a:lnTo>
                    <a:pt x="2064837" y="145325"/>
                  </a:lnTo>
                  <a:lnTo>
                    <a:pt x="2073758" y="145325"/>
                  </a:lnTo>
                  <a:lnTo>
                    <a:pt x="2081067" y="138027"/>
                  </a:lnTo>
                  <a:lnTo>
                    <a:pt x="2081067" y="7298"/>
                  </a:lnTo>
                  <a:lnTo>
                    <a:pt x="2073758" y="0"/>
                  </a:lnTo>
                  <a:close/>
                </a:path>
              </a:pathLst>
            </a:custGeom>
            <a:solidFill>
              <a:srgbClr val="2E6DC8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0" name="object 2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2345846" y="3366290"/>
              <a:ext cx="1908674" cy="1786507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12247971" y="4100184"/>
              <a:ext cx="2081530" cy="145415"/>
            </a:xfrm>
            <a:custGeom>
              <a:avLst/>
              <a:gdLst/>
              <a:ahLst/>
              <a:cxnLst/>
              <a:rect l="l" t="t" r="r" b="b"/>
              <a:pathLst>
                <a:path w="2081530" h="145414">
                  <a:moveTo>
                    <a:pt x="2073758" y="0"/>
                  </a:moveTo>
                  <a:lnTo>
                    <a:pt x="7298" y="0"/>
                  </a:lnTo>
                  <a:lnTo>
                    <a:pt x="0" y="7298"/>
                  </a:lnTo>
                  <a:lnTo>
                    <a:pt x="0" y="138027"/>
                  </a:lnTo>
                  <a:lnTo>
                    <a:pt x="7298" y="145325"/>
                  </a:lnTo>
                  <a:lnTo>
                    <a:pt x="2064837" y="145325"/>
                  </a:lnTo>
                  <a:lnTo>
                    <a:pt x="2073758" y="145325"/>
                  </a:lnTo>
                  <a:lnTo>
                    <a:pt x="2081067" y="138027"/>
                  </a:lnTo>
                  <a:lnTo>
                    <a:pt x="2081067" y="7298"/>
                  </a:lnTo>
                  <a:lnTo>
                    <a:pt x="2073758" y="0"/>
                  </a:lnTo>
                  <a:close/>
                </a:path>
              </a:pathLst>
            </a:custGeom>
            <a:solidFill>
              <a:srgbClr val="2E6DC8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18168836" y="5337082"/>
              <a:ext cx="378460" cy="395605"/>
            </a:xfrm>
            <a:custGeom>
              <a:avLst/>
              <a:gdLst/>
              <a:ahLst/>
              <a:cxnLst/>
              <a:rect l="l" t="t" r="r" b="b"/>
              <a:pathLst>
                <a:path w="378459" h="395604">
                  <a:moveTo>
                    <a:pt x="239584" y="0"/>
                  </a:moveTo>
                  <a:lnTo>
                    <a:pt x="200595" y="109020"/>
                  </a:lnTo>
                  <a:lnTo>
                    <a:pt x="162642" y="174290"/>
                  </a:lnTo>
                  <a:lnTo>
                    <a:pt x="103264" y="221847"/>
                  </a:lnTo>
                  <a:lnTo>
                    <a:pt x="0" y="277729"/>
                  </a:lnTo>
                  <a:lnTo>
                    <a:pt x="101316" y="395254"/>
                  </a:lnTo>
                  <a:lnTo>
                    <a:pt x="131221" y="325141"/>
                  </a:lnTo>
                  <a:lnTo>
                    <a:pt x="175555" y="292908"/>
                  </a:lnTo>
                  <a:lnTo>
                    <a:pt x="216732" y="260559"/>
                  </a:lnTo>
                  <a:lnTo>
                    <a:pt x="254841" y="228124"/>
                  </a:lnTo>
                  <a:lnTo>
                    <a:pt x="289971" y="195631"/>
                  </a:lnTo>
                  <a:lnTo>
                    <a:pt x="322214" y="163109"/>
                  </a:lnTo>
                  <a:lnTo>
                    <a:pt x="351659" y="130586"/>
                  </a:lnTo>
                  <a:lnTo>
                    <a:pt x="378396" y="98091"/>
                  </a:lnTo>
                  <a:lnTo>
                    <a:pt x="345055" y="79330"/>
                  </a:lnTo>
                  <a:lnTo>
                    <a:pt x="308578" y="56270"/>
                  </a:lnTo>
                  <a:lnTo>
                    <a:pt x="272306" y="29597"/>
                  </a:lnTo>
                  <a:lnTo>
                    <a:pt x="239584" y="0"/>
                  </a:lnTo>
                  <a:close/>
                </a:path>
              </a:pathLst>
            </a:custGeom>
            <a:solidFill>
              <a:srgbClr val="F4D2AD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3" name="object 2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7912900" y="7388361"/>
              <a:ext cx="284940" cy="247957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083864" y="7297588"/>
              <a:ext cx="105567" cy="148392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7350310" y="7414308"/>
              <a:ext cx="413094" cy="219448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7629991" y="7271845"/>
              <a:ext cx="106405" cy="171680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17600258" y="5589370"/>
              <a:ext cx="699135" cy="1749425"/>
            </a:xfrm>
            <a:custGeom>
              <a:avLst/>
              <a:gdLst/>
              <a:ahLst/>
              <a:cxnLst/>
              <a:rect l="l" t="t" r="r" b="b"/>
              <a:pathLst>
                <a:path w="699134" h="1749425">
                  <a:moveTo>
                    <a:pt x="606730" y="0"/>
                  </a:moveTo>
                  <a:lnTo>
                    <a:pt x="174555" y="6963"/>
                  </a:lnTo>
                  <a:lnTo>
                    <a:pt x="67677" y="457392"/>
                  </a:lnTo>
                  <a:lnTo>
                    <a:pt x="14698" y="784396"/>
                  </a:lnTo>
                  <a:lnTo>
                    <a:pt x="0" y="1147149"/>
                  </a:lnTo>
                  <a:lnTo>
                    <a:pt x="7963" y="1704827"/>
                  </a:lnTo>
                  <a:lnTo>
                    <a:pt x="37543" y="1739988"/>
                  </a:lnTo>
                  <a:lnTo>
                    <a:pt x="81408" y="1746857"/>
                  </a:lnTo>
                  <a:lnTo>
                    <a:pt x="129247" y="1749109"/>
                  </a:lnTo>
                  <a:lnTo>
                    <a:pt x="140678" y="1746545"/>
                  </a:lnTo>
                  <a:lnTo>
                    <a:pt x="150299" y="1740402"/>
                  </a:lnTo>
                  <a:lnTo>
                    <a:pt x="157360" y="1731401"/>
                  </a:lnTo>
                  <a:lnTo>
                    <a:pt x="161110" y="1720261"/>
                  </a:lnTo>
                  <a:lnTo>
                    <a:pt x="181572" y="1590407"/>
                  </a:lnTo>
                  <a:lnTo>
                    <a:pt x="197317" y="1493711"/>
                  </a:lnTo>
                  <a:lnTo>
                    <a:pt x="216022" y="1382067"/>
                  </a:lnTo>
                  <a:lnTo>
                    <a:pt x="237149" y="1260152"/>
                  </a:lnTo>
                  <a:lnTo>
                    <a:pt x="248452" y="1196804"/>
                  </a:lnTo>
                  <a:lnTo>
                    <a:pt x="260159" y="1132641"/>
                  </a:lnTo>
                  <a:lnTo>
                    <a:pt x="272202" y="1068247"/>
                  </a:lnTo>
                  <a:lnTo>
                    <a:pt x="284514" y="1004207"/>
                  </a:lnTo>
                  <a:lnTo>
                    <a:pt x="297028" y="941105"/>
                  </a:lnTo>
                  <a:lnTo>
                    <a:pt x="309676" y="879525"/>
                  </a:lnTo>
                  <a:lnTo>
                    <a:pt x="322392" y="820053"/>
                  </a:lnTo>
                  <a:lnTo>
                    <a:pt x="335108" y="763272"/>
                  </a:lnTo>
                  <a:lnTo>
                    <a:pt x="347757" y="709767"/>
                  </a:lnTo>
                  <a:lnTo>
                    <a:pt x="360271" y="660121"/>
                  </a:lnTo>
                  <a:lnTo>
                    <a:pt x="372584" y="614920"/>
                  </a:lnTo>
                  <a:lnTo>
                    <a:pt x="384628" y="574748"/>
                  </a:lnTo>
                  <a:lnTo>
                    <a:pt x="407640" y="511826"/>
                  </a:lnTo>
                  <a:lnTo>
                    <a:pt x="418474" y="490246"/>
                  </a:lnTo>
                  <a:lnTo>
                    <a:pt x="460306" y="967277"/>
                  </a:lnTo>
                  <a:lnTo>
                    <a:pt x="480547" y="1255107"/>
                  </a:lnTo>
                  <a:lnTo>
                    <a:pt x="484863" y="1469672"/>
                  </a:lnTo>
                  <a:lnTo>
                    <a:pt x="478922" y="1726910"/>
                  </a:lnTo>
                  <a:lnTo>
                    <a:pt x="480136" y="1734414"/>
                  </a:lnTo>
                  <a:lnTo>
                    <a:pt x="527549" y="1748842"/>
                  </a:lnTo>
                  <a:lnTo>
                    <a:pt x="547576" y="1748177"/>
                  </a:lnTo>
                  <a:lnTo>
                    <a:pt x="586181" y="1738526"/>
                  </a:lnTo>
                  <a:lnTo>
                    <a:pt x="604425" y="1637509"/>
                  </a:lnTo>
                  <a:lnTo>
                    <a:pt x="616191" y="1535807"/>
                  </a:lnTo>
                  <a:lnTo>
                    <a:pt x="625296" y="1452841"/>
                  </a:lnTo>
                  <a:lnTo>
                    <a:pt x="635037" y="1359459"/>
                  </a:lnTo>
                  <a:lnTo>
                    <a:pt x="645097" y="1257132"/>
                  </a:lnTo>
                  <a:lnTo>
                    <a:pt x="655157" y="1147330"/>
                  </a:lnTo>
                  <a:lnTo>
                    <a:pt x="660087" y="1090086"/>
                  </a:lnTo>
                  <a:lnTo>
                    <a:pt x="664899" y="1031524"/>
                  </a:lnTo>
                  <a:lnTo>
                    <a:pt x="669551" y="971829"/>
                  </a:lnTo>
                  <a:lnTo>
                    <a:pt x="674004" y="911184"/>
                  </a:lnTo>
                  <a:lnTo>
                    <a:pt x="678219" y="849774"/>
                  </a:lnTo>
                  <a:lnTo>
                    <a:pt x="682156" y="787781"/>
                  </a:lnTo>
                  <a:lnTo>
                    <a:pt x="685774" y="725391"/>
                  </a:lnTo>
                  <a:lnTo>
                    <a:pt x="689035" y="662786"/>
                  </a:lnTo>
                  <a:lnTo>
                    <a:pt x="691898" y="600150"/>
                  </a:lnTo>
                  <a:lnTo>
                    <a:pt x="694323" y="537668"/>
                  </a:lnTo>
                  <a:lnTo>
                    <a:pt x="696271" y="475523"/>
                  </a:lnTo>
                  <a:lnTo>
                    <a:pt x="697702" y="413899"/>
                  </a:lnTo>
                  <a:lnTo>
                    <a:pt x="698576" y="352979"/>
                  </a:lnTo>
                  <a:lnTo>
                    <a:pt x="698854" y="292948"/>
                  </a:lnTo>
                  <a:lnTo>
                    <a:pt x="698495" y="233990"/>
                  </a:lnTo>
                  <a:lnTo>
                    <a:pt x="697460" y="176287"/>
                  </a:lnTo>
                  <a:lnTo>
                    <a:pt x="682944" y="134726"/>
                  </a:lnTo>
                  <a:lnTo>
                    <a:pt x="651793" y="75684"/>
                  </a:lnTo>
                  <a:lnTo>
                    <a:pt x="620793" y="22872"/>
                  </a:lnTo>
                  <a:lnTo>
                    <a:pt x="606730" y="0"/>
                  </a:lnTo>
                  <a:close/>
                </a:path>
              </a:pathLst>
            </a:custGeom>
            <a:solidFill>
              <a:srgbClr val="FF7500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17485566" y="4418862"/>
              <a:ext cx="1203960" cy="1278890"/>
            </a:xfrm>
            <a:custGeom>
              <a:avLst/>
              <a:gdLst/>
              <a:ahLst/>
              <a:cxnLst/>
              <a:rect l="l" t="t" r="r" b="b"/>
              <a:pathLst>
                <a:path w="1203959" h="1278889">
                  <a:moveTo>
                    <a:pt x="508657" y="0"/>
                  </a:moveTo>
                  <a:lnTo>
                    <a:pt x="455253" y="1139"/>
                  </a:lnTo>
                  <a:lnTo>
                    <a:pt x="401206" y="5074"/>
                  </a:lnTo>
                  <a:lnTo>
                    <a:pt x="347038" y="12292"/>
                  </a:lnTo>
                  <a:lnTo>
                    <a:pt x="293272" y="23282"/>
                  </a:lnTo>
                  <a:lnTo>
                    <a:pt x="240430" y="38531"/>
                  </a:lnTo>
                  <a:lnTo>
                    <a:pt x="189033" y="58526"/>
                  </a:lnTo>
                  <a:lnTo>
                    <a:pt x="139605" y="83757"/>
                  </a:lnTo>
                  <a:lnTo>
                    <a:pt x="92667" y="114709"/>
                  </a:lnTo>
                  <a:lnTo>
                    <a:pt x="0" y="273699"/>
                  </a:lnTo>
                  <a:lnTo>
                    <a:pt x="5021" y="279071"/>
                  </a:lnTo>
                  <a:lnTo>
                    <a:pt x="9569" y="284868"/>
                  </a:lnTo>
                  <a:lnTo>
                    <a:pt x="27168" y="319158"/>
                  </a:lnTo>
                  <a:lnTo>
                    <a:pt x="53495" y="377338"/>
                  </a:lnTo>
                  <a:lnTo>
                    <a:pt x="69102" y="413156"/>
                  </a:lnTo>
                  <a:lnTo>
                    <a:pt x="85909" y="452890"/>
                  </a:lnTo>
                  <a:lnTo>
                    <a:pt x="103595" y="496115"/>
                  </a:lnTo>
                  <a:lnTo>
                    <a:pt x="121840" y="542405"/>
                  </a:lnTo>
                  <a:lnTo>
                    <a:pt x="140324" y="591335"/>
                  </a:lnTo>
                  <a:lnTo>
                    <a:pt x="158725" y="642477"/>
                  </a:lnTo>
                  <a:lnTo>
                    <a:pt x="176722" y="695406"/>
                  </a:lnTo>
                  <a:lnTo>
                    <a:pt x="193995" y="749697"/>
                  </a:lnTo>
                  <a:lnTo>
                    <a:pt x="210222" y="804923"/>
                  </a:lnTo>
                  <a:lnTo>
                    <a:pt x="225084" y="860659"/>
                  </a:lnTo>
                  <a:lnTo>
                    <a:pt x="238259" y="916478"/>
                  </a:lnTo>
                  <a:lnTo>
                    <a:pt x="249426" y="971954"/>
                  </a:lnTo>
                  <a:lnTo>
                    <a:pt x="258264" y="1026662"/>
                  </a:lnTo>
                  <a:lnTo>
                    <a:pt x="264454" y="1080176"/>
                  </a:lnTo>
                  <a:lnTo>
                    <a:pt x="267673" y="1132070"/>
                  </a:lnTo>
                  <a:lnTo>
                    <a:pt x="267602" y="1181918"/>
                  </a:lnTo>
                  <a:lnTo>
                    <a:pt x="263918" y="1229293"/>
                  </a:lnTo>
                  <a:lnTo>
                    <a:pt x="264747" y="1240753"/>
                  </a:lnTo>
                  <a:lnTo>
                    <a:pt x="319362" y="1265570"/>
                  </a:lnTo>
                  <a:lnTo>
                    <a:pt x="358527" y="1269763"/>
                  </a:lnTo>
                  <a:lnTo>
                    <a:pt x="404388" y="1273735"/>
                  </a:lnTo>
                  <a:lnTo>
                    <a:pt x="455171" y="1276892"/>
                  </a:lnTo>
                  <a:lnTo>
                    <a:pt x="509107" y="1278636"/>
                  </a:lnTo>
                  <a:lnTo>
                    <a:pt x="564425" y="1278372"/>
                  </a:lnTo>
                  <a:lnTo>
                    <a:pt x="619353" y="1275504"/>
                  </a:lnTo>
                  <a:lnTo>
                    <a:pt x="672120" y="1269435"/>
                  </a:lnTo>
                  <a:lnTo>
                    <a:pt x="720957" y="1259571"/>
                  </a:lnTo>
                  <a:lnTo>
                    <a:pt x="764091" y="1245314"/>
                  </a:lnTo>
                  <a:lnTo>
                    <a:pt x="776688" y="1234487"/>
                  </a:lnTo>
                  <a:lnTo>
                    <a:pt x="776323" y="1208367"/>
                  </a:lnTo>
                  <a:lnTo>
                    <a:pt x="776461" y="1183722"/>
                  </a:lnTo>
                  <a:lnTo>
                    <a:pt x="778754" y="1115424"/>
                  </a:lnTo>
                  <a:lnTo>
                    <a:pt x="781415" y="1072592"/>
                  </a:lnTo>
                  <a:lnTo>
                    <a:pt x="785423" y="1024516"/>
                  </a:lnTo>
                  <a:lnTo>
                    <a:pt x="791030" y="971608"/>
                  </a:lnTo>
                  <a:lnTo>
                    <a:pt x="798490" y="914276"/>
                  </a:lnTo>
                  <a:lnTo>
                    <a:pt x="808056" y="852931"/>
                  </a:lnTo>
                  <a:lnTo>
                    <a:pt x="819980" y="787981"/>
                  </a:lnTo>
                  <a:lnTo>
                    <a:pt x="834516" y="719837"/>
                  </a:lnTo>
                  <a:lnTo>
                    <a:pt x="851916" y="648909"/>
                  </a:lnTo>
                  <a:lnTo>
                    <a:pt x="874989" y="566571"/>
                  </a:lnTo>
                  <a:lnTo>
                    <a:pt x="877301" y="557469"/>
                  </a:lnTo>
                  <a:lnTo>
                    <a:pt x="879376" y="548311"/>
                  </a:lnTo>
                  <a:lnTo>
                    <a:pt x="881219" y="539105"/>
                  </a:lnTo>
                  <a:lnTo>
                    <a:pt x="906175" y="595412"/>
                  </a:lnTo>
                  <a:lnTo>
                    <a:pt x="924453" y="649161"/>
                  </a:lnTo>
                  <a:lnTo>
                    <a:pt x="936570" y="700358"/>
                  </a:lnTo>
                  <a:lnTo>
                    <a:pt x="943044" y="749007"/>
                  </a:lnTo>
                  <a:lnTo>
                    <a:pt x="944392" y="795112"/>
                  </a:lnTo>
                  <a:lnTo>
                    <a:pt x="941131" y="838678"/>
                  </a:lnTo>
                  <a:lnTo>
                    <a:pt x="933778" y="879711"/>
                  </a:lnTo>
                  <a:lnTo>
                    <a:pt x="922851" y="918214"/>
                  </a:lnTo>
                  <a:lnTo>
                    <a:pt x="955575" y="947818"/>
                  </a:lnTo>
                  <a:lnTo>
                    <a:pt x="991850" y="974493"/>
                  </a:lnTo>
                  <a:lnTo>
                    <a:pt x="1028331" y="997555"/>
                  </a:lnTo>
                  <a:lnTo>
                    <a:pt x="1061674" y="1016315"/>
                  </a:lnTo>
                  <a:lnTo>
                    <a:pt x="1098891" y="964689"/>
                  </a:lnTo>
                  <a:lnTo>
                    <a:pt x="1129829" y="913317"/>
                  </a:lnTo>
                  <a:lnTo>
                    <a:pt x="1154851" y="862315"/>
                  </a:lnTo>
                  <a:lnTo>
                    <a:pt x="1174320" y="811796"/>
                  </a:lnTo>
                  <a:lnTo>
                    <a:pt x="1188599" y="761875"/>
                  </a:lnTo>
                  <a:lnTo>
                    <a:pt x="1198051" y="712667"/>
                  </a:lnTo>
                  <a:lnTo>
                    <a:pt x="1203038" y="664284"/>
                  </a:lnTo>
                  <a:lnTo>
                    <a:pt x="1203925" y="616843"/>
                  </a:lnTo>
                  <a:lnTo>
                    <a:pt x="1201073" y="570457"/>
                  </a:lnTo>
                  <a:lnTo>
                    <a:pt x="1194845" y="525241"/>
                  </a:lnTo>
                  <a:lnTo>
                    <a:pt x="1185605" y="481308"/>
                  </a:lnTo>
                  <a:lnTo>
                    <a:pt x="1173715" y="438773"/>
                  </a:lnTo>
                  <a:lnTo>
                    <a:pt x="1159539" y="397751"/>
                  </a:lnTo>
                  <a:lnTo>
                    <a:pt x="1143439" y="358355"/>
                  </a:lnTo>
                  <a:lnTo>
                    <a:pt x="1125778" y="320700"/>
                  </a:lnTo>
                  <a:lnTo>
                    <a:pt x="1106920" y="284900"/>
                  </a:lnTo>
                  <a:lnTo>
                    <a:pt x="1087226" y="251070"/>
                  </a:lnTo>
                  <a:lnTo>
                    <a:pt x="1046786" y="189776"/>
                  </a:lnTo>
                  <a:lnTo>
                    <a:pt x="1007361" y="137732"/>
                  </a:lnTo>
                  <a:lnTo>
                    <a:pt x="971855" y="95851"/>
                  </a:lnTo>
                  <a:lnTo>
                    <a:pt x="916791" y="53117"/>
                  </a:lnTo>
                  <a:lnTo>
                    <a:pt x="850089" y="32984"/>
                  </a:lnTo>
                  <a:lnTo>
                    <a:pt x="820625" y="29321"/>
                  </a:lnTo>
                  <a:lnTo>
                    <a:pt x="747760" y="19161"/>
                  </a:lnTo>
                  <a:lnTo>
                    <a:pt x="705402" y="13641"/>
                  </a:lnTo>
                  <a:lnTo>
                    <a:pt x="659791" y="8476"/>
                  </a:lnTo>
                  <a:lnTo>
                    <a:pt x="611448" y="4156"/>
                  </a:lnTo>
                  <a:lnTo>
                    <a:pt x="560896" y="1168"/>
                  </a:lnTo>
                  <a:lnTo>
                    <a:pt x="508657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17875901" y="4193015"/>
              <a:ext cx="255904" cy="298450"/>
            </a:xfrm>
            <a:custGeom>
              <a:avLst/>
              <a:gdLst/>
              <a:ahLst/>
              <a:cxnLst/>
              <a:rect l="l" t="t" r="r" b="b"/>
              <a:pathLst>
                <a:path w="255905" h="298450">
                  <a:moveTo>
                    <a:pt x="71589" y="0"/>
                  </a:moveTo>
                  <a:lnTo>
                    <a:pt x="0" y="239531"/>
                  </a:lnTo>
                  <a:lnTo>
                    <a:pt x="65032" y="281568"/>
                  </a:lnTo>
                  <a:lnTo>
                    <a:pt x="113305" y="298411"/>
                  </a:lnTo>
                  <a:lnTo>
                    <a:pt x="168756" y="292607"/>
                  </a:lnTo>
                  <a:lnTo>
                    <a:pt x="255322" y="266703"/>
                  </a:lnTo>
                  <a:lnTo>
                    <a:pt x="225427" y="4889"/>
                  </a:lnTo>
                  <a:lnTo>
                    <a:pt x="71589" y="0"/>
                  </a:lnTo>
                  <a:close/>
                </a:path>
              </a:pathLst>
            </a:custGeom>
            <a:solidFill>
              <a:srgbClr val="F4D2AD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30" name="object 30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017347" y="5904221"/>
              <a:ext cx="158288" cy="156162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16591611" y="4441259"/>
              <a:ext cx="1302385" cy="582930"/>
            </a:xfrm>
            <a:custGeom>
              <a:avLst/>
              <a:gdLst/>
              <a:ahLst/>
              <a:cxnLst/>
              <a:rect l="l" t="t" r="r" b="b"/>
              <a:pathLst>
                <a:path w="1302384" h="582929">
                  <a:moveTo>
                    <a:pt x="1302207" y="15125"/>
                  </a:moveTo>
                  <a:lnTo>
                    <a:pt x="1277632" y="7048"/>
                  </a:lnTo>
                  <a:lnTo>
                    <a:pt x="1210360" y="0"/>
                  </a:lnTo>
                  <a:lnTo>
                    <a:pt x="1110132" y="19824"/>
                  </a:lnTo>
                  <a:lnTo>
                    <a:pt x="986624" y="92316"/>
                  </a:lnTo>
                  <a:lnTo>
                    <a:pt x="926617" y="142252"/>
                  </a:lnTo>
                  <a:lnTo>
                    <a:pt x="894245" y="168871"/>
                  </a:lnTo>
                  <a:lnTo>
                    <a:pt x="860132" y="195745"/>
                  </a:lnTo>
                  <a:lnTo>
                    <a:pt x="824153" y="222250"/>
                  </a:lnTo>
                  <a:lnTo>
                    <a:pt x="786193" y="247777"/>
                  </a:lnTo>
                  <a:lnTo>
                    <a:pt x="746137" y="271703"/>
                  </a:lnTo>
                  <a:lnTo>
                    <a:pt x="703859" y="293395"/>
                  </a:lnTo>
                  <a:lnTo>
                    <a:pt x="659231" y="312242"/>
                  </a:lnTo>
                  <a:lnTo>
                    <a:pt x="612140" y="327596"/>
                  </a:lnTo>
                  <a:lnTo>
                    <a:pt x="562457" y="338861"/>
                  </a:lnTo>
                  <a:lnTo>
                    <a:pt x="510070" y="345401"/>
                  </a:lnTo>
                  <a:lnTo>
                    <a:pt x="454863" y="346595"/>
                  </a:lnTo>
                  <a:lnTo>
                    <a:pt x="396709" y="341807"/>
                  </a:lnTo>
                  <a:lnTo>
                    <a:pt x="381977" y="377342"/>
                  </a:lnTo>
                  <a:lnTo>
                    <a:pt x="396697" y="341807"/>
                  </a:lnTo>
                  <a:lnTo>
                    <a:pt x="351243" y="333971"/>
                  </a:lnTo>
                  <a:lnTo>
                    <a:pt x="304025" y="322199"/>
                  </a:lnTo>
                  <a:lnTo>
                    <a:pt x="255003" y="306222"/>
                  </a:lnTo>
                  <a:lnTo>
                    <a:pt x="204101" y="285788"/>
                  </a:lnTo>
                  <a:lnTo>
                    <a:pt x="151295" y="260616"/>
                  </a:lnTo>
                  <a:lnTo>
                    <a:pt x="96507" y="230454"/>
                  </a:lnTo>
                  <a:lnTo>
                    <a:pt x="3594" y="182359"/>
                  </a:lnTo>
                  <a:lnTo>
                    <a:pt x="0" y="198716"/>
                  </a:lnTo>
                  <a:lnTo>
                    <a:pt x="7899" y="243789"/>
                  </a:lnTo>
                  <a:lnTo>
                    <a:pt x="55308" y="311556"/>
                  </a:lnTo>
                  <a:lnTo>
                    <a:pt x="170230" y="396011"/>
                  </a:lnTo>
                  <a:lnTo>
                    <a:pt x="183680" y="407009"/>
                  </a:lnTo>
                  <a:lnTo>
                    <a:pt x="222059" y="435203"/>
                  </a:lnTo>
                  <a:lnTo>
                    <a:pt x="282498" y="473379"/>
                  </a:lnTo>
                  <a:lnTo>
                    <a:pt x="362102" y="514350"/>
                  </a:lnTo>
                  <a:lnTo>
                    <a:pt x="427494" y="540778"/>
                  </a:lnTo>
                  <a:lnTo>
                    <a:pt x="499833" y="562610"/>
                  </a:lnTo>
                  <a:lnTo>
                    <a:pt x="538302" y="571030"/>
                  </a:lnTo>
                  <a:lnTo>
                    <a:pt x="578142" y="577380"/>
                  </a:lnTo>
                  <a:lnTo>
                    <a:pt x="619213" y="581367"/>
                  </a:lnTo>
                  <a:lnTo>
                    <a:pt x="661416" y="582663"/>
                  </a:lnTo>
                  <a:lnTo>
                    <a:pt x="704621" y="580961"/>
                  </a:lnTo>
                  <a:lnTo>
                    <a:pt x="748690" y="575983"/>
                  </a:lnTo>
                  <a:lnTo>
                    <a:pt x="793521" y="567397"/>
                  </a:lnTo>
                  <a:lnTo>
                    <a:pt x="838974" y="554901"/>
                  </a:lnTo>
                  <a:lnTo>
                    <a:pt x="884948" y="538187"/>
                  </a:lnTo>
                  <a:lnTo>
                    <a:pt x="931303" y="516966"/>
                  </a:lnTo>
                  <a:lnTo>
                    <a:pt x="977912" y="490918"/>
                  </a:lnTo>
                  <a:lnTo>
                    <a:pt x="1024661" y="459727"/>
                  </a:lnTo>
                  <a:lnTo>
                    <a:pt x="1071422" y="423113"/>
                  </a:lnTo>
                  <a:lnTo>
                    <a:pt x="1118082" y="380746"/>
                  </a:lnTo>
                  <a:lnTo>
                    <a:pt x="1302207" y="15125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16316109" y="3917244"/>
              <a:ext cx="1847214" cy="880110"/>
            </a:xfrm>
            <a:custGeom>
              <a:avLst/>
              <a:gdLst/>
              <a:ahLst/>
              <a:cxnLst/>
              <a:rect l="l" t="t" r="r" b="b"/>
              <a:pathLst>
                <a:path w="1847215" h="880110">
                  <a:moveTo>
                    <a:pt x="396087" y="777887"/>
                  </a:moveTo>
                  <a:lnTo>
                    <a:pt x="363016" y="726478"/>
                  </a:lnTo>
                  <a:lnTo>
                    <a:pt x="304533" y="681367"/>
                  </a:lnTo>
                  <a:lnTo>
                    <a:pt x="254292" y="657580"/>
                  </a:lnTo>
                  <a:lnTo>
                    <a:pt x="195973" y="630796"/>
                  </a:lnTo>
                  <a:lnTo>
                    <a:pt x="160959" y="615454"/>
                  </a:lnTo>
                  <a:lnTo>
                    <a:pt x="160197" y="623125"/>
                  </a:lnTo>
                  <a:lnTo>
                    <a:pt x="161721" y="641184"/>
                  </a:lnTo>
                  <a:lnTo>
                    <a:pt x="171221" y="662165"/>
                  </a:lnTo>
                  <a:lnTo>
                    <a:pt x="194411" y="678624"/>
                  </a:lnTo>
                  <a:lnTo>
                    <a:pt x="218998" y="688022"/>
                  </a:lnTo>
                  <a:lnTo>
                    <a:pt x="231368" y="695286"/>
                  </a:lnTo>
                  <a:lnTo>
                    <a:pt x="235305" y="704126"/>
                  </a:lnTo>
                  <a:lnTo>
                    <a:pt x="234556" y="718273"/>
                  </a:lnTo>
                  <a:lnTo>
                    <a:pt x="48818" y="796467"/>
                  </a:lnTo>
                  <a:lnTo>
                    <a:pt x="35483" y="803948"/>
                  </a:lnTo>
                  <a:lnTo>
                    <a:pt x="24282" y="814070"/>
                  </a:lnTo>
                  <a:lnTo>
                    <a:pt x="15582" y="826427"/>
                  </a:lnTo>
                  <a:lnTo>
                    <a:pt x="9791" y="840562"/>
                  </a:lnTo>
                  <a:lnTo>
                    <a:pt x="0" y="875093"/>
                  </a:lnTo>
                  <a:lnTo>
                    <a:pt x="50406" y="878903"/>
                  </a:lnTo>
                  <a:lnTo>
                    <a:pt x="100647" y="880084"/>
                  </a:lnTo>
                  <a:lnTo>
                    <a:pt x="150710" y="878509"/>
                  </a:lnTo>
                  <a:lnTo>
                    <a:pt x="200583" y="874039"/>
                  </a:lnTo>
                  <a:lnTo>
                    <a:pt x="250253" y="866546"/>
                  </a:lnTo>
                  <a:lnTo>
                    <a:pt x="299732" y="855903"/>
                  </a:lnTo>
                  <a:lnTo>
                    <a:pt x="348983" y="841959"/>
                  </a:lnTo>
                  <a:lnTo>
                    <a:pt x="396087" y="777887"/>
                  </a:lnTo>
                  <a:close/>
                </a:path>
                <a:path w="1847215" h="880110">
                  <a:moveTo>
                    <a:pt x="1847202" y="126250"/>
                  </a:moveTo>
                  <a:lnTo>
                    <a:pt x="1789887" y="58483"/>
                  </a:lnTo>
                  <a:lnTo>
                    <a:pt x="1697570" y="28282"/>
                  </a:lnTo>
                  <a:lnTo>
                    <a:pt x="1608251" y="7645"/>
                  </a:lnTo>
                  <a:lnTo>
                    <a:pt x="1568196" y="0"/>
                  </a:lnTo>
                  <a:lnTo>
                    <a:pt x="1530654" y="91770"/>
                  </a:lnTo>
                  <a:lnTo>
                    <a:pt x="1511058" y="147167"/>
                  </a:lnTo>
                  <a:lnTo>
                    <a:pt x="1503045" y="188518"/>
                  </a:lnTo>
                  <a:lnTo>
                    <a:pt x="1497749" y="283616"/>
                  </a:lnTo>
                  <a:lnTo>
                    <a:pt x="1498003" y="321792"/>
                  </a:lnTo>
                  <a:lnTo>
                    <a:pt x="1506982" y="352196"/>
                  </a:lnTo>
                  <a:lnTo>
                    <a:pt x="1530667" y="374332"/>
                  </a:lnTo>
                  <a:lnTo>
                    <a:pt x="1575054" y="387718"/>
                  </a:lnTo>
                  <a:lnTo>
                    <a:pt x="1620913" y="389966"/>
                  </a:lnTo>
                  <a:lnTo>
                    <a:pt x="1663522" y="382524"/>
                  </a:lnTo>
                  <a:lnTo>
                    <a:pt x="1702295" y="366191"/>
                  </a:lnTo>
                  <a:lnTo>
                    <a:pt x="1736648" y="341807"/>
                  </a:lnTo>
                  <a:lnTo>
                    <a:pt x="1766011" y="310184"/>
                  </a:lnTo>
                  <a:lnTo>
                    <a:pt x="1789798" y="272122"/>
                  </a:lnTo>
                  <a:lnTo>
                    <a:pt x="1827237" y="198285"/>
                  </a:lnTo>
                  <a:lnTo>
                    <a:pt x="1844840" y="155206"/>
                  </a:lnTo>
                  <a:lnTo>
                    <a:pt x="1847202" y="126250"/>
                  </a:lnTo>
                  <a:close/>
                </a:path>
              </a:pathLst>
            </a:custGeom>
            <a:solidFill>
              <a:srgbClr val="F4D2AD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17796010" y="3747218"/>
              <a:ext cx="481330" cy="469900"/>
            </a:xfrm>
            <a:custGeom>
              <a:avLst/>
              <a:gdLst/>
              <a:ahLst/>
              <a:cxnLst/>
              <a:rect l="l" t="t" r="r" b="b"/>
              <a:pathLst>
                <a:path w="481330" h="469900">
                  <a:moveTo>
                    <a:pt x="59485" y="0"/>
                  </a:moveTo>
                  <a:lnTo>
                    <a:pt x="56511" y="1382"/>
                  </a:lnTo>
                  <a:lnTo>
                    <a:pt x="25134" y="26878"/>
                  </a:lnTo>
                  <a:lnTo>
                    <a:pt x="4726" y="65877"/>
                  </a:lnTo>
                  <a:lnTo>
                    <a:pt x="0" y="111599"/>
                  </a:lnTo>
                  <a:lnTo>
                    <a:pt x="15664" y="157262"/>
                  </a:lnTo>
                  <a:lnTo>
                    <a:pt x="44558" y="184974"/>
                  </a:lnTo>
                  <a:lnTo>
                    <a:pt x="88446" y="208360"/>
                  </a:lnTo>
                  <a:lnTo>
                    <a:pt x="140062" y="227787"/>
                  </a:lnTo>
                  <a:lnTo>
                    <a:pt x="192138" y="243626"/>
                  </a:lnTo>
                  <a:lnTo>
                    <a:pt x="237407" y="256244"/>
                  </a:lnTo>
                  <a:lnTo>
                    <a:pt x="268599" y="266012"/>
                  </a:lnTo>
                  <a:lnTo>
                    <a:pt x="292982" y="277388"/>
                  </a:lnTo>
                  <a:lnTo>
                    <a:pt x="300707" y="293526"/>
                  </a:lnTo>
                  <a:lnTo>
                    <a:pt x="291412" y="325537"/>
                  </a:lnTo>
                  <a:lnTo>
                    <a:pt x="264735" y="384532"/>
                  </a:lnTo>
                  <a:lnTo>
                    <a:pt x="276651" y="384323"/>
                  </a:lnTo>
                  <a:lnTo>
                    <a:pt x="305750" y="383810"/>
                  </a:lnTo>
                  <a:lnTo>
                    <a:pt x="308724" y="386867"/>
                  </a:lnTo>
                  <a:lnTo>
                    <a:pt x="305289" y="464980"/>
                  </a:lnTo>
                  <a:lnTo>
                    <a:pt x="307362" y="467692"/>
                  </a:lnTo>
                  <a:lnTo>
                    <a:pt x="310388" y="468415"/>
                  </a:lnTo>
                  <a:lnTo>
                    <a:pt x="322317" y="469900"/>
                  </a:lnTo>
                  <a:lnTo>
                    <a:pt x="341312" y="468487"/>
                  </a:lnTo>
                  <a:lnTo>
                    <a:pt x="367511" y="461378"/>
                  </a:lnTo>
                  <a:lnTo>
                    <a:pt x="401056" y="445777"/>
                  </a:lnTo>
                  <a:lnTo>
                    <a:pt x="425917" y="426982"/>
                  </a:lnTo>
                  <a:lnTo>
                    <a:pt x="432308" y="411423"/>
                  </a:lnTo>
                  <a:lnTo>
                    <a:pt x="427188" y="399431"/>
                  </a:lnTo>
                  <a:lnTo>
                    <a:pt x="417516" y="391338"/>
                  </a:lnTo>
                  <a:lnTo>
                    <a:pt x="413862" y="389056"/>
                  </a:lnTo>
                  <a:lnTo>
                    <a:pt x="413747" y="383862"/>
                  </a:lnTo>
                  <a:lnTo>
                    <a:pt x="417024" y="381087"/>
                  </a:lnTo>
                  <a:lnTo>
                    <a:pt x="458259" y="335905"/>
                  </a:lnTo>
                  <a:lnTo>
                    <a:pt x="479267" y="291620"/>
                  </a:lnTo>
                  <a:lnTo>
                    <a:pt x="481260" y="253385"/>
                  </a:lnTo>
                  <a:lnTo>
                    <a:pt x="465452" y="226349"/>
                  </a:lnTo>
                  <a:lnTo>
                    <a:pt x="452402" y="218118"/>
                  </a:lnTo>
                  <a:lnTo>
                    <a:pt x="441229" y="215147"/>
                  </a:lnTo>
                  <a:lnTo>
                    <a:pt x="431958" y="216021"/>
                  </a:lnTo>
                  <a:lnTo>
                    <a:pt x="424615" y="219323"/>
                  </a:lnTo>
                  <a:lnTo>
                    <a:pt x="420312" y="222045"/>
                  </a:lnTo>
                  <a:lnTo>
                    <a:pt x="414825" y="219333"/>
                  </a:lnTo>
                  <a:lnTo>
                    <a:pt x="406920" y="176915"/>
                  </a:lnTo>
                  <a:lnTo>
                    <a:pt x="358261" y="118652"/>
                  </a:lnTo>
                  <a:lnTo>
                    <a:pt x="319268" y="97254"/>
                  </a:lnTo>
                  <a:lnTo>
                    <a:pt x="271810" y="80705"/>
                  </a:lnTo>
                  <a:lnTo>
                    <a:pt x="216873" y="68772"/>
                  </a:lnTo>
                  <a:lnTo>
                    <a:pt x="164286" y="56058"/>
                  </a:lnTo>
                  <a:lnTo>
                    <a:pt x="127915" y="40085"/>
                  </a:lnTo>
                  <a:lnTo>
                    <a:pt x="104789" y="23314"/>
                  </a:lnTo>
                  <a:lnTo>
                    <a:pt x="91934" y="8209"/>
                  </a:lnTo>
                  <a:lnTo>
                    <a:pt x="88961" y="3622"/>
                  </a:lnTo>
                  <a:lnTo>
                    <a:pt x="81914" y="4889"/>
                  </a:lnTo>
                  <a:lnTo>
                    <a:pt x="78982" y="15727"/>
                  </a:lnTo>
                  <a:lnTo>
                    <a:pt x="71474" y="16627"/>
                  </a:lnTo>
                  <a:lnTo>
                    <a:pt x="63045" y="1340"/>
                  </a:lnTo>
                  <a:lnTo>
                    <a:pt x="59485" y="0"/>
                  </a:lnTo>
                  <a:close/>
                </a:path>
              </a:pathLst>
            </a:custGeom>
            <a:solidFill>
              <a:srgbClr val="925F37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34" name="object 34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8069997" y="4059779"/>
              <a:ext cx="84138" cy="130006"/>
            </a:xfrm>
            <a:prstGeom prst="rect">
              <a:avLst/>
            </a:prstGeom>
          </p:spPr>
        </p:pic>
      </p:grpSp>
      <p:sp>
        <p:nvSpPr>
          <p:cNvPr id="35" name="object 35"/>
          <p:cNvSpPr txBox="1">
            <a:spLocks noGrp="1"/>
          </p:cNvSpPr>
          <p:nvPr>
            <p:ph type="title"/>
          </p:nvPr>
        </p:nvSpPr>
        <p:spPr>
          <a:xfrm>
            <a:off x="619931" y="364194"/>
            <a:ext cx="9429319" cy="660515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>
              <a:lnSpc>
                <a:spcPct val="100400"/>
              </a:lnSpc>
              <a:spcBef>
                <a:spcPts val="58"/>
              </a:spcBef>
            </a:pPr>
            <a:r>
              <a:rPr lang="ru-RU" sz="2122" dirty="0"/>
              <a:t>ОЦЕНКА</a:t>
            </a:r>
            <a:r>
              <a:rPr lang="ru-RU" sz="2122" spc="-6" dirty="0"/>
              <a:t> </a:t>
            </a:r>
            <a:r>
              <a:rPr lang="ru-RU" sz="2122" dirty="0"/>
              <a:t>УДОВЛЕТВОРЕННОСТИ </a:t>
            </a:r>
            <a:r>
              <a:rPr lang="ru-RU" sz="2122" spc="-6" dirty="0"/>
              <a:t>ПОКУПАТЕЛЕЙ:</a:t>
            </a:r>
            <a:br>
              <a:rPr lang="ru-RU" sz="2122" spc="-6" dirty="0"/>
            </a:br>
            <a:r>
              <a:rPr lang="ru-RU" sz="2122" b="0" dirty="0"/>
              <a:t>мониторинг</a:t>
            </a:r>
            <a:r>
              <a:rPr lang="ru-RU" sz="2122" b="0" spc="-30" dirty="0"/>
              <a:t> </a:t>
            </a:r>
            <a:r>
              <a:rPr lang="ru-RU" sz="2122" b="0" dirty="0"/>
              <a:t>отзывов,</a:t>
            </a:r>
            <a:r>
              <a:rPr lang="ru-RU" sz="2122" b="0" spc="-24" dirty="0"/>
              <a:t> </a:t>
            </a:r>
            <a:r>
              <a:rPr lang="ru-RU" sz="2122" b="0" spc="-6" dirty="0"/>
              <a:t>жалоб, </a:t>
            </a:r>
            <a:r>
              <a:rPr lang="ru-RU" sz="2122" b="0" dirty="0"/>
              <a:t>оценок</a:t>
            </a:r>
            <a:r>
              <a:rPr lang="ru-RU" sz="2122" b="0" spc="3" dirty="0"/>
              <a:t> </a:t>
            </a:r>
            <a:r>
              <a:rPr lang="ru-RU" sz="2122" b="0" spc="-6" dirty="0"/>
              <a:t>покупателей</a:t>
            </a:r>
            <a:endParaRPr lang="ru-RU" sz="2122" b="0" dirty="0"/>
          </a:p>
        </p:txBody>
      </p:sp>
      <p:grpSp>
        <p:nvGrpSpPr>
          <p:cNvPr id="36" name="object 36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37" name="object 37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9" name="object 39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4" name="object 8"/>
          <p:cNvSpPr txBox="1"/>
          <p:nvPr/>
        </p:nvSpPr>
        <p:spPr>
          <a:xfrm>
            <a:off x="10583135" y="5505526"/>
            <a:ext cx="1011587" cy="233628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 defTabSz="554492">
              <a:spcBef>
                <a:spcPts val="76"/>
              </a:spcBef>
            </a:pPr>
            <a:r>
              <a:rPr lang="ru-RU" sz="1455" kern="0" dirty="0">
                <a:solidFill>
                  <a:srgbClr val="FFFFFF"/>
                </a:solidFill>
                <a:latin typeface="Verdana"/>
                <a:cs typeface="Verdana"/>
              </a:rPr>
              <a:t>Х100%</a:t>
            </a:r>
            <a:endParaRPr sz="145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270776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232618" y="2216939"/>
            <a:ext cx="5256902" cy="1758205"/>
          </a:xfrm>
          <a:custGeom>
            <a:avLst/>
            <a:gdLst/>
            <a:ahLst/>
            <a:cxnLst/>
            <a:rect l="l" t="t" r="r" b="b"/>
            <a:pathLst>
              <a:path w="8669020" h="2899409">
                <a:moveTo>
                  <a:pt x="8399136" y="0"/>
                </a:moveTo>
                <a:lnTo>
                  <a:pt x="269321" y="0"/>
                </a:lnTo>
                <a:lnTo>
                  <a:pt x="220911" y="4339"/>
                </a:lnTo>
                <a:lnTo>
                  <a:pt x="175347" y="16849"/>
                </a:lnTo>
                <a:lnTo>
                  <a:pt x="133391" y="36771"/>
                </a:lnTo>
                <a:lnTo>
                  <a:pt x="95802" y="63342"/>
                </a:lnTo>
                <a:lnTo>
                  <a:pt x="63342" y="95802"/>
                </a:lnTo>
                <a:lnTo>
                  <a:pt x="36771" y="133391"/>
                </a:lnTo>
                <a:lnTo>
                  <a:pt x="16849" y="175347"/>
                </a:lnTo>
                <a:lnTo>
                  <a:pt x="4339" y="220911"/>
                </a:lnTo>
                <a:lnTo>
                  <a:pt x="0" y="269321"/>
                </a:lnTo>
                <a:lnTo>
                  <a:pt x="0" y="2629762"/>
                </a:lnTo>
                <a:lnTo>
                  <a:pt x="4339" y="2678172"/>
                </a:lnTo>
                <a:lnTo>
                  <a:pt x="16849" y="2723736"/>
                </a:lnTo>
                <a:lnTo>
                  <a:pt x="36771" y="2765693"/>
                </a:lnTo>
                <a:lnTo>
                  <a:pt x="63342" y="2803282"/>
                </a:lnTo>
                <a:lnTo>
                  <a:pt x="95802" y="2835742"/>
                </a:lnTo>
                <a:lnTo>
                  <a:pt x="133391" y="2862313"/>
                </a:lnTo>
                <a:lnTo>
                  <a:pt x="175347" y="2882234"/>
                </a:lnTo>
                <a:lnTo>
                  <a:pt x="220911" y="2894745"/>
                </a:lnTo>
                <a:lnTo>
                  <a:pt x="269321" y="2899084"/>
                </a:lnTo>
                <a:lnTo>
                  <a:pt x="8399136" y="2899084"/>
                </a:lnTo>
                <a:lnTo>
                  <a:pt x="8447546" y="2894745"/>
                </a:lnTo>
                <a:lnTo>
                  <a:pt x="8493110" y="2882234"/>
                </a:lnTo>
                <a:lnTo>
                  <a:pt x="8535067" y="2862313"/>
                </a:lnTo>
                <a:lnTo>
                  <a:pt x="8572656" y="2835742"/>
                </a:lnTo>
                <a:lnTo>
                  <a:pt x="8605116" y="2803282"/>
                </a:lnTo>
                <a:lnTo>
                  <a:pt x="8631687" y="2765693"/>
                </a:lnTo>
                <a:lnTo>
                  <a:pt x="8651608" y="2723736"/>
                </a:lnTo>
                <a:lnTo>
                  <a:pt x="8664119" y="2678172"/>
                </a:lnTo>
                <a:lnTo>
                  <a:pt x="8668458" y="2629762"/>
                </a:lnTo>
                <a:lnTo>
                  <a:pt x="8668458" y="269321"/>
                </a:lnTo>
                <a:lnTo>
                  <a:pt x="8664119" y="220911"/>
                </a:lnTo>
                <a:lnTo>
                  <a:pt x="8651608" y="175347"/>
                </a:lnTo>
                <a:lnTo>
                  <a:pt x="8631687" y="133391"/>
                </a:lnTo>
                <a:lnTo>
                  <a:pt x="8605116" y="95802"/>
                </a:lnTo>
                <a:lnTo>
                  <a:pt x="8572656" y="63342"/>
                </a:lnTo>
                <a:lnTo>
                  <a:pt x="8535067" y="36771"/>
                </a:lnTo>
                <a:lnTo>
                  <a:pt x="8493110" y="16849"/>
                </a:lnTo>
                <a:lnTo>
                  <a:pt x="8447546" y="4339"/>
                </a:lnTo>
                <a:lnTo>
                  <a:pt x="8399136" y="0"/>
                </a:lnTo>
                <a:close/>
              </a:path>
            </a:pathLst>
          </a:custGeom>
          <a:solidFill>
            <a:srgbClr val="ECECE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073648" y="2320233"/>
            <a:ext cx="2267260" cy="21231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  <a:tabLst>
                <a:tab pos="2182542" algn="l"/>
              </a:tabLst>
            </a:pP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Всего</a:t>
            </a:r>
            <a:r>
              <a:rPr sz="1334" kern="0" spc="-5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получено</a:t>
            </a:r>
            <a:r>
              <a:rPr sz="1334" kern="0" spc="-5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spc="-6" dirty="0">
                <a:solidFill>
                  <a:srgbClr val="18418F"/>
                </a:solidFill>
                <a:latin typeface="Verdana"/>
                <a:cs typeface="Verdana"/>
              </a:rPr>
              <a:t>оценок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sz="1334" kern="0" spc="-30" dirty="0">
                <a:solidFill>
                  <a:srgbClr val="18418F"/>
                </a:solidFill>
                <a:latin typeface="Verdana"/>
                <a:cs typeface="Verdana"/>
              </a:rPr>
              <a:t>-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037780" y="2320233"/>
            <a:ext cx="230269" cy="21231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</a:pPr>
            <a:r>
              <a:rPr sz="1334" kern="0" spc="-15" dirty="0">
                <a:solidFill>
                  <a:srgbClr val="18418F"/>
                </a:solidFill>
                <a:latin typeface="Verdana"/>
                <a:cs typeface="Verdana"/>
              </a:rPr>
              <a:t>12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073648" y="2522747"/>
            <a:ext cx="3202197" cy="21231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  <a:tabLst>
                <a:tab pos="3086673" algn="l"/>
              </a:tabLst>
            </a:pP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Позитивных</a:t>
            </a:r>
            <a:r>
              <a:rPr sz="1334" kern="0" spc="-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оценок</a:t>
            </a:r>
            <a:r>
              <a:rPr sz="1334" kern="0" spc="-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(«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5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»)</a:t>
            </a:r>
            <a:r>
              <a:rPr sz="1334" kern="0" spc="-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spc="-30" dirty="0">
                <a:solidFill>
                  <a:srgbClr val="18418F"/>
                </a:solidFill>
                <a:latin typeface="Verdana"/>
                <a:cs typeface="Verdana"/>
              </a:rPr>
              <a:t>-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sz="1334" kern="0" spc="-30" dirty="0">
                <a:solidFill>
                  <a:srgbClr val="18418F"/>
                </a:solidFill>
                <a:latin typeface="Verdana"/>
                <a:cs typeface="Verdana"/>
              </a:rPr>
              <a:t>6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73648" y="2725260"/>
            <a:ext cx="3214519" cy="21231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  <a:tabLst>
                <a:tab pos="2903768" algn="l"/>
                <a:tab pos="3099380" algn="l"/>
              </a:tabLst>
            </a:pP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Негативных</a:t>
            </a:r>
            <a:r>
              <a:rPr sz="1334" kern="0" spc="-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оценок</a:t>
            </a:r>
            <a:r>
              <a:rPr sz="1334" kern="0" spc="-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(«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1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»и</a:t>
            </a:r>
            <a:r>
              <a:rPr sz="1334" kern="0" spc="-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spc="-12" dirty="0">
                <a:solidFill>
                  <a:srgbClr val="18418F"/>
                </a:solidFill>
                <a:latin typeface="Verdana"/>
                <a:cs typeface="Verdana"/>
              </a:rPr>
              <a:t>«</a:t>
            </a:r>
            <a:r>
              <a:rPr sz="1334" b="1" kern="0" spc="-12" dirty="0">
                <a:solidFill>
                  <a:srgbClr val="18418F"/>
                </a:solidFill>
                <a:latin typeface="Verdana"/>
                <a:cs typeface="Verdana"/>
              </a:rPr>
              <a:t>2</a:t>
            </a:r>
            <a:r>
              <a:rPr sz="1334" kern="0" spc="-12" dirty="0">
                <a:solidFill>
                  <a:srgbClr val="18418F"/>
                </a:solidFill>
                <a:latin typeface="Verdana"/>
                <a:cs typeface="Verdana"/>
              </a:rPr>
              <a:t>»)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sz="1334" kern="0" spc="-30" dirty="0">
                <a:solidFill>
                  <a:srgbClr val="18418F"/>
                </a:solidFill>
                <a:latin typeface="Verdana"/>
                <a:cs typeface="Verdana"/>
              </a:rPr>
              <a:t>-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	</a:t>
            </a:r>
            <a:r>
              <a:rPr sz="1334" kern="0" spc="-30" dirty="0">
                <a:solidFill>
                  <a:srgbClr val="18418F"/>
                </a:solidFill>
                <a:latin typeface="Verdana"/>
                <a:cs typeface="Verdana"/>
              </a:rPr>
              <a:t>3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074492" y="3148282"/>
            <a:ext cx="2830225" cy="694166"/>
          </a:xfrm>
          <a:prstGeom prst="rect">
            <a:avLst/>
          </a:prstGeom>
        </p:spPr>
        <p:txBody>
          <a:bodyPr vert="horz" wrap="square" lIns="0" tIns="24259" rIns="0" bIns="0" rtlCol="0">
            <a:spAutoFit/>
          </a:bodyPr>
          <a:lstStyle/>
          <a:p>
            <a:pPr marL="7701" defTabSz="554492">
              <a:spcBef>
                <a:spcPts val="191"/>
              </a:spcBef>
            </a:pP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ПИТ</a:t>
            </a:r>
            <a:r>
              <a:rPr sz="1334" b="1" kern="0" spc="-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=</a:t>
            </a:r>
            <a:r>
              <a:rPr sz="1334" b="1" kern="0" spc="-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(</a:t>
            </a:r>
            <a:r>
              <a:rPr sz="1334" b="1" kern="0" dirty="0">
                <a:solidFill>
                  <a:srgbClr val="3CAC62"/>
                </a:solidFill>
                <a:latin typeface="Verdana"/>
                <a:cs typeface="Verdana"/>
              </a:rPr>
              <a:t>6</a:t>
            </a:r>
            <a:r>
              <a:rPr sz="1334" b="1" kern="0" spc="-33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–</a:t>
            </a:r>
            <a:r>
              <a:rPr sz="1334" b="1" kern="0" spc="-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b="1" kern="0" dirty="0">
                <a:solidFill>
                  <a:srgbClr val="E20613"/>
                </a:solidFill>
                <a:latin typeface="Verdana"/>
                <a:cs typeface="Verdana"/>
              </a:rPr>
              <a:t>3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)/</a:t>
            </a:r>
            <a:r>
              <a:rPr sz="1334" b="1" kern="0" dirty="0">
                <a:solidFill>
                  <a:srgbClr val="FF7500"/>
                </a:solidFill>
                <a:latin typeface="Verdana"/>
                <a:cs typeface="Verdana"/>
              </a:rPr>
              <a:t>12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*100</a:t>
            </a:r>
            <a:r>
              <a:rPr sz="1334" b="1" kern="0" spc="-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b="1" kern="0" spc="-12" dirty="0">
                <a:solidFill>
                  <a:srgbClr val="18418F"/>
                </a:solidFill>
                <a:latin typeface="Verdana"/>
                <a:cs typeface="Verdana"/>
              </a:rPr>
              <a:t>=25%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6173" defTabSz="554492">
              <a:spcBef>
                <a:spcPts val="79"/>
              </a:spcBef>
            </a:pPr>
            <a:r>
              <a:rPr sz="819" kern="0" dirty="0">
                <a:solidFill>
                  <a:srgbClr val="3CAC62"/>
                </a:solidFill>
                <a:latin typeface="Verdana"/>
                <a:cs typeface="Verdana"/>
              </a:rPr>
              <a:t>число</a:t>
            </a:r>
            <a:r>
              <a:rPr sz="819" kern="0" spc="-36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819" kern="0" dirty="0">
                <a:solidFill>
                  <a:srgbClr val="3CAC62"/>
                </a:solidFill>
                <a:latin typeface="Verdana"/>
                <a:cs typeface="Verdana"/>
              </a:rPr>
              <a:t>оценок</a:t>
            </a:r>
            <a:r>
              <a:rPr sz="819" kern="0" spc="-36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819" kern="0" spc="-15" dirty="0">
                <a:solidFill>
                  <a:srgbClr val="3CAC62"/>
                </a:solidFill>
                <a:latin typeface="Verdana"/>
                <a:cs typeface="Verdana"/>
              </a:rPr>
              <a:t>«5»</a:t>
            </a:r>
            <a:endParaRPr sz="819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6173" marR="1506755" defTabSz="554492">
              <a:lnSpc>
                <a:spcPct val="124000"/>
              </a:lnSpc>
              <a:spcBef>
                <a:spcPts val="79"/>
              </a:spcBef>
            </a:pPr>
            <a:r>
              <a:rPr sz="819" kern="0" dirty="0">
                <a:solidFill>
                  <a:srgbClr val="E20613"/>
                </a:solidFill>
                <a:latin typeface="Verdana"/>
                <a:cs typeface="Verdana"/>
              </a:rPr>
              <a:t>число</a:t>
            </a:r>
            <a:r>
              <a:rPr sz="819" kern="0" spc="-30" dirty="0">
                <a:solidFill>
                  <a:srgbClr val="E20613"/>
                </a:solidFill>
                <a:latin typeface="Verdana"/>
                <a:cs typeface="Verdana"/>
              </a:rPr>
              <a:t> </a:t>
            </a:r>
            <a:r>
              <a:rPr sz="819" kern="0" dirty="0">
                <a:solidFill>
                  <a:srgbClr val="E20613"/>
                </a:solidFill>
                <a:latin typeface="Verdana"/>
                <a:cs typeface="Verdana"/>
              </a:rPr>
              <a:t>оценок</a:t>
            </a:r>
            <a:r>
              <a:rPr sz="819" kern="0" spc="-27" dirty="0">
                <a:solidFill>
                  <a:srgbClr val="E20613"/>
                </a:solidFill>
                <a:latin typeface="Verdana"/>
                <a:cs typeface="Verdana"/>
              </a:rPr>
              <a:t> </a:t>
            </a:r>
            <a:r>
              <a:rPr sz="819" kern="0" dirty="0">
                <a:solidFill>
                  <a:srgbClr val="E20613"/>
                </a:solidFill>
                <a:latin typeface="Verdana"/>
                <a:cs typeface="Verdana"/>
              </a:rPr>
              <a:t>«1»</a:t>
            </a:r>
            <a:r>
              <a:rPr sz="819" kern="0" spc="-30" dirty="0">
                <a:solidFill>
                  <a:srgbClr val="E20613"/>
                </a:solidFill>
                <a:latin typeface="Verdana"/>
                <a:cs typeface="Verdana"/>
              </a:rPr>
              <a:t> </a:t>
            </a:r>
            <a:r>
              <a:rPr sz="819" kern="0" dirty="0">
                <a:solidFill>
                  <a:srgbClr val="E20613"/>
                </a:solidFill>
                <a:latin typeface="Verdana"/>
                <a:cs typeface="Verdana"/>
              </a:rPr>
              <a:t>и</a:t>
            </a:r>
            <a:r>
              <a:rPr sz="819" kern="0" spc="-27" dirty="0">
                <a:solidFill>
                  <a:srgbClr val="E20613"/>
                </a:solidFill>
                <a:latin typeface="Verdana"/>
                <a:cs typeface="Verdana"/>
              </a:rPr>
              <a:t> </a:t>
            </a:r>
            <a:r>
              <a:rPr sz="819" kern="0" spc="-15" dirty="0">
                <a:solidFill>
                  <a:srgbClr val="E20613"/>
                </a:solidFill>
                <a:latin typeface="Verdana"/>
                <a:cs typeface="Verdana"/>
              </a:rPr>
              <a:t>«2» </a:t>
            </a:r>
            <a:r>
              <a:rPr sz="819" kern="0" dirty="0">
                <a:solidFill>
                  <a:srgbClr val="FF7500"/>
                </a:solidFill>
                <a:latin typeface="Verdana"/>
                <a:cs typeface="Verdana"/>
              </a:rPr>
              <a:t>число</a:t>
            </a:r>
            <a:r>
              <a:rPr sz="819" kern="0" spc="-27" dirty="0">
                <a:solidFill>
                  <a:srgbClr val="FF7500"/>
                </a:solidFill>
                <a:latin typeface="Verdana"/>
                <a:cs typeface="Verdana"/>
              </a:rPr>
              <a:t> </a:t>
            </a:r>
            <a:r>
              <a:rPr sz="819" kern="0" dirty="0">
                <a:solidFill>
                  <a:srgbClr val="FF7500"/>
                </a:solidFill>
                <a:latin typeface="Verdana"/>
                <a:cs typeface="Verdana"/>
              </a:rPr>
              <a:t>всех</a:t>
            </a:r>
            <a:r>
              <a:rPr sz="819" kern="0" spc="-24" dirty="0">
                <a:solidFill>
                  <a:srgbClr val="FF7500"/>
                </a:solidFill>
                <a:latin typeface="Verdana"/>
                <a:cs typeface="Verdana"/>
              </a:rPr>
              <a:t> </a:t>
            </a:r>
            <a:r>
              <a:rPr sz="819" kern="0" spc="-6" dirty="0">
                <a:solidFill>
                  <a:srgbClr val="FF7500"/>
                </a:solidFill>
                <a:latin typeface="Verdana"/>
                <a:cs typeface="Verdana"/>
              </a:rPr>
              <a:t>оценок</a:t>
            </a:r>
            <a:endParaRPr sz="819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661967" y="5087882"/>
            <a:ext cx="4857590" cy="1097048"/>
            <a:chOff x="1090927" y="8390294"/>
            <a:chExt cx="8010525" cy="1809114"/>
          </a:xfrm>
        </p:grpSpPr>
        <p:sp>
          <p:nvSpPr>
            <p:cNvPr id="9" name="object 9"/>
            <p:cNvSpPr/>
            <p:nvPr/>
          </p:nvSpPr>
          <p:spPr>
            <a:xfrm>
              <a:off x="1090927" y="8390294"/>
              <a:ext cx="8010525" cy="1809114"/>
            </a:xfrm>
            <a:custGeom>
              <a:avLst/>
              <a:gdLst/>
              <a:ahLst/>
              <a:cxnLst/>
              <a:rect l="l" t="t" r="r" b="b"/>
              <a:pathLst>
                <a:path w="8010525" h="1809115">
                  <a:moveTo>
                    <a:pt x="7590397" y="0"/>
                  </a:moveTo>
                  <a:lnTo>
                    <a:pt x="419526" y="0"/>
                  </a:lnTo>
                  <a:lnTo>
                    <a:pt x="370600" y="2822"/>
                  </a:lnTo>
                  <a:lnTo>
                    <a:pt x="323332" y="11079"/>
                  </a:lnTo>
                  <a:lnTo>
                    <a:pt x="278036" y="24457"/>
                  </a:lnTo>
                  <a:lnTo>
                    <a:pt x="235028" y="42640"/>
                  </a:lnTo>
                  <a:lnTo>
                    <a:pt x="194622" y="65314"/>
                  </a:lnTo>
                  <a:lnTo>
                    <a:pt x="157133" y="92164"/>
                  </a:lnTo>
                  <a:lnTo>
                    <a:pt x="122875" y="122875"/>
                  </a:lnTo>
                  <a:lnTo>
                    <a:pt x="92164" y="157133"/>
                  </a:lnTo>
                  <a:lnTo>
                    <a:pt x="65314" y="194622"/>
                  </a:lnTo>
                  <a:lnTo>
                    <a:pt x="42640" y="235028"/>
                  </a:lnTo>
                  <a:lnTo>
                    <a:pt x="24457" y="278036"/>
                  </a:lnTo>
                  <a:lnTo>
                    <a:pt x="11079" y="323332"/>
                  </a:lnTo>
                  <a:lnTo>
                    <a:pt x="2822" y="370600"/>
                  </a:lnTo>
                  <a:lnTo>
                    <a:pt x="0" y="419526"/>
                  </a:lnTo>
                  <a:lnTo>
                    <a:pt x="0" y="1389161"/>
                  </a:lnTo>
                  <a:lnTo>
                    <a:pt x="2822" y="1438087"/>
                  </a:lnTo>
                  <a:lnTo>
                    <a:pt x="11079" y="1485355"/>
                  </a:lnTo>
                  <a:lnTo>
                    <a:pt x="24457" y="1530651"/>
                  </a:lnTo>
                  <a:lnTo>
                    <a:pt x="42640" y="1573659"/>
                  </a:lnTo>
                  <a:lnTo>
                    <a:pt x="65314" y="1614065"/>
                  </a:lnTo>
                  <a:lnTo>
                    <a:pt x="92164" y="1651555"/>
                  </a:lnTo>
                  <a:lnTo>
                    <a:pt x="122875" y="1685812"/>
                  </a:lnTo>
                  <a:lnTo>
                    <a:pt x="157133" y="1716523"/>
                  </a:lnTo>
                  <a:lnTo>
                    <a:pt x="194622" y="1743373"/>
                  </a:lnTo>
                  <a:lnTo>
                    <a:pt x="235028" y="1766047"/>
                  </a:lnTo>
                  <a:lnTo>
                    <a:pt x="278036" y="1784230"/>
                  </a:lnTo>
                  <a:lnTo>
                    <a:pt x="323332" y="1797608"/>
                  </a:lnTo>
                  <a:lnTo>
                    <a:pt x="370600" y="1805865"/>
                  </a:lnTo>
                  <a:lnTo>
                    <a:pt x="419526" y="1808688"/>
                  </a:lnTo>
                  <a:lnTo>
                    <a:pt x="7590397" y="1808688"/>
                  </a:lnTo>
                  <a:lnTo>
                    <a:pt x="7639323" y="1805865"/>
                  </a:lnTo>
                  <a:lnTo>
                    <a:pt x="7686591" y="1797608"/>
                  </a:lnTo>
                  <a:lnTo>
                    <a:pt x="7731886" y="1784230"/>
                  </a:lnTo>
                  <a:lnTo>
                    <a:pt x="7774895" y="1766047"/>
                  </a:lnTo>
                  <a:lnTo>
                    <a:pt x="7815301" y="1743373"/>
                  </a:lnTo>
                  <a:lnTo>
                    <a:pt x="7852790" y="1716523"/>
                  </a:lnTo>
                  <a:lnTo>
                    <a:pt x="7887047" y="1685812"/>
                  </a:lnTo>
                  <a:lnTo>
                    <a:pt x="7917758" y="1651555"/>
                  </a:lnTo>
                  <a:lnTo>
                    <a:pt x="7944608" y="1614065"/>
                  </a:lnTo>
                  <a:lnTo>
                    <a:pt x="7967282" y="1573659"/>
                  </a:lnTo>
                  <a:lnTo>
                    <a:pt x="7985466" y="1530651"/>
                  </a:lnTo>
                  <a:lnTo>
                    <a:pt x="7998843" y="1485355"/>
                  </a:lnTo>
                  <a:lnTo>
                    <a:pt x="8007101" y="1438087"/>
                  </a:lnTo>
                  <a:lnTo>
                    <a:pt x="8009923" y="1389161"/>
                  </a:lnTo>
                  <a:lnTo>
                    <a:pt x="8009923" y="419526"/>
                  </a:lnTo>
                  <a:lnTo>
                    <a:pt x="8007101" y="370600"/>
                  </a:lnTo>
                  <a:lnTo>
                    <a:pt x="7998843" y="323332"/>
                  </a:lnTo>
                  <a:lnTo>
                    <a:pt x="7985466" y="278036"/>
                  </a:lnTo>
                  <a:lnTo>
                    <a:pt x="7967282" y="235028"/>
                  </a:lnTo>
                  <a:lnTo>
                    <a:pt x="7944608" y="194622"/>
                  </a:lnTo>
                  <a:lnTo>
                    <a:pt x="7917758" y="157133"/>
                  </a:lnTo>
                  <a:lnTo>
                    <a:pt x="7887047" y="122875"/>
                  </a:lnTo>
                  <a:lnTo>
                    <a:pt x="7852790" y="92164"/>
                  </a:lnTo>
                  <a:lnTo>
                    <a:pt x="7815301" y="65314"/>
                  </a:lnTo>
                  <a:lnTo>
                    <a:pt x="7774895" y="42640"/>
                  </a:lnTo>
                  <a:lnTo>
                    <a:pt x="7731886" y="24457"/>
                  </a:lnTo>
                  <a:lnTo>
                    <a:pt x="7686591" y="11079"/>
                  </a:lnTo>
                  <a:lnTo>
                    <a:pt x="7639323" y="2822"/>
                  </a:lnTo>
                  <a:lnTo>
                    <a:pt x="7590397" y="0"/>
                  </a:lnTo>
                  <a:close/>
                </a:path>
              </a:pathLst>
            </a:custGeom>
            <a:solidFill>
              <a:srgbClr val="ECECE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118127" y="9294636"/>
              <a:ext cx="7955915" cy="0"/>
            </a:xfrm>
            <a:custGeom>
              <a:avLst/>
              <a:gdLst/>
              <a:ahLst/>
              <a:cxnLst/>
              <a:rect l="l" t="t" r="r" b="b"/>
              <a:pathLst>
                <a:path w="7955915">
                  <a:moveTo>
                    <a:pt x="0" y="0"/>
                  </a:moveTo>
                  <a:lnTo>
                    <a:pt x="7955527" y="0"/>
                  </a:lnTo>
                </a:path>
              </a:pathLst>
            </a:custGeom>
            <a:ln w="12722">
              <a:solidFill>
                <a:srgbClr val="003B95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2232290" y="8400489"/>
              <a:ext cx="0" cy="1798955"/>
            </a:xfrm>
            <a:custGeom>
              <a:avLst/>
              <a:gdLst/>
              <a:ahLst/>
              <a:cxnLst/>
              <a:rect l="l" t="t" r="r" b="b"/>
              <a:pathLst>
                <a:path h="1798954">
                  <a:moveTo>
                    <a:pt x="0" y="0"/>
                  </a:moveTo>
                  <a:lnTo>
                    <a:pt x="0" y="1798489"/>
                  </a:lnTo>
                </a:path>
              </a:pathLst>
            </a:custGeom>
            <a:ln w="16460">
              <a:solidFill>
                <a:srgbClr val="003B95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7939093" y="8400489"/>
              <a:ext cx="0" cy="1798955"/>
            </a:xfrm>
            <a:custGeom>
              <a:avLst/>
              <a:gdLst/>
              <a:ahLst/>
              <a:cxnLst/>
              <a:rect l="l" t="t" r="r" b="b"/>
              <a:pathLst>
                <a:path h="1798954">
                  <a:moveTo>
                    <a:pt x="0" y="0"/>
                  </a:moveTo>
                  <a:lnTo>
                    <a:pt x="0" y="1798489"/>
                  </a:lnTo>
                </a:path>
              </a:pathLst>
            </a:custGeom>
            <a:ln w="16460">
              <a:solidFill>
                <a:srgbClr val="003B95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6797732" y="8400489"/>
              <a:ext cx="0" cy="1798955"/>
            </a:xfrm>
            <a:custGeom>
              <a:avLst/>
              <a:gdLst/>
              <a:ahLst/>
              <a:cxnLst/>
              <a:rect l="l" t="t" r="r" b="b"/>
              <a:pathLst>
                <a:path h="1798954">
                  <a:moveTo>
                    <a:pt x="0" y="0"/>
                  </a:moveTo>
                  <a:lnTo>
                    <a:pt x="0" y="1798489"/>
                  </a:lnTo>
                </a:path>
              </a:pathLst>
            </a:custGeom>
            <a:ln w="16460">
              <a:solidFill>
                <a:srgbClr val="003B95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5656372" y="8400489"/>
              <a:ext cx="0" cy="1798955"/>
            </a:xfrm>
            <a:custGeom>
              <a:avLst/>
              <a:gdLst/>
              <a:ahLst/>
              <a:cxnLst/>
              <a:rect l="l" t="t" r="r" b="b"/>
              <a:pathLst>
                <a:path h="1798954">
                  <a:moveTo>
                    <a:pt x="0" y="0"/>
                  </a:moveTo>
                  <a:lnTo>
                    <a:pt x="0" y="1798489"/>
                  </a:lnTo>
                </a:path>
              </a:pathLst>
            </a:custGeom>
            <a:ln w="16460">
              <a:solidFill>
                <a:srgbClr val="003B95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4515011" y="8400489"/>
              <a:ext cx="0" cy="1798955"/>
            </a:xfrm>
            <a:custGeom>
              <a:avLst/>
              <a:gdLst/>
              <a:ahLst/>
              <a:cxnLst/>
              <a:rect l="l" t="t" r="r" b="b"/>
              <a:pathLst>
                <a:path h="1798954">
                  <a:moveTo>
                    <a:pt x="0" y="0"/>
                  </a:moveTo>
                  <a:lnTo>
                    <a:pt x="0" y="1798489"/>
                  </a:lnTo>
                </a:path>
              </a:pathLst>
            </a:custGeom>
            <a:ln w="16460">
              <a:solidFill>
                <a:srgbClr val="003B95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3373651" y="8400489"/>
              <a:ext cx="0" cy="1798955"/>
            </a:xfrm>
            <a:custGeom>
              <a:avLst/>
              <a:gdLst/>
              <a:ahLst/>
              <a:cxnLst/>
              <a:rect l="l" t="t" r="r" b="b"/>
              <a:pathLst>
                <a:path h="1798954">
                  <a:moveTo>
                    <a:pt x="0" y="0"/>
                  </a:moveTo>
                  <a:lnTo>
                    <a:pt x="0" y="1798489"/>
                  </a:lnTo>
                </a:path>
              </a:pathLst>
            </a:custGeom>
            <a:ln w="16460">
              <a:solidFill>
                <a:srgbClr val="003B95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4878193" y="5339471"/>
            <a:ext cx="488647" cy="198658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defTabSz="554492">
              <a:spcBef>
                <a:spcPts val="58"/>
              </a:spcBef>
            </a:pPr>
            <a:r>
              <a:rPr sz="1243" b="1" kern="0" spc="-6" dirty="0">
                <a:solidFill>
                  <a:srgbClr val="003B95"/>
                </a:solidFill>
                <a:latin typeface="Verdana"/>
                <a:cs typeface="Verdana"/>
              </a:rPr>
              <a:t>Сент.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04912" y="5339472"/>
            <a:ext cx="2634612" cy="585816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31190" defTabSz="554492">
              <a:spcBef>
                <a:spcPts val="58"/>
              </a:spcBef>
              <a:tabLst>
                <a:tab pos="722765" algn="l"/>
                <a:tab pos="1414340" algn="l"/>
                <a:tab pos="2105915" algn="l"/>
              </a:tabLst>
            </a:pPr>
            <a:r>
              <a:rPr sz="1243" b="1" kern="0" spc="-6" dirty="0">
                <a:solidFill>
                  <a:srgbClr val="003B95"/>
                </a:solidFill>
                <a:latin typeface="Verdana"/>
                <a:cs typeface="Verdana"/>
              </a:rPr>
              <a:t>Месяц</a:t>
            </a:r>
            <a:r>
              <a:rPr sz="1243" b="1" kern="0" dirty="0">
                <a:solidFill>
                  <a:srgbClr val="003B95"/>
                </a:solidFill>
                <a:latin typeface="Verdana"/>
                <a:cs typeface="Verdana"/>
              </a:rPr>
              <a:t>	</a:t>
            </a:r>
            <a:r>
              <a:rPr sz="1243" b="1" kern="0" spc="-12" dirty="0">
                <a:solidFill>
                  <a:srgbClr val="003B95"/>
                </a:solidFill>
                <a:latin typeface="Verdana"/>
                <a:cs typeface="Verdana"/>
              </a:rPr>
              <a:t>Апр.</a:t>
            </a:r>
            <a:r>
              <a:rPr sz="1243" b="1" kern="0" dirty="0">
                <a:solidFill>
                  <a:srgbClr val="003B95"/>
                </a:solidFill>
                <a:latin typeface="Verdana"/>
                <a:cs typeface="Verdana"/>
              </a:rPr>
              <a:t>	</a:t>
            </a:r>
            <a:r>
              <a:rPr sz="1243" b="1" kern="0" spc="-15" dirty="0">
                <a:solidFill>
                  <a:srgbClr val="003B95"/>
                </a:solidFill>
                <a:latin typeface="Verdana"/>
                <a:cs typeface="Verdana"/>
              </a:rPr>
              <a:t>Май</a:t>
            </a:r>
            <a:r>
              <a:rPr sz="1243" b="1" kern="0" dirty="0">
                <a:solidFill>
                  <a:srgbClr val="003B95"/>
                </a:solidFill>
                <a:latin typeface="Verdana"/>
                <a:cs typeface="Verdana"/>
              </a:rPr>
              <a:t>	</a:t>
            </a:r>
            <a:r>
              <a:rPr sz="1243" b="1" kern="0" spc="-12" dirty="0">
                <a:solidFill>
                  <a:srgbClr val="003B95"/>
                </a:solidFill>
                <a:latin typeface="Verdana"/>
                <a:cs typeface="Verdana"/>
              </a:rPr>
              <a:t>Июнь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3104" defTabSz="554492">
              <a:spcBef>
                <a:spcPts val="1182"/>
              </a:spcBef>
              <a:tabLst>
                <a:tab pos="1405869" algn="l"/>
                <a:tab pos="2097444" algn="l"/>
              </a:tabLst>
            </a:pPr>
            <a:r>
              <a:rPr sz="1243" b="1" kern="0" dirty="0">
                <a:solidFill>
                  <a:srgbClr val="003B95"/>
                </a:solidFill>
                <a:latin typeface="Verdana"/>
                <a:cs typeface="Verdana"/>
              </a:rPr>
              <a:t>ПИТ</a:t>
            </a:r>
            <a:r>
              <a:rPr sz="1243" b="1" kern="0" spc="-24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003B95"/>
                </a:solidFill>
                <a:latin typeface="Verdana"/>
                <a:cs typeface="Verdana"/>
              </a:rPr>
              <a:t>%</a:t>
            </a:r>
            <a:r>
              <a:rPr sz="1243" b="1" kern="0" spc="5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43" b="1" kern="0" spc="-15" dirty="0">
                <a:solidFill>
                  <a:srgbClr val="3CAC62"/>
                </a:solidFill>
                <a:latin typeface="Verdana"/>
                <a:cs typeface="Verdana"/>
              </a:rPr>
              <a:t>70%</a:t>
            </a:r>
            <a:r>
              <a:rPr sz="1243" b="1" kern="0" dirty="0">
                <a:solidFill>
                  <a:srgbClr val="3CAC62"/>
                </a:solidFill>
                <a:latin typeface="Verdana"/>
                <a:cs typeface="Verdana"/>
              </a:rPr>
              <a:t>	</a:t>
            </a:r>
            <a:r>
              <a:rPr sz="2274" b="1" kern="0" baseline="-6666" dirty="0">
                <a:solidFill>
                  <a:srgbClr val="E20613"/>
                </a:solidFill>
                <a:latin typeface="Verdana"/>
                <a:cs typeface="Verdana"/>
              </a:rPr>
              <a:t>25 </a:t>
            </a:r>
            <a:r>
              <a:rPr sz="2274" b="1" kern="0" spc="-45" baseline="-6666" dirty="0">
                <a:solidFill>
                  <a:srgbClr val="E20613"/>
                </a:solidFill>
                <a:latin typeface="Verdana"/>
                <a:cs typeface="Verdana"/>
              </a:rPr>
              <a:t>%</a:t>
            </a:r>
            <a:r>
              <a:rPr sz="2274" b="1" kern="0" baseline="-6666" dirty="0">
                <a:solidFill>
                  <a:srgbClr val="E20613"/>
                </a:solidFill>
                <a:latin typeface="Verdana"/>
                <a:cs typeface="Verdana"/>
              </a:rPr>
              <a:t>	</a:t>
            </a:r>
            <a:r>
              <a:rPr sz="1243" b="1" kern="0" dirty="0">
                <a:solidFill>
                  <a:srgbClr val="3CAC62"/>
                </a:solidFill>
                <a:latin typeface="Verdana"/>
                <a:cs typeface="Verdana"/>
              </a:rPr>
              <a:t>86</a:t>
            </a:r>
            <a:r>
              <a:rPr sz="1243" b="1" kern="0" spc="-21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243" b="1" kern="0" spc="-30" dirty="0">
                <a:solidFill>
                  <a:srgbClr val="3CAC62"/>
                </a:solidFill>
                <a:latin typeface="Verdana"/>
                <a:cs typeface="Verdana"/>
              </a:rPr>
              <a:t>%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495113" y="5339471"/>
            <a:ext cx="519067" cy="198658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defTabSz="554492">
              <a:spcBef>
                <a:spcPts val="58"/>
              </a:spcBef>
            </a:pPr>
            <a:r>
              <a:rPr sz="1243" b="1" kern="0" spc="-12" dirty="0">
                <a:solidFill>
                  <a:srgbClr val="003B95"/>
                </a:solidFill>
                <a:latin typeface="Verdana"/>
                <a:cs typeface="Verdana"/>
              </a:rPr>
              <a:t>Июль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186674" y="5339471"/>
            <a:ext cx="385065" cy="198658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defTabSz="554492">
              <a:spcBef>
                <a:spcPts val="58"/>
              </a:spcBef>
            </a:pPr>
            <a:r>
              <a:rPr sz="1243" b="1" kern="0" spc="-12" dirty="0">
                <a:solidFill>
                  <a:srgbClr val="003B95"/>
                </a:solidFill>
                <a:latin typeface="Verdana"/>
                <a:cs typeface="Verdana"/>
              </a:rPr>
              <a:t>Авг.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486764" y="5713923"/>
            <a:ext cx="1876805" cy="198658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defTabSz="554492">
              <a:spcBef>
                <a:spcPts val="58"/>
              </a:spcBef>
              <a:tabLst>
                <a:tab pos="698891" algn="l"/>
                <a:tab pos="1390466" algn="l"/>
              </a:tabLst>
            </a:pPr>
            <a:r>
              <a:rPr sz="1243" b="1" kern="0" dirty="0">
                <a:solidFill>
                  <a:srgbClr val="3CAC62"/>
                </a:solidFill>
                <a:latin typeface="Verdana"/>
                <a:cs typeface="Verdana"/>
              </a:rPr>
              <a:t>77</a:t>
            </a:r>
            <a:r>
              <a:rPr sz="1243" b="1" kern="0" spc="-21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243" b="1" kern="0" spc="-30" dirty="0">
                <a:solidFill>
                  <a:srgbClr val="3CAC62"/>
                </a:solidFill>
                <a:latin typeface="Verdana"/>
                <a:cs typeface="Verdana"/>
              </a:rPr>
              <a:t>%</a:t>
            </a:r>
            <a:r>
              <a:rPr sz="1243" b="1" kern="0" dirty="0">
                <a:solidFill>
                  <a:srgbClr val="3CAC62"/>
                </a:solidFill>
                <a:latin typeface="Verdana"/>
                <a:cs typeface="Verdana"/>
              </a:rPr>
              <a:t>	80</a:t>
            </a:r>
            <a:r>
              <a:rPr sz="1243" b="1" kern="0" spc="-21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243" b="1" kern="0" spc="-30" dirty="0">
                <a:solidFill>
                  <a:srgbClr val="3CAC62"/>
                </a:solidFill>
                <a:latin typeface="Verdana"/>
                <a:cs typeface="Verdana"/>
              </a:rPr>
              <a:t>%</a:t>
            </a:r>
            <a:r>
              <a:rPr sz="1243" b="1" kern="0" dirty="0">
                <a:solidFill>
                  <a:srgbClr val="3CAC62"/>
                </a:solidFill>
                <a:latin typeface="Verdana"/>
                <a:cs typeface="Verdana"/>
              </a:rPr>
              <a:t>	63</a:t>
            </a:r>
            <a:r>
              <a:rPr sz="1243" b="1" kern="0" spc="-21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243" b="1" kern="0" spc="-30" dirty="0">
                <a:solidFill>
                  <a:srgbClr val="3CAC62"/>
                </a:solidFill>
                <a:latin typeface="Verdana"/>
                <a:cs typeface="Verdana"/>
              </a:rPr>
              <a:t>%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40774" y="4872558"/>
            <a:ext cx="2600726" cy="185069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defTabSz="554492">
              <a:spcBef>
                <a:spcPts val="61"/>
              </a:spcBef>
            </a:pP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Показатель</a:t>
            </a:r>
            <a:r>
              <a:rPr sz="1152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ПИТ</a:t>
            </a:r>
            <a:r>
              <a:rPr sz="1152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по</a:t>
            </a:r>
            <a:r>
              <a:rPr sz="1152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dirty="0">
                <a:solidFill>
                  <a:srgbClr val="18418F"/>
                </a:solidFill>
                <a:latin typeface="Verdana"/>
                <a:cs typeface="Verdana"/>
              </a:rPr>
              <a:t>месяцам</a:t>
            </a:r>
            <a:r>
              <a:rPr sz="1152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152" kern="0" spc="-12" dirty="0">
                <a:solidFill>
                  <a:srgbClr val="18418F"/>
                </a:solidFill>
                <a:latin typeface="Verdana"/>
                <a:cs typeface="Verdana"/>
              </a:rPr>
              <a:t>2024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451424" y="1162282"/>
            <a:ext cx="11245426" cy="5293868"/>
            <a:chOff x="743726" y="1916689"/>
            <a:chExt cx="18544540" cy="8729980"/>
          </a:xfrm>
        </p:grpSpPr>
        <p:pic>
          <p:nvPicPr>
            <p:cNvPr id="24" name="object 2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43726" y="2015645"/>
              <a:ext cx="6103332" cy="5763370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285990" y="1916689"/>
              <a:ext cx="9002171" cy="8729478"/>
            </a:xfrm>
            <a:prstGeom prst="rect">
              <a:avLst/>
            </a:prstGeom>
          </p:spPr>
        </p:pic>
      </p:grpSp>
      <p:sp>
        <p:nvSpPr>
          <p:cNvPr id="26" name="object 26"/>
          <p:cNvSpPr txBox="1"/>
          <p:nvPr/>
        </p:nvSpPr>
        <p:spPr>
          <a:xfrm>
            <a:off x="7652364" y="1271542"/>
            <a:ext cx="1377761" cy="497811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42357" algn="ctr" defTabSz="554492">
              <a:lnSpc>
                <a:spcPts val="1364"/>
              </a:lnSpc>
              <a:spcBef>
                <a:spcPts val="82"/>
              </a:spcBef>
            </a:pPr>
            <a:r>
              <a:rPr sz="1152" b="1" kern="0" spc="-15" dirty="0">
                <a:solidFill>
                  <a:srgbClr val="FFFFFF"/>
                </a:solidFill>
                <a:latin typeface="Verdana"/>
                <a:cs typeface="Verdana"/>
              </a:rPr>
              <a:t>1*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indent="274936" defTabSz="554492">
              <a:lnSpc>
                <a:spcPts val="1164"/>
              </a:lnSpc>
              <a:spcBef>
                <a:spcPts val="18"/>
              </a:spcBef>
            </a:pP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Максимально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деревянное</a:t>
            </a:r>
            <a:r>
              <a:rPr sz="970" kern="0" spc="-6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печенье.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9275707" y="1528388"/>
            <a:ext cx="1694284" cy="497811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algn="ctr" defTabSz="554492">
              <a:lnSpc>
                <a:spcPts val="1364"/>
              </a:lnSpc>
              <a:spcBef>
                <a:spcPts val="82"/>
              </a:spcBef>
            </a:pPr>
            <a:r>
              <a:rPr sz="1152" b="1" kern="0" spc="-15" dirty="0">
                <a:solidFill>
                  <a:srgbClr val="FFFFFF"/>
                </a:solidFill>
                <a:latin typeface="Verdana"/>
                <a:cs typeface="Verdana"/>
              </a:rPr>
              <a:t>2**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algn="ctr" defTabSz="554492">
              <a:lnSpc>
                <a:spcPts val="1164"/>
              </a:lnSpc>
              <a:spcBef>
                <a:spcPts val="18"/>
              </a:spcBef>
            </a:pP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Так</a:t>
            </a:r>
            <a:r>
              <a:rPr sz="970" kern="0" spc="-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себе...</a:t>
            </a:r>
            <a:r>
              <a:rPr sz="970" kern="0" spc="-2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вкус</a:t>
            </a:r>
            <a:r>
              <a:rPr sz="970" kern="0" spc="-2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какого-</a:t>
            </a:r>
            <a:r>
              <a:rPr sz="970" kern="0" spc="-15" dirty="0">
                <a:solidFill>
                  <a:srgbClr val="FFFFFF"/>
                </a:solidFill>
                <a:latin typeface="Verdana"/>
                <a:cs typeface="Verdana"/>
              </a:rPr>
              <a:t>то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порошка</a:t>
            </a:r>
            <a:r>
              <a:rPr sz="970" kern="0" spc="-2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или</a:t>
            </a:r>
            <a:r>
              <a:rPr sz="970" kern="0" spc="-2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мыла.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285120" y="2165284"/>
            <a:ext cx="1185613" cy="500547"/>
          </a:xfrm>
          <a:prstGeom prst="rect">
            <a:avLst/>
          </a:prstGeom>
        </p:spPr>
        <p:txBody>
          <a:bodyPr vert="horz" wrap="square" lIns="0" tIns="38506" rIns="0" bIns="0" rtlCol="0">
            <a:spAutoFit/>
          </a:bodyPr>
          <a:lstStyle/>
          <a:p>
            <a:pPr marL="7701" marR="3081" indent="425496" defTabSz="554492">
              <a:lnSpc>
                <a:spcPts val="1164"/>
              </a:lnSpc>
              <a:spcBef>
                <a:spcPts val="303"/>
              </a:spcBef>
            </a:pPr>
            <a:r>
              <a:rPr sz="1152" b="1" kern="0" spc="-15" dirty="0">
                <a:solidFill>
                  <a:srgbClr val="FFFFFF"/>
                </a:solidFill>
                <a:latin typeface="Verdana"/>
                <a:cs typeface="Verdana"/>
              </a:rPr>
              <a:t>2**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Невкусное,</a:t>
            </a:r>
            <a:r>
              <a:rPr sz="970" kern="0" spc="-58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сухое,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жесткое</a:t>
            </a:r>
            <a:r>
              <a:rPr sz="970" kern="0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печенье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418369" y="2954731"/>
            <a:ext cx="1836373" cy="638876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algn="ctr" defTabSz="554492">
              <a:lnSpc>
                <a:spcPts val="1364"/>
              </a:lnSpc>
              <a:spcBef>
                <a:spcPts val="82"/>
              </a:spcBef>
            </a:pPr>
            <a:r>
              <a:rPr sz="1152" b="1" kern="0" spc="-12" dirty="0">
                <a:solidFill>
                  <a:srgbClr val="18418F"/>
                </a:solidFill>
                <a:latin typeface="Verdana"/>
                <a:cs typeface="Verdana"/>
              </a:rPr>
              <a:t>3***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algn="ctr" defTabSz="554492">
              <a:lnSpc>
                <a:spcPts val="1164"/>
              </a:lnSpc>
              <a:spcBef>
                <a:spcPts val="18"/>
              </a:spcBef>
            </a:pP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На</a:t>
            </a:r>
            <a:r>
              <a:rPr sz="970" kern="0" spc="-2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вкус</a:t>
            </a:r>
            <a:r>
              <a:rPr sz="970" kern="0" spc="-27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далеко</a:t>
            </a:r>
            <a:r>
              <a:rPr sz="970" kern="0" spc="-2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от</a:t>
            </a:r>
            <a:r>
              <a:rPr sz="970" kern="0" spc="-2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18418F"/>
                </a:solidFill>
                <a:latin typeface="Verdana"/>
                <a:cs typeface="Verdana"/>
              </a:rPr>
              <a:t>хорошего </a:t>
            </a: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овсяного</a:t>
            </a:r>
            <a:r>
              <a:rPr sz="970" kern="0" spc="-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18418F"/>
                </a:solidFill>
                <a:latin typeface="Verdana"/>
                <a:cs typeface="Verdana"/>
              </a:rPr>
              <a:t>печенья.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349638" defTabSz="554492">
              <a:lnSpc>
                <a:spcPts val="1122"/>
              </a:lnSpc>
            </a:pP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Жесткое</a:t>
            </a:r>
            <a:r>
              <a:rPr sz="970" kern="0" spc="-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18418F"/>
                </a:solidFill>
                <a:latin typeface="Verdana"/>
                <a:cs typeface="Verdana"/>
              </a:rPr>
              <a:t>ужасно.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9709895" y="2839342"/>
            <a:ext cx="1856396" cy="497811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algn="ctr" defTabSz="554492">
              <a:lnSpc>
                <a:spcPts val="1364"/>
              </a:lnSpc>
              <a:spcBef>
                <a:spcPts val="82"/>
              </a:spcBef>
            </a:pPr>
            <a:r>
              <a:rPr sz="1152" b="1" kern="0" spc="-6" dirty="0">
                <a:solidFill>
                  <a:srgbClr val="18418F"/>
                </a:solidFill>
                <a:latin typeface="Verdana"/>
                <a:cs typeface="Verdana"/>
              </a:rPr>
              <a:t>4****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316" marR="3081" algn="ctr" defTabSz="554492">
              <a:lnSpc>
                <a:spcPts val="1164"/>
              </a:lnSpc>
              <a:spcBef>
                <a:spcPts val="18"/>
              </a:spcBef>
            </a:pP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не</a:t>
            </a:r>
            <a:r>
              <a:rPr sz="970" kern="0" spc="-3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дорогое</a:t>
            </a:r>
            <a:r>
              <a:rPr sz="970" kern="0" spc="-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печенье,</a:t>
            </a:r>
            <a:r>
              <a:rPr sz="970" kern="0" spc="-3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18418F"/>
                </a:solidFill>
                <a:latin typeface="Verdana"/>
                <a:cs typeface="Verdana"/>
              </a:rPr>
              <a:t>мягкое, </a:t>
            </a: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в</a:t>
            </a:r>
            <a:r>
              <a:rPr sz="970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целом</a:t>
            </a:r>
            <a:r>
              <a:rPr sz="970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18418F"/>
                </a:solidFill>
                <a:latin typeface="Verdana"/>
                <a:cs typeface="Verdana"/>
              </a:rPr>
              <a:t>понравилось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9343679" y="3552222"/>
            <a:ext cx="740479" cy="500547"/>
          </a:xfrm>
          <a:prstGeom prst="rect">
            <a:avLst/>
          </a:prstGeom>
        </p:spPr>
        <p:txBody>
          <a:bodyPr vert="horz" wrap="square" lIns="0" tIns="38506" rIns="0" bIns="0" rtlCol="0">
            <a:spAutoFit/>
          </a:bodyPr>
          <a:lstStyle/>
          <a:p>
            <a:pPr marL="7701" marR="3081" indent="-385" algn="ctr" defTabSz="554492">
              <a:lnSpc>
                <a:spcPts val="1164"/>
              </a:lnSpc>
              <a:spcBef>
                <a:spcPts val="303"/>
              </a:spcBef>
            </a:pPr>
            <a:r>
              <a:rPr sz="1152" b="1" kern="0" spc="-6" dirty="0">
                <a:solidFill>
                  <a:srgbClr val="18418F"/>
                </a:solidFill>
                <a:latin typeface="Verdana"/>
                <a:cs typeface="Verdana"/>
              </a:rPr>
              <a:t>4**** </a:t>
            </a: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Может</a:t>
            </a:r>
            <a:r>
              <a:rPr sz="970" kern="0" spc="-4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spc="-12" dirty="0">
                <a:solidFill>
                  <a:srgbClr val="18418F"/>
                </a:solidFill>
                <a:latin typeface="Verdana"/>
                <a:cs typeface="Verdana"/>
              </a:rPr>
              <a:t>есть </a:t>
            </a: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sz="970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18418F"/>
                </a:solidFill>
                <a:latin typeface="Verdana"/>
                <a:cs typeface="Verdana"/>
              </a:rPr>
              <a:t>лучше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740547" y="4350690"/>
            <a:ext cx="651144" cy="331099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 defTabSz="554492">
              <a:lnSpc>
                <a:spcPts val="1364"/>
              </a:lnSpc>
              <a:spcBef>
                <a:spcPts val="82"/>
              </a:spcBef>
            </a:pPr>
            <a:r>
              <a:rPr sz="1152" b="1" kern="0" spc="-6" dirty="0">
                <a:solidFill>
                  <a:srgbClr val="FFFFFF"/>
                </a:solidFill>
                <a:latin typeface="Verdana"/>
                <a:cs typeface="Verdana"/>
              </a:rPr>
              <a:t>5*****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58145" defTabSz="554492">
              <a:lnSpc>
                <a:spcPts val="1145"/>
              </a:lnSpc>
            </a:pP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вкусные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0244361" y="4581172"/>
            <a:ext cx="651144" cy="331099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 defTabSz="554492">
              <a:lnSpc>
                <a:spcPts val="1364"/>
              </a:lnSpc>
              <a:spcBef>
                <a:spcPts val="82"/>
              </a:spcBef>
            </a:pPr>
            <a:r>
              <a:rPr sz="1152" b="1" kern="0" spc="-6" dirty="0">
                <a:solidFill>
                  <a:srgbClr val="FFFFFF"/>
                </a:solidFill>
                <a:latin typeface="Verdana"/>
                <a:cs typeface="Verdana"/>
              </a:rPr>
              <a:t>5*****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35041" defTabSz="554492">
              <a:lnSpc>
                <a:spcPts val="1145"/>
              </a:lnSpc>
            </a:pP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классика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577424" y="4693790"/>
            <a:ext cx="1138636" cy="331099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algn="ctr" defTabSz="554492">
              <a:lnSpc>
                <a:spcPts val="1364"/>
              </a:lnSpc>
              <a:spcBef>
                <a:spcPts val="82"/>
              </a:spcBef>
            </a:pPr>
            <a:r>
              <a:rPr sz="1152" b="1" kern="0" spc="-6" dirty="0">
                <a:solidFill>
                  <a:srgbClr val="FFFFFF"/>
                </a:solidFill>
                <a:latin typeface="Verdana"/>
                <a:cs typeface="Verdana"/>
              </a:rPr>
              <a:t>5*****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algn="ctr" defTabSz="554492">
              <a:lnSpc>
                <a:spcPts val="1145"/>
              </a:lnSpc>
            </a:pP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Вкусно</a:t>
            </a:r>
            <a:r>
              <a:rPr sz="970" kern="0" spc="-2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не</a:t>
            </a:r>
            <a:r>
              <a:rPr sz="970" kern="0" spc="-2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дорого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6308963" y="4827757"/>
            <a:ext cx="1983853" cy="62964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algn="ctr" defTabSz="554492">
              <a:lnSpc>
                <a:spcPts val="1364"/>
              </a:lnSpc>
              <a:spcBef>
                <a:spcPts val="82"/>
              </a:spcBef>
            </a:pPr>
            <a:r>
              <a:rPr sz="1152" b="1" kern="0" spc="-6" dirty="0">
                <a:solidFill>
                  <a:srgbClr val="FFFFFF"/>
                </a:solidFill>
                <a:latin typeface="Verdana"/>
                <a:cs typeface="Verdana"/>
              </a:rPr>
              <a:t>5*****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385" algn="ctr" defTabSz="554492">
              <a:lnSpc>
                <a:spcPts val="1145"/>
              </a:lnSpc>
            </a:pP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Отличное</a:t>
            </a:r>
            <a:r>
              <a:rPr sz="970" kern="0" spc="-4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вкусное</a:t>
            </a:r>
            <a:r>
              <a:rPr sz="970" kern="0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печенье.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algn="ctr" defTabSz="554492"/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Подходит</a:t>
            </a:r>
            <a:r>
              <a:rPr sz="970" kern="0" spc="-3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для</a:t>
            </a:r>
            <a:r>
              <a:rPr sz="970" kern="0" spc="-3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перекуса</a:t>
            </a:r>
            <a:r>
              <a:rPr sz="970" kern="0" spc="-3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с</a:t>
            </a:r>
            <a:r>
              <a:rPr sz="970" kern="0" spc="-3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spc="-12" dirty="0">
                <a:solidFill>
                  <a:srgbClr val="FFFFFF"/>
                </a:solidFill>
                <a:latin typeface="Verdana"/>
                <a:cs typeface="Verdana"/>
              </a:rPr>
              <a:t>чаем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и</a:t>
            </a:r>
            <a:r>
              <a:rPr sz="970" kern="0" spc="-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кофе.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9530811" y="5221671"/>
            <a:ext cx="1677726" cy="497811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algn="ctr" defTabSz="554492">
              <a:lnSpc>
                <a:spcPts val="1364"/>
              </a:lnSpc>
              <a:spcBef>
                <a:spcPts val="82"/>
              </a:spcBef>
            </a:pPr>
            <a:r>
              <a:rPr sz="1152" b="1" kern="0" spc="-6" dirty="0">
                <a:solidFill>
                  <a:srgbClr val="FFFFFF"/>
                </a:solidFill>
                <a:latin typeface="Verdana"/>
                <a:cs typeface="Verdana"/>
              </a:rPr>
              <a:t>5*****</a:t>
            </a:r>
            <a:endParaRPr sz="1152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algn="ctr" defTabSz="554492">
              <a:lnSpc>
                <a:spcPts val="1164"/>
              </a:lnSpc>
              <a:spcBef>
                <a:spcPts val="18"/>
              </a:spcBef>
            </a:pP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Печенье</a:t>
            </a:r>
            <a:r>
              <a:rPr sz="970" kern="0" spc="-4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вкусное,</a:t>
            </a:r>
            <a:r>
              <a:rPr sz="970" kern="0" spc="-4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мягкое, сладенькое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908307" y="5532818"/>
            <a:ext cx="1023502" cy="500547"/>
          </a:xfrm>
          <a:prstGeom prst="rect">
            <a:avLst/>
          </a:prstGeom>
        </p:spPr>
        <p:txBody>
          <a:bodyPr vert="horz" wrap="square" lIns="0" tIns="38506" rIns="0" bIns="0" rtlCol="0">
            <a:spAutoFit/>
          </a:bodyPr>
          <a:lstStyle/>
          <a:p>
            <a:pPr marL="7316" marR="3081" indent="-770" algn="ctr" defTabSz="554492">
              <a:lnSpc>
                <a:spcPts val="1164"/>
              </a:lnSpc>
              <a:spcBef>
                <a:spcPts val="303"/>
              </a:spcBef>
            </a:pPr>
            <a:r>
              <a:rPr sz="1152" b="1" kern="0" spc="-6" dirty="0">
                <a:solidFill>
                  <a:srgbClr val="FFFFFF"/>
                </a:solidFill>
                <a:latin typeface="Verdana"/>
                <a:cs typeface="Verdana"/>
              </a:rPr>
              <a:t>5***** </a:t>
            </a: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вкусные, </a:t>
            </a:r>
            <a:r>
              <a:rPr sz="970" kern="0" dirty="0">
                <a:solidFill>
                  <a:srgbClr val="FFFFFF"/>
                </a:solidFill>
                <a:latin typeface="Verdana"/>
                <a:cs typeface="Verdana"/>
              </a:rPr>
              <a:t>мягкие</a:t>
            </a:r>
            <a:r>
              <a:rPr sz="970" kern="0" spc="-3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970" kern="0" spc="-6" dirty="0">
                <a:solidFill>
                  <a:srgbClr val="FFFFFF"/>
                </a:solidFill>
                <a:latin typeface="Verdana"/>
                <a:cs typeface="Verdana"/>
              </a:rPr>
              <a:t>печенье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8" name="object 38"/>
          <p:cNvSpPr txBox="1">
            <a:spLocks noGrp="1"/>
          </p:cNvSpPr>
          <p:nvPr>
            <p:ph type="title"/>
          </p:nvPr>
        </p:nvSpPr>
        <p:spPr>
          <a:xfrm>
            <a:off x="4338508" y="1399188"/>
            <a:ext cx="10927447" cy="343313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183" spc="-6" dirty="0"/>
              <a:t>ПРИМЕР</a:t>
            </a:r>
          </a:p>
        </p:txBody>
      </p:sp>
      <p:grpSp>
        <p:nvGrpSpPr>
          <p:cNvPr id="39" name="object 39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40" name="object 40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2" name="object 42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6" name="object 35"/>
          <p:cNvSpPr txBox="1">
            <a:spLocks/>
          </p:cNvSpPr>
          <p:nvPr/>
        </p:nvSpPr>
        <p:spPr>
          <a:xfrm>
            <a:off x="619931" y="364195"/>
            <a:ext cx="9429319" cy="67333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>
            <a:lvl1pPr>
              <a:defRPr sz="4950" b="1" i="0">
                <a:solidFill>
                  <a:srgbClr val="003B95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7701" marR="3081" defTabSz="554492">
              <a:lnSpc>
                <a:spcPct val="100400"/>
              </a:lnSpc>
              <a:spcBef>
                <a:spcPts val="58"/>
              </a:spcBef>
            </a:pPr>
            <a:r>
              <a:rPr lang="ru-RU" sz="2122" kern="0" dirty="0"/>
              <a:t>ОЦЕНКА</a:t>
            </a:r>
            <a:r>
              <a:rPr lang="ru-RU" sz="2122" kern="0" spc="-6" dirty="0"/>
              <a:t> </a:t>
            </a:r>
            <a:r>
              <a:rPr lang="ru-RU" sz="2122" kern="0" dirty="0"/>
              <a:t>УДОВЛЕТВОРЕННОСТИ </a:t>
            </a:r>
            <a:r>
              <a:rPr lang="ru-RU" sz="2122" kern="0" spc="-6" dirty="0"/>
              <a:t>ПОКУПАТЕЛЕЙ:</a:t>
            </a:r>
          </a:p>
          <a:p>
            <a:pPr marL="7701" marR="3081" defTabSz="554492">
              <a:lnSpc>
                <a:spcPct val="100400"/>
              </a:lnSpc>
              <a:spcBef>
                <a:spcPts val="58"/>
              </a:spcBef>
            </a:pPr>
            <a:r>
              <a:rPr lang="ru-RU" sz="2122" b="0" kern="0" dirty="0"/>
              <a:t>мониторинг</a:t>
            </a:r>
            <a:r>
              <a:rPr lang="ru-RU" sz="2122" b="0" kern="0" spc="-30" dirty="0"/>
              <a:t> </a:t>
            </a:r>
            <a:r>
              <a:rPr lang="ru-RU" sz="2122" b="0" kern="0" dirty="0"/>
              <a:t>отзывов,</a:t>
            </a:r>
            <a:r>
              <a:rPr lang="ru-RU" sz="2122" b="0" kern="0" spc="-24" dirty="0"/>
              <a:t> </a:t>
            </a:r>
            <a:r>
              <a:rPr lang="ru-RU" sz="2122" b="0" kern="0" spc="-6" dirty="0"/>
              <a:t>жалоб, </a:t>
            </a:r>
            <a:r>
              <a:rPr lang="ru-RU" sz="2122" b="0" kern="0" dirty="0"/>
              <a:t>оценок</a:t>
            </a:r>
            <a:r>
              <a:rPr lang="ru-RU" sz="2122" b="0" kern="0" spc="3" dirty="0"/>
              <a:t> </a:t>
            </a:r>
            <a:r>
              <a:rPr lang="ru-RU" sz="2122" b="0" kern="0" spc="-6" dirty="0"/>
              <a:t>покупателей</a:t>
            </a:r>
            <a:endParaRPr lang="ru-RU" sz="2122" b="0" kern="0" dirty="0"/>
          </a:p>
        </p:txBody>
      </p:sp>
    </p:spTree>
    <p:extLst>
      <p:ext uri="{BB962C8B-B14F-4D97-AF65-F5344CB8AC3E}">
        <p14:creationId xmlns:p14="http://schemas.microsoft.com/office/powerpoint/2010/main" val="2256092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378859" y="1737607"/>
            <a:ext cx="4517578" cy="3567238"/>
          </a:xfrm>
          <a:custGeom>
            <a:avLst/>
            <a:gdLst/>
            <a:ahLst/>
            <a:cxnLst/>
            <a:rect l="l" t="t" r="r" b="b"/>
            <a:pathLst>
              <a:path w="7449820" h="5882640">
                <a:moveTo>
                  <a:pt x="7252512" y="0"/>
                </a:moveTo>
                <a:lnTo>
                  <a:pt x="196946" y="0"/>
                </a:lnTo>
                <a:lnTo>
                  <a:pt x="151788" y="5201"/>
                </a:lnTo>
                <a:lnTo>
                  <a:pt x="110334" y="20017"/>
                </a:lnTo>
                <a:lnTo>
                  <a:pt x="73766" y="43266"/>
                </a:lnTo>
                <a:lnTo>
                  <a:pt x="43266" y="73766"/>
                </a:lnTo>
                <a:lnTo>
                  <a:pt x="20017" y="110334"/>
                </a:lnTo>
                <a:lnTo>
                  <a:pt x="5201" y="151788"/>
                </a:lnTo>
                <a:lnTo>
                  <a:pt x="0" y="196946"/>
                </a:lnTo>
                <a:lnTo>
                  <a:pt x="0" y="5685428"/>
                </a:lnTo>
                <a:lnTo>
                  <a:pt x="5201" y="5730587"/>
                </a:lnTo>
                <a:lnTo>
                  <a:pt x="20017" y="5772041"/>
                </a:lnTo>
                <a:lnTo>
                  <a:pt x="43266" y="5808609"/>
                </a:lnTo>
                <a:lnTo>
                  <a:pt x="73766" y="5839109"/>
                </a:lnTo>
                <a:lnTo>
                  <a:pt x="110334" y="5862358"/>
                </a:lnTo>
                <a:lnTo>
                  <a:pt x="151788" y="5877174"/>
                </a:lnTo>
                <a:lnTo>
                  <a:pt x="196946" y="5882375"/>
                </a:lnTo>
                <a:lnTo>
                  <a:pt x="7252512" y="5882375"/>
                </a:lnTo>
                <a:lnTo>
                  <a:pt x="7297670" y="5877174"/>
                </a:lnTo>
                <a:lnTo>
                  <a:pt x="7339124" y="5862358"/>
                </a:lnTo>
                <a:lnTo>
                  <a:pt x="7375692" y="5839109"/>
                </a:lnTo>
                <a:lnTo>
                  <a:pt x="7406192" y="5808609"/>
                </a:lnTo>
                <a:lnTo>
                  <a:pt x="7429441" y="5772041"/>
                </a:lnTo>
                <a:lnTo>
                  <a:pt x="7444257" y="5730587"/>
                </a:lnTo>
                <a:lnTo>
                  <a:pt x="7449459" y="5685428"/>
                </a:lnTo>
                <a:lnTo>
                  <a:pt x="7449459" y="196946"/>
                </a:lnTo>
                <a:lnTo>
                  <a:pt x="7444257" y="151788"/>
                </a:lnTo>
                <a:lnTo>
                  <a:pt x="7429441" y="110334"/>
                </a:lnTo>
                <a:lnTo>
                  <a:pt x="7406192" y="73766"/>
                </a:lnTo>
                <a:lnTo>
                  <a:pt x="7375692" y="43266"/>
                </a:lnTo>
                <a:lnTo>
                  <a:pt x="7339124" y="20017"/>
                </a:lnTo>
                <a:lnTo>
                  <a:pt x="7297670" y="5201"/>
                </a:lnTo>
                <a:lnTo>
                  <a:pt x="7252512" y="0"/>
                </a:lnTo>
                <a:close/>
              </a:path>
            </a:pathLst>
          </a:custGeom>
          <a:solidFill>
            <a:srgbClr val="ECECEC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object 3"/>
          <p:cNvSpPr txBox="1"/>
          <p:nvPr/>
        </p:nvSpPr>
        <p:spPr>
          <a:xfrm>
            <a:off x="1645210" y="1926374"/>
            <a:ext cx="3927274" cy="3122487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1789" b="1" dirty="0">
                <a:solidFill>
                  <a:srgbClr val="18418F"/>
                </a:solidFill>
                <a:latin typeface="Verdana"/>
                <a:cs typeface="Verdana"/>
              </a:rPr>
              <a:t>КРИТЕРИИ</a:t>
            </a:r>
            <a:r>
              <a:rPr sz="1789" b="1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spc="-6" dirty="0">
                <a:solidFill>
                  <a:srgbClr val="18418F"/>
                </a:solidFill>
                <a:latin typeface="Verdana"/>
                <a:cs typeface="Verdana"/>
              </a:rPr>
              <a:t>ОЦЕНКИ</a:t>
            </a:r>
            <a:endParaRPr sz="1789" dirty="0">
              <a:latin typeface="Verdana"/>
              <a:cs typeface="Verdana"/>
            </a:endParaRPr>
          </a:p>
          <a:p>
            <a:pPr marL="7701">
              <a:spcBef>
                <a:spcPts val="15"/>
              </a:spcBef>
            </a:pPr>
            <a:r>
              <a:rPr sz="1789" b="1" dirty="0">
                <a:solidFill>
                  <a:srgbClr val="18418F"/>
                </a:solidFill>
                <a:latin typeface="Verdana"/>
                <a:cs typeface="Verdana"/>
              </a:rPr>
              <a:t>НЕ</a:t>
            </a:r>
            <a:r>
              <a:rPr sz="1789" b="1" spc="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789" b="1" dirty="0">
                <a:solidFill>
                  <a:srgbClr val="18418F"/>
                </a:solidFill>
                <a:latin typeface="Verdana"/>
                <a:cs typeface="Verdana"/>
              </a:rPr>
              <a:t>ПРЕМИАЛЬНЫХ </a:t>
            </a:r>
            <a:r>
              <a:rPr sz="1789" b="1" spc="-6" dirty="0">
                <a:solidFill>
                  <a:srgbClr val="18418F"/>
                </a:solidFill>
                <a:latin typeface="Verdana"/>
                <a:cs typeface="Verdana"/>
              </a:rPr>
              <a:t>ТОВАРОВ:</a:t>
            </a:r>
            <a:endParaRPr sz="1789" dirty="0">
              <a:latin typeface="Verdana"/>
              <a:cs typeface="Verdana"/>
            </a:endParaRPr>
          </a:p>
          <a:p>
            <a:pPr>
              <a:spcBef>
                <a:spcPts val="55"/>
              </a:spcBef>
            </a:pPr>
            <a:endParaRPr sz="1789" dirty="0">
              <a:latin typeface="Verdana"/>
              <a:cs typeface="Verdana"/>
            </a:endParaRPr>
          </a:p>
          <a:p>
            <a:pPr marL="184061" indent="-176359">
              <a:lnSpc>
                <a:spcPts val="2392"/>
              </a:lnSpc>
              <a:buChar char="•"/>
              <a:tabLst>
                <a:tab pos="184061" algn="l"/>
              </a:tabLst>
            </a:pPr>
            <a:r>
              <a:rPr sz="1546" dirty="0">
                <a:solidFill>
                  <a:srgbClr val="18418F"/>
                </a:solidFill>
                <a:latin typeface="Verdana"/>
                <a:cs typeface="Verdana"/>
              </a:rPr>
              <a:t>ПИТ</a:t>
            </a:r>
            <a:r>
              <a:rPr sz="1546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2031" b="1" dirty="0">
                <a:solidFill>
                  <a:srgbClr val="3CAC62"/>
                </a:solidFill>
                <a:latin typeface="Verdana"/>
                <a:cs typeface="Verdana"/>
              </a:rPr>
              <a:t>&gt;</a:t>
            </a:r>
            <a:r>
              <a:rPr sz="2031" b="1" spc="9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2031" b="1" dirty="0">
                <a:solidFill>
                  <a:srgbClr val="3CAC62"/>
                </a:solidFill>
                <a:latin typeface="Verdana"/>
                <a:cs typeface="Verdana"/>
              </a:rPr>
              <a:t>50%</a:t>
            </a:r>
            <a:r>
              <a:rPr sz="2031" b="1" spc="12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2031" b="1" spc="-30" dirty="0">
                <a:solidFill>
                  <a:srgbClr val="3CAC62"/>
                </a:solidFill>
                <a:latin typeface="Verdana"/>
                <a:cs typeface="Verdana"/>
              </a:rPr>
              <a:t>-</a:t>
            </a:r>
            <a:endParaRPr sz="2031" dirty="0">
              <a:latin typeface="Verdana"/>
              <a:cs typeface="Verdana"/>
            </a:endParaRPr>
          </a:p>
          <a:p>
            <a:pPr marL="215251">
              <a:lnSpc>
                <a:spcPts val="1810"/>
              </a:lnSpc>
            </a:pPr>
            <a:r>
              <a:rPr sz="1546" dirty="0">
                <a:solidFill>
                  <a:srgbClr val="18418F"/>
                </a:solidFill>
                <a:latin typeface="Verdana"/>
                <a:cs typeface="Verdana"/>
              </a:rPr>
              <a:t>не</a:t>
            </a:r>
            <a:r>
              <a:rPr sz="1546" spc="-1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dirty="0">
                <a:solidFill>
                  <a:srgbClr val="18418F"/>
                </a:solidFill>
                <a:latin typeface="Verdana"/>
                <a:cs typeface="Verdana"/>
              </a:rPr>
              <a:t>требует</a:t>
            </a:r>
            <a:r>
              <a:rPr sz="1546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spc="-6" dirty="0">
                <a:solidFill>
                  <a:srgbClr val="18418F"/>
                </a:solidFill>
                <a:latin typeface="Verdana"/>
                <a:cs typeface="Verdana"/>
              </a:rPr>
              <a:t>улучшений</a:t>
            </a:r>
            <a:endParaRPr sz="1546" dirty="0">
              <a:latin typeface="Verdana"/>
              <a:cs typeface="Verdana"/>
            </a:endParaRPr>
          </a:p>
          <a:p>
            <a:pPr>
              <a:spcBef>
                <a:spcPts val="100"/>
              </a:spcBef>
            </a:pPr>
            <a:endParaRPr sz="1546" dirty="0">
              <a:latin typeface="Verdana"/>
              <a:cs typeface="Verdana"/>
            </a:endParaRPr>
          </a:p>
          <a:p>
            <a:pPr marL="184061" indent="-176359">
              <a:lnSpc>
                <a:spcPts val="2392"/>
              </a:lnSpc>
              <a:buChar char="•"/>
              <a:tabLst>
                <a:tab pos="184061" algn="l"/>
              </a:tabLst>
            </a:pPr>
            <a:r>
              <a:rPr sz="1546" dirty="0">
                <a:solidFill>
                  <a:srgbClr val="18418F"/>
                </a:solidFill>
                <a:latin typeface="Verdana"/>
                <a:cs typeface="Verdana"/>
              </a:rPr>
              <a:t>ПИТ</a:t>
            </a:r>
            <a:r>
              <a:rPr sz="1546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2031" b="1" dirty="0">
                <a:solidFill>
                  <a:srgbClr val="F9B80E"/>
                </a:solidFill>
                <a:latin typeface="Verdana"/>
                <a:cs typeface="Verdana"/>
              </a:rPr>
              <a:t>–</a:t>
            </a:r>
            <a:r>
              <a:rPr sz="2031" b="1" spc="-154" dirty="0">
                <a:solidFill>
                  <a:srgbClr val="F9B80E"/>
                </a:solidFill>
                <a:latin typeface="Verdana"/>
                <a:cs typeface="Verdana"/>
              </a:rPr>
              <a:t> </a:t>
            </a:r>
            <a:r>
              <a:rPr sz="2031" b="1" dirty="0">
                <a:solidFill>
                  <a:srgbClr val="F9B80E"/>
                </a:solidFill>
                <a:latin typeface="Verdana"/>
                <a:cs typeface="Verdana"/>
              </a:rPr>
              <a:t>30-50%</a:t>
            </a:r>
            <a:r>
              <a:rPr sz="2031" b="1" spc="6" dirty="0">
                <a:solidFill>
                  <a:srgbClr val="F9B80E"/>
                </a:solidFill>
                <a:latin typeface="Verdana"/>
                <a:cs typeface="Verdana"/>
              </a:rPr>
              <a:t> </a:t>
            </a:r>
            <a:r>
              <a:rPr sz="2031" b="1" spc="-30" dirty="0">
                <a:solidFill>
                  <a:srgbClr val="F9B80E"/>
                </a:solidFill>
                <a:latin typeface="Verdana"/>
                <a:cs typeface="Verdana"/>
              </a:rPr>
              <a:t>-</a:t>
            </a:r>
            <a:endParaRPr sz="2031" dirty="0">
              <a:latin typeface="Verdana"/>
              <a:cs typeface="Verdana"/>
            </a:endParaRPr>
          </a:p>
          <a:p>
            <a:pPr marL="215251">
              <a:lnSpc>
                <a:spcPts val="1810"/>
              </a:lnSpc>
            </a:pPr>
            <a:r>
              <a:rPr sz="1546" dirty="0">
                <a:solidFill>
                  <a:srgbClr val="18418F"/>
                </a:solidFill>
                <a:latin typeface="Verdana"/>
                <a:cs typeface="Verdana"/>
              </a:rPr>
              <a:t>товар</a:t>
            </a:r>
            <a:r>
              <a:rPr sz="1546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dirty="0">
                <a:solidFill>
                  <a:srgbClr val="18418F"/>
                </a:solidFill>
                <a:latin typeface="Verdana"/>
                <a:cs typeface="Verdana"/>
              </a:rPr>
              <a:t>под</a:t>
            </a:r>
            <a:r>
              <a:rPr sz="1546" spc="-6" dirty="0">
                <a:solidFill>
                  <a:srgbClr val="18418F"/>
                </a:solidFill>
                <a:latin typeface="Verdana"/>
                <a:cs typeface="Verdana"/>
              </a:rPr>
              <a:t> наблюдением,</a:t>
            </a:r>
            <a:endParaRPr sz="1546" dirty="0">
              <a:latin typeface="Verdana"/>
              <a:cs typeface="Verdana"/>
            </a:endParaRPr>
          </a:p>
          <a:p>
            <a:pPr>
              <a:spcBef>
                <a:spcPts val="100"/>
              </a:spcBef>
            </a:pPr>
            <a:endParaRPr sz="1546" dirty="0">
              <a:latin typeface="Verdana"/>
              <a:cs typeface="Verdana"/>
            </a:endParaRPr>
          </a:p>
          <a:p>
            <a:pPr marL="184061" indent="-176359">
              <a:lnSpc>
                <a:spcPts val="2392"/>
              </a:lnSpc>
              <a:buChar char="•"/>
              <a:tabLst>
                <a:tab pos="184061" algn="l"/>
              </a:tabLst>
            </a:pPr>
            <a:r>
              <a:rPr sz="1546" dirty="0">
                <a:solidFill>
                  <a:srgbClr val="18418F"/>
                </a:solidFill>
                <a:latin typeface="Verdana"/>
                <a:cs typeface="Verdana"/>
              </a:rPr>
              <a:t>ПИТ</a:t>
            </a:r>
            <a:r>
              <a:rPr sz="1546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2031" b="1" dirty="0">
                <a:solidFill>
                  <a:srgbClr val="FF7500"/>
                </a:solidFill>
                <a:latin typeface="Verdana"/>
                <a:cs typeface="Verdana"/>
              </a:rPr>
              <a:t>&lt;</a:t>
            </a:r>
            <a:r>
              <a:rPr sz="2031" b="1" spc="9" dirty="0">
                <a:solidFill>
                  <a:srgbClr val="FF7500"/>
                </a:solidFill>
                <a:latin typeface="Verdana"/>
                <a:cs typeface="Verdana"/>
              </a:rPr>
              <a:t> </a:t>
            </a:r>
            <a:r>
              <a:rPr sz="2031" b="1" dirty="0">
                <a:solidFill>
                  <a:srgbClr val="FF7500"/>
                </a:solidFill>
                <a:latin typeface="Verdana"/>
                <a:cs typeface="Verdana"/>
              </a:rPr>
              <a:t>30%</a:t>
            </a:r>
            <a:r>
              <a:rPr sz="2031" b="1" spc="12" dirty="0">
                <a:solidFill>
                  <a:srgbClr val="FF7500"/>
                </a:solidFill>
                <a:latin typeface="Verdana"/>
                <a:cs typeface="Verdana"/>
              </a:rPr>
              <a:t> </a:t>
            </a:r>
            <a:r>
              <a:rPr sz="2031" b="1" spc="-30" dirty="0">
                <a:solidFill>
                  <a:srgbClr val="FF7500"/>
                </a:solidFill>
                <a:latin typeface="Verdana"/>
                <a:cs typeface="Verdana"/>
              </a:rPr>
              <a:t>-</a:t>
            </a:r>
            <a:endParaRPr sz="2031" dirty="0">
              <a:latin typeface="Verdana"/>
              <a:cs typeface="Verdana"/>
            </a:endParaRPr>
          </a:p>
          <a:p>
            <a:pPr marL="215251">
              <a:lnSpc>
                <a:spcPts val="1810"/>
              </a:lnSpc>
            </a:pPr>
            <a:r>
              <a:rPr sz="1546" dirty="0">
                <a:solidFill>
                  <a:srgbClr val="18418F"/>
                </a:solidFill>
                <a:latin typeface="Verdana"/>
                <a:cs typeface="Verdana"/>
              </a:rPr>
              <a:t>запуск</a:t>
            </a:r>
            <a:r>
              <a:rPr sz="1546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546" dirty="0">
                <a:solidFill>
                  <a:srgbClr val="18418F"/>
                </a:solidFill>
                <a:latin typeface="Verdana"/>
                <a:cs typeface="Verdana"/>
              </a:rPr>
              <a:t>процесса</a:t>
            </a:r>
            <a:r>
              <a:rPr sz="1546" spc="-6" dirty="0">
                <a:solidFill>
                  <a:srgbClr val="18418F"/>
                </a:solidFill>
                <a:latin typeface="Verdana"/>
                <a:cs typeface="Verdana"/>
              </a:rPr>
              <a:t> доработки</a:t>
            </a:r>
            <a:endParaRPr sz="1546" dirty="0">
              <a:latin typeface="Verdana"/>
              <a:cs typeface="Verdana"/>
            </a:endParaRPr>
          </a:p>
          <a:p>
            <a:pPr marL="221412">
              <a:spcBef>
                <a:spcPts val="139"/>
              </a:spcBef>
            </a:pPr>
            <a:r>
              <a:rPr sz="940" i="1" dirty="0">
                <a:solidFill>
                  <a:srgbClr val="18418F"/>
                </a:solidFill>
                <a:latin typeface="Verdana"/>
                <a:cs typeface="Verdana"/>
              </a:rPr>
              <a:t>(доработка,</a:t>
            </a:r>
            <a:r>
              <a:rPr sz="940" i="1" spc="3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40" i="1" dirty="0">
                <a:solidFill>
                  <a:srgbClr val="18418F"/>
                </a:solidFill>
                <a:latin typeface="Verdana"/>
                <a:cs typeface="Verdana"/>
              </a:rPr>
              <a:t>смена</a:t>
            </a:r>
            <a:r>
              <a:rPr sz="940" i="1" spc="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40" i="1" dirty="0">
                <a:solidFill>
                  <a:srgbClr val="18418F"/>
                </a:solidFill>
                <a:latin typeface="Verdana"/>
                <a:cs typeface="Verdana"/>
              </a:rPr>
              <a:t>поставщика,</a:t>
            </a:r>
            <a:r>
              <a:rPr sz="940" i="1" spc="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40" i="1" dirty="0">
                <a:solidFill>
                  <a:srgbClr val="18418F"/>
                </a:solidFill>
                <a:latin typeface="Verdana"/>
                <a:cs typeface="Verdana"/>
              </a:rPr>
              <a:t>вывод</a:t>
            </a:r>
            <a:r>
              <a:rPr sz="940" i="1" spc="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40" i="1" spc="-6" dirty="0">
                <a:solidFill>
                  <a:srgbClr val="18418F"/>
                </a:solidFill>
                <a:latin typeface="Verdana"/>
                <a:cs typeface="Verdana"/>
              </a:rPr>
              <a:t>товара)</a:t>
            </a:r>
            <a:endParaRPr sz="940" dirty="0">
              <a:latin typeface="Verdana"/>
              <a:cs typeface="Verdan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295782" y="1737605"/>
            <a:ext cx="4517578" cy="4038172"/>
          </a:xfrm>
          <a:custGeom>
            <a:avLst/>
            <a:gdLst/>
            <a:ahLst/>
            <a:cxnLst/>
            <a:rect l="l" t="t" r="r" b="b"/>
            <a:pathLst>
              <a:path w="7449819" h="6659245">
                <a:moveTo>
                  <a:pt x="7239915" y="0"/>
                </a:moveTo>
                <a:lnTo>
                  <a:pt x="209543" y="0"/>
                </a:lnTo>
                <a:lnTo>
                  <a:pt x="161494" y="5534"/>
                </a:lnTo>
                <a:lnTo>
                  <a:pt x="117388" y="21298"/>
                </a:lnTo>
                <a:lnTo>
                  <a:pt x="78481" y="46035"/>
                </a:lnTo>
                <a:lnTo>
                  <a:pt x="46032" y="78486"/>
                </a:lnTo>
                <a:lnTo>
                  <a:pt x="21296" y="117392"/>
                </a:lnTo>
                <a:lnTo>
                  <a:pt x="5533" y="161498"/>
                </a:lnTo>
                <a:lnTo>
                  <a:pt x="0" y="209543"/>
                </a:lnTo>
                <a:lnTo>
                  <a:pt x="0" y="6449133"/>
                </a:lnTo>
                <a:lnTo>
                  <a:pt x="5533" y="6497178"/>
                </a:lnTo>
                <a:lnTo>
                  <a:pt x="21296" y="6541283"/>
                </a:lnTo>
                <a:lnTo>
                  <a:pt x="46032" y="6580190"/>
                </a:lnTo>
                <a:lnTo>
                  <a:pt x="78481" y="6612641"/>
                </a:lnTo>
                <a:lnTo>
                  <a:pt x="117388" y="6637378"/>
                </a:lnTo>
                <a:lnTo>
                  <a:pt x="161494" y="6653142"/>
                </a:lnTo>
                <a:lnTo>
                  <a:pt x="209543" y="6658676"/>
                </a:lnTo>
                <a:lnTo>
                  <a:pt x="7239915" y="6658676"/>
                </a:lnTo>
                <a:lnTo>
                  <a:pt x="7287960" y="6653142"/>
                </a:lnTo>
                <a:lnTo>
                  <a:pt x="7332066" y="6637378"/>
                </a:lnTo>
                <a:lnTo>
                  <a:pt x="7370972" y="6612641"/>
                </a:lnTo>
                <a:lnTo>
                  <a:pt x="7403423" y="6580190"/>
                </a:lnTo>
                <a:lnTo>
                  <a:pt x="7428160" y="6541283"/>
                </a:lnTo>
                <a:lnTo>
                  <a:pt x="7443924" y="6497178"/>
                </a:lnTo>
                <a:lnTo>
                  <a:pt x="7449459" y="6449133"/>
                </a:lnTo>
                <a:lnTo>
                  <a:pt x="7449459" y="209543"/>
                </a:lnTo>
                <a:lnTo>
                  <a:pt x="7443924" y="161498"/>
                </a:lnTo>
                <a:lnTo>
                  <a:pt x="7428160" y="117392"/>
                </a:lnTo>
                <a:lnTo>
                  <a:pt x="7403423" y="78486"/>
                </a:lnTo>
                <a:lnTo>
                  <a:pt x="7370972" y="46035"/>
                </a:lnTo>
                <a:lnTo>
                  <a:pt x="7332066" y="21298"/>
                </a:lnTo>
                <a:lnTo>
                  <a:pt x="7287960" y="5534"/>
                </a:lnTo>
                <a:lnTo>
                  <a:pt x="7239915" y="0"/>
                </a:lnTo>
                <a:close/>
              </a:path>
            </a:pathLst>
          </a:custGeom>
          <a:solidFill>
            <a:srgbClr val="ECECEC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object 5"/>
          <p:cNvSpPr txBox="1">
            <a:spLocks noGrp="1"/>
          </p:cNvSpPr>
          <p:nvPr>
            <p:ph sz="half" idx="3"/>
          </p:nvPr>
        </p:nvSpPr>
        <p:spPr>
          <a:xfrm>
            <a:off x="6423779" y="1926374"/>
            <a:ext cx="4788925" cy="366980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403547">
              <a:lnSpc>
                <a:spcPct val="100600"/>
              </a:lnSpc>
              <a:spcBef>
                <a:spcPts val="58"/>
              </a:spcBef>
            </a:pPr>
            <a:r>
              <a:rPr dirty="0"/>
              <a:t>КРИТЕРИИ</a:t>
            </a:r>
            <a:r>
              <a:rPr spc="-3" dirty="0"/>
              <a:t> </a:t>
            </a:r>
            <a:r>
              <a:rPr spc="-6" dirty="0"/>
              <a:t>ОЦЕНКИ </a:t>
            </a:r>
            <a:r>
              <a:rPr dirty="0"/>
              <a:t>ПРЕМИАЛЬНЫХ</a:t>
            </a:r>
            <a:r>
              <a:rPr spc="3" dirty="0"/>
              <a:t> </a:t>
            </a:r>
            <a:r>
              <a:rPr spc="-6" dirty="0"/>
              <a:t>ТОВАРОВ</a:t>
            </a:r>
          </a:p>
          <a:p>
            <a:pPr marL="7701" marR="3081">
              <a:lnSpc>
                <a:spcPct val="100600"/>
              </a:lnSpc>
            </a:pPr>
            <a:r>
              <a:rPr dirty="0"/>
              <a:t>(Premium</a:t>
            </a:r>
            <a:r>
              <a:rPr spc="-12" dirty="0"/>
              <a:t> </a:t>
            </a:r>
            <a:r>
              <a:rPr dirty="0"/>
              <a:t>Club,</a:t>
            </a:r>
            <a:r>
              <a:rPr spc="-12" dirty="0"/>
              <a:t> </a:t>
            </a:r>
            <a:r>
              <a:rPr dirty="0"/>
              <a:t>Dolce</a:t>
            </a:r>
            <a:r>
              <a:rPr spc="-12" dirty="0"/>
              <a:t> </a:t>
            </a:r>
            <a:r>
              <a:rPr spc="-6" dirty="0"/>
              <a:t>Albero, Welgot):</a:t>
            </a:r>
          </a:p>
          <a:p>
            <a:pPr>
              <a:spcBef>
                <a:spcPts val="58"/>
              </a:spcBef>
            </a:pPr>
            <a:endParaRPr spc="-6" dirty="0"/>
          </a:p>
          <a:p>
            <a:pPr marL="184061" indent="-176359">
              <a:lnSpc>
                <a:spcPts val="2392"/>
              </a:lnSpc>
              <a:buChar char="•"/>
              <a:tabLst>
                <a:tab pos="184061" algn="l"/>
              </a:tabLst>
            </a:pPr>
            <a:r>
              <a:rPr sz="1546" b="0" dirty="0"/>
              <a:t>ПИТ</a:t>
            </a:r>
            <a:r>
              <a:rPr sz="1546" b="0" spc="-3" dirty="0"/>
              <a:t> </a:t>
            </a:r>
            <a:r>
              <a:rPr sz="2031" dirty="0">
                <a:solidFill>
                  <a:srgbClr val="3CAC62"/>
                </a:solidFill>
              </a:rPr>
              <a:t>&gt;</a:t>
            </a:r>
            <a:r>
              <a:rPr sz="2031" spc="9" dirty="0">
                <a:solidFill>
                  <a:srgbClr val="3CAC62"/>
                </a:solidFill>
              </a:rPr>
              <a:t> </a:t>
            </a:r>
            <a:r>
              <a:rPr sz="2031" dirty="0">
                <a:solidFill>
                  <a:srgbClr val="3CAC62"/>
                </a:solidFill>
              </a:rPr>
              <a:t>70%</a:t>
            </a:r>
            <a:r>
              <a:rPr sz="2031" spc="12" dirty="0">
                <a:solidFill>
                  <a:srgbClr val="3CAC62"/>
                </a:solidFill>
              </a:rPr>
              <a:t> </a:t>
            </a:r>
            <a:r>
              <a:rPr sz="2031" spc="-30" dirty="0">
                <a:solidFill>
                  <a:srgbClr val="3CAC62"/>
                </a:solidFill>
              </a:rPr>
              <a:t>-</a:t>
            </a:r>
            <a:endParaRPr sz="2031" dirty="0"/>
          </a:p>
          <a:p>
            <a:pPr marL="215251">
              <a:lnSpc>
                <a:spcPts val="1810"/>
              </a:lnSpc>
            </a:pPr>
            <a:r>
              <a:rPr sz="1546" b="0" dirty="0"/>
              <a:t>не</a:t>
            </a:r>
            <a:r>
              <a:rPr sz="1546" b="0" spc="-18" dirty="0"/>
              <a:t> </a:t>
            </a:r>
            <a:r>
              <a:rPr sz="1546" b="0" dirty="0"/>
              <a:t>требует</a:t>
            </a:r>
            <a:r>
              <a:rPr sz="1546" b="0" spc="-15" dirty="0"/>
              <a:t> </a:t>
            </a:r>
            <a:r>
              <a:rPr sz="1546" b="0" spc="-6" dirty="0"/>
              <a:t>улучшений</a:t>
            </a:r>
            <a:endParaRPr sz="1546" dirty="0"/>
          </a:p>
          <a:p>
            <a:pPr>
              <a:spcBef>
                <a:spcPts val="97"/>
              </a:spcBef>
            </a:pPr>
            <a:endParaRPr sz="1546" dirty="0"/>
          </a:p>
          <a:p>
            <a:pPr marL="184061" indent="-176359">
              <a:lnSpc>
                <a:spcPts val="2392"/>
              </a:lnSpc>
              <a:spcBef>
                <a:spcPts val="3"/>
              </a:spcBef>
              <a:buChar char="•"/>
              <a:tabLst>
                <a:tab pos="184061" algn="l"/>
              </a:tabLst>
            </a:pPr>
            <a:r>
              <a:rPr sz="1546" b="0" dirty="0"/>
              <a:t>ПИТ</a:t>
            </a:r>
            <a:r>
              <a:rPr sz="1546" b="0" spc="-3" dirty="0"/>
              <a:t> </a:t>
            </a:r>
            <a:r>
              <a:rPr sz="2031" dirty="0">
                <a:solidFill>
                  <a:srgbClr val="F9B80E"/>
                </a:solidFill>
              </a:rPr>
              <a:t>–</a:t>
            </a:r>
            <a:r>
              <a:rPr sz="2031" spc="6" dirty="0">
                <a:solidFill>
                  <a:srgbClr val="F9B80E"/>
                </a:solidFill>
              </a:rPr>
              <a:t> </a:t>
            </a:r>
            <a:r>
              <a:rPr sz="2031" dirty="0">
                <a:solidFill>
                  <a:srgbClr val="F9B80E"/>
                </a:solidFill>
              </a:rPr>
              <a:t>50-70%</a:t>
            </a:r>
            <a:r>
              <a:rPr sz="2031" spc="3" dirty="0">
                <a:solidFill>
                  <a:srgbClr val="F9B80E"/>
                </a:solidFill>
              </a:rPr>
              <a:t> </a:t>
            </a:r>
            <a:r>
              <a:rPr sz="2031" spc="-30" dirty="0">
                <a:solidFill>
                  <a:srgbClr val="F9B80E"/>
                </a:solidFill>
              </a:rPr>
              <a:t>-</a:t>
            </a:r>
            <a:endParaRPr sz="2031" dirty="0"/>
          </a:p>
          <a:p>
            <a:pPr marL="215251">
              <a:lnSpc>
                <a:spcPts val="1810"/>
              </a:lnSpc>
            </a:pPr>
            <a:r>
              <a:rPr sz="1546" b="0" dirty="0"/>
              <a:t>товар</a:t>
            </a:r>
            <a:r>
              <a:rPr sz="1546" b="0" spc="-6" dirty="0"/>
              <a:t> </a:t>
            </a:r>
            <a:r>
              <a:rPr sz="1546" b="0" dirty="0"/>
              <a:t>под</a:t>
            </a:r>
            <a:r>
              <a:rPr sz="1546" b="0" spc="-6" dirty="0"/>
              <a:t> наблюдением,</a:t>
            </a:r>
            <a:endParaRPr sz="1546" dirty="0"/>
          </a:p>
          <a:p>
            <a:pPr>
              <a:spcBef>
                <a:spcPts val="97"/>
              </a:spcBef>
            </a:pPr>
            <a:endParaRPr sz="1546" dirty="0"/>
          </a:p>
          <a:p>
            <a:pPr marL="184061" indent="-176359">
              <a:lnSpc>
                <a:spcPts val="2392"/>
              </a:lnSpc>
              <a:buChar char="•"/>
              <a:tabLst>
                <a:tab pos="184061" algn="l"/>
              </a:tabLst>
            </a:pPr>
            <a:r>
              <a:rPr sz="1546" b="0" dirty="0"/>
              <a:t>ПИТ</a:t>
            </a:r>
            <a:r>
              <a:rPr sz="1546" b="0" spc="-3" dirty="0"/>
              <a:t> </a:t>
            </a:r>
            <a:r>
              <a:rPr sz="2031" dirty="0">
                <a:solidFill>
                  <a:srgbClr val="FF7500"/>
                </a:solidFill>
              </a:rPr>
              <a:t>&lt;</a:t>
            </a:r>
            <a:r>
              <a:rPr sz="2031" spc="9" dirty="0">
                <a:solidFill>
                  <a:srgbClr val="FF7500"/>
                </a:solidFill>
              </a:rPr>
              <a:t> </a:t>
            </a:r>
            <a:r>
              <a:rPr sz="2031" dirty="0">
                <a:solidFill>
                  <a:srgbClr val="FF7500"/>
                </a:solidFill>
              </a:rPr>
              <a:t>50%</a:t>
            </a:r>
            <a:r>
              <a:rPr sz="2031" spc="12" dirty="0">
                <a:solidFill>
                  <a:srgbClr val="FF7500"/>
                </a:solidFill>
              </a:rPr>
              <a:t> </a:t>
            </a:r>
            <a:r>
              <a:rPr sz="2031" spc="-30" dirty="0">
                <a:solidFill>
                  <a:srgbClr val="FF7500"/>
                </a:solidFill>
              </a:rPr>
              <a:t>-</a:t>
            </a:r>
            <a:endParaRPr sz="2031" dirty="0"/>
          </a:p>
          <a:p>
            <a:pPr marL="215251">
              <a:lnSpc>
                <a:spcPts val="1810"/>
              </a:lnSpc>
            </a:pPr>
            <a:r>
              <a:rPr sz="1546" b="0" dirty="0"/>
              <a:t>запуск</a:t>
            </a:r>
            <a:r>
              <a:rPr sz="1546" b="0" spc="-6" dirty="0"/>
              <a:t> </a:t>
            </a:r>
            <a:r>
              <a:rPr sz="1546" b="0" dirty="0"/>
              <a:t>процесса</a:t>
            </a:r>
            <a:r>
              <a:rPr sz="1546" b="0" spc="-6" dirty="0"/>
              <a:t> доработки</a:t>
            </a:r>
            <a:endParaRPr sz="1546" dirty="0"/>
          </a:p>
          <a:p>
            <a:pPr marL="208705">
              <a:spcBef>
                <a:spcPts val="27"/>
              </a:spcBef>
            </a:pPr>
            <a:r>
              <a:rPr sz="940" b="0" i="1" dirty="0"/>
              <a:t>(доработка,</a:t>
            </a:r>
            <a:r>
              <a:rPr sz="940" b="0" i="1" spc="33" dirty="0"/>
              <a:t> </a:t>
            </a:r>
            <a:r>
              <a:rPr sz="940" b="0" i="1" dirty="0"/>
              <a:t>смена</a:t>
            </a:r>
            <a:r>
              <a:rPr sz="940" b="0" i="1" spc="36" dirty="0"/>
              <a:t> </a:t>
            </a:r>
            <a:r>
              <a:rPr sz="940" b="0" i="1" dirty="0"/>
              <a:t>поставщика,</a:t>
            </a:r>
            <a:r>
              <a:rPr sz="940" b="0" i="1" spc="36" dirty="0"/>
              <a:t> </a:t>
            </a:r>
            <a:r>
              <a:rPr sz="940" b="0" i="1" dirty="0"/>
              <a:t>вывод</a:t>
            </a:r>
            <a:r>
              <a:rPr sz="940" b="0" i="1" spc="36" dirty="0"/>
              <a:t> </a:t>
            </a:r>
            <a:r>
              <a:rPr sz="940" b="0" i="1" spc="-6" dirty="0"/>
              <a:t>товара)</a:t>
            </a:r>
            <a:endParaRPr sz="940" dirty="0"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632276" y="1052804"/>
            <a:ext cx="3044706" cy="414499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>
              <a:spcBef>
                <a:spcPts val="67"/>
              </a:spcBef>
            </a:pPr>
            <a:r>
              <a:rPr sz="2638" b="0" dirty="0"/>
              <a:t>Критерии</a:t>
            </a:r>
            <a:r>
              <a:rPr sz="2638" b="0" spc="-21" dirty="0"/>
              <a:t> </a:t>
            </a:r>
            <a:r>
              <a:rPr sz="2638" b="0" spc="-6" dirty="0"/>
              <a:t>оценки</a:t>
            </a:r>
            <a:endParaRPr sz="2638" dirty="0"/>
          </a:p>
        </p:txBody>
      </p:sp>
      <p:grpSp>
        <p:nvGrpSpPr>
          <p:cNvPr id="8" name="object 8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9" name="object 9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0" name="object 10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11" name="object 11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object 12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2299" y="5868648"/>
            <a:ext cx="1307772" cy="706781"/>
          </a:xfrm>
          <a:prstGeom prst="rect">
            <a:avLst/>
          </a:prstGeom>
        </p:spPr>
      </p:pic>
      <p:grpSp>
        <p:nvGrpSpPr>
          <p:cNvPr id="14" name="Группа 13"/>
          <p:cNvGrpSpPr/>
          <p:nvPr/>
        </p:nvGrpSpPr>
        <p:grpSpPr>
          <a:xfrm>
            <a:off x="9145712" y="5868648"/>
            <a:ext cx="1483086" cy="716155"/>
            <a:chOff x="15150131" y="9681796"/>
            <a:chExt cx="2413706" cy="1165535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15150131" y="9681796"/>
              <a:ext cx="2413706" cy="1165535"/>
            </a:xfrm>
            <a:prstGeom prst="rect">
              <a:avLst/>
            </a:prstGeom>
            <a:solidFill>
              <a:srgbClr val="663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92"/>
            </a:p>
          </p:txBody>
        </p:sp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362686" y="10033472"/>
              <a:ext cx="2017332" cy="462182"/>
            </a:xfrm>
            <a:prstGeom prst="rect">
              <a:avLst/>
            </a:prstGeom>
            <a:solidFill>
              <a:srgbClr val="663300"/>
            </a:solidFill>
          </p:spPr>
        </p:pic>
      </p:grpSp>
      <p:sp>
        <p:nvSpPr>
          <p:cNvPr id="18" name="AutoShape 2" descr="Image"/>
          <p:cNvSpPr>
            <a:spLocks noChangeAspect="1" noChangeArrowheads="1"/>
          </p:cNvSpPr>
          <p:nvPr/>
        </p:nvSpPr>
        <p:spPr bwMode="auto">
          <a:xfrm>
            <a:off x="94769" y="-87602"/>
            <a:ext cx="184831" cy="184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5449" tIns="27725" rIns="55449" bIns="27725" numCol="1" anchor="t" anchorCtr="0" compatLnSpc="1">
            <a:prstTxWarp prst="textNoShape">
              <a:avLst/>
            </a:prstTxWarp>
          </a:bodyPr>
          <a:lstStyle/>
          <a:p>
            <a:endParaRPr lang="ru-RU" sz="1092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4"/>
          <a:srcRect l="30101" t="17850" r="27816" b="28075"/>
          <a:stretch/>
        </p:blipFill>
        <p:spPr>
          <a:xfrm>
            <a:off x="6554768" y="5870697"/>
            <a:ext cx="972204" cy="702682"/>
          </a:xfrm>
          <a:prstGeom prst="rect">
            <a:avLst/>
          </a:prstGeom>
        </p:spPr>
      </p:pic>
      <p:sp>
        <p:nvSpPr>
          <p:cNvPr id="22" name="object 35"/>
          <p:cNvSpPr txBox="1">
            <a:spLocks/>
          </p:cNvSpPr>
          <p:nvPr/>
        </p:nvSpPr>
        <p:spPr>
          <a:xfrm>
            <a:off x="619931" y="364195"/>
            <a:ext cx="9429319" cy="67333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>
            <a:lvl1pPr>
              <a:defRPr sz="4950" b="1" i="0">
                <a:solidFill>
                  <a:srgbClr val="003B95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7701" marR="3081">
              <a:lnSpc>
                <a:spcPct val="100400"/>
              </a:lnSpc>
              <a:spcBef>
                <a:spcPts val="58"/>
              </a:spcBef>
            </a:pPr>
            <a:r>
              <a:rPr lang="ru-RU" sz="2122" dirty="0"/>
              <a:t>ОЦЕНКА</a:t>
            </a:r>
            <a:r>
              <a:rPr lang="ru-RU" sz="2122" spc="-6" dirty="0"/>
              <a:t> </a:t>
            </a:r>
            <a:r>
              <a:rPr lang="ru-RU" sz="2122" dirty="0"/>
              <a:t>УДОВЛЕТВОРЕННОСТИ </a:t>
            </a:r>
            <a:r>
              <a:rPr lang="ru-RU" sz="2122" spc="-6" dirty="0"/>
              <a:t>ПОКУПАТЕЛЕЙ:</a:t>
            </a:r>
          </a:p>
          <a:p>
            <a:pPr marL="7701" marR="3081">
              <a:lnSpc>
                <a:spcPct val="100400"/>
              </a:lnSpc>
              <a:spcBef>
                <a:spcPts val="58"/>
              </a:spcBef>
            </a:pPr>
            <a:r>
              <a:rPr lang="ru-RU" sz="2122" b="0" dirty="0"/>
              <a:t>мониторинг</a:t>
            </a:r>
            <a:r>
              <a:rPr lang="ru-RU" sz="2122" b="0" spc="-30" dirty="0"/>
              <a:t> </a:t>
            </a:r>
            <a:r>
              <a:rPr lang="ru-RU" sz="2122" b="0" dirty="0"/>
              <a:t>отзывов,</a:t>
            </a:r>
            <a:r>
              <a:rPr lang="ru-RU" sz="2122" b="0" spc="-24" dirty="0"/>
              <a:t> </a:t>
            </a:r>
            <a:r>
              <a:rPr lang="ru-RU" sz="2122" b="0" spc="-6" dirty="0"/>
              <a:t>жалоб, </a:t>
            </a:r>
            <a:r>
              <a:rPr lang="ru-RU" sz="2122" b="0" dirty="0"/>
              <a:t>оценок</a:t>
            </a:r>
            <a:r>
              <a:rPr lang="ru-RU" sz="2122" b="0" spc="3" dirty="0"/>
              <a:t> </a:t>
            </a:r>
            <a:r>
              <a:rPr lang="ru-RU" sz="2122" b="0" spc="-6" dirty="0"/>
              <a:t>покупателей</a:t>
            </a:r>
            <a:endParaRPr lang="ru-RU" sz="2122" b="0" dirty="0"/>
          </a:p>
        </p:txBody>
      </p:sp>
    </p:spTree>
    <p:extLst>
      <p:ext uri="{BB962C8B-B14F-4D97-AF65-F5344CB8AC3E}">
        <p14:creationId xmlns:p14="http://schemas.microsoft.com/office/powerpoint/2010/main" val="2593708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53962" y="1469184"/>
            <a:ext cx="4468674" cy="2280086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 marR="3081" defTabSz="554492">
              <a:spcBef>
                <a:spcPts val="76"/>
              </a:spcBef>
            </a:pP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ДЕГУСТАЦИИ</a:t>
            </a:r>
            <a:r>
              <a:rPr sz="1334" b="1" kern="0" spc="3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В</a:t>
            </a:r>
            <a:r>
              <a:rPr sz="1334" b="1" kern="0" spc="4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334" b="1" kern="0" dirty="0">
                <a:solidFill>
                  <a:srgbClr val="18418F"/>
                </a:solidFill>
                <a:latin typeface="Verdana"/>
                <a:cs typeface="Verdana"/>
              </a:rPr>
              <a:t>ОФИСЕ КОМПАНИИ</a:t>
            </a:r>
            <a:r>
              <a:rPr sz="1334" b="1" kern="0" spc="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–</a:t>
            </a:r>
            <a:r>
              <a:rPr sz="1334" b="1" kern="0" spc="3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БЫСТРАЯ,</a:t>
            </a:r>
            <a:r>
              <a:rPr sz="1334" b="1" kern="0" spc="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b="1" kern="0" spc="-6" dirty="0">
                <a:solidFill>
                  <a:srgbClr val="18418F"/>
                </a:solidFill>
                <a:latin typeface="Verdana"/>
                <a:cs typeface="Verdana"/>
              </a:rPr>
              <a:t>ЭКСПЕРТНАЯ 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ОЦЕНКА</a:t>
            </a:r>
            <a:endParaRPr lang="ru-RU" sz="1334" b="1" kern="0" spc="58" dirty="0">
              <a:solidFill>
                <a:srgbClr val="18418F"/>
              </a:solidFill>
              <a:latin typeface="Verdana"/>
              <a:cs typeface="Verdana"/>
            </a:endParaRPr>
          </a:p>
          <a:p>
            <a:pPr marL="7701" marR="3081" defTabSz="554492">
              <a:spcBef>
                <a:spcPts val="76"/>
              </a:spcBef>
            </a:pP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ДЛЯ</a:t>
            </a:r>
            <a:r>
              <a:rPr sz="1334" b="1" kern="0" spc="5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b="1" kern="0" dirty="0">
                <a:solidFill>
                  <a:srgbClr val="18418F"/>
                </a:solidFill>
                <a:latin typeface="Verdana"/>
                <a:cs typeface="Verdana"/>
              </a:rPr>
              <a:t>ПРИНЯТИЯ</a:t>
            </a:r>
            <a:r>
              <a:rPr sz="1334" b="1" kern="0" spc="5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b="1" kern="0" spc="-6" dirty="0">
                <a:solidFill>
                  <a:srgbClr val="18418F"/>
                </a:solidFill>
                <a:latin typeface="Verdana"/>
                <a:cs typeface="Verdana"/>
              </a:rPr>
              <a:t>РЕШЕНИЯ</a:t>
            </a:r>
            <a:endParaRPr sz="133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718529" defTabSz="554492">
              <a:lnSpc>
                <a:spcPts val="1601"/>
              </a:lnSpc>
              <a:spcBef>
                <a:spcPts val="52"/>
              </a:spcBef>
            </a:pP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(эксперты:</a:t>
            </a:r>
            <a:r>
              <a:rPr sz="1334" kern="0" spc="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сотрудники</a:t>
            </a:r>
            <a:r>
              <a:rPr sz="1334" kern="0" spc="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службы</a:t>
            </a:r>
            <a:r>
              <a:rPr sz="1334" kern="0" spc="4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spc="-6" dirty="0">
                <a:solidFill>
                  <a:srgbClr val="18418F"/>
                </a:solidFill>
                <a:latin typeface="Verdana"/>
                <a:cs typeface="Verdana"/>
              </a:rPr>
              <a:t>Качества,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Категорийные</a:t>
            </a:r>
            <a:r>
              <a:rPr sz="1334" kern="0" spc="10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spc="-6" dirty="0">
                <a:solidFill>
                  <a:srgbClr val="18418F"/>
                </a:solidFill>
                <a:latin typeface="Verdana"/>
                <a:cs typeface="Verdana"/>
              </a:rPr>
              <a:t>менеджеры, 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Категорийные</a:t>
            </a:r>
            <a:r>
              <a:rPr sz="1334" kern="0" spc="10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spc="-6" dirty="0">
                <a:solidFill>
                  <a:srgbClr val="18418F"/>
                </a:solidFill>
                <a:latin typeface="Verdana"/>
                <a:cs typeface="Verdana"/>
              </a:rPr>
              <a:t>руководители)</a:t>
            </a:r>
            <a:endParaRPr sz="133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1601"/>
              </a:lnSpc>
              <a:spcBef>
                <a:spcPts val="1540"/>
              </a:spcBef>
            </a:pPr>
            <a:r>
              <a:rPr sz="1334" b="1" kern="0" dirty="0">
                <a:solidFill>
                  <a:srgbClr val="3CAC62"/>
                </a:solidFill>
                <a:latin typeface="Verdana"/>
                <a:cs typeface="Verdana"/>
              </a:rPr>
              <a:t>ОЦЕНИВАЮТСЯ</a:t>
            </a:r>
            <a:r>
              <a:rPr sz="1334" b="1" kern="0" spc="121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334" b="1" kern="0" spc="-6" dirty="0">
                <a:solidFill>
                  <a:srgbClr val="3CAC62"/>
                </a:solidFill>
                <a:latin typeface="Verdana"/>
                <a:cs typeface="Verdana"/>
              </a:rPr>
              <a:t>ОБРАЗЦЫ</a:t>
            </a:r>
            <a:endParaRPr sz="133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60957" indent="-153255" defTabSz="554492">
              <a:lnSpc>
                <a:spcPts val="1601"/>
              </a:lnSpc>
              <a:buFontTx/>
              <a:buChar char="•"/>
              <a:tabLst>
                <a:tab pos="160957" algn="l"/>
              </a:tabLst>
            </a:pP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Тендерные</a:t>
            </a:r>
            <a:r>
              <a:rPr sz="1334" kern="0" spc="64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образцы</a:t>
            </a:r>
            <a:r>
              <a:rPr sz="1334" kern="0" spc="61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spc="-6" dirty="0">
                <a:solidFill>
                  <a:srgbClr val="18418F"/>
                </a:solidFill>
                <a:latin typeface="Verdana"/>
                <a:cs typeface="Verdana"/>
              </a:rPr>
              <a:t>поставщиков</a:t>
            </a:r>
            <a:endParaRPr sz="133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60957" indent="-153255" defTabSz="554492">
              <a:lnSpc>
                <a:spcPts val="1601"/>
              </a:lnSpc>
              <a:buFontTx/>
              <a:buChar char="•"/>
              <a:tabLst>
                <a:tab pos="160957" algn="l"/>
              </a:tabLst>
            </a:pP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Новинки,</a:t>
            </a:r>
            <a:r>
              <a:rPr sz="1334" kern="0" spc="8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предлагаемые</a:t>
            </a:r>
            <a:r>
              <a:rPr sz="1334" kern="0" spc="8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spc="-6" dirty="0">
                <a:solidFill>
                  <a:srgbClr val="18418F"/>
                </a:solidFill>
                <a:latin typeface="Verdana"/>
                <a:cs typeface="Verdana"/>
              </a:rPr>
              <a:t>поставщиками</a:t>
            </a:r>
            <a:endParaRPr sz="133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60957" indent="-153255" defTabSz="554492">
              <a:spcBef>
                <a:spcPts val="3"/>
              </a:spcBef>
              <a:buFontTx/>
              <a:buChar char="•"/>
              <a:tabLst>
                <a:tab pos="160957" algn="l"/>
              </a:tabLst>
            </a:pP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Текущие</a:t>
            </a:r>
            <a:r>
              <a:rPr sz="1334" kern="0" spc="61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334" kern="0" dirty="0">
                <a:solidFill>
                  <a:srgbClr val="18418F"/>
                </a:solidFill>
                <a:latin typeface="Verdana"/>
                <a:cs typeface="Verdana"/>
              </a:rPr>
              <a:t>товары</a:t>
            </a:r>
            <a:r>
              <a:rPr sz="1334" kern="0" spc="58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788" kern="0" dirty="0">
                <a:solidFill>
                  <a:srgbClr val="18418F"/>
                </a:solidFill>
                <a:latin typeface="Verdana"/>
                <a:cs typeface="Verdana"/>
              </a:rPr>
              <a:t>(проверка</a:t>
            </a:r>
            <a:r>
              <a:rPr sz="788" kern="0" spc="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788" kern="0" dirty="0">
                <a:solidFill>
                  <a:srgbClr val="18418F"/>
                </a:solidFill>
                <a:latin typeface="Verdana"/>
                <a:cs typeface="Verdana"/>
              </a:rPr>
              <a:t>качества,</a:t>
            </a:r>
            <a:r>
              <a:rPr sz="788" kern="0" spc="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788" kern="0" dirty="0">
                <a:solidFill>
                  <a:srgbClr val="18418F"/>
                </a:solidFill>
                <a:latin typeface="Verdana"/>
                <a:cs typeface="Verdana"/>
              </a:rPr>
              <a:t>жалоб</a:t>
            </a:r>
            <a:r>
              <a:rPr sz="788" kern="0" spc="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788" kern="0" dirty="0">
                <a:solidFill>
                  <a:srgbClr val="18418F"/>
                </a:solidFill>
                <a:latin typeface="Verdana"/>
                <a:cs typeface="Verdana"/>
              </a:rPr>
              <a:t>покупателей,</a:t>
            </a:r>
            <a:r>
              <a:rPr sz="788" kern="0" spc="3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788" kern="0" spc="-6" dirty="0">
                <a:solidFill>
                  <a:srgbClr val="18418F"/>
                </a:solidFill>
                <a:latin typeface="Verdana"/>
                <a:cs typeface="Verdana"/>
              </a:rPr>
              <a:t>коллег)</a:t>
            </a:r>
            <a:endParaRPr sz="788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700615" y="4013175"/>
            <a:ext cx="955345" cy="955345"/>
            <a:chOff x="1154660" y="6618023"/>
            <a:chExt cx="1575435" cy="1575435"/>
          </a:xfrm>
        </p:grpSpPr>
        <p:sp>
          <p:nvSpPr>
            <p:cNvPr id="4" name="object 4"/>
            <p:cNvSpPr/>
            <p:nvPr/>
          </p:nvSpPr>
          <p:spPr>
            <a:xfrm>
              <a:off x="1154660" y="6618023"/>
              <a:ext cx="1575435" cy="1575435"/>
            </a:xfrm>
            <a:custGeom>
              <a:avLst/>
              <a:gdLst/>
              <a:ahLst/>
              <a:cxnLst/>
              <a:rect l="l" t="t" r="r" b="b"/>
              <a:pathLst>
                <a:path w="1575435" h="1575434">
                  <a:moveTo>
                    <a:pt x="787546" y="0"/>
                  </a:moveTo>
                  <a:lnTo>
                    <a:pt x="739571" y="1437"/>
                  </a:lnTo>
                  <a:lnTo>
                    <a:pt x="692356" y="5694"/>
                  </a:lnTo>
                  <a:lnTo>
                    <a:pt x="645984" y="12688"/>
                  </a:lnTo>
                  <a:lnTo>
                    <a:pt x="600536" y="22338"/>
                  </a:lnTo>
                  <a:lnTo>
                    <a:pt x="556096" y="34560"/>
                  </a:lnTo>
                  <a:lnTo>
                    <a:pt x="512746" y="49272"/>
                  </a:lnTo>
                  <a:lnTo>
                    <a:pt x="470567" y="66392"/>
                  </a:lnTo>
                  <a:lnTo>
                    <a:pt x="429643" y="85837"/>
                  </a:lnTo>
                  <a:lnTo>
                    <a:pt x="390056" y="107525"/>
                  </a:lnTo>
                  <a:lnTo>
                    <a:pt x="351888" y="131374"/>
                  </a:lnTo>
                  <a:lnTo>
                    <a:pt x="315222" y="157302"/>
                  </a:lnTo>
                  <a:lnTo>
                    <a:pt x="280140" y="185225"/>
                  </a:lnTo>
                  <a:lnTo>
                    <a:pt x="246724" y="215062"/>
                  </a:lnTo>
                  <a:lnTo>
                    <a:pt x="215057" y="246729"/>
                  </a:lnTo>
                  <a:lnTo>
                    <a:pt x="185221" y="280146"/>
                  </a:lnTo>
                  <a:lnTo>
                    <a:pt x="157298" y="315229"/>
                  </a:lnTo>
                  <a:lnTo>
                    <a:pt x="131371" y="351896"/>
                  </a:lnTo>
                  <a:lnTo>
                    <a:pt x="107523" y="390064"/>
                  </a:lnTo>
                  <a:lnTo>
                    <a:pt x="85835" y="429652"/>
                  </a:lnTo>
                  <a:lnTo>
                    <a:pt x="66390" y="470576"/>
                  </a:lnTo>
                  <a:lnTo>
                    <a:pt x="49270" y="512755"/>
                  </a:lnTo>
                  <a:lnTo>
                    <a:pt x="34559" y="556106"/>
                  </a:lnTo>
                  <a:lnTo>
                    <a:pt x="22337" y="600546"/>
                  </a:lnTo>
                  <a:lnTo>
                    <a:pt x="12688" y="645994"/>
                  </a:lnTo>
                  <a:lnTo>
                    <a:pt x="5694" y="692366"/>
                  </a:lnTo>
                  <a:lnTo>
                    <a:pt x="1437" y="739581"/>
                  </a:lnTo>
                  <a:lnTo>
                    <a:pt x="0" y="787557"/>
                  </a:lnTo>
                  <a:lnTo>
                    <a:pt x="1437" y="835532"/>
                  </a:lnTo>
                  <a:lnTo>
                    <a:pt x="5694" y="882747"/>
                  </a:lnTo>
                  <a:lnTo>
                    <a:pt x="12688" y="929120"/>
                  </a:lnTo>
                  <a:lnTo>
                    <a:pt x="22337" y="974567"/>
                  </a:lnTo>
                  <a:lnTo>
                    <a:pt x="34559" y="1019008"/>
                  </a:lnTo>
                  <a:lnTo>
                    <a:pt x="49270" y="1062359"/>
                  </a:lnTo>
                  <a:lnTo>
                    <a:pt x="66390" y="1104537"/>
                  </a:lnTo>
                  <a:lnTo>
                    <a:pt x="85835" y="1145462"/>
                  </a:lnTo>
                  <a:lnTo>
                    <a:pt x="107523" y="1185049"/>
                  </a:lnTo>
                  <a:lnTo>
                    <a:pt x="131371" y="1223218"/>
                  </a:lnTo>
                  <a:lnTo>
                    <a:pt x="157298" y="1259885"/>
                  </a:lnTo>
                  <a:lnTo>
                    <a:pt x="185221" y="1294967"/>
                  </a:lnTo>
                  <a:lnTo>
                    <a:pt x="215057" y="1328384"/>
                  </a:lnTo>
                  <a:lnTo>
                    <a:pt x="246724" y="1360052"/>
                  </a:lnTo>
                  <a:lnTo>
                    <a:pt x="280140" y="1389888"/>
                  </a:lnTo>
                  <a:lnTo>
                    <a:pt x="315222" y="1417812"/>
                  </a:lnTo>
                  <a:lnTo>
                    <a:pt x="351888" y="1443739"/>
                  </a:lnTo>
                  <a:lnTo>
                    <a:pt x="390056" y="1467588"/>
                  </a:lnTo>
                  <a:lnTo>
                    <a:pt x="429643" y="1489276"/>
                  </a:lnTo>
                  <a:lnTo>
                    <a:pt x="470567" y="1508722"/>
                  </a:lnTo>
                  <a:lnTo>
                    <a:pt x="512746" y="1525842"/>
                  </a:lnTo>
                  <a:lnTo>
                    <a:pt x="556096" y="1540554"/>
                  </a:lnTo>
                  <a:lnTo>
                    <a:pt x="600536" y="1552776"/>
                  </a:lnTo>
                  <a:lnTo>
                    <a:pt x="645984" y="1562425"/>
                  </a:lnTo>
                  <a:lnTo>
                    <a:pt x="692356" y="1569419"/>
                  </a:lnTo>
                  <a:lnTo>
                    <a:pt x="739571" y="1573677"/>
                  </a:lnTo>
                  <a:lnTo>
                    <a:pt x="787546" y="1575114"/>
                  </a:lnTo>
                  <a:lnTo>
                    <a:pt x="835522" y="1573677"/>
                  </a:lnTo>
                  <a:lnTo>
                    <a:pt x="882738" y="1569419"/>
                  </a:lnTo>
                  <a:lnTo>
                    <a:pt x="929112" y="1562425"/>
                  </a:lnTo>
                  <a:lnTo>
                    <a:pt x="974560" y="1552776"/>
                  </a:lnTo>
                  <a:lnTo>
                    <a:pt x="1019001" y="1540554"/>
                  </a:lnTo>
                  <a:lnTo>
                    <a:pt x="1062352" y="1525842"/>
                  </a:lnTo>
                  <a:lnTo>
                    <a:pt x="1104531" y="1508722"/>
                  </a:lnTo>
                  <a:lnTo>
                    <a:pt x="1145456" y="1489276"/>
                  </a:lnTo>
                  <a:lnTo>
                    <a:pt x="1185044" y="1467588"/>
                  </a:lnTo>
                  <a:lnTo>
                    <a:pt x="1223212" y="1443739"/>
                  </a:lnTo>
                  <a:lnTo>
                    <a:pt x="1259879" y="1417812"/>
                  </a:lnTo>
                  <a:lnTo>
                    <a:pt x="1294961" y="1389888"/>
                  </a:lnTo>
                  <a:lnTo>
                    <a:pt x="1328378" y="1360052"/>
                  </a:lnTo>
                  <a:lnTo>
                    <a:pt x="1360045" y="1328384"/>
                  </a:lnTo>
                  <a:lnTo>
                    <a:pt x="1389881" y="1294967"/>
                  </a:lnTo>
                  <a:lnTo>
                    <a:pt x="1417804" y="1259885"/>
                  </a:lnTo>
                  <a:lnTo>
                    <a:pt x="1443731" y="1223218"/>
                  </a:lnTo>
                  <a:lnTo>
                    <a:pt x="1467580" y="1185049"/>
                  </a:lnTo>
                  <a:lnTo>
                    <a:pt x="1489268" y="1145462"/>
                  </a:lnTo>
                  <a:lnTo>
                    <a:pt x="1508713" y="1104537"/>
                  </a:lnTo>
                  <a:lnTo>
                    <a:pt x="1525832" y="1062359"/>
                  </a:lnTo>
                  <a:lnTo>
                    <a:pt x="1540544" y="1019008"/>
                  </a:lnTo>
                  <a:lnTo>
                    <a:pt x="1552766" y="974567"/>
                  </a:lnTo>
                  <a:lnTo>
                    <a:pt x="1562415" y="929120"/>
                  </a:lnTo>
                  <a:lnTo>
                    <a:pt x="1569409" y="882747"/>
                  </a:lnTo>
                  <a:lnTo>
                    <a:pt x="1573666" y="835532"/>
                  </a:lnTo>
                  <a:lnTo>
                    <a:pt x="1575103" y="787557"/>
                  </a:lnTo>
                  <a:lnTo>
                    <a:pt x="1573666" y="739581"/>
                  </a:lnTo>
                  <a:lnTo>
                    <a:pt x="1569409" y="692366"/>
                  </a:lnTo>
                  <a:lnTo>
                    <a:pt x="1562415" y="645994"/>
                  </a:lnTo>
                  <a:lnTo>
                    <a:pt x="1552766" y="600546"/>
                  </a:lnTo>
                  <a:lnTo>
                    <a:pt x="1540544" y="556106"/>
                  </a:lnTo>
                  <a:lnTo>
                    <a:pt x="1525832" y="512755"/>
                  </a:lnTo>
                  <a:lnTo>
                    <a:pt x="1508713" y="470576"/>
                  </a:lnTo>
                  <a:lnTo>
                    <a:pt x="1489268" y="429652"/>
                  </a:lnTo>
                  <a:lnTo>
                    <a:pt x="1467580" y="390064"/>
                  </a:lnTo>
                  <a:lnTo>
                    <a:pt x="1443731" y="351896"/>
                  </a:lnTo>
                  <a:lnTo>
                    <a:pt x="1417804" y="315229"/>
                  </a:lnTo>
                  <a:lnTo>
                    <a:pt x="1389881" y="280146"/>
                  </a:lnTo>
                  <a:lnTo>
                    <a:pt x="1360045" y="246729"/>
                  </a:lnTo>
                  <a:lnTo>
                    <a:pt x="1328378" y="215062"/>
                  </a:lnTo>
                  <a:lnTo>
                    <a:pt x="1294961" y="185225"/>
                  </a:lnTo>
                  <a:lnTo>
                    <a:pt x="1259879" y="157302"/>
                  </a:lnTo>
                  <a:lnTo>
                    <a:pt x="1223212" y="131374"/>
                  </a:lnTo>
                  <a:lnTo>
                    <a:pt x="1185044" y="107525"/>
                  </a:lnTo>
                  <a:lnTo>
                    <a:pt x="1145456" y="85837"/>
                  </a:lnTo>
                  <a:lnTo>
                    <a:pt x="1104531" y="66392"/>
                  </a:lnTo>
                  <a:lnTo>
                    <a:pt x="1062352" y="49272"/>
                  </a:lnTo>
                  <a:lnTo>
                    <a:pt x="1019001" y="34560"/>
                  </a:lnTo>
                  <a:lnTo>
                    <a:pt x="974560" y="22338"/>
                  </a:lnTo>
                  <a:lnTo>
                    <a:pt x="929112" y="12688"/>
                  </a:lnTo>
                  <a:lnTo>
                    <a:pt x="882738" y="5694"/>
                  </a:lnTo>
                  <a:lnTo>
                    <a:pt x="835522" y="1437"/>
                  </a:lnTo>
                  <a:lnTo>
                    <a:pt x="787546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" name="object 5"/>
            <p:cNvSpPr/>
            <p:nvPr/>
          </p:nvSpPr>
          <p:spPr>
            <a:xfrm>
              <a:off x="1455605" y="7060579"/>
              <a:ext cx="972819" cy="810260"/>
            </a:xfrm>
            <a:custGeom>
              <a:avLst/>
              <a:gdLst/>
              <a:ahLst/>
              <a:cxnLst/>
              <a:rect l="l" t="t" r="r" b="b"/>
              <a:pathLst>
                <a:path w="972819" h="810259">
                  <a:moveTo>
                    <a:pt x="520878" y="486410"/>
                  </a:moveTo>
                  <a:lnTo>
                    <a:pt x="486068" y="486410"/>
                  </a:lnTo>
                  <a:lnTo>
                    <a:pt x="486958" y="488950"/>
                  </a:lnTo>
                  <a:lnTo>
                    <a:pt x="487461" y="490220"/>
                  </a:lnTo>
                  <a:lnTo>
                    <a:pt x="488320" y="492760"/>
                  </a:lnTo>
                  <a:lnTo>
                    <a:pt x="495886" y="510540"/>
                  </a:lnTo>
                  <a:lnTo>
                    <a:pt x="503300" y="529590"/>
                  </a:lnTo>
                  <a:lnTo>
                    <a:pt x="511218" y="547370"/>
                  </a:lnTo>
                  <a:lnTo>
                    <a:pt x="547785" y="604520"/>
                  </a:lnTo>
                  <a:lnTo>
                    <a:pt x="580768" y="637540"/>
                  </a:lnTo>
                  <a:lnTo>
                    <a:pt x="618277" y="665480"/>
                  </a:lnTo>
                  <a:lnTo>
                    <a:pt x="659341" y="689610"/>
                  </a:lnTo>
                  <a:lnTo>
                    <a:pt x="665043" y="692150"/>
                  </a:lnTo>
                  <a:lnTo>
                    <a:pt x="670568" y="695960"/>
                  </a:lnTo>
                  <a:lnTo>
                    <a:pt x="675815" y="699770"/>
                  </a:lnTo>
                  <a:lnTo>
                    <a:pt x="680680" y="704850"/>
                  </a:lnTo>
                  <a:lnTo>
                    <a:pt x="701163" y="725170"/>
                  </a:lnTo>
                  <a:lnTo>
                    <a:pt x="721529" y="744220"/>
                  </a:lnTo>
                  <a:lnTo>
                    <a:pt x="741786" y="764540"/>
                  </a:lnTo>
                  <a:lnTo>
                    <a:pt x="761945" y="786130"/>
                  </a:lnTo>
                  <a:lnTo>
                    <a:pt x="769917" y="793750"/>
                  </a:lnTo>
                  <a:lnTo>
                    <a:pt x="778327" y="800100"/>
                  </a:lnTo>
                  <a:lnTo>
                    <a:pt x="787498" y="806450"/>
                  </a:lnTo>
                  <a:lnTo>
                    <a:pt x="797755" y="810260"/>
                  </a:lnTo>
                  <a:lnTo>
                    <a:pt x="932610" y="810260"/>
                  </a:lnTo>
                  <a:lnTo>
                    <a:pt x="952259" y="801370"/>
                  </a:lnTo>
                  <a:lnTo>
                    <a:pt x="964482" y="789940"/>
                  </a:lnTo>
                  <a:lnTo>
                    <a:pt x="968816" y="778510"/>
                  </a:lnTo>
                  <a:lnTo>
                    <a:pt x="804739" y="778510"/>
                  </a:lnTo>
                  <a:lnTo>
                    <a:pt x="798237" y="775970"/>
                  </a:lnTo>
                  <a:lnTo>
                    <a:pt x="769525" y="746760"/>
                  </a:lnTo>
                  <a:lnTo>
                    <a:pt x="700868" y="678180"/>
                  </a:lnTo>
                  <a:lnTo>
                    <a:pt x="695308" y="674370"/>
                  </a:lnTo>
                  <a:lnTo>
                    <a:pt x="689316" y="669290"/>
                  </a:lnTo>
                  <a:lnTo>
                    <a:pt x="682998" y="665480"/>
                  </a:lnTo>
                  <a:lnTo>
                    <a:pt x="632651" y="636270"/>
                  </a:lnTo>
                  <a:lnTo>
                    <a:pt x="593827" y="604520"/>
                  </a:lnTo>
                  <a:lnTo>
                    <a:pt x="560928" y="567690"/>
                  </a:lnTo>
                  <a:lnTo>
                    <a:pt x="534894" y="524510"/>
                  </a:lnTo>
                  <a:lnTo>
                    <a:pt x="527421" y="506730"/>
                  </a:lnTo>
                  <a:lnTo>
                    <a:pt x="521236" y="487680"/>
                  </a:lnTo>
                  <a:lnTo>
                    <a:pt x="520878" y="486410"/>
                  </a:lnTo>
                  <a:close/>
                </a:path>
                <a:path w="972819" h="810259">
                  <a:moveTo>
                    <a:pt x="886028" y="227330"/>
                  </a:moveTo>
                  <a:lnTo>
                    <a:pt x="850120" y="227330"/>
                  </a:lnTo>
                  <a:lnTo>
                    <a:pt x="853848" y="229870"/>
                  </a:lnTo>
                  <a:lnTo>
                    <a:pt x="854926" y="237490"/>
                  </a:lnTo>
                  <a:lnTo>
                    <a:pt x="857926" y="256540"/>
                  </a:lnTo>
                  <a:lnTo>
                    <a:pt x="861062" y="275590"/>
                  </a:lnTo>
                  <a:lnTo>
                    <a:pt x="863838" y="294640"/>
                  </a:lnTo>
                  <a:lnTo>
                    <a:pt x="865753" y="313690"/>
                  </a:lnTo>
                  <a:lnTo>
                    <a:pt x="867184" y="341630"/>
                  </a:lnTo>
                  <a:lnTo>
                    <a:pt x="867249" y="342900"/>
                  </a:lnTo>
                  <a:lnTo>
                    <a:pt x="868105" y="372110"/>
                  </a:lnTo>
                  <a:lnTo>
                    <a:pt x="868495" y="387350"/>
                  </a:lnTo>
                  <a:lnTo>
                    <a:pt x="868593" y="391160"/>
                  </a:lnTo>
                  <a:lnTo>
                    <a:pt x="868690" y="394970"/>
                  </a:lnTo>
                  <a:lnTo>
                    <a:pt x="868755" y="397510"/>
                  </a:lnTo>
                  <a:lnTo>
                    <a:pt x="868853" y="401320"/>
                  </a:lnTo>
                  <a:lnTo>
                    <a:pt x="868885" y="402590"/>
                  </a:lnTo>
                  <a:lnTo>
                    <a:pt x="869986" y="427990"/>
                  </a:lnTo>
                  <a:lnTo>
                    <a:pt x="870096" y="430530"/>
                  </a:lnTo>
                  <a:lnTo>
                    <a:pt x="875923" y="469900"/>
                  </a:lnTo>
                  <a:lnTo>
                    <a:pt x="893313" y="518160"/>
                  </a:lnTo>
                  <a:lnTo>
                    <a:pt x="917699" y="547370"/>
                  </a:lnTo>
                  <a:lnTo>
                    <a:pt x="928957" y="561340"/>
                  </a:lnTo>
                  <a:lnTo>
                    <a:pt x="936258" y="575310"/>
                  </a:lnTo>
                  <a:lnTo>
                    <a:pt x="940038" y="590550"/>
                  </a:lnTo>
                  <a:lnTo>
                    <a:pt x="940628" y="604520"/>
                  </a:lnTo>
                  <a:lnTo>
                    <a:pt x="940735" y="607060"/>
                  </a:lnTo>
                  <a:lnTo>
                    <a:pt x="940057" y="636270"/>
                  </a:lnTo>
                  <a:lnTo>
                    <a:pt x="940128" y="756920"/>
                  </a:lnTo>
                  <a:lnTo>
                    <a:pt x="939036" y="767080"/>
                  </a:lnTo>
                  <a:lnTo>
                    <a:pt x="935438" y="773430"/>
                  </a:lnTo>
                  <a:lnTo>
                    <a:pt x="928827" y="777240"/>
                  </a:lnTo>
                  <a:lnTo>
                    <a:pt x="918694" y="778510"/>
                  </a:lnTo>
                  <a:lnTo>
                    <a:pt x="968816" y="778510"/>
                  </a:lnTo>
                  <a:lnTo>
                    <a:pt x="970742" y="773430"/>
                  </a:lnTo>
                  <a:lnTo>
                    <a:pt x="972504" y="751840"/>
                  </a:lnTo>
                  <a:lnTo>
                    <a:pt x="972609" y="584200"/>
                  </a:lnTo>
                  <a:lnTo>
                    <a:pt x="971757" y="572770"/>
                  </a:lnTo>
                  <a:lnTo>
                    <a:pt x="952532" y="538480"/>
                  </a:lnTo>
                  <a:lnTo>
                    <a:pt x="947587" y="533400"/>
                  </a:lnTo>
                  <a:lnTo>
                    <a:pt x="942586" y="527050"/>
                  </a:lnTo>
                  <a:lnTo>
                    <a:pt x="913686" y="486410"/>
                  </a:lnTo>
                  <a:lnTo>
                    <a:pt x="904318" y="445770"/>
                  </a:lnTo>
                  <a:lnTo>
                    <a:pt x="902556" y="417830"/>
                  </a:lnTo>
                  <a:lnTo>
                    <a:pt x="902476" y="416560"/>
                  </a:lnTo>
                  <a:lnTo>
                    <a:pt x="901301" y="391160"/>
                  </a:lnTo>
                  <a:lnTo>
                    <a:pt x="901184" y="388620"/>
                  </a:lnTo>
                  <a:lnTo>
                    <a:pt x="900113" y="359410"/>
                  </a:lnTo>
                  <a:lnTo>
                    <a:pt x="899103" y="328930"/>
                  </a:lnTo>
                  <a:lnTo>
                    <a:pt x="897846" y="302260"/>
                  </a:lnTo>
                  <a:lnTo>
                    <a:pt x="895445" y="275590"/>
                  </a:lnTo>
                  <a:lnTo>
                    <a:pt x="891295" y="248920"/>
                  </a:lnTo>
                  <a:lnTo>
                    <a:pt x="886028" y="227330"/>
                  </a:lnTo>
                  <a:close/>
                </a:path>
                <a:path w="972819" h="810259">
                  <a:moveTo>
                    <a:pt x="385160" y="227330"/>
                  </a:moveTo>
                  <a:lnTo>
                    <a:pt x="348680" y="227330"/>
                  </a:lnTo>
                  <a:lnTo>
                    <a:pt x="348609" y="233680"/>
                  </a:lnTo>
                  <a:lnTo>
                    <a:pt x="348486" y="251460"/>
                  </a:lnTo>
                  <a:lnTo>
                    <a:pt x="348641" y="254000"/>
                  </a:lnTo>
                  <a:lnTo>
                    <a:pt x="348719" y="255270"/>
                  </a:lnTo>
                  <a:lnTo>
                    <a:pt x="348797" y="256540"/>
                  </a:lnTo>
                  <a:lnTo>
                    <a:pt x="348874" y="257810"/>
                  </a:lnTo>
                  <a:lnTo>
                    <a:pt x="348952" y="259080"/>
                  </a:lnTo>
                  <a:lnTo>
                    <a:pt x="349438" y="264160"/>
                  </a:lnTo>
                  <a:lnTo>
                    <a:pt x="349560" y="265430"/>
                  </a:lnTo>
                  <a:lnTo>
                    <a:pt x="349057" y="269240"/>
                  </a:lnTo>
                  <a:lnTo>
                    <a:pt x="344523" y="274320"/>
                  </a:lnTo>
                  <a:lnTo>
                    <a:pt x="332685" y="290830"/>
                  </a:lnTo>
                  <a:lnTo>
                    <a:pt x="325868" y="307340"/>
                  </a:lnTo>
                  <a:lnTo>
                    <a:pt x="324146" y="326390"/>
                  </a:lnTo>
                  <a:lnTo>
                    <a:pt x="327592" y="345440"/>
                  </a:lnTo>
                  <a:lnTo>
                    <a:pt x="335693" y="363220"/>
                  </a:lnTo>
                  <a:lnTo>
                    <a:pt x="347595" y="378460"/>
                  </a:lnTo>
                  <a:lnTo>
                    <a:pt x="363138" y="388620"/>
                  </a:lnTo>
                  <a:lnTo>
                    <a:pt x="382166" y="394970"/>
                  </a:lnTo>
                  <a:lnTo>
                    <a:pt x="389443" y="397510"/>
                  </a:lnTo>
                  <a:lnTo>
                    <a:pt x="393453" y="397510"/>
                  </a:lnTo>
                  <a:lnTo>
                    <a:pt x="391833" y="415290"/>
                  </a:lnTo>
                  <a:lnTo>
                    <a:pt x="391717" y="416560"/>
                  </a:lnTo>
                  <a:lnTo>
                    <a:pt x="401969" y="453390"/>
                  </a:lnTo>
                  <a:lnTo>
                    <a:pt x="430508" y="480060"/>
                  </a:lnTo>
                  <a:lnTo>
                    <a:pt x="466467" y="487680"/>
                  </a:lnTo>
                  <a:lnTo>
                    <a:pt x="486068" y="486410"/>
                  </a:lnTo>
                  <a:lnTo>
                    <a:pt x="520878" y="486410"/>
                  </a:lnTo>
                  <a:lnTo>
                    <a:pt x="516216" y="469900"/>
                  </a:lnTo>
                  <a:lnTo>
                    <a:pt x="513031" y="454660"/>
                  </a:lnTo>
                  <a:lnTo>
                    <a:pt x="454408" y="454660"/>
                  </a:lnTo>
                  <a:lnTo>
                    <a:pt x="442403" y="449580"/>
                  </a:lnTo>
                  <a:lnTo>
                    <a:pt x="432510" y="440690"/>
                  </a:lnTo>
                  <a:lnTo>
                    <a:pt x="425922" y="427990"/>
                  </a:lnTo>
                  <a:lnTo>
                    <a:pt x="424018" y="415290"/>
                  </a:lnTo>
                  <a:lnTo>
                    <a:pt x="426873" y="401320"/>
                  </a:lnTo>
                  <a:lnTo>
                    <a:pt x="434562" y="388620"/>
                  </a:lnTo>
                  <a:lnTo>
                    <a:pt x="474780" y="388620"/>
                  </a:lnTo>
                  <a:lnTo>
                    <a:pt x="457154" y="364490"/>
                  </a:lnTo>
                  <a:lnTo>
                    <a:pt x="401248" y="364490"/>
                  </a:lnTo>
                  <a:lnTo>
                    <a:pt x="388222" y="363220"/>
                  </a:lnTo>
                  <a:lnTo>
                    <a:pt x="375657" y="358140"/>
                  </a:lnTo>
                  <a:lnTo>
                    <a:pt x="365130" y="349250"/>
                  </a:lnTo>
                  <a:lnTo>
                    <a:pt x="358453" y="336550"/>
                  </a:lnTo>
                  <a:lnTo>
                    <a:pt x="356680" y="322580"/>
                  </a:lnTo>
                  <a:lnTo>
                    <a:pt x="359776" y="309880"/>
                  </a:lnTo>
                  <a:lnTo>
                    <a:pt x="367706" y="298450"/>
                  </a:lnTo>
                  <a:lnTo>
                    <a:pt x="408425" y="298450"/>
                  </a:lnTo>
                  <a:lnTo>
                    <a:pt x="390092" y="274320"/>
                  </a:lnTo>
                  <a:lnTo>
                    <a:pt x="384066" y="264160"/>
                  </a:lnTo>
                  <a:lnTo>
                    <a:pt x="380539" y="254000"/>
                  </a:lnTo>
                  <a:lnTo>
                    <a:pt x="380081" y="246380"/>
                  </a:lnTo>
                  <a:lnTo>
                    <a:pt x="380004" y="245110"/>
                  </a:lnTo>
                  <a:lnTo>
                    <a:pt x="379928" y="243840"/>
                  </a:lnTo>
                  <a:lnTo>
                    <a:pt x="382648" y="232410"/>
                  </a:lnTo>
                  <a:lnTo>
                    <a:pt x="385160" y="227330"/>
                  </a:lnTo>
                  <a:close/>
                </a:path>
                <a:path w="972819" h="810259">
                  <a:moveTo>
                    <a:pt x="474780" y="388620"/>
                  </a:moveTo>
                  <a:lnTo>
                    <a:pt x="434562" y="388620"/>
                  </a:lnTo>
                  <a:lnTo>
                    <a:pt x="480665" y="452120"/>
                  </a:lnTo>
                  <a:lnTo>
                    <a:pt x="467503" y="454660"/>
                  </a:lnTo>
                  <a:lnTo>
                    <a:pt x="513031" y="454660"/>
                  </a:lnTo>
                  <a:lnTo>
                    <a:pt x="512235" y="450850"/>
                  </a:lnTo>
                  <a:lnTo>
                    <a:pt x="510615" y="444500"/>
                  </a:lnTo>
                  <a:lnTo>
                    <a:pt x="508255" y="436880"/>
                  </a:lnTo>
                  <a:lnTo>
                    <a:pt x="505210" y="430530"/>
                  </a:lnTo>
                  <a:lnTo>
                    <a:pt x="474780" y="388620"/>
                  </a:lnTo>
                  <a:close/>
                </a:path>
                <a:path w="972819" h="810259">
                  <a:moveTo>
                    <a:pt x="894210" y="205740"/>
                  </a:moveTo>
                  <a:lnTo>
                    <a:pt x="425165" y="205740"/>
                  </a:lnTo>
                  <a:lnTo>
                    <a:pt x="435768" y="209550"/>
                  </a:lnTo>
                  <a:lnTo>
                    <a:pt x="445147" y="214630"/>
                  </a:lnTo>
                  <a:lnTo>
                    <a:pt x="453253" y="223520"/>
                  </a:lnTo>
                  <a:lnTo>
                    <a:pt x="537977" y="337820"/>
                  </a:lnTo>
                  <a:lnTo>
                    <a:pt x="565741" y="375920"/>
                  </a:lnTo>
                  <a:lnTo>
                    <a:pt x="577246" y="388620"/>
                  </a:lnTo>
                  <a:lnTo>
                    <a:pt x="587775" y="391160"/>
                  </a:lnTo>
                  <a:lnTo>
                    <a:pt x="597609" y="387350"/>
                  </a:lnTo>
                  <a:lnTo>
                    <a:pt x="607028" y="374650"/>
                  </a:lnTo>
                  <a:lnTo>
                    <a:pt x="618553" y="346710"/>
                  </a:lnTo>
                  <a:lnTo>
                    <a:pt x="584694" y="346710"/>
                  </a:lnTo>
                  <a:lnTo>
                    <a:pt x="496906" y="227330"/>
                  </a:lnTo>
                  <a:lnTo>
                    <a:pt x="886028" y="227330"/>
                  </a:lnTo>
                  <a:lnTo>
                    <a:pt x="884789" y="222250"/>
                  </a:lnTo>
                  <a:lnTo>
                    <a:pt x="884067" y="219710"/>
                  </a:lnTo>
                  <a:lnTo>
                    <a:pt x="885418" y="215900"/>
                  </a:lnTo>
                  <a:lnTo>
                    <a:pt x="887313" y="214630"/>
                  </a:lnTo>
                  <a:lnTo>
                    <a:pt x="894210" y="205740"/>
                  </a:lnTo>
                  <a:close/>
                </a:path>
                <a:path w="972819" h="810259">
                  <a:moveTo>
                    <a:pt x="408425" y="298450"/>
                  </a:moveTo>
                  <a:lnTo>
                    <a:pt x="367706" y="298450"/>
                  </a:lnTo>
                  <a:lnTo>
                    <a:pt x="413160" y="359410"/>
                  </a:lnTo>
                  <a:lnTo>
                    <a:pt x="401248" y="364490"/>
                  </a:lnTo>
                  <a:lnTo>
                    <a:pt x="457154" y="364490"/>
                  </a:lnTo>
                  <a:lnTo>
                    <a:pt x="418074" y="311150"/>
                  </a:lnTo>
                  <a:lnTo>
                    <a:pt x="408425" y="298450"/>
                  </a:lnTo>
                  <a:close/>
                </a:path>
                <a:path w="972819" h="810259">
                  <a:moveTo>
                    <a:pt x="606515" y="227330"/>
                  </a:moveTo>
                  <a:lnTo>
                    <a:pt x="567825" y="227330"/>
                  </a:lnTo>
                  <a:lnTo>
                    <a:pt x="570652" y="229870"/>
                  </a:lnTo>
                  <a:lnTo>
                    <a:pt x="571626" y="231140"/>
                  </a:lnTo>
                  <a:lnTo>
                    <a:pt x="583426" y="256540"/>
                  </a:lnTo>
                  <a:lnTo>
                    <a:pt x="591016" y="281940"/>
                  </a:lnTo>
                  <a:lnTo>
                    <a:pt x="593094" y="307340"/>
                  </a:lnTo>
                  <a:lnTo>
                    <a:pt x="593198" y="308610"/>
                  </a:lnTo>
                  <a:lnTo>
                    <a:pt x="588777" y="335280"/>
                  </a:lnTo>
                  <a:lnTo>
                    <a:pt x="587845" y="339090"/>
                  </a:lnTo>
                  <a:lnTo>
                    <a:pt x="586400" y="341630"/>
                  </a:lnTo>
                  <a:lnTo>
                    <a:pt x="584694" y="346710"/>
                  </a:lnTo>
                  <a:lnTo>
                    <a:pt x="618553" y="346710"/>
                  </a:lnTo>
                  <a:lnTo>
                    <a:pt x="620649" y="341630"/>
                  </a:lnTo>
                  <a:lnTo>
                    <a:pt x="625407" y="308610"/>
                  </a:lnTo>
                  <a:lnTo>
                    <a:pt x="622371" y="275590"/>
                  </a:lnTo>
                  <a:lnTo>
                    <a:pt x="612609" y="242570"/>
                  </a:lnTo>
                  <a:lnTo>
                    <a:pt x="610840" y="237490"/>
                  </a:lnTo>
                  <a:lnTo>
                    <a:pt x="608850" y="233680"/>
                  </a:lnTo>
                  <a:lnTo>
                    <a:pt x="606515" y="227330"/>
                  </a:lnTo>
                  <a:close/>
                </a:path>
                <a:path w="972819" h="810259">
                  <a:moveTo>
                    <a:pt x="106530" y="33020"/>
                  </a:moveTo>
                  <a:lnTo>
                    <a:pt x="44068" y="52070"/>
                  </a:lnTo>
                  <a:lnTo>
                    <a:pt x="16355" y="111760"/>
                  </a:lnTo>
                  <a:lnTo>
                    <a:pt x="16266" y="113030"/>
                  </a:lnTo>
                  <a:lnTo>
                    <a:pt x="16177" y="114300"/>
                  </a:lnTo>
                  <a:lnTo>
                    <a:pt x="15297" y="118110"/>
                  </a:lnTo>
                  <a:lnTo>
                    <a:pt x="4649" y="132080"/>
                  </a:lnTo>
                  <a:lnTo>
                    <a:pt x="0" y="138430"/>
                  </a:lnTo>
                  <a:lnTo>
                    <a:pt x="0" y="163830"/>
                  </a:lnTo>
                  <a:lnTo>
                    <a:pt x="596" y="165100"/>
                  </a:lnTo>
                  <a:lnTo>
                    <a:pt x="1455" y="166370"/>
                  </a:lnTo>
                  <a:lnTo>
                    <a:pt x="1738" y="168910"/>
                  </a:lnTo>
                  <a:lnTo>
                    <a:pt x="14578" y="209550"/>
                  </a:lnTo>
                  <a:lnTo>
                    <a:pt x="38312" y="245110"/>
                  </a:lnTo>
                  <a:lnTo>
                    <a:pt x="71094" y="271780"/>
                  </a:lnTo>
                  <a:lnTo>
                    <a:pt x="111075" y="287020"/>
                  </a:lnTo>
                  <a:lnTo>
                    <a:pt x="157612" y="292100"/>
                  </a:lnTo>
                  <a:lnTo>
                    <a:pt x="173272" y="292100"/>
                  </a:lnTo>
                  <a:lnTo>
                    <a:pt x="209586" y="288290"/>
                  </a:lnTo>
                  <a:lnTo>
                    <a:pt x="242213" y="278130"/>
                  </a:lnTo>
                  <a:lnTo>
                    <a:pt x="271113" y="259080"/>
                  </a:lnTo>
                  <a:lnTo>
                    <a:pt x="146975" y="259080"/>
                  </a:lnTo>
                  <a:lnTo>
                    <a:pt x="131879" y="257810"/>
                  </a:lnTo>
                  <a:lnTo>
                    <a:pt x="84716" y="242570"/>
                  </a:lnTo>
                  <a:lnTo>
                    <a:pt x="40752" y="189230"/>
                  </a:lnTo>
                  <a:lnTo>
                    <a:pt x="32616" y="146050"/>
                  </a:lnTo>
                  <a:lnTo>
                    <a:pt x="900981" y="146050"/>
                  </a:lnTo>
                  <a:lnTo>
                    <a:pt x="895083" y="135890"/>
                  </a:lnTo>
                  <a:lnTo>
                    <a:pt x="882233" y="124460"/>
                  </a:lnTo>
                  <a:lnTo>
                    <a:pt x="866130" y="116840"/>
                  </a:lnTo>
                  <a:lnTo>
                    <a:pt x="847523" y="114300"/>
                  </a:lnTo>
                  <a:lnTo>
                    <a:pt x="798143" y="114300"/>
                  </a:lnTo>
                  <a:lnTo>
                    <a:pt x="792954" y="113030"/>
                  </a:lnTo>
                  <a:lnTo>
                    <a:pt x="49883" y="113030"/>
                  </a:lnTo>
                  <a:lnTo>
                    <a:pt x="53651" y="92710"/>
                  </a:lnTo>
                  <a:lnTo>
                    <a:pt x="67088" y="76200"/>
                  </a:lnTo>
                  <a:lnTo>
                    <a:pt x="86887" y="66040"/>
                  </a:lnTo>
                  <a:lnTo>
                    <a:pt x="129640" y="66040"/>
                  </a:lnTo>
                  <a:lnTo>
                    <a:pt x="131361" y="64770"/>
                  </a:lnTo>
                  <a:lnTo>
                    <a:pt x="136885" y="55880"/>
                  </a:lnTo>
                  <a:lnTo>
                    <a:pt x="154469" y="39370"/>
                  </a:lnTo>
                  <a:lnTo>
                    <a:pt x="172135" y="34290"/>
                  </a:lnTo>
                  <a:lnTo>
                    <a:pt x="109619" y="34290"/>
                  </a:lnTo>
                  <a:lnTo>
                    <a:pt x="106530" y="33020"/>
                  </a:lnTo>
                  <a:close/>
                </a:path>
                <a:path w="972819" h="810259">
                  <a:moveTo>
                    <a:pt x="284891" y="194310"/>
                  </a:moveTo>
                  <a:lnTo>
                    <a:pt x="279363" y="198120"/>
                  </a:lnTo>
                  <a:lnTo>
                    <a:pt x="274850" y="205740"/>
                  </a:lnTo>
                  <a:lnTo>
                    <a:pt x="255997" y="228600"/>
                  </a:lnTo>
                  <a:lnTo>
                    <a:pt x="233369" y="246380"/>
                  </a:lnTo>
                  <a:lnTo>
                    <a:pt x="207113" y="256540"/>
                  </a:lnTo>
                  <a:lnTo>
                    <a:pt x="177376" y="259080"/>
                  </a:lnTo>
                  <a:lnTo>
                    <a:pt x="271113" y="259080"/>
                  </a:lnTo>
                  <a:lnTo>
                    <a:pt x="296242" y="232410"/>
                  </a:lnTo>
                  <a:lnTo>
                    <a:pt x="297781" y="229870"/>
                  </a:lnTo>
                  <a:lnTo>
                    <a:pt x="300430" y="227330"/>
                  </a:lnTo>
                  <a:lnTo>
                    <a:pt x="385160" y="227330"/>
                  </a:lnTo>
                  <a:lnTo>
                    <a:pt x="387672" y="222250"/>
                  </a:lnTo>
                  <a:lnTo>
                    <a:pt x="394477" y="214630"/>
                  </a:lnTo>
                  <a:lnTo>
                    <a:pt x="403053" y="209550"/>
                  </a:lnTo>
                  <a:lnTo>
                    <a:pt x="413390" y="207010"/>
                  </a:lnTo>
                  <a:lnTo>
                    <a:pt x="425165" y="205740"/>
                  </a:lnTo>
                  <a:lnTo>
                    <a:pt x="894210" y="205740"/>
                  </a:lnTo>
                  <a:lnTo>
                    <a:pt x="899136" y="199390"/>
                  </a:lnTo>
                  <a:lnTo>
                    <a:pt x="900839" y="195580"/>
                  </a:lnTo>
                  <a:lnTo>
                    <a:pt x="293446" y="195580"/>
                  </a:lnTo>
                  <a:lnTo>
                    <a:pt x="284891" y="194310"/>
                  </a:lnTo>
                  <a:close/>
                </a:path>
                <a:path w="972819" h="810259">
                  <a:moveTo>
                    <a:pt x="532705" y="194310"/>
                  </a:moveTo>
                  <a:lnTo>
                    <a:pt x="365559" y="194310"/>
                  </a:lnTo>
                  <a:lnTo>
                    <a:pt x="361810" y="195580"/>
                  </a:lnTo>
                  <a:lnTo>
                    <a:pt x="847597" y="195580"/>
                  </a:lnTo>
                  <a:lnTo>
                    <a:pt x="532705" y="194310"/>
                  </a:lnTo>
                  <a:close/>
                </a:path>
                <a:path w="972819" h="810259">
                  <a:moveTo>
                    <a:pt x="900981" y="146050"/>
                  </a:moveTo>
                  <a:lnTo>
                    <a:pt x="852413" y="146050"/>
                  </a:lnTo>
                  <a:lnTo>
                    <a:pt x="857774" y="148590"/>
                  </a:lnTo>
                  <a:lnTo>
                    <a:pt x="865207" y="151130"/>
                  </a:lnTo>
                  <a:lnTo>
                    <a:pt x="870893" y="157480"/>
                  </a:lnTo>
                  <a:lnTo>
                    <a:pt x="874371" y="165100"/>
                  </a:lnTo>
                  <a:lnTo>
                    <a:pt x="875177" y="172720"/>
                  </a:lnTo>
                  <a:lnTo>
                    <a:pt x="873063" y="180340"/>
                  </a:lnTo>
                  <a:lnTo>
                    <a:pt x="868529" y="186690"/>
                  </a:lnTo>
                  <a:lnTo>
                    <a:pt x="862003" y="191770"/>
                  </a:lnTo>
                  <a:lnTo>
                    <a:pt x="853911" y="194310"/>
                  </a:lnTo>
                  <a:lnTo>
                    <a:pt x="850801" y="195580"/>
                  </a:lnTo>
                  <a:lnTo>
                    <a:pt x="900839" y="195580"/>
                  </a:lnTo>
                  <a:lnTo>
                    <a:pt x="905948" y="184150"/>
                  </a:lnTo>
                  <a:lnTo>
                    <a:pt x="907471" y="168910"/>
                  </a:lnTo>
                  <a:lnTo>
                    <a:pt x="907598" y="167640"/>
                  </a:lnTo>
                  <a:lnTo>
                    <a:pt x="903930" y="151130"/>
                  </a:lnTo>
                  <a:lnTo>
                    <a:pt x="900981" y="146050"/>
                  </a:lnTo>
                  <a:close/>
                </a:path>
                <a:path w="972819" h="810259">
                  <a:moveTo>
                    <a:pt x="418955" y="173990"/>
                  </a:moveTo>
                  <a:lnTo>
                    <a:pt x="395023" y="177800"/>
                  </a:lnTo>
                  <a:lnTo>
                    <a:pt x="372878" y="191770"/>
                  </a:lnTo>
                  <a:lnTo>
                    <a:pt x="370103" y="194310"/>
                  </a:lnTo>
                  <a:lnTo>
                    <a:pt x="475639" y="194310"/>
                  </a:lnTo>
                  <a:lnTo>
                    <a:pt x="469640" y="193040"/>
                  </a:lnTo>
                  <a:lnTo>
                    <a:pt x="465566" y="189230"/>
                  </a:lnTo>
                  <a:lnTo>
                    <a:pt x="443021" y="177800"/>
                  </a:lnTo>
                  <a:lnTo>
                    <a:pt x="418955" y="173990"/>
                  </a:lnTo>
                  <a:close/>
                </a:path>
                <a:path w="972819" h="810259">
                  <a:moveTo>
                    <a:pt x="243343" y="33020"/>
                  </a:moveTo>
                  <a:lnTo>
                    <a:pt x="176552" y="33020"/>
                  </a:lnTo>
                  <a:lnTo>
                    <a:pt x="198976" y="38100"/>
                  </a:lnTo>
                  <a:lnTo>
                    <a:pt x="217584" y="53340"/>
                  </a:lnTo>
                  <a:lnTo>
                    <a:pt x="222925" y="60960"/>
                  </a:lnTo>
                  <a:lnTo>
                    <a:pt x="228862" y="64770"/>
                  </a:lnTo>
                  <a:lnTo>
                    <a:pt x="237992" y="67310"/>
                  </a:lnTo>
                  <a:lnTo>
                    <a:pt x="252876" y="72390"/>
                  </a:lnTo>
                  <a:lnTo>
                    <a:pt x="264505" y="83820"/>
                  </a:lnTo>
                  <a:lnTo>
                    <a:pt x="272159" y="96520"/>
                  </a:lnTo>
                  <a:lnTo>
                    <a:pt x="275122" y="113030"/>
                  </a:lnTo>
                  <a:lnTo>
                    <a:pt x="308200" y="113030"/>
                  </a:lnTo>
                  <a:lnTo>
                    <a:pt x="302577" y="86360"/>
                  </a:lnTo>
                  <a:lnTo>
                    <a:pt x="290954" y="64770"/>
                  </a:lnTo>
                  <a:lnTo>
                    <a:pt x="273119" y="48260"/>
                  </a:lnTo>
                  <a:lnTo>
                    <a:pt x="248861" y="35560"/>
                  </a:lnTo>
                  <a:lnTo>
                    <a:pt x="243343" y="33020"/>
                  </a:lnTo>
                  <a:close/>
                </a:path>
                <a:path w="972819" h="810259">
                  <a:moveTo>
                    <a:pt x="440625" y="49530"/>
                  </a:moveTo>
                  <a:lnTo>
                    <a:pt x="392514" y="59690"/>
                  </a:lnTo>
                  <a:lnTo>
                    <a:pt x="361036" y="96520"/>
                  </a:lnTo>
                  <a:lnTo>
                    <a:pt x="357758" y="107950"/>
                  </a:lnTo>
                  <a:lnTo>
                    <a:pt x="356198" y="113030"/>
                  </a:lnTo>
                  <a:lnTo>
                    <a:pt x="390626" y="113030"/>
                  </a:lnTo>
                  <a:lnTo>
                    <a:pt x="395842" y="99060"/>
                  </a:lnTo>
                  <a:lnTo>
                    <a:pt x="405890" y="88900"/>
                  </a:lnTo>
                  <a:lnTo>
                    <a:pt x="419445" y="82550"/>
                  </a:lnTo>
                  <a:lnTo>
                    <a:pt x="654482" y="82550"/>
                  </a:lnTo>
                  <a:lnTo>
                    <a:pt x="583228" y="71120"/>
                  </a:lnTo>
                  <a:lnTo>
                    <a:pt x="488154" y="57150"/>
                  </a:lnTo>
                  <a:lnTo>
                    <a:pt x="440625" y="49530"/>
                  </a:lnTo>
                  <a:close/>
                </a:path>
                <a:path w="972819" h="810259">
                  <a:moveTo>
                    <a:pt x="654482" y="82550"/>
                  </a:moveTo>
                  <a:lnTo>
                    <a:pt x="435180" y="82550"/>
                  </a:lnTo>
                  <a:lnTo>
                    <a:pt x="525091" y="95250"/>
                  </a:lnTo>
                  <a:lnTo>
                    <a:pt x="622347" y="110490"/>
                  </a:lnTo>
                  <a:lnTo>
                    <a:pt x="636954" y="113030"/>
                  </a:lnTo>
                  <a:lnTo>
                    <a:pt x="792954" y="113030"/>
                  </a:lnTo>
                  <a:lnTo>
                    <a:pt x="782740" y="110490"/>
                  </a:lnTo>
                  <a:lnTo>
                    <a:pt x="754388" y="100330"/>
                  </a:lnTo>
                  <a:lnTo>
                    <a:pt x="740159" y="96520"/>
                  </a:lnTo>
                  <a:lnTo>
                    <a:pt x="725737" y="93980"/>
                  </a:lnTo>
                  <a:lnTo>
                    <a:pt x="654482" y="82550"/>
                  </a:lnTo>
                  <a:close/>
                </a:path>
                <a:path w="972819" h="810259">
                  <a:moveTo>
                    <a:pt x="129640" y="66040"/>
                  </a:moveTo>
                  <a:lnTo>
                    <a:pt x="86887" y="66040"/>
                  </a:lnTo>
                  <a:lnTo>
                    <a:pt x="109745" y="67310"/>
                  </a:lnTo>
                  <a:lnTo>
                    <a:pt x="119593" y="68580"/>
                  </a:lnTo>
                  <a:lnTo>
                    <a:pt x="126197" y="68580"/>
                  </a:lnTo>
                  <a:lnTo>
                    <a:pt x="129640" y="66040"/>
                  </a:lnTo>
                  <a:close/>
                </a:path>
                <a:path w="972819" h="810259">
                  <a:moveTo>
                    <a:pt x="178861" y="0"/>
                  </a:moveTo>
                  <a:lnTo>
                    <a:pt x="145597" y="7620"/>
                  </a:lnTo>
                  <a:lnTo>
                    <a:pt x="115965" y="29210"/>
                  </a:lnTo>
                  <a:lnTo>
                    <a:pt x="113891" y="31750"/>
                  </a:lnTo>
                  <a:lnTo>
                    <a:pt x="109619" y="34290"/>
                  </a:lnTo>
                  <a:lnTo>
                    <a:pt x="172135" y="34290"/>
                  </a:lnTo>
                  <a:lnTo>
                    <a:pt x="176552" y="33020"/>
                  </a:lnTo>
                  <a:lnTo>
                    <a:pt x="243343" y="33020"/>
                  </a:lnTo>
                  <a:lnTo>
                    <a:pt x="241395" y="30480"/>
                  </a:lnTo>
                  <a:lnTo>
                    <a:pt x="212034" y="7620"/>
                  </a:lnTo>
                  <a:lnTo>
                    <a:pt x="17886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698844" y="6930014"/>
              <a:ext cx="64427" cy="130174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504518" y="6930343"/>
              <a:ext cx="64573" cy="129744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601837" y="6898242"/>
              <a:ext cx="64375" cy="130027"/>
            </a:xfrm>
            <a:prstGeom prst="rect">
              <a:avLst/>
            </a:prstGeom>
          </p:spPr>
        </p:pic>
      </p:grpSp>
      <p:sp>
        <p:nvSpPr>
          <p:cNvPr id="9" name="object 9"/>
          <p:cNvSpPr txBox="1"/>
          <p:nvPr/>
        </p:nvSpPr>
        <p:spPr>
          <a:xfrm>
            <a:off x="709096" y="5065298"/>
            <a:ext cx="937632" cy="1073705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84329" marR="80093" indent="-385" algn="ctr" defTabSz="554492">
              <a:lnSpc>
                <a:spcPct val="101099"/>
              </a:lnSpc>
              <a:spcBef>
                <a:spcPts val="58"/>
              </a:spcBef>
            </a:pPr>
            <a:r>
              <a:rPr sz="970" b="1" kern="0" spc="-6" dirty="0">
                <a:solidFill>
                  <a:srgbClr val="18418F"/>
                </a:solidFill>
                <a:latin typeface="Verdana"/>
                <a:cs typeface="Verdana"/>
              </a:rPr>
              <a:t>Каждый УЧАСТНИК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indent="-770" algn="ctr" defTabSz="554492">
              <a:lnSpc>
                <a:spcPts val="1213"/>
              </a:lnSpc>
              <a:spcBef>
                <a:spcPts val="12"/>
              </a:spcBef>
            </a:pPr>
            <a:r>
              <a:rPr sz="970" b="1" kern="0" spc="-6" dirty="0">
                <a:solidFill>
                  <a:srgbClr val="18418F"/>
                </a:solidFill>
                <a:latin typeface="Verdana"/>
                <a:cs typeface="Verdana"/>
              </a:rPr>
              <a:t>оценивает </a:t>
            </a:r>
            <a:r>
              <a:rPr sz="970" kern="0" dirty="0">
                <a:solidFill>
                  <a:srgbClr val="18418F"/>
                </a:solidFill>
                <a:latin typeface="Verdana"/>
                <a:cs typeface="Verdana"/>
              </a:rPr>
              <a:t>Внешний</a:t>
            </a:r>
            <a:r>
              <a:rPr sz="970" kern="0" spc="21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kern="0" spc="-12" dirty="0">
                <a:solidFill>
                  <a:srgbClr val="18418F"/>
                </a:solidFill>
                <a:latin typeface="Verdana"/>
                <a:cs typeface="Verdana"/>
              </a:rPr>
              <a:t>вид/ </a:t>
            </a:r>
            <a:r>
              <a:rPr sz="970" kern="0" spc="-6" dirty="0">
                <a:solidFill>
                  <a:srgbClr val="18418F"/>
                </a:solidFill>
                <a:latin typeface="Verdana"/>
                <a:cs typeface="Verdana"/>
              </a:rPr>
              <a:t>консистенцию Аромат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algn="ctr" defTabSz="554492">
              <a:spcBef>
                <a:spcPts val="9"/>
              </a:spcBef>
            </a:pPr>
            <a:r>
              <a:rPr sz="970" kern="0" spc="-12" dirty="0">
                <a:solidFill>
                  <a:srgbClr val="18418F"/>
                </a:solidFill>
                <a:latin typeface="Verdana"/>
                <a:cs typeface="Verdana"/>
              </a:rPr>
              <a:t>Вкус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2228300" y="4013175"/>
            <a:ext cx="955345" cy="955345"/>
            <a:chOff x="3673925" y="6618023"/>
            <a:chExt cx="1575435" cy="1575435"/>
          </a:xfrm>
        </p:grpSpPr>
        <p:sp>
          <p:nvSpPr>
            <p:cNvPr id="11" name="object 11"/>
            <p:cNvSpPr/>
            <p:nvPr/>
          </p:nvSpPr>
          <p:spPr>
            <a:xfrm>
              <a:off x="3673925" y="6618023"/>
              <a:ext cx="1575435" cy="1575435"/>
            </a:xfrm>
            <a:custGeom>
              <a:avLst/>
              <a:gdLst/>
              <a:ahLst/>
              <a:cxnLst/>
              <a:rect l="l" t="t" r="r" b="b"/>
              <a:pathLst>
                <a:path w="1575435" h="1575434">
                  <a:moveTo>
                    <a:pt x="787546" y="0"/>
                  </a:moveTo>
                  <a:lnTo>
                    <a:pt x="739571" y="1437"/>
                  </a:lnTo>
                  <a:lnTo>
                    <a:pt x="692356" y="5694"/>
                  </a:lnTo>
                  <a:lnTo>
                    <a:pt x="645984" y="12688"/>
                  </a:lnTo>
                  <a:lnTo>
                    <a:pt x="600536" y="22338"/>
                  </a:lnTo>
                  <a:lnTo>
                    <a:pt x="556096" y="34560"/>
                  </a:lnTo>
                  <a:lnTo>
                    <a:pt x="512746" y="49272"/>
                  </a:lnTo>
                  <a:lnTo>
                    <a:pt x="470567" y="66392"/>
                  </a:lnTo>
                  <a:lnTo>
                    <a:pt x="429643" y="85837"/>
                  </a:lnTo>
                  <a:lnTo>
                    <a:pt x="390056" y="107525"/>
                  </a:lnTo>
                  <a:lnTo>
                    <a:pt x="351888" y="131374"/>
                  </a:lnTo>
                  <a:lnTo>
                    <a:pt x="315222" y="157302"/>
                  </a:lnTo>
                  <a:lnTo>
                    <a:pt x="280140" y="185225"/>
                  </a:lnTo>
                  <a:lnTo>
                    <a:pt x="246724" y="215062"/>
                  </a:lnTo>
                  <a:lnTo>
                    <a:pt x="215057" y="246729"/>
                  </a:lnTo>
                  <a:lnTo>
                    <a:pt x="185221" y="280146"/>
                  </a:lnTo>
                  <a:lnTo>
                    <a:pt x="157298" y="315229"/>
                  </a:lnTo>
                  <a:lnTo>
                    <a:pt x="131371" y="351896"/>
                  </a:lnTo>
                  <a:lnTo>
                    <a:pt x="107523" y="390064"/>
                  </a:lnTo>
                  <a:lnTo>
                    <a:pt x="85835" y="429652"/>
                  </a:lnTo>
                  <a:lnTo>
                    <a:pt x="66390" y="470576"/>
                  </a:lnTo>
                  <a:lnTo>
                    <a:pt x="49270" y="512755"/>
                  </a:lnTo>
                  <a:lnTo>
                    <a:pt x="34559" y="556106"/>
                  </a:lnTo>
                  <a:lnTo>
                    <a:pt x="22337" y="600546"/>
                  </a:lnTo>
                  <a:lnTo>
                    <a:pt x="12688" y="645994"/>
                  </a:lnTo>
                  <a:lnTo>
                    <a:pt x="5694" y="692366"/>
                  </a:lnTo>
                  <a:lnTo>
                    <a:pt x="1437" y="739581"/>
                  </a:lnTo>
                  <a:lnTo>
                    <a:pt x="0" y="787557"/>
                  </a:lnTo>
                  <a:lnTo>
                    <a:pt x="1437" y="835532"/>
                  </a:lnTo>
                  <a:lnTo>
                    <a:pt x="5694" y="882747"/>
                  </a:lnTo>
                  <a:lnTo>
                    <a:pt x="12688" y="929120"/>
                  </a:lnTo>
                  <a:lnTo>
                    <a:pt x="22337" y="974567"/>
                  </a:lnTo>
                  <a:lnTo>
                    <a:pt x="34559" y="1019008"/>
                  </a:lnTo>
                  <a:lnTo>
                    <a:pt x="49270" y="1062359"/>
                  </a:lnTo>
                  <a:lnTo>
                    <a:pt x="66390" y="1104537"/>
                  </a:lnTo>
                  <a:lnTo>
                    <a:pt x="85835" y="1145462"/>
                  </a:lnTo>
                  <a:lnTo>
                    <a:pt x="107523" y="1185049"/>
                  </a:lnTo>
                  <a:lnTo>
                    <a:pt x="131371" y="1223218"/>
                  </a:lnTo>
                  <a:lnTo>
                    <a:pt x="157298" y="1259885"/>
                  </a:lnTo>
                  <a:lnTo>
                    <a:pt x="185221" y="1294967"/>
                  </a:lnTo>
                  <a:lnTo>
                    <a:pt x="215057" y="1328384"/>
                  </a:lnTo>
                  <a:lnTo>
                    <a:pt x="246724" y="1360052"/>
                  </a:lnTo>
                  <a:lnTo>
                    <a:pt x="280140" y="1389888"/>
                  </a:lnTo>
                  <a:lnTo>
                    <a:pt x="315222" y="1417812"/>
                  </a:lnTo>
                  <a:lnTo>
                    <a:pt x="351888" y="1443739"/>
                  </a:lnTo>
                  <a:lnTo>
                    <a:pt x="390056" y="1467588"/>
                  </a:lnTo>
                  <a:lnTo>
                    <a:pt x="429643" y="1489276"/>
                  </a:lnTo>
                  <a:lnTo>
                    <a:pt x="470567" y="1508722"/>
                  </a:lnTo>
                  <a:lnTo>
                    <a:pt x="512746" y="1525842"/>
                  </a:lnTo>
                  <a:lnTo>
                    <a:pt x="556096" y="1540554"/>
                  </a:lnTo>
                  <a:lnTo>
                    <a:pt x="600536" y="1552776"/>
                  </a:lnTo>
                  <a:lnTo>
                    <a:pt x="645984" y="1562425"/>
                  </a:lnTo>
                  <a:lnTo>
                    <a:pt x="692356" y="1569419"/>
                  </a:lnTo>
                  <a:lnTo>
                    <a:pt x="739571" y="1573677"/>
                  </a:lnTo>
                  <a:lnTo>
                    <a:pt x="787546" y="1575114"/>
                  </a:lnTo>
                  <a:lnTo>
                    <a:pt x="835522" y="1573677"/>
                  </a:lnTo>
                  <a:lnTo>
                    <a:pt x="882738" y="1569419"/>
                  </a:lnTo>
                  <a:lnTo>
                    <a:pt x="929112" y="1562425"/>
                  </a:lnTo>
                  <a:lnTo>
                    <a:pt x="974560" y="1552776"/>
                  </a:lnTo>
                  <a:lnTo>
                    <a:pt x="1019001" y="1540554"/>
                  </a:lnTo>
                  <a:lnTo>
                    <a:pt x="1062352" y="1525842"/>
                  </a:lnTo>
                  <a:lnTo>
                    <a:pt x="1104531" y="1508722"/>
                  </a:lnTo>
                  <a:lnTo>
                    <a:pt x="1145456" y="1489276"/>
                  </a:lnTo>
                  <a:lnTo>
                    <a:pt x="1185044" y="1467588"/>
                  </a:lnTo>
                  <a:lnTo>
                    <a:pt x="1223212" y="1443739"/>
                  </a:lnTo>
                  <a:lnTo>
                    <a:pt x="1259879" y="1417812"/>
                  </a:lnTo>
                  <a:lnTo>
                    <a:pt x="1294961" y="1389888"/>
                  </a:lnTo>
                  <a:lnTo>
                    <a:pt x="1328378" y="1360052"/>
                  </a:lnTo>
                  <a:lnTo>
                    <a:pt x="1360045" y="1328384"/>
                  </a:lnTo>
                  <a:lnTo>
                    <a:pt x="1389881" y="1294967"/>
                  </a:lnTo>
                  <a:lnTo>
                    <a:pt x="1417804" y="1259885"/>
                  </a:lnTo>
                  <a:lnTo>
                    <a:pt x="1443731" y="1223218"/>
                  </a:lnTo>
                  <a:lnTo>
                    <a:pt x="1467580" y="1185049"/>
                  </a:lnTo>
                  <a:lnTo>
                    <a:pt x="1489268" y="1145462"/>
                  </a:lnTo>
                  <a:lnTo>
                    <a:pt x="1508713" y="1104537"/>
                  </a:lnTo>
                  <a:lnTo>
                    <a:pt x="1525832" y="1062359"/>
                  </a:lnTo>
                  <a:lnTo>
                    <a:pt x="1540544" y="1019008"/>
                  </a:lnTo>
                  <a:lnTo>
                    <a:pt x="1552766" y="974567"/>
                  </a:lnTo>
                  <a:lnTo>
                    <a:pt x="1562415" y="929120"/>
                  </a:lnTo>
                  <a:lnTo>
                    <a:pt x="1569409" y="882747"/>
                  </a:lnTo>
                  <a:lnTo>
                    <a:pt x="1573666" y="835532"/>
                  </a:lnTo>
                  <a:lnTo>
                    <a:pt x="1575103" y="787557"/>
                  </a:lnTo>
                  <a:lnTo>
                    <a:pt x="1573666" y="739581"/>
                  </a:lnTo>
                  <a:lnTo>
                    <a:pt x="1569409" y="692366"/>
                  </a:lnTo>
                  <a:lnTo>
                    <a:pt x="1562415" y="645994"/>
                  </a:lnTo>
                  <a:lnTo>
                    <a:pt x="1552766" y="600546"/>
                  </a:lnTo>
                  <a:lnTo>
                    <a:pt x="1540544" y="556106"/>
                  </a:lnTo>
                  <a:lnTo>
                    <a:pt x="1525832" y="512755"/>
                  </a:lnTo>
                  <a:lnTo>
                    <a:pt x="1508713" y="470576"/>
                  </a:lnTo>
                  <a:lnTo>
                    <a:pt x="1489268" y="429652"/>
                  </a:lnTo>
                  <a:lnTo>
                    <a:pt x="1467580" y="390064"/>
                  </a:lnTo>
                  <a:lnTo>
                    <a:pt x="1443731" y="351896"/>
                  </a:lnTo>
                  <a:lnTo>
                    <a:pt x="1417804" y="315229"/>
                  </a:lnTo>
                  <a:lnTo>
                    <a:pt x="1389881" y="280146"/>
                  </a:lnTo>
                  <a:lnTo>
                    <a:pt x="1360045" y="246729"/>
                  </a:lnTo>
                  <a:lnTo>
                    <a:pt x="1328378" y="215062"/>
                  </a:lnTo>
                  <a:lnTo>
                    <a:pt x="1294961" y="185225"/>
                  </a:lnTo>
                  <a:lnTo>
                    <a:pt x="1259879" y="157302"/>
                  </a:lnTo>
                  <a:lnTo>
                    <a:pt x="1223212" y="131374"/>
                  </a:lnTo>
                  <a:lnTo>
                    <a:pt x="1185044" y="107525"/>
                  </a:lnTo>
                  <a:lnTo>
                    <a:pt x="1145456" y="85837"/>
                  </a:lnTo>
                  <a:lnTo>
                    <a:pt x="1104531" y="66392"/>
                  </a:lnTo>
                  <a:lnTo>
                    <a:pt x="1062352" y="49272"/>
                  </a:lnTo>
                  <a:lnTo>
                    <a:pt x="1019001" y="34560"/>
                  </a:lnTo>
                  <a:lnTo>
                    <a:pt x="974560" y="22338"/>
                  </a:lnTo>
                  <a:lnTo>
                    <a:pt x="929112" y="12688"/>
                  </a:lnTo>
                  <a:lnTo>
                    <a:pt x="882738" y="5694"/>
                  </a:lnTo>
                  <a:lnTo>
                    <a:pt x="835522" y="1437"/>
                  </a:lnTo>
                  <a:lnTo>
                    <a:pt x="787546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4103992" y="7001414"/>
              <a:ext cx="726440" cy="767080"/>
            </a:xfrm>
            <a:custGeom>
              <a:avLst/>
              <a:gdLst/>
              <a:ahLst/>
              <a:cxnLst/>
              <a:rect l="l" t="t" r="r" b="b"/>
              <a:pathLst>
                <a:path w="726439" h="767079">
                  <a:moveTo>
                    <a:pt x="186499" y="570915"/>
                  </a:moveTo>
                  <a:lnTo>
                    <a:pt x="185534" y="565365"/>
                  </a:lnTo>
                  <a:lnTo>
                    <a:pt x="181914" y="560362"/>
                  </a:lnTo>
                  <a:lnTo>
                    <a:pt x="176999" y="557352"/>
                  </a:lnTo>
                  <a:lnTo>
                    <a:pt x="171462" y="556704"/>
                  </a:lnTo>
                  <a:lnTo>
                    <a:pt x="165709" y="558444"/>
                  </a:lnTo>
                  <a:lnTo>
                    <a:pt x="160108" y="562571"/>
                  </a:lnTo>
                  <a:lnTo>
                    <a:pt x="154711" y="568032"/>
                  </a:lnTo>
                  <a:lnTo>
                    <a:pt x="137401" y="586206"/>
                  </a:lnTo>
                  <a:lnTo>
                    <a:pt x="132092" y="580237"/>
                  </a:lnTo>
                  <a:lnTo>
                    <a:pt x="128511" y="575627"/>
                  </a:lnTo>
                  <a:lnTo>
                    <a:pt x="117513" y="565162"/>
                  </a:lnTo>
                  <a:lnTo>
                    <a:pt x="109067" y="565035"/>
                  </a:lnTo>
                  <a:lnTo>
                    <a:pt x="97421" y="576834"/>
                  </a:lnTo>
                  <a:lnTo>
                    <a:pt x="125933" y="613511"/>
                  </a:lnTo>
                  <a:lnTo>
                    <a:pt x="137896" y="619455"/>
                  </a:lnTo>
                  <a:lnTo>
                    <a:pt x="143814" y="617867"/>
                  </a:lnTo>
                  <a:lnTo>
                    <a:pt x="149961" y="613244"/>
                  </a:lnTo>
                  <a:lnTo>
                    <a:pt x="157645" y="605713"/>
                  </a:lnTo>
                  <a:lnTo>
                    <a:pt x="180352" y="582803"/>
                  </a:lnTo>
                  <a:lnTo>
                    <a:pt x="184785" y="576808"/>
                  </a:lnTo>
                  <a:lnTo>
                    <a:pt x="186499" y="570915"/>
                  </a:lnTo>
                  <a:close/>
                </a:path>
                <a:path w="726439" h="767079">
                  <a:moveTo>
                    <a:pt x="186524" y="231508"/>
                  </a:moveTo>
                  <a:lnTo>
                    <a:pt x="185648" y="226148"/>
                  </a:lnTo>
                  <a:lnTo>
                    <a:pt x="182257" y="221195"/>
                  </a:lnTo>
                  <a:lnTo>
                    <a:pt x="177380" y="217830"/>
                  </a:lnTo>
                  <a:lnTo>
                    <a:pt x="171919" y="216890"/>
                  </a:lnTo>
                  <a:lnTo>
                    <a:pt x="166204" y="218440"/>
                  </a:lnTo>
                  <a:lnTo>
                    <a:pt x="160578" y="222516"/>
                  </a:lnTo>
                  <a:lnTo>
                    <a:pt x="155143" y="227952"/>
                  </a:lnTo>
                  <a:lnTo>
                    <a:pt x="138544" y="245402"/>
                  </a:lnTo>
                  <a:lnTo>
                    <a:pt x="129095" y="236626"/>
                  </a:lnTo>
                  <a:lnTo>
                    <a:pt x="127038" y="234340"/>
                  </a:lnTo>
                  <a:lnTo>
                    <a:pt x="117678" y="225831"/>
                  </a:lnTo>
                  <a:lnTo>
                    <a:pt x="109626" y="225336"/>
                  </a:lnTo>
                  <a:lnTo>
                    <a:pt x="103746" y="230898"/>
                  </a:lnTo>
                  <a:lnTo>
                    <a:pt x="100152" y="235800"/>
                  </a:lnTo>
                  <a:lnTo>
                    <a:pt x="99060" y="241185"/>
                  </a:lnTo>
                  <a:lnTo>
                    <a:pt x="100533" y="246849"/>
                  </a:lnTo>
                  <a:lnTo>
                    <a:pt x="132130" y="278498"/>
                  </a:lnTo>
                  <a:lnTo>
                    <a:pt x="137871" y="279869"/>
                  </a:lnTo>
                  <a:lnTo>
                    <a:pt x="143624" y="278358"/>
                  </a:lnTo>
                  <a:lnTo>
                    <a:pt x="149529" y="273964"/>
                  </a:lnTo>
                  <a:lnTo>
                    <a:pt x="157391" y="266268"/>
                  </a:lnTo>
                  <a:lnTo>
                    <a:pt x="180632" y="242811"/>
                  </a:lnTo>
                  <a:lnTo>
                    <a:pt x="184861" y="237109"/>
                  </a:lnTo>
                  <a:lnTo>
                    <a:pt x="186524" y="231508"/>
                  </a:lnTo>
                  <a:close/>
                </a:path>
                <a:path w="726439" h="767079">
                  <a:moveTo>
                    <a:pt x="186537" y="344627"/>
                  </a:moveTo>
                  <a:lnTo>
                    <a:pt x="185610" y="339267"/>
                  </a:lnTo>
                  <a:lnTo>
                    <a:pt x="182206" y="334340"/>
                  </a:lnTo>
                  <a:lnTo>
                    <a:pt x="177292" y="330923"/>
                  </a:lnTo>
                  <a:lnTo>
                    <a:pt x="171932" y="329984"/>
                  </a:lnTo>
                  <a:lnTo>
                    <a:pt x="166319" y="331571"/>
                  </a:lnTo>
                  <a:lnTo>
                    <a:pt x="160642" y="335737"/>
                  </a:lnTo>
                  <a:lnTo>
                    <a:pt x="155206" y="341134"/>
                  </a:lnTo>
                  <a:lnTo>
                    <a:pt x="138468" y="358482"/>
                  </a:lnTo>
                  <a:lnTo>
                    <a:pt x="128574" y="349275"/>
                  </a:lnTo>
                  <a:lnTo>
                    <a:pt x="126530" y="346976"/>
                  </a:lnTo>
                  <a:lnTo>
                    <a:pt x="117005" y="338683"/>
                  </a:lnTo>
                  <a:lnTo>
                    <a:pt x="109118" y="338556"/>
                  </a:lnTo>
                  <a:lnTo>
                    <a:pt x="97370" y="350596"/>
                  </a:lnTo>
                  <a:lnTo>
                    <a:pt x="126644" y="387718"/>
                  </a:lnTo>
                  <a:lnTo>
                    <a:pt x="137782" y="393255"/>
                  </a:lnTo>
                  <a:lnTo>
                    <a:pt x="143281" y="391845"/>
                  </a:lnTo>
                  <a:lnTo>
                    <a:pt x="148958" y="387654"/>
                  </a:lnTo>
                  <a:lnTo>
                    <a:pt x="164973" y="371919"/>
                  </a:lnTo>
                  <a:lnTo>
                    <a:pt x="180721" y="355917"/>
                  </a:lnTo>
                  <a:lnTo>
                    <a:pt x="184924" y="350227"/>
                  </a:lnTo>
                  <a:lnTo>
                    <a:pt x="186537" y="344627"/>
                  </a:lnTo>
                  <a:close/>
                </a:path>
                <a:path w="726439" h="767079">
                  <a:moveTo>
                    <a:pt x="188175" y="453631"/>
                  </a:moveTo>
                  <a:lnTo>
                    <a:pt x="182359" y="447624"/>
                  </a:lnTo>
                  <a:lnTo>
                    <a:pt x="177444" y="444157"/>
                  </a:lnTo>
                  <a:lnTo>
                    <a:pt x="172034" y="443179"/>
                  </a:lnTo>
                  <a:lnTo>
                    <a:pt x="166382" y="444728"/>
                  </a:lnTo>
                  <a:lnTo>
                    <a:pt x="160756" y="448868"/>
                  </a:lnTo>
                  <a:lnTo>
                    <a:pt x="155181" y="454507"/>
                  </a:lnTo>
                  <a:lnTo>
                    <a:pt x="136804" y="474027"/>
                  </a:lnTo>
                  <a:lnTo>
                    <a:pt x="131978" y="467931"/>
                  </a:lnTo>
                  <a:lnTo>
                    <a:pt x="128612" y="462699"/>
                  </a:lnTo>
                  <a:lnTo>
                    <a:pt x="117322" y="451650"/>
                  </a:lnTo>
                  <a:lnTo>
                    <a:pt x="109461" y="451599"/>
                  </a:lnTo>
                  <a:lnTo>
                    <a:pt x="97447" y="463410"/>
                  </a:lnTo>
                  <a:lnTo>
                    <a:pt x="126466" y="500773"/>
                  </a:lnTo>
                  <a:lnTo>
                    <a:pt x="137718" y="506476"/>
                  </a:lnTo>
                  <a:lnTo>
                    <a:pt x="143205" y="505155"/>
                  </a:lnTo>
                  <a:lnTo>
                    <a:pt x="148869" y="501027"/>
                  </a:lnTo>
                  <a:lnTo>
                    <a:pt x="157124" y="493039"/>
                  </a:lnTo>
                  <a:lnTo>
                    <a:pt x="173367" y="476796"/>
                  </a:lnTo>
                  <a:lnTo>
                    <a:pt x="188125" y="461479"/>
                  </a:lnTo>
                  <a:lnTo>
                    <a:pt x="188175" y="453631"/>
                  </a:lnTo>
                  <a:close/>
                </a:path>
                <a:path w="726439" h="767079">
                  <a:moveTo>
                    <a:pt x="444868" y="257073"/>
                  </a:moveTo>
                  <a:lnTo>
                    <a:pt x="444576" y="239483"/>
                  </a:lnTo>
                  <a:lnTo>
                    <a:pt x="437946" y="233895"/>
                  </a:lnTo>
                  <a:lnTo>
                    <a:pt x="231432" y="233883"/>
                  </a:lnTo>
                  <a:lnTo>
                    <a:pt x="225374" y="239001"/>
                  </a:lnTo>
                  <a:lnTo>
                    <a:pt x="225018" y="257441"/>
                  </a:lnTo>
                  <a:lnTo>
                    <a:pt x="231114" y="262458"/>
                  </a:lnTo>
                  <a:lnTo>
                    <a:pt x="335305" y="262509"/>
                  </a:lnTo>
                  <a:lnTo>
                    <a:pt x="438175" y="262458"/>
                  </a:lnTo>
                  <a:lnTo>
                    <a:pt x="444868" y="257073"/>
                  </a:lnTo>
                  <a:close/>
                </a:path>
                <a:path w="726439" h="767079">
                  <a:moveTo>
                    <a:pt x="444969" y="135509"/>
                  </a:moveTo>
                  <a:lnTo>
                    <a:pt x="438188" y="129667"/>
                  </a:lnTo>
                  <a:lnTo>
                    <a:pt x="231419" y="129667"/>
                  </a:lnTo>
                  <a:lnTo>
                    <a:pt x="225094" y="135026"/>
                  </a:lnTo>
                  <a:lnTo>
                    <a:pt x="225259" y="153593"/>
                  </a:lnTo>
                  <a:lnTo>
                    <a:pt x="231254" y="158229"/>
                  </a:lnTo>
                  <a:lnTo>
                    <a:pt x="334759" y="158267"/>
                  </a:lnTo>
                  <a:lnTo>
                    <a:pt x="438111" y="158203"/>
                  </a:lnTo>
                  <a:lnTo>
                    <a:pt x="444525" y="153111"/>
                  </a:lnTo>
                  <a:lnTo>
                    <a:pt x="444969" y="135509"/>
                  </a:lnTo>
                  <a:close/>
                </a:path>
                <a:path w="726439" h="767079">
                  <a:moveTo>
                    <a:pt x="668007" y="409816"/>
                  </a:moveTo>
                  <a:lnTo>
                    <a:pt x="659993" y="370090"/>
                  </a:lnTo>
                  <a:lnTo>
                    <a:pt x="638543" y="362483"/>
                  </a:lnTo>
                  <a:lnTo>
                    <a:pt x="638543" y="391439"/>
                  </a:lnTo>
                  <a:lnTo>
                    <a:pt x="638543" y="464464"/>
                  </a:lnTo>
                  <a:lnTo>
                    <a:pt x="433920" y="464464"/>
                  </a:lnTo>
                  <a:lnTo>
                    <a:pt x="433920" y="391439"/>
                  </a:lnTo>
                  <a:lnTo>
                    <a:pt x="638543" y="391439"/>
                  </a:lnTo>
                  <a:lnTo>
                    <a:pt x="638543" y="362483"/>
                  </a:lnTo>
                  <a:lnTo>
                    <a:pt x="637641" y="362343"/>
                  </a:lnTo>
                  <a:lnTo>
                    <a:pt x="434784" y="362343"/>
                  </a:lnTo>
                  <a:lnTo>
                    <a:pt x="404393" y="392722"/>
                  </a:lnTo>
                  <a:lnTo>
                    <a:pt x="404380" y="462368"/>
                  </a:lnTo>
                  <a:lnTo>
                    <a:pt x="406450" y="476072"/>
                  </a:lnTo>
                  <a:lnTo>
                    <a:pt x="412546" y="485902"/>
                  </a:lnTo>
                  <a:lnTo>
                    <a:pt x="422351" y="491718"/>
                  </a:lnTo>
                  <a:lnTo>
                    <a:pt x="436308" y="493725"/>
                  </a:lnTo>
                  <a:lnTo>
                    <a:pt x="636689" y="493725"/>
                  </a:lnTo>
                  <a:lnTo>
                    <a:pt x="649846" y="491718"/>
                  </a:lnTo>
                  <a:lnTo>
                    <a:pt x="649998" y="491718"/>
                  </a:lnTo>
                  <a:lnTo>
                    <a:pt x="659714" y="485902"/>
                  </a:lnTo>
                  <a:lnTo>
                    <a:pt x="665708" y="476478"/>
                  </a:lnTo>
                  <a:lnTo>
                    <a:pt x="667702" y="464464"/>
                  </a:lnTo>
                  <a:lnTo>
                    <a:pt x="667854" y="463575"/>
                  </a:lnTo>
                  <a:lnTo>
                    <a:pt x="667994" y="445655"/>
                  </a:lnTo>
                  <a:lnTo>
                    <a:pt x="668007" y="409816"/>
                  </a:lnTo>
                  <a:close/>
                </a:path>
                <a:path w="726439" h="767079">
                  <a:moveTo>
                    <a:pt x="726186" y="360413"/>
                  </a:moveTo>
                  <a:lnTo>
                    <a:pt x="709028" y="315277"/>
                  </a:lnTo>
                  <a:lnTo>
                    <a:pt x="697560" y="307873"/>
                  </a:lnTo>
                  <a:lnTo>
                    <a:pt x="697560" y="700989"/>
                  </a:lnTo>
                  <a:lnTo>
                    <a:pt x="695375" y="716940"/>
                  </a:lnTo>
                  <a:lnTo>
                    <a:pt x="695325" y="717334"/>
                  </a:lnTo>
                  <a:lnTo>
                    <a:pt x="688517" y="728751"/>
                  </a:lnTo>
                  <a:lnTo>
                    <a:pt x="676897" y="735469"/>
                  </a:lnTo>
                  <a:lnTo>
                    <a:pt x="676757" y="735469"/>
                  </a:lnTo>
                  <a:lnTo>
                    <a:pt x="660425" y="737628"/>
                  </a:lnTo>
                  <a:lnTo>
                    <a:pt x="412559" y="737628"/>
                  </a:lnTo>
                  <a:lnTo>
                    <a:pt x="395376" y="735469"/>
                  </a:lnTo>
                  <a:lnTo>
                    <a:pt x="383692" y="728751"/>
                  </a:lnTo>
                  <a:lnTo>
                    <a:pt x="380428" y="723125"/>
                  </a:lnTo>
                  <a:lnTo>
                    <a:pt x="376897" y="716940"/>
                  </a:lnTo>
                  <a:lnTo>
                    <a:pt x="374738" y="699706"/>
                  </a:lnTo>
                  <a:lnTo>
                    <a:pt x="374738" y="694448"/>
                  </a:lnTo>
                  <a:lnTo>
                    <a:pt x="374738" y="362737"/>
                  </a:lnTo>
                  <a:lnTo>
                    <a:pt x="376809" y="348030"/>
                  </a:lnTo>
                  <a:lnTo>
                    <a:pt x="376936" y="347129"/>
                  </a:lnTo>
                  <a:lnTo>
                    <a:pt x="376758" y="347129"/>
                  </a:lnTo>
                  <a:lnTo>
                    <a:pt x="383730" y="335495"/>
                  </a:lnTo>
                  <a:lnTo>
                    <a:pt x="384670" y="334899"/>
                  </a:lnTo>
                  <a:lnTo>
                    <a:pt x="395147" y="328726"/>
                  </a:lnTo>
                  <a:lnTo>
                    <a:pt x="411302" y="326478"/>
                  </a:lnTo>
                  <a:lnTo>
                    <a:pt x="661212" y="326478"/>
                  </a:lnTo>
                  <a:lnTo>
                    <a:pt x="695363" y="347129"/>
                  </a:lnTo>
                  <a:lnTo>
                    <a:pt x="697560" y="700989"/>
                  </a:lnTo>
                  <a:lnTo>
                    <a:pt x="697560" y="307873"/>
                  </a:lnTo>
                  <a:lnTo>
                    <a:pt x="689368" y="302564"/>
                  </a:lnTo>
                  <a:lnTo>
                    <a:pt x="663829" y="297827"/>
                  </a:lnTo>
                  <a:lnTo>
                    <a:pt x="530123" y="297827"/>
                  </a:lnTo>
                  <a:lnTo>
                    <a:pt x="530059" y="64998"/>
                  </a:lnTo>
                  <a:lnTo>
                    <a:pt x="525411" y="37909"/>
                  </a:lnTo>
                  <a:lnTo>
                    <a:pt x="519493" y="28689"/>
                  </a:lnTo>
                  <a:lnTo>
                    <a:pt x="512279" y="17449"/>
                  </a:lnTo>
                  <a:lnTo>
                    <a:pt x="501396" y="10629"/>
                  </a:lnTo>
                  <a:lnTo>
                    <a:pt x="501396" y="292544"/>
                  </a:lnTo>
                  <a:lnTo>
                    <a:pt x="500938" y="294538"/>
                  </a:lnTo>
                  <a:lnTo>
                    <a:pt x="500532" y="297827"/>
                  </a:lnTo>
                  <a:lnTo>
                    <a:pt x="410298" y="297827"/>
                  </a:lnTo>
                  <a:lnTo>
                    <a:pt x="389013" y="300469"/>
                  </a:lnTo>
                  <a:lnTo>
                    <a:pt x="371779" y="308419"/>
                  </a:lnTo>
                  <a:lnTo>
                    <a:pt x="358279" y="321894"/>
                  </a:lnTo>
                  <a:lnTo>
                    <a:pt x="348056" y="341109"/>
                  </a:lnTo>
                  <a:lnTo>
                    <a:pt x="346938" y="343954"/>
                  </a:lnTo>
                  <a:lnTo>
                    <a:pt x="341249" y="347129"/>
                  </a:lnTo>
                  <a:lnTo>
                    <a:pt x="241795" y="347129"/>
                  </a:lnTo>
                  <a:lnTo>
                    <a:pt x="230416" y="348030"/>
                  </a:lnTo>
                  <a:lnTo>
                    <a:pt x="224790" y="353517"/>
                  </a:lnTo>
                  <a:lnTo>
                    <a:pt x="225729" y="371119"/>
                  </a:lnTo>
                  <a:lnTo>
                    <a:pt x="231267" y="375450"/>
                  </a:lnTo>
                  <a:lnTo>
                    <a:pt x="248412" y="375856"/>
                  </a:lnTo>
                  <a:lnTo>
                    <a:pt x="345147" y="375856"/>
                  </a:lnTo>
                  <a:lnTo>
                    <a:pt x="345147" y="460146"/>
                  </a:lnTo>
                  <a:lnTo>
                    <a:pt x="341693" y="460298"/>
                  </a:lnTo>
                  <a:lnTo>
                    <a:pt x="337362" y="460679"/>
                  </a:lnTo>
                  <a:lnTo>
                    <a:pt x="231203" y="460679"/>
                  </a:lnTo>
                  <a:lnTo>
                    <a:pt x="225044" y="465366"/>
                  </a:lnTo>
                  <a:lnTo>
                    <a:pt x="225361" y="484505"/>
                  </a:lnTo>
                  <a:lnTo>
                    <a:pt x="231863" y="489331"/>
                  </a:lnTo>
                  <a:lnTo>
                    <a:pt x="345478" y="489331"/>
                  </a:lnTo>
                  <a:lnTo>
                    <a:pt x="345478" y="573671"/>
                  </a:lnTo>
                  <a:lnTo>
                    <a:pt x="231330" y="573671"/>
                  </a:lnTo>
                  <a:lnTo>
                    <a:pt x="225069" y="578523"/>
                  </a:lnTo>
                  <a:lnTo>
                    <a:pt x="225361" y="597776"/>
                  </a:lnTo>
                  <a:lnTo>
                    <a:pt x="231597" y="602322"/>
                  </a:lnTo>
                  <a:lnTo>
                    <a:pt x="345465" y="602322"/>
                  </a:lnTo>
                  <a:lnTo>
                    <a:pt x="345465" y="694448"/>
                  </a:lnTo>
                  <a:lnTo>
                    <a:pt x="67932" y="694448"/>
                  </a:lnTo>
                  <a:lnTo>
                    <a:pt x="50355" y="692175"/>
                  </a:lnTo>
                  <a:lnTo>
                    <a:pt x="38214" y="685215"/>
                  </a:lnTo>
                  <a:lnTo>
                    <a:pt x="31140" y="673252"/>
                  </a:lnTo>
                  <a:lnTo>
                    <a:pt x="28841" y="656043"/>
                  </a:lnTo>
                  <a:lnTo>
                    <a:pt x="28841" y="179603"/>
                  </a:lnTo>
                  <a:lnTo>
                    <a:pt x="114985" y="179603"/>
                  </a:lnTo>
                  <a:lnTo>
                    <a:pt x="137337" y="176250"/>
                  </a:lnTo>
                  <a:lnTo>
                    <a:pt x="155435" y="167259"/>
                  </a:lnTo>
                  <a:lnTo>
                    <a:pt x="168973" y="153085"/>
                  </a:lnTo>
                  <a:lnTo>
                    <a:pt x="170129" y="150431"/>
                  </a:lnTo>
                  <a:lnTo>
                    <a:pt x="177215" y="134251"/>
                  </a:lnTo>
                  <a:lnTo>
                    <a:pt x="179514" y="52730"/>
                  </a:lnTo>
                  <a:lnTo>
                    <a:pt x="179539" y="28689"/>
                  </a:lnTo>
                  <a:lnTo>
                    <a:pt x="465696" y="28689"/>
                  </a:lnTo>
                  <a:lnTo>
                    <a:pt x="498894" y="48399"/>
                  </a:lnTo>
                  <a:lnTo>
                    <a:pt x="501396" y="292544"/>
                  </a:lnTo>
                  <a:lnTo>
                    <a:pt x="501396" y="10629"/>
                  </a:lnTo>
                  <a:lnTo>
                    <a:pt x="491655" y="4521"/>
                  </a:lnTo>
                  <a:lnTo>
                    <a:pt x="464502" y="0"/>
                  </a:lnTo>
                  <a:lnTo>
                    <a:pt x="162598" y="0"/>
                  </a:lnTo>
                  <a:lnTo>
                    <a:pt x="156654" y="2298"/>
                  </a:lnTo>
                  <a:lnTo>
                    <a:pt x="150761" y="8204"/>
                  </a:lnTo>
                  <a:lnTo>
                    <a:pt x="150761" y="104038"/>
                  </a:lnTo>
                  <a:lnTo>
                    <a:pt x="150622" y="110921"/>
                  </a:lnTo>
                  <a:lnTo>
                    <a:pt x="134594" y="147015"/>
                  </a:lnTo>
                  <a:lnTo>
                    <a:pt x="104457" y="150431"/>
                  </a:lnTo>
                  <a:lnTo>
                    <a:pt x="88315" y="150431"/>
                  </a:lnTo>
                  <a:lnTo>
                    <a:pt x="53492" y="150114"/>
                  </a:lnTo>
                  <a:lnTo>
                    <a:pt x="150114" y="53657"/>
                  </a:lnTo>
                  <a:lnTo>
                    <a:pt x="149694" y="52730"/>
                  </a:lnTo>
                  <a:lnTo>
                    <a:pt x="150495" y="53657"/>
                  </a:lnTo>
                  <a:lnTo>
                    <a:pt x="150609" y="53797"/>
                  </a:lnTo>
                  <a:lnTo>
                    <a:pt x="150660" y="63131"/>
                  </a:lnTo>
                  <a:lnTo>
                    <a:pt x="150761" y="104038"/>
                  </a:lnTo>
                  <a:lnTo>
                    <a:pt x="150761" y="8204"/>
                  </a:lnTo>
                  <a:lnTo>
                    <a:pt x="2679" y="156286"/>
                  </a:lnTo>
                  <a:lnTo>
                    <a:pt x="0" y="162547"/>
                  </a:lnTo>
                  <a:lnTo>
                    <a:pt x="101" y="268617"/>
                  </a:lnTo>
                  <a:lnTo>
                    <a:pt x="203" y="656043"/>
                  </a:lnTo>
                  <a:lnTo>
                    <a:pt x="9334" y="694448"/>
                  </a:lnTo>
                  <a:lnTo>
                    <a:pt x="41605" y="719632"/>
                  </a:lnTo>
                  <a:lnTo>
                    <a:pt x="64566" y="723125"/>
                  </a:lnTo>
                  <a:lnTo>
                    <a:pt x="347789" y="723125"/>
                  </a:lnTo>
                  <a:lnTo>
                    <a:pt x="358838" y="743216"/>
                  </a:lnTo>
                  <a:lnTo>
                    <a:pt x="373811" y="756742"/>
                  </a:lnTo>
                  <a:lnTo>
                    <a:pt x="392620" y="764324"/>
                  </a:lnTo>
                  <a:lnTo>
                    <a:pt x="415137" y="766559"/>
                  </a:lnTo>
                  <a:lnTo>
                    <a:pt x="663041" y="766305"/>
                  </a:lnTo>
                  <a:lnTo>
                    <a:pt x="688898" y="761822"/>
                  </a:lnTo>
                  <a:lnTo>
                    <a:pt x="708812" y="749173"/>
                  </a:lnTo>
                  <a:lnTo>
                    <a:pt x="716292" y="737628"/>
                  </a:lnTo>
                  <a:lnTo>
                    <a:pt x="721626" y="729399"/>
                  </a:lnTo>
                  <a:lnTo>
                    <a:pt x="726186" y="703580"/>
                  </a:lnTo>
                  <a:lnTo>
                    <a:pt x="726186" y="36041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3" name="object 1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503517" y="7524275"/>
              <a:ext cx="272991" cy="183083"/>
            </a:xfrm>
            <a:prstGeom prst="rect">
              <a:avLst/>
            </a:prstGeom>
          </p:spPr>
        </p:pic>
      </p:grpSp>
      <p:sp>
        <p:nvSpPr>
          <p:cNvPr id="14" name="object 14"/>
          <p:cNvSpPr txBox="1"/>
          <p:nvPr/>
        </p:nvSpPr>
        <p:spPr>
          <a:xfrm>
            <a:off x="2097034" y="5065298"/>
            <a:ext cx="1174832" cy="607424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264924" marR="3081" indent="-257608" defTabSz="554492">
              <a:lnSpc>
                <a:spcPct val="101099"/>
              </a:lnSpc>
              <a:spcBef>
                <a:spcPts val="58"/>
              </a:spcBef>
            </a:pPr>
            <a:r>
              <a:rPr sz="970" b="1" kern="0" spc="-6" dirty="0">
                <a:solidFill>
                  <a:srgbClr val="18418F"/>
                </a:solidFill>
                <a:latin typeface="Verdana"/>
                <a:cs typeface="Verdana"/>
              </a:rPr>
              <a:t>Рассчитывается СРЕДНИЙ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407398" defTabSz="554492">
              <a:spcBef>
                <a:spcPts val="12"/>
              </a:spcBef>
            </a:pPr>
            <a:r>
              <a:rPr sz="970" b="1" kern="0" spc="-12" dirty="0">
                <a:solidFill>
                  <a:srgbClr val="18418F"/>
                </a:solidFill>
                <a:latin typeface="Verdana"/>
                <a:cs typeface="Verdana"/>
              </a:rPr>
              <a:t>БАЛЛ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363115" defTabSz="554492">
              <a:spcBef>
                <a:spcPts val="15"/>
              </a:spcBef>
            </a:pPr>
            <a:r>
              <a:rPr sz="970" b="1" kern="0" spc="-6" dirty="0">
                <a:solidFill>
                  <a:srgbClr val="18418F"/>
                </a:solidFill>
                <a:latin typeface="Verdana"/>
                <a:cs typeface="Verdana"/>
              </a:rPr>
              <a:t>товара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3836120" y="4013175"/>
            <a:ext cx="955345" cy="955345"/>
            <a:chOff x="6325339" y="6618023"/>
            <a:chExt cx="1575435" cy="1575435"/>
          </a:xfrm>
        </p:grpSpPr>
        <p:sp>
          <p:nvSpPr>
            <p:cNvPr id="16" name="object 16"/>
            <p:cNvSpPr/>
            <p:nvPr/>
          </p:nvSpPr>
          <p:spPr>
            <a:xfrm>
              <a:off x="6325339" y="6618023"/>
              <a:ext cx="1575435" cy="1575435"/>
            </a:xfrm>
            <a:custGeom>
              <a:avLst/>
              <a:gdLst/>
              <a:ahLst/>
              <a:cxnLst/>
              <a:rect l="l" t="t" r="r" b="b"/>
              <a:pathLst>
                <a:path w="1575434" h="1575434">
                  <a:moveTo>
                    <a:pt x="787546" y="0"/>
                  </a:moveTo>
                  <a:lnTo>
                    <a:pt x="739571" y="1437"/>
                  </a:lnTo>
                  <a:lnTo>
                    <a:pt x="692356" y="5694"/>
                  </a:lnTo>
                  <a:lnTo>
                    <a:pt x="645984" y="12688"/>
                  </a:lnTo>
                  <a:lnTo>
                    <a:pt x="600536" y="22338"/>
                  </a:lnTo>
                  <a:lnTo>
                    <a:pt x="556096" y="34560"/>
                  </a:lnTo>
                  <a:lnTo>
                    <a:pt x="512746" y="49272"/>
                  </a:lnTo>
                  <a:lnTo>
                    <a:pt x="470567" y="66392"/>
                  </a:lnTo>
                  <a:lnTo>
                    <a:pt x="429643" y="85837"/>
                  </a:lnTo>
                  <a:lnTo>
                    <a:pt x="390056" y="107525"/>
                  </a:lnTo>
                  <a:lnTo>
                    <a:pt x="351888" y="131374"/>
                  </a:lnTo>
                  <a:lnTo>
                    <a:pt x="315222" y="157302"/>
                  </a:lnTo>
                  <a:lnTo>
                    <a:pt x="280140" y="185225"/>
                  </a:lnTo>
                  <a:lnTo>
                    <a:pt x="246724" y="215062"/>
                  </a:lnTo>
                  <a:lnTo>
                    <a:pt x="215057" y="246729"/>
                  </a:lnTo>
                  <a:lnTo>
                    <a:pt x="185221" y="280146"/>
                  </a:lnTo>
                  <a:lnTo>
                    <a:pt x="157298" y="315229"/>
                  </a:lnTo>
                  <a:lnTo>
                    <a:pt x="131371" y="351896"/>
                  </a:lnTo>
                  <a:lnTo>
                    <a:pt x="107523" y="390064"/>
                  </a:lnTo>
                  <a:lnTo>
                    <a:pt x="85835" y="429652"/>
                  </a:lnTo>
                  <a:lnTo>
                    <a:pt x="66390" y="470576"/>
                  </a:lnTo>
                  <a:lnTo>
                    <a:pt x="49270" y="512755"/>
                  </a:lnTo>
                  <a:lnTo>
                    <a:pt x="34559" y="556106"/>
                  </a:lnTo>
                  <a:lnTo>
                    <a:pt x="22337" y="600546"/>
                  </a:lnTo>
                  <a:lnTo>
                    <a:pt x="12688" y="645994"/>
                  </a:lnTo>
                  <a:lnTo>
                    <a:pt x="5694" y="692366"/>
                  </a:lnTo>
                  <a:lnTo>
                    <a:pt x="1437" y="739581"/>
                  </a:lnTo>
                  <a:lnTo>
                    <a:pt x="0" y="787557"/>
                  </a:lnTo>
                  <a:lnTo>
                    <a:pt x="1437" y="835532"/>
                  </a:lnTo>
                  <a:lnTo>
                    <a:pt x="5694" y="882747"/>
                  </a:lnTo>
                  <a:lnTo>
                    <a:pt x="12688" y="929120"/>
                  </a:lnTo>
                  <a:lnTo>
                    <a:pt x="22337" y="974567"/>
                  </a:lnTo>
                  <a:lnTo>
                    <a:pt x="34559" y="1019008"/>
                  </a:lnTo>
                  <a:lnTo>
                    <a:pt x="49270" y="1062359"/>
                  </a:lnTo>
                  <a:lnTo>
                    <a:pt x="66390" y="1104537"/>
                  </a:lnTo>
                  <a:lnTo>
                    <a:pt x="85835" y="1145462"/>
                  </a:lnTo>
                  <a:lnTo>
                    <a:pt x="107523" y="1185049"/>
                  </a:lnTo>
                  <a:lnTo>
                    <a:pt x="131371" y="1223218"/>
                  </a:lnTo>
                  <a:lnTo>
                    <a:pt x="157298" y="1259885"/>
                  </a:lnTo>
                  <a:lnTo>
                    <a:pt x="185221" y="1294967"/>
                  </a:lnTo>
                  <a:lnTo>
                    <a:pt x="215057" y="1328384"/>
                  </a:lnTo>
                  <a:lnTo>
                    <a:pt x="246724" y="1360052"/>
                  </a:lnTo>
                  <a:lnTo>
                    <a:pt x="280140" y="1389888"/>
                  </a:lnTo>
                  <a:lnTo>
                    <a:pt x="315222" y="1417812"/>
                  </a:lnTo>
                  <a:lnTo>
                    <a:pt x="351888" y="1443739"/>
                  </a:lnTo>
                  <a:lnTo>
                    <a:pt x="390056" y="1467588"/>
                  </a:lnTo>
                  <a:lnTo>
                    <a:pt x="429643" y="1489276"/>
                  </a:lnTo>
                  <a:lnTo>
                    <a:pt x="470567" y="1508722"/>
                  </a:lnTo>
                  <a:lnTo>
                    <a:pt x="512746" y="1525842"/>
                  </a:lnTo>
                  <a:lnTo>
                    <a:pt x="556096" y="1540554"/>
                  </a:lnTo>
                  <a:lnTo>
                    <a:pt x="600536" y="1552776"/>
                  </a:lnTo>
                  <a:lnTo>
                    <a:pt x="645984" y="1562425"/>
                  </a:lnTo>
                  <a:lnTo>
                    <a:pt x="692356" y="1569419"/>
                  </a:lnTo>
                  <a:lnTo>
                    <a:pt x="739571" y="1573677"/>
                  </a:lnTo>
                  <a:lnTo>
                    <a:pt x="787546" y="1575114"/>
                  </a:lnTo>
                  <a:lnTo>
                    <a:pt x="835522" y="1573677"/>
                  </a:lnTo>
                  <a:lnTo>
                    <a:pt x="882738" y="1569419"/>
                  </a:lnTo>
                  <a:lnTo>
                    <a:pt x="929112" y="1562425"/>
                  </a:lnTo>
                  <a:lnTo>
                    <a:pt x="974560" y="1552776"/>
                  </a:lnTo>
                  <a:lnTo>
                    <a:pt x="1019001" y="1540554"/>
                  </a:lnTo>
                  <a:lnTo>
                    <a:pt x="1062352" y="1525842"/>
                  </a:lnTo>
                  <a:lnTo>
                    <a:pt x="1104531" y="1508722"/>
                  </a:lnTo>
                  <a:lnTo>
                    <a:pt x="1145456" y="1489276"/>
                  </a:lnTo>
                  <a:lnTo>
                    <a:pt x="1185044" y="1467588"/>
                  </a:lnTo>
                  <a:lnTo>
                    <a:pt x="1223212" y="1443739"/>
                  </a:lnTo>
                  <a:lnTo>
                    <a:pt x="1259879" y="1417812"/>
                  </a:lnTo>
                  <a:lnTo>
                    <a:pt x="1294961" y="1389888"/>
                  </a:lnTo>
                  <a:lnTo>
                    <a:pt x="1328378" y="1360052"/>
                  </a:lnTo>
                  <a:lnTo>
                    <a:pt x="1360045" y="1328384"/>
                  </a:lnTo>
                  <a:lnTo>
                    <a:pt x="1389881" y="1294967"/>
                  </a:lnTo>
                  <a:lnTo>
                    <a:pt x="1417804" y="1259885"/>
                  </a:lnTo>
                  <a:lnTo>
                    <a:pt x="1443731" y="1223218"/>
                  </a:lnTo>
                  <a:lnTo>
                    <a:pt x="1467580" y="1185049"/>
                  </a:lnTo>
                  <a:lnTo>
                    <a:pt x="1489268" y="1145462"/>
                  </a:lnTo>
                  <a:lnTo>
                    <a:pt x="1508713" y="1104537"/>
                  </a:lnTo>
                  <a:lnTo>
                    <a:pt x="1525832" y="1062359"/>
                  </a:lnTo>
                  <a:lnTo>
                    <a:pt x="1540544" y="1019008"/>
                  </a:lnTo>
                  <a:lnTo>
                    <a:pt x="1552766" y="974567"/>
                  </a:lnTo>
                  <a:lnTo>
                    <a:pt x="1562415" y="929120"/>
                  </a:lnTo>
                  <a:lnTo>
                    <a:pt x="1569409" y="882747"/>
                  </a:lnTo>
                  <a:lnTo>
                    <a:pt x="1573666" y="835532"/>
                  </a:lnTo>
                  <a:lnTo>
                    <a:pt x="1575103" y="787557"/>
                  </a:lnTo>
                  <a:lnTo>
                    <a:pt x="1573666" y="739581"/>
                  </a:lnTo>
                  <a:lnTo>
                    <a:pt x="1569409" y="692366"/>
                  </a:lnTo>
                  <a:lnTo>
                    <a:pt x="1562415" y="645994"/>
                  </a:lnTo>
                  <a:lnTo>
                    <a:pt x="1552766" y="600546"/>
                  </a:lnTo>
                  <a:lnTo>
                    <a:pt x="1540544" y="556106"/>
                  </a:lnTo>
                  <a:lnTo>
                    <a:pt x="1525832" y="512755"/>
                  </a:lnTo>
                  <a:lnTo>
                    <a:pt x="1508713" y="470576"/>
                  </a:lnTo>
                  <a:lnTo>
                    <a:pt x="1489268" y="429652"/>
                  </a:lnTo>
                  <a:lnTo>
                    <a:pt x="1467580" y="390064"/>
                  </a:lnTo>
                  <a:lnTo>
                    <a:pt x="1443731" y="351896"/>
                  </a:lnTo>
                  <a:lnTo>
                    <a:pt x="1417804" y="315229"/>
                  </a:lnTo>
                  <a:lnTo>
                    <a:pt x="1389881" y="280146"/>
                  </a:lnTo>
                  <a:lnTo>
                    <a:pt x="1360045" y="246729"/>
                  </a:lnTo>
                  <a:lnTo>
                    <a:pt x="1328378" y="215062"/>
                  </a:lnTo>
                  <a:lnTo>
                    <a:pt x="1294961" y="185225"/>
                  </a:lnTo>
                  <a:lnTo>
                    <a:pt x="1259879" y="157302"/>
                  </a:lnTo>
                  <a:lnTo>
                    <a:pt x="1223212" y="131374"/>
                  </a:lnTo>
                  <a:lnTo>
                    <a:pt x="1185044" y="107525"/>
                  </a:lnTo>
                  <a:lnTo>
                    <a:pt x="1145456" y="85837"/>
                  </a:lnTo>
                  <a:lnTo>
                    <a:pt x="1104531" y="66392"/>
                  </a:lnTo>
                  <a:lnTo>
                    <a:pt x="1062352" y="49272"/>
                  </a:lnTo>
                  <a:lnTo>
                    <a:pt x="1019001" y="34560"/>
                  </a:lnTo>
                  <a:lnTo>
                    <a:pt x="974560" y="22338"/>
                  </a:lnTo>
                  <a:lnTo>
                    <a:pt x="929112" y="12688"/>
                  </a:lnTo>
                  <a:lnTo>
                    <a:pt x="882738" y="5694"/>
                  </a:lnTo>
                  <a:lnTo>
                    <a:pt x="835522" y="1437"/>
                  </a:lnTo>
                  <a:lnTo>
                    <a:pt x="787546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6758419" y="7044480"/>
              <a:ext cx="721995" cy="721360"/>
            </a:xfrm>
            <a:custGeom>
              <a:avLst/>
              <a:gdLst/>
              <a:ahLst/>
              <a:cxnLst/>
              <a:rect l="l" t="t" r="r" b="b"/>
              <a:pathLst>
                <a:path w="721995" h="721359">
                  <a:moveTo>
                    <a:pt x="721360" y="353301"/>
                  </a:moveTo>
                  <a:lnTo>
                    <a:pt x="713397" y="284924"/>
                  </a:lnTo>
                  <a:lnTo>
                    <a:pt x="700532" y="242900"/>
                  </a:lnTo>
                  <a:lnTo>
                    <a:pt x="679450" y="230682"/>
                  </a:lnTo>
                  <a:lnTo>
                    <a:pt x="665772" y="233222"/>
                  </a:lnTo>
                  <a:lnTo>
                    <a:pt x="655789" y="241401"/>
                  </a:lnTo>
                  <a:lnTo>
                    <a:pt x="650735" y="253644"/>
                  </a:lnTo>
                  <a:lnTo>
                    <a:pt x="651891" y="268325"/>
                  </a:lnTo>
                  <a:lnTo>
                    <a:pt x="660692" y="304507"/>
                  </a:lnTo>
                  <a:lnTo>
                    <a:pt x="665200" y="340956"/>
                  </a:lnTo>
                  <a:lnTo>
                    <a:pt x="661136" y="414731"/>
                  </a:lnTo>
                  <a:lnTo>
                    <a:pt x="649478" y="460362"/>
                  </a:lnTo>
                  <a:lnTo>
                    <a:pt x="631266" y="502589"/>
                  </a:lnTo>
                  <a:lnTo>
                    <a:pt x="607187" y="540956"/>
                  </a:lnTo>
                  <a:lnTo>
                    <a:pt x="577913" y="575043"/>
                  </a:lnTo>
                  <a:lnTo>
                    <a:pt x="544144" y="604393"/>
                  </a:lnTo>
                  <a:lnTo>
                    <a:pt x="506539" y="628561"/>
                  </a:lnTo>
                  <a:lnTo>
                    <a:pt x="465810" y="647128"/>
                  </a:lnTo>
                  <a:lnTo>
                    <a:pt x="422617" y="659638"/>
                  </a:lnTo>
                  <a:lnTo>
                    <a:pt x="377647" y="665645"/>
                  </a:lnTo>
                  <a:lnTo>
                    <a:pt x="331597" y="664730"/>
                  </a:lnTo>
                  <a:lnTo>
                    <a:pt x="285140" y="656424"/>
                  </a:lnTo>
                  <a:lnTo>
                    <a:pt x="239268" y="640549"/>
                  </a:lnTo>
                  <a:lnTo>
                    <a:pt x="197510" y="618388"/>
                  </a:lnTo>
                  <a:lnTo>
                    <a:pt x="160312" y="590613"/>
                  </a:lnTo>
                  <a:lnTo>
                    <a:pt x="128066" y="557911"/>
                  </a:lnTo>
                  <a:lnTo>
                    <a:pt x="101219" y="520954"/>
                  </a:lnTo>
                  <a:lnTo>
                    <a:pt x="80175" y="480428"/>
                  </a:lnTo>
                  <a:lnTo>
                    <a:pt x="65366" y="437019"/>
                  </a:lnTo>
                  <a:lnTo>
                    <a:pt x="57213" y="391414"/>
                  </a:lnTo>
                  <a:lnTo>
                    <a:pt x="56121" y="344284"/>
                  </a:lnTo>
                  <a:lnTo>
                    <a:pt x="62534" y="296303"/>
                  </a:lnTo>
                  <a:lnTo>
                    <a:pt x="75704" y="251853"/>
                  </a:lnTo>
                  <a:lnTo>
                    <a:pt x="95161" y="210629"/>
                  </a:lnTo>
                  <a:lnTo>
                    <a:pt x="120281" y="173164"/>
                  </a:lnTo>
                  <a:lnTo>
                    <a:pt x="150444" y="139941"/>
                  </a:lnTo>
                  <a:lnTo>
                    <a:pt x="185051" y="111493"/>
                  </a:lnTo>
                  <a:lnTo>
                    <a:pt x="223443" y="88328"/>
                  </a:lnTo>
                  <a:lnTo>
                    <a:pt x="265036" y="70954"/>
                  </a:lnTo>
                  <a:lnTo>
                    <a:pt x="309181" y="59893"/>
                  </a:lnTo>
                  <a:lnTo>
                    <a:pt x="355269" y="55638"/>
                  </a:lnTo>
                  <a:lnTo>
                    <a:pt x="403555" y="58534"/>
                  </a:lnTo>
                  <a:lnTo>
                    <a:pt x="449668" y="68643"/>
                  </a:lnTo>
                  <a:lnTo>
                    <a:pt x="493598" y="85928"/>
                  </a:lnTo>
                  <a:lnTo>
                    <a:pt x="535368" y="110375"/>
                  </a:lnTo>
                  <a:lnTo>
                    <a:pt x="546849" y="115697"/>
                  </a:lnTo>
                  <a:lnTo>
                    <a:pt x="580656" y="93738"/>
                  </a:lnTo>
                  <a:lnTo>
                    <a:pt x="519099" y="36576"/>
                  </a:lnTo>
                  <a:lnTo>
                    <a:pt x="469582" y="16624"/>
                  </a:lnTo>
                  <a:lnTo>
                    <a:pt x="418109" y="4470"/>
                  </a:lnTo>
                  <a:lnTo>
                    <a:pt x="364972" y="0"/>
                  </a:lnTo>
                  <a:lnTo>
                    <a:pt x="328904" y="1701"/>
                  </a:lnTo>
                  <a:lnTo>
                    <a:pt x="260604" y="14465"/>
                  </a:lnTo>
                  <a:lnTo>
                    <a:pt x="183870" y="46418"/>
                  </a:lnTo>
                  <a:lnTo>
                    <a:pt x="143878" y="72580"/>
                  </a:lnTo>
                  <a:lnTo>
                    <a:pt x="108153" y="103492"/>
                  </a:lnTo>
                  <a:lnTo>
                    <a:pt x="76974" y="138569"/>
                  </a:lnTo>
                  <a:lnTo>
                    <a:pt x="50660" y="177203"/>
                  </a:lnTo>
                  <a:lnTo>
                    <a:pt x="29502" y="218821"/>
                  </a:lnTo>
                  <a:lnTo>
                    <a:pt x="13804" y="262839"/>
                  </a:lnTo>
                  <a:lnTo>
                    <a:pt x="3873" y="308660"/>
                  </a:lnTo>
                  <a:lnTo>
                    <a:pt x="0" y="355688"/>
                  </a:lnTo>
                  <a:lnTo>
                    <a:pt x="2489" y="403339"/>
                  </a:lnTo>
                  <a:lnTo>
                    <a:pt x="11645" y="451040"/>
                  </a:lnTo>
                  <a:lnTo>
                    <a:pt x="27317" y="497636"/>
                  </a:lnTo>
                  <a:lnTo>
                    <a:pt x="48488" y="540753"/>
                  </a:lnTo>
                  <a:lnTo>
                    <a:pt x="74663" y="580059"/>
                  </a:lnTo>
                  <a:lnTo>
                    <a:pt x="105371" y="615226"/>
                  </a:lnTo>
                  <a:lnTo>
                    <a:pt x="140131" y="645947"/>
                  </a:lnTo>
                  <a:lnTo>
                    <a:pt x="178460" y="671868"/>
                  </a:lnTo>
                  <a:lnTo>
                    <a:pt x="219887" y="692670"/>
                  </a:lnTo>
                  <a:lnTo>
                    <a:pt x="263918" y="708025"/>
                  </a:lnTo>
                  <a:lnTo>
                    <a:pt x="310083" y="717626"/>
                  </a:lnTo>
                  <a:lnTo>
                    <a:pt x="357911" y="721118"/>
                  </a:lnTo>
                  <a:lnTo>
                    <a:pt x="406908" y="718185"/>
                  </a:lnTo>
                  <a:lnTo>
                    <a:pt x="459473" y="707745"/>
                  </a:lnTo>
                  <a:lnTo>
                    <a:pt x="508368" y="690295"/>
                  </a:lnTo>
                  <a:lnTo>
                    <a:pt x="553567" y="665924"/>
                  </a:lnTo>
                  <a:lnTo>
                    <a:pt x="595096" y="634758"/>
                  </a:lnTo>
                  <a:lnTo>
                    <a:pt x="632917" y="596900"/>
                  </a:lnTo>
                  <a:lnTo>
                    <a:pt x="661441" y="559866"/>
                  </a:lnTo>
                  <a:lnTo>
                    <a:pt x="684403" y="520420"/>
                  </a:lnTo>
                  <a:lnTo>
                    <a:pt x="701852" y="478624"/>
                  </a:lnTo>
                  <a:lnTo>
                    <a:pt x="713803" y="434505"/>
                  </a:lnTo>
                  <a:lnTo>
                    <a:pt x="720293" y="388112"/>
                  </a:lnTo>
                  <a:lnTo>
                    <a:pt x="721360" y="353301"/>
                  </a:lnTo>
                  <a:close/>
                </a:path>
                <a:path w="721995" h="721359">
                  <a:moveTo>
                    <a:pt x="721436" y="62839"/>
                  </a:moveTo>
                  <a:lnTo>
                    <a:pt x="718718" y="52387"/>
                  </a:lnTo>
                  <a:lnTo>
                    <a:pt x="711479" y="43497"/>
                  </a:lnTo>
                  <a:lnTo>
                    <a:pt x="701344" y="38036"/>
                  </a:lnTo>
                  <a:lnTo>
                    <a:pt x="690575" y="37312"/>
                  </a:lnTo>
                  <a:lnTo>
                    <a:pt x="679970" y="41198"/>
                  </a:lnTo>
                  <a:lnTo>
                    <a:pt x="670356" y="49580"/>
                  </a:lnTo>
                  <a:lnTo>
                    <a:pt x="360794" y="419912"/>
                  </a:lnTo>
                  <a:lnTo>
                    <a:pt x="235635" y="270738"/>
                  </a:lnTo>
                  <a:lnTo>
                    <a:pt x="195580" y="264896"/>
                  </a:lnTo>
                  <a:lnTo>
                    <a:pt x="185356" y="284899"/>
                  </a:lnTo>
                  <a:lnTo>
                    <a:pt x="185839" y="292506"/>
                  </a:lnTo>
                  <a:lnTo>
                    <a:pt x="335788" y="476554"/>
                  </a:lnTo>
                  <a:lnTo>
                    <a:pt x="360997" y="491121"/>
                  </a:lnTo>
                  <a:lnTo>
                    <a:pt x="373735" y="487311"/>
                  </a:lnTo>
                  <a:lnTo>
                    <a:pt x="386270" y="476135"/>
                  </a:lnTo>
                  <a:lnTo>
                    <a:pt x="713003" y="85039"/>
                  </a:lnTo>
                  <a:lnTo>
                    <a:pt x="719556" y="74002"/>
                  </a:lnTo>
                  <a:lnTo>
                    <a:pt x="721436" y="6283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3739960" y="5065298"/>
            <a:ext cx="1146722" cy="61045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algn="ctr" defTabSz="554492">
              <a:spcBef>
                <a:spcPts val="69"/>
              </a:spcBef>
            </a:pPr>
            <a:r>
              <a:rPr sz="970" b="1" kern="0" dirty="0">
                <a:solidFill>
                  <a:srgbClr val="18418F"/>
                </a:solidFill>
                <a:latin typeface="Verdana"/>
                <a:cs typeface="Verdana"/>
              </a:rPr>
              <a:t>СРЕДНИЙ</a:t>
            </a:r>
            <a:r>
              <a:rPr sz="970" b="1" kern="0" spc="5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b="1" kern="0" spc="-12" dirty="0">
                <a:solidFill>
                  <a:srgbClr val="18418F"/>
                </a:solidFill>
                <a:latin typeface="Verdana"/>
                <a:cs typeface="Verdana"/>
              </a:rPr>
              <a:t>БАЛЛ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33116" marR="28880" algn="ctr" defTabSz="554492">
              <a:lnSpc>
                <a:spcPct val="101099"/>
              </a:lnSpc>
            </a:pPr>
            <a:r>
              <a:rPr sz="970" b="1" kern="0" spc="-6" dirty="0">
                <a:solidFill>
                  <a:srgbClr val="18418F"/>
                </a:solidFill>
                <a:latin typeface="Verdana"/>
                <a:cs typeface="Verdana"/>
              </a:rPr>
              <a:t>сравнивается</a:t>
            </a:r>
            <a:r>
              <a:rPr sz="970" b="1" kern="0" spc="30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b="1" kern="0" dirty="0">
                <a:solidFill>
                  <a:srgbClr val="18418F"/>
                </a:solidFill>
                <a:latin typeface="Verdana"/>
                <a:cs typeface="Verdana"/>
              </a:rPr>
              <a:t>с</a:t>
            </a:r>
            <a:r>
              <a:rPr sz="970" b="1" kern="0" spc="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970" b="1" kern="0" spc="-6" dirty="0">
                <a:solidFill>
                  <a:srgbClr val="18418F"/>
                </a:solidFill>
                <a:latin typeface="Verdana"/>
                <a:cs typeface="Verdana"/>
              </a:rPr>
              <a:t>ПРОХОДНЫМ БАЛЛОМ</a:t>
            </a:r>
            <a:endParaRPr sz="970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pic>
        <p:nvPicPr>
          <p:cNvPr id="19" name="object 19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727535" y="1857666"/>
            <a:ext cx="2419402" cy="2418206"/>
          </a:xfrm>
          <a:prstGeom prst="rect">
            <a:avLst/>
          </a:prstGeom>
        </p:spPr>
      </p:pic>
      <p:sp>
        <p:nvSpPr>
          <p:cNvPr id="20" name="object 20"/>
          <p:cNvSpPr txBox="1"/>
          <p:nvPr/>
        </p:nvSpPr>
        <p:spPr>
          <a:xfrm rot="18900000">
            <a:off x="5803581" y="1969959"/>
            <a:ext cx="224377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П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1" name="object 21"/>
          <p:cNvSpPr txBox="1"/>
          <p:nvPr/>
        </p:nvSpPr>
        <p:spPr>
          <a:xfrm rot="19260000">
            <a:off x="5908856" y="1880154"/>
            <a:ext cx="210254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о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2" name="object 22"/>
          <p:cNvSpPr txBox="1"/>
          <p:nvPr/>
        </p:nvSpPr>
        <p:spPr>
          <a:xfrm rot="19500000">
            <a:off x="6004960" y="1806191"/>
            <a:ext cx="209149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д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3" name="object 23"/>
          <p:cNvSpPr txBox="1"/>
          <p:nvPr/>
        </p:nvSpPr>
        <p:spPr>
          <a:xfrm rot="19800000">
            <a:off x="6101196" y="1748165"/>
            <a:ext cx="196130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г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4" name="object 24"/>
          <p:cNvSpPr txBox="1"/>
          <p:nvPr/>
        </p:nvSpPr>
        <p:spPr>
          <a:xfrm rot="20040000">
            <a:off x="6187686" y="1696831"/>
            <a:ext cx="209590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о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5" name="object 25"/>
          <p:cNvSpPr txBox="1"/>
          <p:nvPr/>
        </p:nvSpPr>
        <p:spPr>
          <a:xfrm rot="20280000">
            <a:off x="6291899" y="1652303"/>
            <a:ext cx="195391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т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6" name="object 26"/>
          <p:cNvSpPr txBox="1"/>
          <p:nvPr/>
        </p:nvSpPr>
        <p:spPr>
          <a:xfrm rot="20520000">
            <a:off x="6385776" y="1615178"/>
            <a:ext cx="208492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о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 rot="20820000">
            <a:off x="6500825" y="1583002"/>
            <a:ext cx="208056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в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 rot="21120000">
            <a:off x="6616790" y="1560717"/>
            <a:ext cx="208056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к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9" name="object 29"/>
          <p:cNvSpPr txBox="1"/>
          <p:nvPr/>
        </p:nvSpPr>
        <p:spPr>
          <a:xfrm rot="21420000">
            <a:off x="6732963" y="1548116"/>
            <a:ext cx="208492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0" name="object 30"/>
          <p:cNvSpPr txBox="1"/>
          <p:nvPr/>
        </p:nvSpPr>
        <p:spPr>
          <a:xfrm rot="180000">
            <a:off x="6911449" y="1546375"/>
            <a:ext cx="208929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д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1" name="object 31"/>
          <p:cNvSpPr txBox="1"/>
          <p:nvPr/>
        </p:nvSpPr>
        <p:spPr>
          <a:xfrm rot="420000">
            <a:off x="7030024" y="1557927"/>
            <a:ext cx="207623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2" name="object 32"/>
          <p:cNvSpPr txBox="1"/>
          <p:nvPr/>
        </p:nvSpPr>
        <p:spPr>
          <a:xfrm rot="660000">
            <a:off x="7138839" y="1575845"/>
            <a:ext cx="196130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г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3" name="object 33"/>
          <p:cNvSpPr txBox="1"/>
          <p:nvPr/>
        </p:nvSpPr>
        <p:spPr>
          <a:xfrm rot="960000">
            <a:off x="7234725" y="1600619"/>
            <a:ext cx="205061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у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4" name="object 34"/>
          <p:cNvSpPr txBox="1"/>
          <p:nvPr/>
        </p:nvSpPr>
        <p:spPr>
          <a:xfrm rot="1200000">
            <a:off x="7340487" y="1635112"/>
            <a:ext cx="200956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с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5" name="object 35"/>
          <p:cNvSpPr txBox="1"/>
          <p:nvPr/>
        </p:nvSpPr>
        <p:spPr>
          <a:xfrm rot="1440000">
            <a:off x="7434868" y="1673011"/>
            <a:ext cx="195575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т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6" name="object 36"/>
          <p:cNvSpPr txBox="1"/>
          <p:nvPr/>
        </p:nvSpPr>
        <p:spPr>
          <a:xfrm rot="1680000">
            <a:off x="7522841" y="1720267"/>
            <a:ext cx="207839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 rot="1980000">
            <a:off x="7624510" y="1783349"/>
            <a:ext cx="213638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ц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8" name="object 38"/>
          <p:cNvSpPr txBox="1"/>
          <p:nvPr/>
        </p:nvSpPr>
        <p:spPr>
          <a:xfrm rot="2280000">
            <a:off x="7727376" y="1857949"/>
            <a:ext cx="212953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9" name="object 39"/>
          <p:cNvSpPr txBox="1"/>
          <p:nvPr/>
        </p:nvSpPr>
        <p:spPr>
          <a:xfrm rot="2580000">
            <a:off x="7822398" y="1940778"/>
            <a:ext cx="212953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й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pic>
        <p:nvPicPr>
          <p:cNvPr id="40" name="object 40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950252" y="1858523"/>
            <a:ext cx="2419402" cy="2410502"/>
          </a:xfrm>
          <a:prstGeom prst="rect">
            <a:avLst/>
          </a:prstGeom>
        </p:spPr>
      </p:pic>
      <p:sp>
        <p:nvSpPr>
          <p:cNvPr id="41" name="object 41"/>
          <p:cNvSpPr txBox="1"/>
          <p:nvPr/>
        </p:nvSpPr>
        <p:spPr>
          <a:xfrm rot="18840000">
            <a:off x="9004565" y="1992334"/>
            <a:ext cx="225123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П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2" name="object 42"/>
          <p:cNvSpPr txBox="1"/>
          <p:nvPr/>
        </p:nvSpPr>
        <p:spPr>
          <a:xfrm rot="19140000">
            <a:off x="9109108" y="1899047"/>
            <a:ext cx="209810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р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3" name="object 43"/>
          <p:cNvSpPr txBox="1"/>
          <p:nvPr/>
        </p:nvSpPr>
        <p:spPr>
          <a:xfrm rot="19440000">
            <a:off x="9204061" y="1823327"/>
            <a:ext cx="208929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о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4" name="object 44"/>
          <p:cNvSpPr txBox="1"/>
          <p:nvPr/>
        </p:nvSpPr>
        <p:spPr>
          <a:xfrm rot="19740000">
            <a:off x="9303205" y="1756809"/>
            <a:ext cx="208492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в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5" name="object 45"/>
          <p:cNvSpPr txBox="1"/>
          <p:nvPr/>
        </p:nvSpPr>
        <p:spPr>
          <a:xfrm rot="20040000">
            <a:off x="9405976" y="1699641"/>
            <a:ext cx="208056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6" name="object 46"/>
          <p:cNvSpPr txBox="1"/>
          <p:nvPr/>
        </p:nvSpPr>
        <p:spPr>
          <a:xfrm rot="20280000">
            <a:off x="9513190" y="1650036"/>
            <a:ext cx="209149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д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7" name="object 47"/>
          <p:cNvSpPr txBox="1"/>
          <p:nvPr/>
        </p:nvSpPr>
        <p:spPr>
          <a:xfrm rot="20580000">
            <a:off x="9625853" y="1610031"/>
            <a:ext cx="206976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8" name="object 48"/>
          <p:cNvSpPr txBox="1"/>
          <p:nvPr/>
        </p:nvSpPr>
        <p:spPr>
          <a:xfrm rot="20880000">
            <a:off x="9739966" y="1578827"/>
            <a:ext cx="212725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н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9" name="object 49"/>
          <p:cNvSpPr txBox="1"/>
          <p:nvPr/>
        </p:nvSpPr>
        <p:spPr>
          <a:xfrm rot="21180000">
            <a:off x="9864031" y="1556894"/>
            <a:ext cx="212725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0" name="object 50"/>
          <p:cNvSpPr txBox="1"/>
          <p:nvPr/>
        </p:nvSpPr>
        <p:spPr>
          <a:xfrm rot="21480000">
            <a:off x="9987227" y="1546190"/>
            <a:ext cx="207623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1" name="object 51"/>
          <p:cNvSpPr txBox="1"/>
          <p:nvPr/>
        </p:nvSpPr>
        <p:spPr>
          <a:xfrm rot="240000">
            <a:off x="10164729" y="1548470"/>
            <a:ext cx="209369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д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2" name="object 52"/>
          <p:cNvSpPr txBox="1"/>
          <p:nvPr/>
        </p:nvSpPr>
        <p:spPr>
          <a:xfrm rot="540000">
            <a:off x="10284065" y="1562062"/>
            <a:ext cx="206120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3" name="object 53"/>
          <p:cNvSpPr txBox="1"/>
          <p:nvPr/>
        </p:nvSpPr>
        <p:spPr>
          <a:xfrm rot="780000">
            <a:off x="10392428" y="1582282"/>
            <a:ext cx="194843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г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4" name="object 54"/>
          <p:cNvSpPr txBox="1"/>
          <p:nvPr/>
        </p:nvSpPr>
        <p:spPr>
          <a:xfrm rot="1020000">
            <a:off x="10486834" y="1609624"/>
            <a:ext cx="205695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у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5" name="object 55"/>
          <p:cNvSpPr txBox="1"/>
          <p:nvPr/>
        </p:nvSpPr>
        <p:spPr>
          <a:xfrm rot="1260000">
            <a:off x="10591865" y="1646352"/>
            <a:ext cx="201559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с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6" name="object 56"/>
          <p:cNvSpPr txBox="1"/>
          <p:nvPr/>
        </p:nvSpPr>
        <p:spPr>
          <a:xfrm rot="1500000">
            <a:off x="10685294" y="1686194"/>
            <a:ext cx="195945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т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7" name="object 57"/>
          <p:cNvSpPr txBox="1"/>
          <p:nvPr/>
        </p:nvSpPr>
        <p:spPr>
          <a:xfrm rot="1740000">
            <a:off x="10772175" y="1735473"/>
            <a:ext cx="208274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8" name="object 58"/>
          <p:cNvSpPr txBox="1"/>
          <p:nvPr/>
        </p:nvSpPr>
        <p:spPr>
          <a:xfrm rot="2040000">
            <a:off x="10872458" y="1800778"/>
            <a:ext cx="214097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ц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9" name="object 59"/>
          <p:cNvSpPr txBox="1"/>
          <p:nvPr/>
        </p:nvSpPr>
        <p:spPr>
          <a:xfrm rot="2340000">
            <a:off x="10973838" y="1877680"/>
            <a:ext cx="213409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0" name="object 60"/>
          <p:cNvSpPr txBox="1"/>
          <p:nvPr/>
        </p:nvSpPr>
        <p:spPr>
          <a:xfrm rot="2640000">
            <a:off x="11066946" y="1962399"/>
            <a:ext cx="213409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349"/>
              </a:lnSpc>
            </a:pPr>
            <a:r>
              <a:rPr sz="1334" b="1" kern="0" spc="-30" dirty="0">
                <a:solidFill>
                  <a:srgbClr val="18418F"/>
                </a:solidFill>
                <a:latin typeface="Verdana"/>
                <a:cs typeface="Verdana"/>
              </a:rPr>
              <a:t>й</a:t>
            </a:r>
            <a:endParaRPr sz="1334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pic>
        <p:nvPicPr>
          <p:cNvPr id="61" name="object 61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555908" y="5063130"/>
            <a:ext cx="5961285" cy="1088269"/>
          </a:xfrm>
          <a:prstGeom prst="rect">
            <a:avLst/>
          </a:prstGeom>
        </p:spPr>
      </p:pic>
      <p:sp>
        <p:nvSpPr>
          <p:cNvPr id="62" name="object 62"/>
          <p:cNvSpPr txBox="1"/>
          <p:nvPr/>
        </p:nvSpPr>
        <p:spPr>
          <a:xfrm>
            <a:off x="5721854" y="5662267"/>
            <a:ext cx="750876" cy="5487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R="3081" algn="r" defTabSz="554492">
              <a:lnSpc>
                <a:spcPts val="1377"/>
              </a:lnSpc>
              <a:spcBef>
                <a:spcPts val="79"/>
              </a:spcBef>
            </a:pPr>
            <a:r>
              <a:rPr sz="1182" b="1" kern="0" spc="-6" dirty="0">
                <a:solidFill>
                  <a:srgbClr val="3CAC62"/>
                </a:solidFill>
                <a:latin typeface="Akrobat ExtraBold"/>
                <a:cs typeface="Akrobat ExtraBold"/>
              </a:rPr>
              <a:t>ПРОХОДНОЙ</a:t>
            </a:r>
            <a:endParaRPr sz="1182" kern="0">
              <a:solidFill>
                <a:sysClr val="windowText" lastClr="000000"/>
              </a:solidFill>
              <a:latin typeface="Akrobat ExtraBold"/>
              <a:cs typeface="Akrobat ExtraBold"/>
            </a:endParaRPr>
          </a:p>
          <a:p>
            <a:pPr marR="3081" algn="r" defTabSz="554492">
              <a:lnSpc>
                <a:spcPts val="1377"/>
              </a:lnSpc>
            </a:pPr>
            <a:r>
              <a:rPr sz="1182" b="1" kern="0" spc="-12" dirty="0">
                <a:solidFill>
                  <a:srgbClr val="3CAC62"/>
                </a:solidFill>
                <a:latin typeface="Akrobat ExtraBold"/>
                <a:cs typeface="Akrobat ExtraBold"/>
              </a:rPr>
              <a:t>БАЛЛ</a:t>
            </a:r>
            <a:endParaRPr sz="1182" kern="0">
              <a:solidFill>
                <a:sysClr val="windowText" lastClr="000000"/>
              </a:solidFill>
              <a:latin typeface="Akrobat ExtraBold"/>
              <a:cs typeface="Akrobat ExtraBold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054347" y="5207799"/>
            <a:ext cx="412019" cy="373927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 defTabSz="554492">
              <a:spcBef>
                <a:spcPts val="79"/>
              </a:spcBef>
            </a:pPr>
            <a:r>
              <a:rPr sz="1182" b="1" kern="0" spc="-6" dirty="0">
                <a:solidFill>
                  <a:srgbClr val="0A4DAC"/>
                </a:solidFill>
                <a:latin typeface="Akrobat ExtraBold"/>
                <a:cs typeface="Akrobat ExtraBold"/>
              </a:rPr>
              <a:t>БРЕНД</a:t>
            </a:r>
            <a:endParaRPr sz="1182" kern="0">
              <a:solidFill>
                <a:sysClr val="windowText" lastClr="000000"/>
              </a:solidFill>
              <a:latin typeface="Akrobat ExtraBold"/>
              <a:cs typeface="Akrobat ExtraBold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860731" y="5666181"/>
            <a:ext cx="4508922" cy="266394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 defTabSz="554492">
              <a:spcBef>
                <a:spcPts val="76"/>
              </a:spcBef>
              <a:tabLst>
                <a:tab pos="591458" algn="l"/>
                <a:tab pos="1180991" algn="l"/>
                <a:tab pos="1767059" algn="l"/>
                <a:tab pos="2353511" algn="l"/>
                <a:tab pos="2939579" algn="l"/>
                <a:tab pos="3529882" algn="l"/>
                <a:tab pos="4115949" algn="l"/>
              </a:tabLst>
            </a:pPr>
            <a:r>
              <a:rPr sz="1668" b="1" kern="0" spc="-15" dirty="0">
                <a:solidFill>
                  <a:srgbClr val="0A4DAC"/>
                </a:solidFill>
                <a:latin typeface="Akrobat ExtraBold"/>
                <a:cs typeface="Akrobat ExtraBold"/>
              </a:rPr>
              <a:t>3,6</a:t>
            </a:r>
            <a:r>
              <a:rPr sz="1668" b="1" kern="0" dirty="0">
                <a:solidFill>
                  <a:srgbClr val="0A4DAC"/>
                </a:solidFill>
                <a:latin typeface="Akrobat ExtraBold"/>
                <a:cs typeface="Akrobat ExtraBold"/>
              </a:rPr>
              <a:t>	</a:t>
            </a:r>
            <a:r>
              <a:rPr sz="1668" b="1" kern="0" spc="-15" dirty="0">
                <a:solidFill>
                  <a:srgbClr val="0A4DAC"/>
                </a:solidFill>
                <a:latin typeface="Akrobat ExtraBold"/>
                <a:cs typeface="Akrobat ExtraBold"/>
              </a:rPr>
              <a:t>4,0</a:t>
            </a:r>
            <a:r>
              <a:rPr sz="1668" b="1" kern="0" dirty="0">
                <a:solidFill>
                  <a:srgbClr val="0A4DAC"/>
                </a:solidFill>
                <a:latin typeface="Akrobat ExtraBold"/>
                <a:cs typeface="Akrobat ExtraBold"/>
              </a:rPr>
              <a:t>	</a:t>
            </a:r>
            <a:r>
              <a:rPr sz="1668" b="1" kern="0" spc="-15" dirty="0">
                <a:solidFill>
                  <a:srgbClr val="0A4DAC"/>
                </a:solidFill>
                <a:latin typeface="Akrobat ExtraBold"/>
                <a:cs typeface="Akrobat ExtraBold"/>
              </a:rPr>
              <a:t>4,2</a:t>
            </a:r>
            <a:r>
              <a:rPr sz="1668" b="1" kern="0" dirty="0">
                <a:solidFill>
                  <a:srgbClr val="0A4DAC"/>
                </a:solidFill>
                <a:latin typeface="Akrobat ExtraBold"/>
                <a:cs typeface="Akrobat ExtraBold"/>
              </a:rPr>
              <a:t>	</a:t>
            </a:r>
            <a:r>
              <a:rPr sz="1668" b="1" kern="0" spc="-15" dirty="0">
                <a:solidFill>
                  <a:srgbClr val="0A4DAC"/>
                </a:solidFill>
                <a:latin typeface="Akrobat ExtraBold"/>
                <a:cs typeface="Akrobat ExtraBold"/>
              </a:rPr>
              <a:t>4,2</a:t>
            </a:r>
            <a:r>
              <a:rPr sz="1668" b="1" kern="0" dirty="0">
                <a:solidFill>
                  <a:srgbClr val="0A4DAC"/>
                </a:solidFill>
                <a:latin typeface="Akrobat ExtraBold"/>
                <a:cs typeface="Akrobat ExtraBold"/>
              </a:rPr>
              <a:t>	</a:t>
            </a:r>
            <a:r>
              <a:rPr sz="1668" b="1" kern="0" spc="-15" dirty="0">
                <a:solidFill>
                  <a:srgbClr val="0A4DAC"/>
                </a:solidFill>
                <a:latin typeface="Akrobat ExtraBold"/>
                <a:cs typeface="Akrobat ExtraBold"/>
              </a:rPr>
              <a:t>4,2</a:t>
            </a:r>
            <a:r>
              <a:rPr sz="1668" b="1" kern="0" dirty="0">
                <a:solidFill>
                  <a:srgbClr val="0A4DAC"/>
                </a:solidFill>
                <a:latin typeface="Akrobat ExtraBold"/>
                <a:cs typeface="Akrobat ExtraBold"/>
              </a:rPr>
              <a:t>	</a:t>
            </a:r>
            <a:r>
              <a:rPr sz="1668" b="1" kern="0" spc="-15" dirty="0">
                <a:solidFill>
                  <a:srgbClr val="0A4DAC"/>
                </a:solidFill>
                <a:latin typeface="Akrobat ExtraBold"/>
                <a:cs typeface="Akrobat ExtraBold"/>
              </a:rPr>
              <a:t>4,2</a:t>
            </a:r>
            <a:r>
              <a:rPr sz="1668" b="1" kern="0" dirty="0">
                <a:solidFill>
                  <a:srgbClr val="0A4DAC"/>
                </a:solidFill>
                <a:latin typeface="Akrobat ExtraBold"/>
                <a:cs typeface="Akrobat ExtraBold"/>
              </a:rPr>
              <a:t>	</a:t>
            </a:r>
            <a:r>
              <a:rPr sz="1668" b="1" kern="0" spc="-15" dirty="0">
                <a:solidFill>
                  <a:srgbClr val="0A4DAC"/>
                </a:solidFill>
                <a:latin typeface="Akrobat ExtraBold"/>
                <a:cs typeface="Akrobat ExtraBold"/>
              </a:rPr>
              <a:t>4,7</a:t>
            </a:r>
            <a:r>
              <a:rPr sz="1668" b="1" kern="0" dirty="0">
                <a:solidFill>
                  <a:srgbClr val="0A4DAC"/>
                </a:solidFill>
                <a:latin typeface="Akrobat ExtraBold"/>
                <a:cs typeface="Akrobat ExtraBold"/>
              </a:rPr>
              <a:t>	</a:t>
            </a:r>
            <a:r>
              <a:rPr sz="1668" b="1" kern="0" spc="-15" dirty="0">
                <a:solidFill>
                  <a:srgbClr val="0A4DAC"/>
                </a:solidFill>
                <a:latin typeface="Akrobat ExtraBold"/>
                <a:cs typeface="Akrobat ExtraBold"/>
              </a:rPr>
              <a:t>4,7</a:t>
            </a:r>
            <a:endParaRPr sz="1668" kern="0" dirty="0">
              <a:solidFill>
                <a:sysClr val="windowText" lastClr="000000"/>
              </a:solidFill>
              <a:latin typeface="Akrobat ExtraBold"/>
              <a:cs typeface="Akrobat ExtraBold"/>
            </a:endParaRPr>
          </a:p>
        </p:txBody>
      </p:sp>
      <p:sp>
        <p:nvSpPr>
          <p:cNvPr id="65" name="object 65"/>
          <p:cNvSpPr txBox="1">
            <a:spLocks noGrp="1"/>
          </p:cNvSpPr>
          <p:nvPr>
            <p:ph type="title"/>
          </p:nvPr>
        </p:nvSpPr>
        <p:spPr>
          <a:xfrm>
            <a:off x="589747" y="323523"/>
            <a:ext cx="10927447" cy="805298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lang="ru-RU" spc="-6" dirty="0"/>
              <a:t>Проверка соответствия товара</a:t>
            </a:r>
            <a:br>
              <a:rPr lang="ru-RU" spc="-6" dirty="0"/>
            </a:br>
            <a:r>
              <a:rPr lang="ru-RU" sz="2183" b="0" spc="-6" dirty="0"/>
              <a:t>экспертные</a:t>
            </a:r>
            <a:r>
              <a:rPr lang="ru-RU" sz="2183" b="0" spc="-130" dirty="0"/>
              <a:t> </a:t>
            </a:r>
            <a:r>
              <a:rPr lang="ru-RU" sz="2183" b="0" dirty="0"/>
              <a:t>дегустации</a:t>
            </a:r>
            <a:r>
              <a:rPr lang="ru-RU" sz="2183" b="0" spc="-127" dirty="0"/>
              <a:t> </a:t>
            </a:r>
            <a:r>
              <a:rPr lang="ru-RU" sz="2183" b="0" dirty="0"/>
              <a:t>в</a:t>
            </a:r>
            <a:r>
              <a:rPr lang="ru-RU" sz="2183" b="0" spc="-127" dirty="0"/>
              <a:t> </a:t>
            </a:r>
            <a:r>
              <a:rPr lang="ru-RU" sz="2183" b="0" dirty="0"/>
              <a:t>офисе СПб</a:t>
            </a:r>
            <a:endParaRPr lang="ru-RU" sz="2183" b="0" spc="-15" dirty="0"/>
          </a:p>
        </p:txBody>
      </p:sp>
      <p:grpSp>
        <p:nvGrpSpPr>
          <p:cNvPr id="66" name="object 66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67" name="object 67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object 68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9" name="object 69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1" name="object 71"/>
          <p:cNvSpPr txBox="1">
            <a:spLocks noGrp="1"/>
          </p:cNvSpPr>
          <p:nvPr>
            <p:ph type="sldNum" sz="quarter" idx="7"/>
          </p:nvPr>
        </p:nvSpPr>
        <p:spPr>
          <a:xfrm>
            <a:off x="6633859" y="3736099"/>
            <a:ext cx="388111" cy="409557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defTabSz="554492">
              <a:spcBef>
                <a:spcPts val="64"/>
              </a:spcBef>
            </a:pPr>
            <a:r>
              <a:rPr kern="0" dirty="0"/>
              <a:t>стр.</a:t>
            </a:r>
            <a:r>
              <a:rPr kern="0" spc="-30" dirty="0"/>
              <a:t> </a:t>
            </a:r>
            <a:fld id="{81D60167-4931-47E6-BA6A-407CBD079E47}" type="slidenum">
              <a:rPr kern="0" spc="-15" dirty="0"/>
              <a:pPr marL="7701" defTabSz="554492">
                <a:spcBef>
                  <a:spcPts val="64"/>
                </a:spcBef>
              </a:pPr>
              <a:t>119</a:t>
            </a:fld>
            <a:endParaRPr kern="0" spc="-15" dirty="0"/>
          </a:p>
        </p:txBody>
      </p:sp>
    </p:spTree>
    <p:extLst>
      <p:ext uri="{BB962C8B-B14F-4D97-AF65-F5344CB8AC3E}">
        <p14:creationId xmlns:p14="http://schemas.microsoft.com/office/powerpoint/2010/main" val="2830472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D68EB34-ED57-0EA6-A021-937295937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16211"/>
            <a:ext cx="9974580" cy="338554"/>
          </a:xfrm>
        </p:spPr>
        <p:txBody>
          <a:bodyPr vert="horz"/>
          <a:lstStyle/>
          <a:p>
            <a:r>
              <a:rPr lang="ru-RU" dirty="0"/>
              <a:t>Реестр деклараций  на сайте Росаккредитац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500" y="1198563"/>
            <a:ext cx="11069638" cy="507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942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54762" y="2443245"/>
            <a:ext cx="2151019" cy="2151019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 rot="15540000">
            <a:off x="2580754" y="3688342"/>
            <a:ext cx="18832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С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" name="object 4"/>
          <p:cNvSpPr txBox="1"/>
          <p:nvPr/>
        </p:nvSpPr>
        <p:spPr>
          <a:xfrm rot="15900000">
            <a:off x="2560823" y="3573278"/>
            <a:ext cx="19484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541605" y="3452678"/>
            <a:ext cx="181909" cy="146325"/>
          </a:xfrm>
          <a:prstGeom prst="rect">
            <a:avLst/>
          </a:prstGeom>
        </p:spPr>
        <p:txBody>
          <a:bodyPr vert="vert270" wrap="square" lIns="0" tIns="12707" rIns="0" bIns="0" rtlCol="0">
            <a:spAutoFit/>
          </a:bodyPr>
          <a:lstStyle/>
          <a:p>
            <a:pPr marL="7701" defTabSz="554492">
              <a:spcBef>
                <a:spcPts val="100"/>
              </a:spcBef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Н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 txBox="1"/>
          <p:nvPr/>
        </p:nvSpPr>
        <p:spPr>
          <a:xfrm rot="16560000">
            <a:off x="2559900" y="3323230"/>
            <a:ext cx="19412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К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 rot="16860000">
            <a:off x="2579274" y="3211276"/>
            <a:ext cx="18586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Т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 rot="17100000">
            <a:off x="2606341" y="3123200"/>
            <a:ext cx="17014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-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" name="object 9"/>
          <p:cNvSpPr txBox="1"/>
          <p:nvPr/>
        </p:nvSpPr>
        <p:spPr>
          <a:xfrm rot="17400000">
            <a:off x="2620684" y="3025100"/>
            <a:ext cx="20097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П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" name="object 10"/>
          <p:cNvSpPr txBox="1"/>
          <p:nvPr/>
        </p:nvSpPr>
        <p:spPr>
          <a:xfrm rot="17700000">
            <a:off x="2671676" y="2915168"/>
            <a:ext cx="18586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 rot="18000000">
            <a:off x="2719218" y="2820656"/>
            <a:ext cx="18630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Т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 rot="18240000">
            <a:off x="2775176" y="2729740"/>
            <a:ext cx="18499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3" name="object 13"/>
          <p:cNvSpPr txBox="1"/>
          <p:nvPr/>
        </p:nvSpPr>
        <p:spPr>
          <a:xfrm rot="18540000">
            <a:off x="2838151" y="2641081"/>
            <a:ext cx="18945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Р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4" name="object 14"/>
          <p:cNvSpPr txBox="1"/>
          <p:nvPr/>
        </p:nvSpPr>
        <p:spPr>
          <a:xfrm rot="18840000">
            <a:off x="2913606" y="2554217"/>
            <a:ext cx="19153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Б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5" name="object 15"/>
          <p:cNvSpPr txBox="1"/>
          <p:nvPr/>
        </p:nvSpPr>
        <p:spPr>
          <a:xfrm rot="19200000">
            <a:off x="2998350" y="2474564"/>
            <a:ext cx="19107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У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6" name="object 16"/>
          <p:cNvSpPr txBox="1"/>
          <p:nvPr/>
        </p:nvSpPr>
        <p:spPr>
          <a:xfrm rot="19500000">
            <a:off x="3088208" y="2403704"/>
            <a:ext cx="19060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Р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7" name="object 17"/>
          <p:cNvSpPr txBox="1"/>
          <p:nvPr/>
        </p:nvSpPr>
        <p:spPr>
          <a:xfrm rot="19740000">
            <a:off x="3181989" y="2344675"/>
            <a:ext cx="18094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Г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8" name="object 18"/>
          <p:cNvSpPr txBox="1"/>
          <p:nvPr/>
        </p:nvSpPr>
        <p:spPr>
          <a:xfrm rot="19980000">
            <a:off x="3260385" y="2305439"/>
            <a:ext cx="16489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: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9" name="object 19"/>
          <p:cNvSpPr txBox="1"/>
          <p:nvPr/>
        </p:nvSpPr>
        <p:spPr>
          <a:xfrm rot="20340000">
            <a:off x="3371627" y="2252301"/>
            <a:ext cx="17633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Г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 rot="20640000">
            <a:off x="3460306" y="2218678"/>
            <a:ext cx="1927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1" name="object 21"/>
          <p:cNvSpPr txBox="1"/>
          <p:nvPr/>
        </p:nvSpPr>
        <p:spPr>
          <a:xfrm rot="20940000">
            <a:off x="3573593" y="2189636"/>
            <a:ext cx="19223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П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2" name="object 22"/>
          <p:cNvSpPr txBox="1"/>
          <p:nvPr/>
        </p:nvSpPr>
        <p:spPr>
          <a:xfrm rot="21240000">
            <a:off x="3684684" y="2172313"/>
            <a:ext cx="18199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3" name="object 23"/>
          <p:cNvSpPr txBox="1"/>
          <p:nvPr/>
        </p:nvSpPr>
        <p:spPr>
          <a:xfrm rot="21480000">
            <a:off x="3781823" y="2164255"/>
            <a:ext cx="17910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Р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4" name="object 24"/>
          <p:cNvSpPr txBox="1"/>
          <p:nvPr/>
        </p:nvSpPr>
        <p:spPr>
          <a:xfrm rot="240000">
            <a:off x="3935050" y="2166713"/>
            <a:ext cx="19014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Л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5" name="object 25"/>
          <p:cNvSpPr txBox="1"/>
          <p:nvPr/>
        </p:nvSpPr>
        <p:spPr>
          <a:xfrm rot="540000">
            <a:off x="4045130" y="2179127"/>
            <a:ext cx="18074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6" name="object 26"/>
          <p:cNvSpPr txBox="1"/>
          <p:nvPr/>
        </p:nvSpPr>
        <p:spPr>
          <a:xfrm rot="840000">
            <a:off x="4145484" y="2200658"/>
            <a:ext cx="19083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Н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 rot="1080000">
            <a:off x="4252652" y="2231046"/>
            <a:ext cx="18053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Т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 rot="1380000">
            <a:off x="4344489" y="2267230"/>
            <a:ext cx="18542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9" name="object 29"/>
          <p:cNvSpPr txBox="1"/>
          <p:nvPr/>
        </p:nvSpPr>
        <p:spPr>
          <a:xfrm rot="1620000">
            <a:off x="4429870" y="2301783"/>
            <a:ext cx="16238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,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0" name="object 30"/>
          <p:cNvSpPr txBox="1"/>
          <p:nvPr/>
        </p:nvSpPr>
        <p:spPr>
          <a:xfrm rot="1920000">
            <a:off x="4533358" y="2366396"/>
            <a:ext cx="17870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у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1" name="object 31"/>
          <p:cNvSpPr txBox="1"/>
          <p:nvPr/>
        </p:nvSpPr>
        <p:spPr>
          <a:xfrm rot="2220000">
            <a:off x="4610131" y="2420018"/>
            <a:ext cx="17951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л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2" name="object 32"/>
          <p:cNvSpPr txBox="1"/>
          <p:nvPr/>
        </p:nvSpPr>
        <p:spPr>
          <a:xfrm rot="2400000">
            <a:off x="4678234" y="2468035"/>
            <a:ext cx="16278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.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3" name="object 33"/>
          <p:cNvSpPr txBox="1"/>
          <p:nvPr/>
        </p:nvSpPr>
        <p:spPr>
          <a:xfrm rot="2760000">
            <a:off x="4765705" y="2565754"/>
            <a:ext cx="19223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П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4" name="object 34"/>
          <p:cNvSpPr txBox="1"/>
          <p:nvPr/>
        </p:nvSpPr>
        <p:spPr>
          <a:xfrm rot="3060000">
            <a:off x="4841359" y="2645005"/>
            <a:ext cx="17870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5" name="object 35"/>
          <p:cNvSpPr txBox="1"/>
          <p:nvPr/>
        </p:nvSpPr>
        <p:spPr>
          <a:xfrm rot="3300000">
            <a:off x="4896691" y="2721600"/>
            <a:ext cx="18094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р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6" name="object 36"/>
          <p:cNvSpPr txBox="1"/>
          <p:nvPr/>
        </p:nvSpPr>
        <p:spPr>
          <a:xfrm rot="3540000">
            <a:off x="4948031" y="2802117"/>
            <a:ext cx="17951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 rot="3900000">
            <a:off x="4989449" y="2903595"/>
            <a:ext cx="20299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ш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8" name="object 38"/>
          <p:cNvSpPr txBox="1"/>
          <p:nvPr/>
        </p:nvSpPr>
        <p:spPr>
          <a:xfrm rot="4260000">
            <a:off x="5041088" y="3027215"/>
            <a:ext cx="19923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ю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39" name="object 39"/>
          <p:cNvSpPr txBox="1"/>
          <p:nvPr/>
        </p:nvSpPr>
        <p:spPr>
          <a:xfrm rot="4500000">
            <a:off x="5084465" y="3126910"/>
            <a:ext cx="17135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т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0" name="object 40"/>
          <p:cNvSpPr txBox="1"/>
          <p:nvPr/>
        </p:nvSpPr>
        <p:spPr>
          <a:xfrm rot="4740000">
            <a:off x="5097617" y="3213005"/>
            <a:ext cx="18220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н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1" name="object 41"/>
          <p:cNvSpPr txBox="1"/>
          <p:nvPr/>
        </p:nvSpPr>
        <p:spPr>
          <a:xfrm rot="5040000">
            <a:off x="5113485" y="3308220"/>
            <a:ext cx="17810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2" name="object 42"/>
          <p:cNvSpPr txBox="1"/>
          <p:nvPr/>
        </p:nvSpPr>
        <p:spPr>
          <a:xfrm rot="5280000">
            <a:off x="5119600" y="3401328"/>
            <a:ext cx="17830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я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3" name="object 43"/>
          <p:cNvSpPr txBox="1"/>
          <p:nvPr/>
        </p:nvSpPr>
        <p:spPr>
          <a:xfrm rot="5640000">
            <a:off x="5113328" y="3551932"/>
            <a:ext cx="18220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6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4" name="object 44"/>
          <p:cNvSpPr txBox="1"/>
          <p:nvPr/>
        </p:nvSpPr>
        <p:spPr>
          <a:xfrm rot="5940000">
            <a:off x="5101807" y="3650120"/>
            <a:ext cx="1813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0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3760533" y="4455044"/>
            <a:ext cx="339627" cy="339627"/>
          </a:xfrm>
          <a:custGeom>
            <a:avLst/>
            <a:gdLst/>
            <a:ahLst/>
            <a:cxnLst/>
            <a:rect l="l" t="t" r="r" b="b"/>
            <a:pathLst>
              <a:path w="560070" h="560070">
                <a:moveTo>
                  <a:pt x="279907" y="0"/>
                </a:moveTo>
                <a:lnTo>
                  <a:pt x="234504" y="3663"/>
                </a:lnTo>
                <a:lnTo>
                  <a:pt x="191433" y="14270"/>
                </a:lnTo>
                <a:lnTo>
                  <a:pt x="151272" y="31244"/>
                </a:lnTo>
                <a:lnTo>
                  <a:pt x="114596" y="54008"/>
                </a:lnTo>
                <a:lnTo>
                  <a:pt x="81981" y="81987"/>
                </a:lnTo>
                <a:lnTo>
                  <a:pt x="54004" y="114603"/>
                </a:lnTo>
                <a:lnTo>
                  <a:pt x="31242" y="151280"/>
                </a:lnTo>
                <a:lnTo>
                  <a:pt x="14269" y="191443"/>
                </a:lnTo>
                <a:lnTo>
                  <a:pt x="3663" y="234514"/>
                </a:lnTo>
                <a:lnTo>
                  <a:pt x="0" y="279918"/>
                </a:lnTo>
                <a:lnTo>
                  <a:pt x="3663" y="325321"/>
                </a:lnTo>
                <a:lnTo>
                  <a:pt x="14269" y="368393"/>
                </a:lnTo>
                <a:lnTo>
                  <a:pt x="31242" y="408555"/>
                </a:lnTo>
                <a:lnTo>
                  <a:pt x="54004" y="445233"/>
                </a:lnTo>
                <a:lnTo>
                  <a:pt x="81981" y="477849"/>
                </a:lnTo>
                <a:lnTo>
                  <a:pt x="114596" y="505827"/>
                </a:lnTo>
                <a:lnTo>
                  <a:pt x="151272" y="528591"/>
                </a:lnTo>
                <a:lnTo>
                  <a:pt x="191433" y="545565"/>
                </a:lnTo>
                <a:lnTo>
                  <a:pt x="234504" y="556172"/>
                </a:lnTo>
                <a:lnTo>
                  <a:pt x="279907" y="559836"/>
                </a:lnTo>
                <a:lnTo>
                  <a:pt x="325311" y="556172"/>
                </a:lnTo>
                <a:lnTo>
                  <a:pt x="368382" y="545565"/>
                </a:lnTo>
                <a:lnTo>
                  <a:pt x="408545" y="528591"/>
                </a:lnTo>
                <a:lnTo>
                  <a:pt x="445222" y="505827"/>
                </a:lnTo>
                <a:lnTo>
                  <a:pt x="477838" y="477849"/>
                </a:lnTo>
                <a:lnTo>
                  <a:pt x="505817" y="445233"/>
                </a:lnTo>
                <a:lnTo>
                  <a:pt x="528581" y="408555"/>
                </a:lnTo>
                <a:lnTo>
                  <a:pt x="545555" y="368393"/>
                </a:lnTo>
                <a:lnTo>
                  <a:pt x="556162" y="325321"/>
                </a:lnTo>
                <a:lnTo>
                  <a:pt x="559825" y="279918"/>
                </a:lnTo>
                <a:lnTo>
                  <a:pt x="556162" y="234514"/>
                </a:lnTo>
                <a:lnTo>
                  <a:pt x="545555" y="191443"/>
                </a:lnTo>
                <a:lnTo>
                  <a:pt x="528581" y="151280"/>
                </a:lnTo>
                <a:lnTo>
                  <a:pt x="505817" y="114603"/>
                </a:lnTo>
                <a:lnTo>
                  <a:pt x="477838" y="81987"/>
                </a:lnTo>
                <a:lnTo>
                  <a:pt x="445222" y="54008"/>
                </a:lnTo>
                <a:lnTo>
                  <a:pt x="408545" y="31244"/>
                </a:lnTo>
                <a:lnTo>
                  <a:pt x="368382" y="14270"/>
                </a:lnTo>
                <a:lnTo>
                  <a:pt x="325311" y="3663"/>
                </a:lnTo>
                <a:lnTo>
                  <a:pt x="279907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pic>
        <p:nvPicPr>
          <p:cNvPr id="46" name="object 4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965199" y="2443245"/>
            <a:ext cx="2151019" cy="2151019"/>
          </a:xfrm>
          <a:prstGeom prst="rect">
            <a:avLst/>
          </a:prstGeom>
        </p:spPr>
      </p:pic>
      <p:sp>
        <p:nvSpPr>
          <p:cNvPr id="47" name="object 47"/>
          <p:cNvSpPr txBox="1"/>
          <p:nvPr/>
        </p:nvSpPr>
        <p:spPr>
          <a:xfrm rot="16620000">
            <a:off x="5670704" y="3288413"/>
            <a:ext cx="20022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8" name="object 48"/>
          <p:cNvSpPr txBox="1"/>
          <p:nvPr/>
        </p:nvSpPr>
        <p:spPr>
          <a:xfrm rot="16980000">
            <a:off x="5695449" y="3165151"/>
            <a:ext cx="19294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В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9" name="object 49"/>
          <p:cNvSpPr txBox="1"/>
          <p:nvPr/>
        </p:nvSpPr>
        <p:spPr>
          <a:xfrm rot="17280000">
            <a:off x="5726251" y="3049621"/>
            <a:ext cx="19341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0" name="object 50"/>
          <p:cNvSpPr txBox="1"/>
          <p:nvPr/>
        </p:nvSpPr>
        <p:spPr>
          <a:xfrm rot="17640000">
            <a:off x="5767445" y="2932295"/>
            <a:ext cx="19997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Н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1" name="object 51"/>
          <p:cNvSpPr txBox="1"/>
          <p:nvPr/>
        </p:nvSpPr>
        <p:spPr>
          <a:xfrm rot="18000000">
            <a:off x="5825114" y="2815058"/>
            <a:ext cx="20148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О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2" name="object 52"/>
          <p:cNvSpPr txBox="1"/>
          <p:nvPr/>
        </p:nvSpPr>
        <p:spPr>
          <a:xfrm rot="18360000">
            <a:off x="5895840" y="2709206"/>
            <a:ext cx="19365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В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3" name="object 53"/>
          <p:cNvSpPr txBox="1"/>
          <p:nvPr/>
        </p:nvSpPr>
        <p:spPr>
          <a:xfrm rot="18660000">
            <a:off x="5968784" y="2609990"/>
            <a:ext cx="20097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О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4" name="object 54"/>
          <p:cNvSpPr txBox="1"/>
          <p:nvPr/>
        </p:nvSpPr>
        <p:spPr>
          <a:xfrm rot="18900000">
            <a:off x="6053192" y="2538211"/>
            <a:ext cx="16446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: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5" name="object 55"/>
          <p:cNvSpPr txBox="1"/>
          <p:nvPr/>
        </p:nvSpPr>
        <p:spPr>
          <a:xfrm rot="19260000">
            <a:off x="6142615" y="2452115"/>
            <a:ext cx="17576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Г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6" name="object 56"/>
          <p:cNvSpPr txBox="1"/>
          <p:nvPr/>
        </p:nvSpPr>
        <p:spPr>
          <a:xfrm rot="19560000">
            <a:off x="6216296" y="2390660"/>
            <a:ext cx="19223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7" name="object 57"/>
          <p:cNvSpPr txBox="1"/>
          <p:nvPr/>
        </p:nvSpPr>
        <p:spPr>
          <a:xfrm rot="19860000">
            <a:off x="6315290" y="2328400"/>
            <a:ext cx="19176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П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8" name="object 58"/>
          <p:cNvSpPr txBox="1"/>
          <p:nvPr/>
        </p:nvSpPr>
        <p:spPr>
          <a:xfrm rot="20160000">
            <a:off x="6416046" y="2279447"/>
            <a:ext cx="18178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9" name="object 59"/>
          <p:cNvSpPr txBox="1"/>
          <p:nvPr/>
        </p:nvSpPr>
        <p:spPr>
          <a:xfrm rot="20400000">
            <a:off x="6506065" y="2242519"/>
            <a:ext cx="17870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Р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0" name="object 60"/>
          <p:cNvSpPr txBox="1"/>
          <p:nvPr/>
        </p:nvSpPr>
        <p:spPr>
          <a:xfrm rot="20820000">
            <a:off x="6652541" y="2196622"/>
            <a:ext cx="18968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Л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1" name="object 61"/>
          <p:cNvSpPr txBox="1"/>
          <p:nvPr/>
        </p:nvSpPr>
        <p:spPr>
          <a:xfrm rot="21120000">
            <a:off x="6761092" y="2176759"/>
            <a:ext cx="18115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2" name="object 62"/>
          <p:cNvSpPr txBox="1"/>
          <p:nvPr/>
        </p:nvSpPr>
        <p:spPr>
          <a:xfrm rot="21420000">
            <a:off x="6862597" y="2165601"/>
            <a:ext cx="19200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Н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3" name="object 63"/>
          <p:cNvSpPr txBox="1"/>
          <p:nvPr/>
        </p:nvSpPr>
        <p:spPr>
          <a:xfrm rot="60000">
            <a:off x="6975411" y="2162946"/>
            <a:ext cx="17931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Т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4" name="object 64"/>
          <p:cNvSpPr txBox="1"/>
          <p:nvPr/>
        </p:nvSpPr>
        <p:spPr>
          <a:xfrm rot="300000">
            <a:off x="7073177" y="2169001"/>
            <a:ext cx="18586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5" name="object 65"/>
          <p:cNvSpPr txBox="1"/>
          <p:nvPr/>
        </p:nvSpPr>
        <p:spPr>
          <a:xfrm rot="540000">
            <a:off x="7165436" y="2179232"/>
            <a:ext cx="16251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,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6" name="object 66"/>
          <p:cNvSpPr txBox="1"/>
          <p:nvPr/>
        </p:nvSpPr>
        <p:spPr>
          <a:xfrm rot="840000">
            <a:off x="7283216" y="2206577"/>
            <a:ext cx="1789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у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7" name="object 67"/>
          <p:cNvSpPr txBox="1"/>
          <p:nvPr/>
        </p:nvSpPr>
        <p:spPr>
          <a:xfrm rot="1140000">
            <a:off x="7372854" y="2234096"/>
            <a:ext cx="1799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л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8" name="object 68"/>
          <p:cNvSpPr txBox="1"/>
          <p:nvPr/>
        </p:nvSpPr>
        <p:spPr>
          <a:xfrm rot="1320000">
            <a:off x="7452667" y="2261546"/>
            <a:ext cx="16305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.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9" name="object 69"/>
          <p:cNvSpPr txBox="1"/>
          <p:nvPr/>
        </p:nvSpPr>
        <p:spPr>
          <a:xfrm rot="1680000">
            <a:off x="7563886" y="2321349"/>
            <a:ext cx="18719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К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0" name="object 70"/>
          <p:cNvSpPr txBox="1"/>
          <p:nvPr/>
        </p:nvSpPr>
        <p:spPr>
          <a:xfrm rot="1980000">
            <a:off x="7654258" y="2373059"/>
            <a:ext cx="17850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1" name="object 71"/>
          <p:cNvSpPr txBox="1"/>
          <p:nvPr/>
        </p:nvSpPr>
        <p:spPr>
          <a:xfrm rot="2220000">
            <a:off x="7730572" y="2428428"/>
            <a:ext cx="18074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р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2" name="object 72"/>
          <p:cNvSpPr txBox="1"/>
          <p:nvPr/>
        </p:nvSpPr>
        <p:spPr>
          <a:xfrm rot="2460000">
            <a:off x="7804662" y="2490398"/>
            <a:ext cx="18115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л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3" name="object 73"/>
          <p:cNvSpPr txBox="1"/>
          <p:nvPr/>
        </p:nvSpPr>
        <p:spPr>
          <a:xfrm rot="2760000">
            <a:off x="7874355" y="2556210"/>
            <a:ext cx="17830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4" name="object 74"/>
          <p:cNvSpPr txBox="1"/>
          <p:nvPr/>
        </p:nvSpPr>
        <p:spPr>
          <a:xfrm rot="3180000">
            <a:off x="7970336" y="2683737"/>
            <a:ext cx="20072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М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5" name="object 75"/>
          <p:cNvSpPr txBox="1"/>
          <p:nvPr/>
        </p:nvSpPr>
        <p:spPr>
          <a:xfrm rot="3480000">
            <a:off x="8043944" y="2776850"/>
            <a:ext cx="1789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6" name="object 76"/>
          <p:cNvSpPr txBox="1"/>
          <p:nvPr/>
        </p:nvSpPr>
        <p:spPr>
          <a:xfrm rot="3720000">
            <a:off x="8089112" y="2860120"/>
            <a:ext cx="1813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р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7" name="object 77"/>
          <p:cNvSpPr txBox="1"/>
          <p:nvPr/>
        </p:nvSpPr>
        <p:spPr>
          <a:xfrm rot="4020000">
            <a:off x="8131133" y="2945390"/>
            <a:ext cx="17751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к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8" name="object 78"/>
          <p:cNvSpPr txBox="1"/>
          <p:nvPr/>
        </p:nvSpPr>
        <p:spPr>
          <a:xfrm rot="4260000">
            <a:off x="8164588" y="3027320"/>
            <a:ext cx="17314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с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79" name="object 79"/>
          <p:cNvSpPr txBox="1"/>
          <p:nvPr/>
        </p:nvSpPr>
        <p:spPr>
          <a:xfrm rot="4500000">
            <a:off x="8187746" y="3111560"/>
            <a:ext cx="17810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0" name="object 80"/>
          <p:cNvSpPr txBox="1"/>
          <p:nvPr/>
        </p:nvSpPr>
        <p:spPr>
          <a:xfrm rot="4860000">
            <a:off x="8215539" y="3259453"/>
            <a:ext cx="18220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3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6870971" y="4455044"/>
            <a:ext cx="339627" cy="339627"/>
          </a:xfrm>
          <a:custGeom>
            <a:avLst/>
            <a:gdLst/>
            <a:ahLst/>
            <a:cxnLst/>
            <a:rect l="l" t="t" r="r" b="b"/>
            <a:pathLst>
              <a:path w="560070" h="560070">
                <a:moveTo>
                  <a:pt x="279907" y="0"/>
                </a:moveTo>
                <a:lnTo>
                  <a:pt x="234504" y="3663"/>
                </a:lnTo>
                <a:lnTo>
                  <a:pt x="191433" y="14270"/>
                </a:lnTo>
                <a:lnTo>
                  <a:pt x="151272" y="31244"/>
                </a:lnTo>
                <a:lnTo>
                  <a:pt x="114596" y="54008"/>
                </a:lnTo>
                <a:lnTo>
                  <a:pt x="81981" y="81987"/>
                </a:lnTo>
                <a:lnTo>
                  <a:pt x="54004" y="114603"/>
                </a:lnTo>
                <a:lnTo>
                  <a:pt x="31242" y="151280"/>
                </a:lnTo>
                <a:lnTo>
                  <a:pt x="14269" y="191443"/>
                </a:lnTo>
                <a:lnTo>
                  <a:pt x="3663" y="234514"/>
                </a:lnTo>
                <a:lnTo>
                  <a:pt x="0" y="279918"/>
                </a:lnTo>
                <a:lnTo>
                  <a:pt x="3663" y="325321"/>
                </a:lnTo>
                <a:lnTo>
                  <a:pt x="14269" y="368393"/>
                </a:lnTo>
                <a:lnTo>
                  <a:pt x="31242" y="408555"/>
                </a:lnTo>
                <a:lnTo>
                  <a:pt x="54004" y="445233"/>
                </a:lnTo>
                <a:lnTo>
                  <a:pt x="81981" y="477849"/>
                </a:lnTo>
                <a:lnTo>
                  <a:pt x="114596" y="505827"/>
                </a:lnTo>
                <a:lnTo>
                  <a:pt x="151272" y="528591"/>
                </a:lnTo>
                <a:lnTo>
                  <a:pt x="191433" y="545565"/>
                </a:lnTo>
                <a:lnTo>
                  <a:pt x="234504" y="556172"/>
                </a:lnTo>
                <a:lnTo>
                  <a:pt x="279907" y="559836"/>
                </a:lnTo>
                <a:lnTo>
                  <a:pt x="325311" y="556172"/>
                </a:lnTo>
                <a:lnTo>
                  <a:pt x="368382" y="545565"/>
                </a:lnTo>
                <a:lnTo>
                  <a:pt x="408545" y="528591"/>
                </a:lnTo>
                <a:lnTo>
                  <a:pt x="445222" y="505827"/>
                </a:lnTo>
                <a:lnTo>
                  <a:pt x="477838" y="477849"/>
                </a:lnTo>
                <a:lnTo>
                  <a:pt x="505817" y="445233"/>
                </a:lnTo>
                <a:lnTo>
                  <a:pt x="528581" y="408555"/>
                </a:lnTo>
                <a:lnTo>
                  <a:pt x="545555" y="368393"/>
                </a:lnTo>
                <a:lnTo>
                  <a:pt x="556162" y="325321"/>
                </a:lnTo>
                <a:lnTo>
                  <a:pt x="559825" y="279918"/>
                </a:lnTo>
                <a:lnTo>
                  <a:pt x="556162" y="234514"/>
                </a:lnTo>
                <a:lnTo>
                  <a:pt x="545555" y="191443"/>
                </a:lnTo>
                <a:lnTo>
                  <a:pt x="528581" y="151280"/>
                </a:lnTo>
                <a:lnTo>
                  <a:pt x="505817" y="114603"/>
                </a:lnTo>
                <a:lnTo>
                  <a:pt x="477838" y="81987"/>
                </a:lnTo>
                <a:lnTo>
                  <a:pt x="445222" y="54008"/>
                </a:lnTo>
                <a:lnTo>
                  <a:pt x="408545" y="31244"/>
                </a:lnTo>
                <a:lnTo>
                  <a:pt x="368382" y="14270"/>
                </a:lnTo>
                <a:lnTo>
                  <a:pt x="325311" y="3663"/>
                </a:lnTo>
                <a:lnTo>
                  <a:pt x="279907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pic>
        <p:nvPicPr>
          <p:cNvPr id="82" name="object 82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075636" y="2443245"/>
            <a:ext cx="2151019" cy="2151019"/>
          </a:xfrm>
          <a:prstGeom prst="rect">
            <a:avLst/>
          </a:prstGeom>
        </p:spPr>
      </p:pic>
      <p:sp>
        <p:nvSpPr>
          <p:cNvPr id="83" name="object 83"/>
          <p:cNvSpPr txBox="1"/>
          <p:nvPr/>
        </p:nvSpPr>
        <p:spPr>
          <a:xfrm rot="16740000">
            <a:off x="8788218" y="3259325"/>
            <a:ext cx="19436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К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4" name="object 84"/>
          <p:cNvSpPr txBox="1"/>
          <p:nvPr/>
        </p:nvSpPr>
        <p:spPr>
          <a:xfrm rot="17040000">
            <a:off x="8810899" y="3141024"/>
            <a:ext cx="19388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5" name="object 85"/>
          <p:cNvSpPr txBox="1"/>
          <p:nvPr/>
        </p:nvSpPr>
        <p:spPr>
          <a:xfrm rot="17340000">
            <a:off x="8846220" y="3030294"/>
            <a:ext cx="18719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З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6" name="object 86"/>
          <p:cNvSpPr txBox="1"/>
          <p:nvPr/>
        </p:nvSpPr>
        <p:spPr>
          <a:xfrm rot="17640000">
            <a:off x="8885190" y="2922784"/>
            <a:ext cx="19317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7" name="object 87"/>
          <p:cNvSpPr txBox="1"/>
          <p:nvPr/>
        </p:nvSpPr>
        <p:spPr>
          <a:xfrm rot="18000000">
            <a:off x="8938594" y="2810928"/>
            <a:ext cx="19973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Н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8" name="object 88"/>
          <p:cNvSpPr txBox="1"/>
          <p:nvPr/>
        </p:nvSpPr>
        <p:spPr>
          <a:xfrm rot="18360000">
            <a:off x="9008513" y="2706352"/>
            <a:ext cx="19294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Ь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9" name="object 89"/>
          <p:cNvSpPr txBox="1"/>
          <p:nvPr/>
        </p:nvSpPr>
        <p:spPr>
          <a:xfrm rot="18600000">
            <a:off x="9076465" y="2634640"/>
            <a:ext cx="16549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b="1" kern="0" spc="-30" dirty="0">
                <a:solidFill>
                  <a:srgbClr val="18418F"/>
                </a:solidFill>
                <a:latin typeface="Verdana"/>
                <a:cs typeface="Verdana"/>
              </a:rPr>
              <a:t>: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0" name="object 90"/>
          <p:cNvSpPr txBox="1"/>
          <p:nvPr/>
        </p:nvSpPr>
        <p:spPr>
          <a:xfrm rot="18900000">
            <a:off x="9157444" y="2538917"/>
            <a:ext cx="17538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Г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1" name="object 91"/>
          <p:cNvSpPr txBox="1"/>
          <p:nvPr/>
        </p:nvSpPr>
        <p:spPr>
          <a:xfrm rot="19200000">
            <a:off x="9224519" y="2469563"/>
            <a:ext cx="19176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2" name="object 92"/>
          <p:cNvSpPr txBox="1"/>
          <p:nvPr/>
        </p:nvSpPr>
        <p:spPr>
          <a:xfrm rot="19500000">
            <a:off x="9316846" y="2397621"/>
            <a:ext cx="19153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П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3" name="object 93"/>
          <p:cNvSpPr txBox="1"/>
          <p:nvPr/>
        </p:nvSpPr>
        <p:spPr>
          <a:xfrm rot="19800000">
            <a:off x="9412174" y="2339222"/>
            <a:ext cx="1813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4" name="object 94"/>
          <p:cNvSpPr txBox="1"/>
          <p:nvPr/>
        </p:nvSpPr>
        <p:spPr>
          <a:xfrm rot="20040000">
            <a:off x="9498067" y="2293507"/>
            <a:ext cx="17850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Р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5" name="object 95"/>
          <p:cNvSpPr txBox="1"/>
          <p:nvPr/>
        </p:nvSpPr>
        <p:spPr>
          <a:xfrm rot="20460000">
            <a:off x="9638920" y="2232480"/>
            <a:ext cx="18945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Л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6" name="object 96"/>
          <p:cNvSpPr txBox="1"/>
          <p:nvPr/>
        </p:nvSpPr>
        <p:spPr>
          <a:xfrm rot="20760000">
            <a:off x="9744977" y="2202095"/>
            <a:ext cx="18094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Е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7" name="object 97"/>
          <p:cNvSpPr txBox="1"/>
          <p:nvPr/>
        </p:nvSpPr>
        <p:spPr>
          <a:xfrm rot="21060000">
            <a:off x="9844802" y="2180162"/>
            <a:ext cx="19153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Н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8" name="object 98"/>
          <p:cNvSpPr txBox="1"/>
          <p:nvPr/>
        </p:nvSpPr>
        <p:spPr>
          <a:xfrm rot="21360000">
            <a:off x="9956085" y="2167207"/>
            <a:ext cx="18033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Т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10085152" y="2130262"/>
            <a:ext cx="122836" cy="194352"/>
          </a:xfrm>
          <a:prstGeom prst="rect">
            <a:avLst/>
          </a:prstGeom>
        </p:spPr>
        <p:txBody>
          <a:bodyPr vert="horz" wrap="square" lIns="0" tIns="12322" rIns="0" bIns="0" rtlCol="0">
            <a:spAutoFit/>
          </a:bodyPr>
          <a:lstStyle/>
          <a:p>
            <a:pPr marL="7701" defTabSz="554492">
              <a:spcBef>
                <a:spcPts val="97"/>
              </a:spcBef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0" name="object 100"/>
          <p:cNvSpPr txBox="1"/>
          <p:nvPr/>
        </p:nvSpPr>
        <p:spPr>
          <a:xfrm rot="180000">
            <a:off x="10147180" y="2165097"/>
            <a:ext cx="16278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,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1" name="object 101"/>
          <p:cNvSpPr txBox="1"/>
          <p:nvPr/>
        </p:nvSpPr>
        <p:spPr>
          <a:xfrm rot="540000">
            <a:off x="10268086" y="2179220"/>
            <a:ext cx="17751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у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2" name="object 102"/>
          <p:cNvSpPr txBox="1"/>
          <p:nvPr/>
        </p:nvSpPr>
        <p:spPr>
          <a:xfrm rot="780000">
            <a:off x="10359175" y="2197790"/>
            <a:ext cx="18033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л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3" name="object 103"/>
          <p:cNvSpPr txBox="1"/>
          <p:nvPr/>
        </p:nvSpPr>
        <p:spPr>
          <a:xfrm rot="960000">
            <a:off x="10441572" y="2217849"/>
            <a:ext cx="1633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.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4" name="object 104"/>
          <p:cNvSpPr txBox="1"/>
          <p:nvPr/>
        </p:nvSpPr>
        <p:spPr>
          <a:xfrm rot="1380000">
            <a:off x="10558533" y="2264003"/>
            <a:ext cx="18477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5" name="object 105"/>
          <p:cNvSpPr txBox="1"/>
          <p:nvPr/>
        </p:nvSpPr>
        <p:spPr>
          <a:xfrm rot="1620000">
            <a:off x="10652467" y="2307695"/>
            <a:ext cx="18053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д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6" name="object 106"/>
          <p:cNvSpPr txBox="1"/>
          <p:nvPr/>
        </p:nvSpPr>
        <p:spPr>
          <a:xfrm rot="1860000">
            <a:off x="10735638" y="2355088"/>
            <a:ext cx="1799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о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7" name="object 107"/>
          <p:cNvSpPr txBox="1"/>
          <p:nvPr/>
        </p:nvSpPr>
        <p:spPr>
          <a:xfrm rot="2160000">
            <a:off x="10814986" y="2408338"/>
            <a:ext cx="1799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р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8" name="object 108"/>
          <p:cNvSpPr txBox="1"/>
          <p:nvPr/>
        </p:nvSpPr>
        <p:spPr>
          <a:xfrm rot="2400000">
            <a:off x="10890247" y="2467281"/>
            <a:ext cx="17850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09" name="object 109"/>
          <p:cNvSpPr txBox="1"/>
          <p:nvPr/>
        </p:nvSpPr>
        <p:spPr>
          <a:xfrm rot="2640000">
            <a:off x="10959208" y="2531505"/>
            <a:ext cx="18074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д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0" name="object 110"/>
          <p:cNvSpPr txBox="1"/>
          <p:nvPr/>
        </p:nvSpPr>
        <p:spPr>
          <a:xfrm rot="2880000">
            <a:off x="11024269" y="2596837"/>
            <a:ext cx="17387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с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1" name="object 111"/>
          <p:cNvSpPr txBox="1"/>
          <p:nvPr/>
        </p:nvSpPr>
        <p:spPr>
          <a:xfrm rot="3120000">
            <a:off x="11077750" y="2664440"/>
            <a:ext cx="17810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к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2" name="object 112"/>
          <p:cNvSpPr txBox="1"/>
          <p:nvPr/>
        </p:nvSpPr>
        <p:spPr>
          <a:xfrm rot="3360000">
            <a:off x="11130998" y="2740430"/>
            <a:ext cx="17951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о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3" name="object 113"/>
          <p:cNvSpPr txBox="1"/>
          <p:nvPr/>
        </p:nvSpPr>
        <p:spPr>
          <a:xfrm rot="3600000">
            <a:off x="11179937" y="2812037"/>
            <a:ext cx="16929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г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4" name="object 114"/>
          <p:cNvSpPr txBox="1"/>
          <p:nvPr/>
        </p:nvSpPr>
        <p:spPr>
          <a:xfrm rot="3840000">
            <a:off x="11214136" y="2885977"/>
            <a:ext cx="17870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о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5" name="object 115"/>
          <p:cNvSpPr txBox="1"/>
          <p:nvPr/>
        </p:nvSpPr>
        <p:spPr>
          <a:xfrm rot="4260000">
            <a:off x="11270766" y="3025783"/>
            <a:ext cx="18074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2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6" name="object 116"/>
          <p:cNvSpPr txBox="1"/>
          <p:nvPr/>
        </p:nvSpPr>
        <p:spPr>
          <a:xfrm rot="4500000">
            <a:off x="11298676" y="3120664"/>
            <a:ext cx="18157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1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7" name="object 117"/>
          <p:cNvSpPr txBox="1"/>
          <p:nvPr/>
        </p:nvSpPr>
        <p:spPr>
          <a:xfrm rot="4800000">
            <a:off x="11318785" y="3220966"/>
            <a:ext cx="18499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554492">
              <a:lnSpc>
                <a:spcPts val="1201"/>
              </a:lnSpc>
            </a:pPr>
            <a:r>
              <a:rPr sz="1182" kern="0" spc="-30" dirty="0">
                <a:solidFill>
                  <a:srgbClr val="18418F"/>
                </a:solidFill>
                <a:latin typeface="Verdana"/>
                <a:cs typeface="Verdana"/>
              </a:rPr>
              <a:t>А</a:t>
            </a:r>
            <a:endParaRPr sz="118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9981408" y="4455044"/>
            <a:ext cx="339627" cy="339627"/>
          </a:xfrm>
          <a:custGeom>
            <a:avLst/>
            <a:gdLst/>
            <a:ahLst/>
            <a:cxnLst/>
            <a:rect l="l" t="t" r="r" b="b"/>
            <a:pathLst>
              <a:path w="560069" h="560070">
                <a:moveTo>
                  <a:pt x="279907" y="0"/>
                </a:moveTo>
                <a:lnTo>
                  <a:pt x="234504" y="3663"/>
                </a:lnTo>
                <a:lnTo>
                  <a:pt x="191433" y="14270"/>
                </a:lnTo>
                <a:lnTo>
                  <a:pt x="151272" y="31244"/>
                </a:lnTo>
                <a:lnTo>
                  <a:pt x="114596" y="54008"/>
                </a:lnTo>
                <a:lnTo>
                  <a:pt x="81981" y="81987"/>
                </a:lnTo>
                <a:lnTo>
                  <a:pt x="54004" y="114603"/>
                </a:lnTo>
                <a:lnTo>
                  <a:pt x="31242" y="151280"/>
                </a:lnTo>
                <a:lnTo>
                  <a:pt x="14269" y="191443"/>
                </a:lnTo>
                <a:lnTo>
                  <a:pt x="3663" y="234514"/>
                </a:lnTo>
                <a:lnTo>
                  <a:pt x="0" y="279918"/>
                </a:lnTo>
                <a:lnTo>
                  <a:pt x="3663" y="325321"/>
                </a:lnTo>
                <a:lnTo>
                  <a:pt x="14269" y="368393"/>
                </a:lnTo>
                <a:lnTo>
                  <a:pt x="31242" y="408555"/>
                </a:lnTo>
                <a:lnTo>
                  <a:pt x="54004" y="445233"/>
                </a:lnTo>
                <a:lnTo>
                  <a:pt x="81981" y="477849"/>
                </a:lnTo>
                <a:lnTo>
                  <a:pt x="114596" y="505827"/>
                </a:lnTo>
                <a:lnTo>
                  <a:pt x="151272" y="528591"/>
                </a:lnTo>
                <a:lnTo>
                  <a:pt x="191433" y="545565"/>
                </a:lnTo>
                <a:lnTo>
                  <a:pt x="234504" y="556172"/>
                </a:lnTo>
                <a:lnTo>
                  <a:pt x="279907" y="559836"/>
                </a:lnTo>
                <a:lnTo>
                  <a:pt x="325311" y="556172"/>
                </a:lnTo>
                <a:lnTo>
                  <a:pt x="368382" y="545565"/>
                </a:lnTo>
                <a:lnTo>
                  <a:pt x="408545" y="528591"/>
                </a:lnTo>
                <a:lnTo>
                  <a:pt x="445222" y="505827"/>
                </a:lnTo>
                <a:lnTo>
                  <a:pt x="477838" y="477849"/>
                </a:lnTo>
                <a:lnTo>
                  <a:pt x="505817" y="445233"/>
                </a:lnTo>
                <a:lnTo>
                  <a:pt x="528581" y="408555"/>
                </a:lnTo>
                <a:lnTo>
                  <a:pt x="545555" y="368393"/>
                </a:lnTo>
                <a:lnTo>
                  <a:pt x="556162" y="325321"/>
                </a:lnTo>
                <a:lnTo>
                  <a:pt x="559825" y="279918"/>
                </a:lnTo>
                <a:lnTo>
                  <a:pt x="556162" y="234514"/>
                </a:lnTo>
                <a:lnTo>
                  <a:pt x="545555" y="191443"/>
                </a:lnTo>
                <a:lnTo>
                  <a:pt x="528581" y="151280"/>
                </a:lnTo>
                <a:lnTo>
                  <a:pt x="505817" y="114603"/>
                </a:lnTo>
                <a:lnTo>
                  <a:pt x="477838" y="81987"/>
                </a:lnTo>
                <a:lnTo>
                  <a:pt x="445222" y="54008"/>
                </a:lnTo>
                <a:lnTo>
                  <a:pt x="408545" y="31244"/>
                </a:lnTo>
                <a:lnTo>
                  <a:pt x="368382" y="14270"/>
                </a:lnTo>
                <a:lnTo>
                  <a:pt x="325311" y="3663"/>
                </a:lnTo>
                <a:lnTo>
                  <a:pt x="279907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649697" y="4483936"/>
            <a:ext cx="9757151" cy="1576684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3202192" defTabSz="554492">
              <a:spcBef>
                <a:spcPts val="73"/>
              </a:spcBef>
              <a:tabLst>
                <a:tab pos="6312739" algn="l"/>
                <a:tab pos="9423286" algn="l"/>
              </a:tabLst>
            </a:pPr>
            <a:r>
              <a:rPr sz="1637" b="1" kern="0" spc="-30" dirty="0">
                <a:solidFill>
                  <a:srgbClr val="FFFFFF"/>
                </a:solidFill>
                <a:latin typeface="Verdana"/>
                <a:cs typeface="Verdana"/>
              </a:rPr>
              <a:t>1</a:t>
            </a:r>
            <a:r>
              <a:rPr sz="1637" b="1" kern="0" dirty="0">
                <a:solidFill>
                  <a:srgbClr val="FFFFFF"/>
                </a:solidFill>
                <a:latin typeface="Verdana"/>
                <a:cs typeface="Verdana"/>
              </a:rPr>
              <a:t>	</a:t>
            </a:r>
            <a:r>
              <a:rPr sz="1637" b="1" kern="0" spc="-30" dirty="0">
                <a:solidFill>
                  <a:srgbClr val="FFFFFF"/>
                </a:solidFill>
                <a:latin typeface="Verdana"/>
                <a:cs typeface="Verdana"/>
              </a:rPr>
              <a:t>2</a:t>
            </a:r>
            <a:r>
              <a:rPr sz="1637" b="1" kern="0" dirty="0">
                <a:solidFill>
                  <a:srgbClr val="FFFFFF"/>
                </a:solidFill>
                <a:latin typeface="Verdana"/>
                <a:cs typeface="Verdana"/>
              </a:rPr>
              <a:t>	</a:t>
            </a:r>
            <a:r>
              <a:rPr sz="1637" b="1" kern="0" spc="-30" dirty="0">
                <a:solidFill>
                  <a:srgbClr val="FFFFFF"/>
                </a:solidFill>
                <a:latin typeface="Verdana"/>
                <a:cs typeface="Verdana"/>
              </a:rPr>
              <a:t>3</a:t>
            </a:r>
            <a:endParaRPr sz="163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spcBef>
                <a:spcPts val="1270"/>
              </a:spcBef>
            </a:pP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spcBef>
                <a:spcPts val="9"/>
              </a:spcBef>
            </a:pP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На</a:t>
            </a:r>
            <a:r>
              <a:rPr sz="1243" b="1" kern="0" spc="-15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основе</a:t>
            </a:r>
            <a:r>
              <a:rPr sz="1243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оценок</a:t>
            </a:r>
            <a:r>
              <a:rPr sz="1243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покупателей</a:t>
            </a:r>
            <a:r>
              <a:rPr sz="1243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определяется</a:t>
            </a:r>
            <a:r>
              <a:rPr sz="1243" b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какой</a:t>
            </a:r>
            <a:r>
              <a:rPr sz="1243" b="1" kern="0" spc="-6" dirty="0">
                <a:solidFill>
                  <a:srgbClr val="18418F"/>
                </a:solidFill>
                <a:latin typeface="Verdana"/>
                <a:cs typeface="Verdana"/>
              </a:rPr>
              <a:t> товар</a:t>
            </a: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49790" lvl="2" indent="-142089" defTabSz="554492">
              <a:spcBef>
                <a:spcPts val="6"/>
              </a:spcBef>
              <a:buFontTx/>
              <a:buChar char="•"/>
              <a:tabLst>
                <a:tab pos="149790" algn="l"/>
              </a:tabLst>
            </a:pPr>
            <a:r>
              <a:rPr sz="1243" kern="0" dirty="0" err="1">
                <a:solidFill>
                  <a:srgbClr val="18418F"/>
                </a:solidFill>
                <a:latin typeface="Verdana"/>
                <a:cs typeface="Verdana"/>
              </a:rPr>
              <a:t>удовлетворяет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покупателей</a:t>
            </a:r>
            <a:r>
              <a:rPr sz="1243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не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требует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доработки</a:t>
            </a: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149790" lvl="2" indent="-142089" defTabSz="554492">
              <a:spcBef>
                <a:spcPts val="9"/>
              </a:spcBef>
              <a:buFontTx/>
              <a:buChar char="•"/>
              <a:tabLst>
                <a:tab pos="149790" algn="l"/>
              </a:tabLst>
            </a:pPr>
            <a:r>
              <a:rPr sz="1243" kern="0" dirty="0" err="1">
                <a:solidFill>
                  <a:srgbClr val="18418F"/>
                </a:solidFill>
                <a:latin typeface="Verdana"/>
                <a:cs typeface="Verdana"/>
              </a:rPr>
              <a:t>уступает</a:t>
            </a:r>
            <a:r>
              <a:rPr sz="1243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 err="1">
                <a:solidFill>
                  <a:srgbClr val="18418F"/>
                </a:solidFill>
                <a:latin typeface="Verdana"/>
                <a:cs typeface="Verdana"/>
              </a:rPr>
              <a:t>конкурентам</a:t>
            </a:r>
            <a:r>
              <a:rPr lang="ru-RU" sz="1243" kern="0" dirty="0">
                <a:solidFill>
                  <a:srgbClr val="18418F"/>
                </a:solidFill>
                <a:latin typeface="Verdana"/>
                <a:cs typeface="Verdana"/>
              </a:rPr>
              <a:t>, по каким конкретно</a:t>
            </a:r>
            <a:r>
              <a:rPr lang="ru-RU" sz="1243" kern="0" spc="-12" dirty="0">
                <a:solidFill>
                  <a:srgbClr val="18418F"/>
                </a:solidFill>
                <a:latin typeface="Verdana"/>
                <a:cs typeface="Verdana"/>
              </a:rPr>
              <a:t> параметрам</a:t>
            </a: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93571" lvl="2" indent="-93185" defTabSz="554492">
              <a:spcBef>
                <a:spcPts val="9"/>
              </a:spcBef>
              <a:buFontTx/>
              <a:buChar char="•"/>
              <a:tabLst>
                <a:tab pos="93571" algn="l"/>
              </a:tabLst>
            </a:pPr>
            <a:r>
              <a:rPr lang="ru-RU" sz="1243" kern="0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 err="1">
                <a:solidFill>
                  <a:srgbClr val="18418F"/>
                </a:solidFill>
                <a:latin typeface="Verdana"/>
                <a:cs typeface="Verdana"/>
              </a:rPr>
              <a:t>не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удовлетворяет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потребителей</a:t>
            </a:r>
            <a:r>
              <a:rPr sz="1243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sz="1243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требует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доработки</a:t>
            </a: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1483"/>
              </a:lnSpc>
              <a:spcBef>
                <a:spcPts val="6"/>
              </a:spcBef>
            </a:pP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На</a:t>
            </a:r>
            <a:r>
              <a:rPr sz="1243" b="1" kern="0" spc="-12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основании</a:t>
            </a:r>
            <a:r>
              <a:rPr sz="1243" b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оценок</a:t>
            </a:r>
            <a:r>
              <a:rPr sz="1243" b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sz="1243" b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выявленных</a:t>
            </a:r>
            <a:r>
              <a:rPr sz="1243" b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проблем,</a:t>
            </a:r>
            <a:r>
              <a:rPr sz="1243" b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принимается</a:t>
            </a:r>
            <a:r>
              <a:rPr sz="1243" b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решение</a:t>
            </a:r>
            <a:r>
              <a:rPr sz="1243" b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о дальнейших</a:t>
            </a:r>
            <a:r>
              <a:rPr sz="1243" b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действиях</a:t>
            </a:r>
            <a:r>
              <a:rPr sz="1243" b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с</a:t>
            </a:r>
            <a:r>
              <a:rPr sz="1243" b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spc="-6" dirty="0" err="1" smtClean="0">
                <a:solidFill>
                  <a:srgbClr val="18418F"/>
                </a:solidFill>
                <a:latin typeface="Verdana"/>
                <a:cs typeface="Verdana"/>
              </a:rPr>
              <a:t>товаром</a:t>
            </a:r>
            <a:r>
              <a:rPr lang="ru-RU" sz="1243" b="1" kern="0" spc="-6" dirty="0" smtClean="0">
                <a:solidFill>
                  <a:srgbClr val="18418F"/>
                </a:solidFill>
                <a:latin typeface="Verdana"/>
                <a:cs typeface="Verdana"/>
              </a:rPr>
              <a:t>.</a:t>
            </a: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649698" y="1100261"/>
            <a:ext cx="10836908" cy="964906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defTabSz="554492">
              <a:spcBef>
                <a:spcPts val="67"/>
              </a:spcBef>
            </a:pP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defTabSz="554492">
              <a:lnSpc>
                <a:spcPct val="100499"/>
              </a:lnSpc>
            </a:pP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Внутри</a:t>
            </a:r>
            <a:r>
              <a:rPr sz="1243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Гипермаркетов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ЛЕНТА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есть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специально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организованное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место</a:t>
            </a:r>
            <a:r>
              <a:rPr sz="1243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(МАСТЕРСКАЯ),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где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 err="1">
                <a:solidFill>
                  <a:srgbClr val="18418F"/>
                </a:solidFill>
                <a:latin typeface="Verdana"/>
                <a:cs typeface="Verdana"/>
              </a:rPr>
              <a:t>покупатели</a:t>
            </a:r>
            <a:r>
              <a:rPr sz="1243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 err="1">
                <a:solidFill>
                  <a:srgbClr val="18418F"/>
                </a:solidFill>
                <a:latin typeface="Verdana"/>
                <a:cs typeface="Verdana"/>
              </a:rPr>
              <a:t>тестируют</a:t>
            </a:r>
            <a:r>
              <a:rPr sz="1243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spc="-6" dirty="0" err="1">
                <a:solidFill>
                  <a:srgbClr val="18418F"/>
                </a:solidFill>
                <a:latin typeface="Verdana"/>
                <a:cs typeface="Verdana"/>
              </a:rPr>
              <a:t>товары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.</a:t>
            </a:r>
            <a:r>
              <a:rPr sz="1243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endParaRPr lang="ru-RU" sz="1243" kern="0" spc="-9" dirty="0">
              <a:solidFill>
                <a:srgbClr val="18418F"/>
              </a:solidFill>
              <a:latin typeface="Verdana"/>
              <a:cs typeface="Verdana"/>
            </a:endParaRPr>
          </a:p>
          <a:p>
            <a:pPr marL="7701" marR="3081" defTabSz="554492">
              <a:lnSpc>
                <a:spcPct val="100499"/>
              </a:lnSpc>
            </a:pPr>
            <a:r>
              <a:rPr sz="1243" b="1" kern="0" dirty="0" err="1">
                <a:solidFill>
                  <a:srgbClr val="18418F"/>
                </a:solidFill>
                <a:latin typeface="Verdana"/>
                <a:cs typeface="Verdana"/>
              </a:rPr>
              <a:t>За</a:t>
            </a:r>
            <a:r>
              <a:rPr sz="1243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участие</a:t>
            </a:r>
            <a:r>
              <a:rPr sz="1243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покупатели</a:t>
            </a:r>
            <a:r>
              <a:rPr sz="1243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получают</a:t>
            </a:r>
            <a:r>
              <a:rPr sz="1243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бонусы</a:t>
            </a:r>
            <a:r>
              <a:rPr sz="1243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на</a:t>
            </a:r>
            <a:r>
              <a:rPr sz="1243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dirty="0">
                <a:solidFill>
                  <a:srgbClr val="18418F"/>
                </a:solidFill>
                <a:latin typeface="Verdana"/>
                <a:cs typeface="Verdana"/>
              </a:rPr>
              <a:t>карту</a:t>
            </a:r>
            <a:r>
              <a:rPr sz="1243" b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b="1" kern="0" spc="-15" dirty="0">
                <a:solidFill>
                  <a:srgbClr val="18418F"/>
                </a:solidFill>
                <a:latin typeface="Verdana"/>
                <a:cs typeface="Verdana"/>
              </a:rPr>
              <a:t>№1.</a:t>
            </a: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115519" defTabSz="554492">
              <a:lnSpc>
                <a:spcPct val="100499"/>
              </a:lnSpc>
            </a:pPr>
            <a:r>
              <a:rPr sz="1243" kern="0" dirty="0" err="1">
                <a:solidFill>
                  <a:srgbClr val="18418F"/>
                </a:solidFill>
                <a:latin typeface="Verdana"/>
                <a:cs typeface="Verdana"/>
              </a:rPr>
              <a:t>Для</a:t>
            </a:r>
            <a:r>
              <a:rPr sz="1243" kern="0" spc="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 err="1">
                <a:solidFill>
                  <a:srgbClr val="18418F"/>
                </a:solidFill>
                <a:latin typeface="Verdana"/>
                <a:cs typeface="Verdana"/>
              </a:rPr>
              <a:t>оценки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 err="1">
                <a:solidFill>
                  <a:srgbClr val="18418F"/>
                </a:solidFill>
                <a:latin typeface="Verdana"/>
                <a:cs typeface="Verdana"/>
              </a:rPr>
              <a:t>товара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 выбираются только</a:t>
            </a:r>
            <a:r>
              <a:rPr sz="1243" kern="0" spc="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потребители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dirty="0">
                <a:solidFill>
                  <a:srgbClr val="18418F"/>
                </a:solidFill>
                <a:latin typeface="Verdana"/>
                <a:cs typeface="Verdana"/>
              </a:rPr>
              <a:t>этого</a:t>
            </a:r>
            <a:r>
              <a:rPr sz="1243" kern="0" spc="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sz="1243" kern="0" spc="-6" dirty="0" err="1">
                <a:solidFill>
                  <a:srgbClr val="18418F"/>
                </a:solidFill>
                <a:latin typeface="Verdana"/>
                <a:cs typeface="Verdana"/>
              </a:rPr>
              <a:t>товара</a:t>
            </a:r>
            <a:r>
              <a:rPr sz="1243" kern="0" spc="-6" dirty="0">
                <a:solidFill>
                  <a:srgbClr val="18418F"/>
                </a:solidFill>
                <a:latin typeface="Verdana"/>
                <a:cs typeface="Verdana"/>
              </a:rPr>
              <a:t>.</a:t>
            </a:r>
            <a:endParaRPr lang="ru-RU" sz="1243" kern="0" spc="-6" dirty="0">
              <a:solidFill>
                <a:srgbClr val="18418F"/>
              </a:solidFill>
              <a:latin typeface="Verdana"/>
              <a:cs typeface="Verdana"/>
            </a:endParaRPr>
          </a:p>
          <a:p>
            <a:pPr marL="7701" marR="115519" defTabSz="554492">
              <a:lnSpc>
                <a:spcPct val="100499"/>
              </a:lnSpc>
            </a:pPr>
            <a:r>
              <a:rPr lang="ru-RU" sz="1243" b="1" i="1" kern="0" dirty="0">
                <a:solidFill>
                  <a:srgbClr val="18418F"/>
                </a:solidFill>
                <a:latin typeface="Verdana"/>
                <a:cs typeface="Verdana"/>
              </a:rPr>
              <a:t>Требуется</a:t>
            </a:r>
            <a:r>
              <a:rPr lang="ru-RU" sz="1243" b="1" i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243" b="1" i="1" kern="0" dirty="0">
                <a:solidFill>
                  <a:srgbClr val="18418F"/>
                </a:solidFill>
                <a:latin typeface="Verdana"/>
                <a:cs typeface="Verdana"/>
              </a:rPr>
              <a:t>более</a:t>
            </a:r>
            <a:r>
              <a:rPr lang="ru-RU" sz="1243" b="1" i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243" b="1" i="1" kern="0" dirty="0">
                <a:solidFill>
                  <a:srgbClr val="18418F"/>
                </a:solidFill>
                <a:latin typeface="Verdana"/>
                <a:cs typeface="Verdana"/>
              </a:rPr>
              <a:t>50</a:t>
            </a:r>
            <a:r>
              <a:rPr lang="ru-RU" sz="1243" b="1" i="1" kern="0" spc="-6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243" b="1" i="1" kern="0" dirty="0">
                <a:solidFill>
                  <a:srgbClr val="18418F"/>
                </a:solidFill>
                <a:latin typeface="Verdana"/>
                <a:cs typeface="Verdana"/>
              </a:rPr>
              <a:t>оценок</a:t>
            </a:r>
            <a:r>
              <a:rPr lang="ru-RU" sz="1243" b="1" i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243" b="1" i="1" kern="0" dirty="0">
                <a:solidFill>
                  <a:srgbClr val="18418F"/>
                </a:solidFill>
                <a:latin typeface="Verdana"/>
                <a:cs typeface="Verdana"/>
              </a:rPr>
              <a:t>и</a:t>
            </a:r>
            <a:r>
              <a:rPr lang="ru-RU" sz="1243" b="1" i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243" b="1" i="1" kern="0" dirty="0">
                <a:solidFill>
                  <a:srgbClr val="18418F"/>
                </a:solidFill>
                <a:latin typeface="Verdana"/>
                <a:cs typeface="Verdana"/>
              </a:rPr>
              <a:t>мнений</a:t>
            </a:r>
            <a:r>
              <a:rPr lang="ru-RU" sz="1243" b="1" i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243" b="1" i="1" kern="0" dirty="0">
                <a:solidFill>
                  <a:srgbClr val="18418F"/>
                </a:solidFill>
                <a:latin typeface="Verdana"/>
                <a:cs typeface="Verdana"/>
              </a:rPr>
              <a:t>покупателей,</a:t>
            </a:r>
            <a:r>
              <a:rPr lang="ru-RU" sz="1243" b="1" i="1" kern="0" spc="-9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243" b="1" i="1" kern="0" dirty="0">
                <a:solidFill>
                  <a:srgbClr val="18418F"/>
                </a:solidFill>
                <a:latin typeface="Verdana"/>
                <a:cs typeface="Verdana"/>
              </a:rPr>
              <a:t>что</a:t>
            </a:r>
            <a:r>
              <a:rPr lang="ru-RU" sz="1243" b="1" i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243" b="1" i="1" kern="0" dirty="0">
                <a:solidFill>
                  <a:srgbClr val="18418F"/>
                </a:solidFill>
                <a:latin typeface="Verdana"/>
                <a:cs typeface="Verdana"/>
              </a:rPr>
              <a:t>бы</a:t>
            </a:r>
            <a:r>
              <a:rPr lang="ru-RU" sz="1243" b="1" i="1" kern="0" spc="-6" dirty="0">
                <a:solidFill>
                  <a:srgbClr val="18418F"/>
                </a:solidFill>
                <a:latin typeface="Verdana"/>
                <a:cs typeface="Verdana"/>
              </a:rPr>
              <a:t> оценка товара была</a:t>
            </a:r>
            <a:r>
              <a:rPr lang="ru-RU" sz="1243" b="1" i="1" kern="0" spc="-3" dirty="0">
                <a:solidFill>
                  <a:srgbClr val="18418F"/>
                </a:solidFill>
                <a:latin typeface="Verdana"/>
                <a:cs typeface="Verdana"/>
              </a:rPr>
              <a:t> </a:t>
            </a:r>
            <a:r>
              <a:rPr lang="ru-RU" sz="1243" b="1" i="1" kern="0" dirty="0">
                <a:solidFill>
                  <a:srgbClr val="18418F"/>
                </a:solidFill>
                <a:latin typeface="Verdana"/>
                <a:cs typeface="Verdana"/>
              </a:rPr>
              <a:t>объективной.</a:t>
            </a:r>
            <a:endParaRPr sz="124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665888" y="3297582"/>
            <a:ext cx="1567983" cy="389928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defTabSz="554492">
              <a:lnSpc>
                <a:spcPct val="100499"/>
              </a:lnSpc>
              <a:spcBef>
                <a:spcPts val="58"/>
              </a:spcBef>
            </a:pPr>
            <a:r>
              <a:rPr sz="1243" b="1" kern="0" spc="-6" dirty="0">
                <a:solidFill>
                  <a:srgbClr val="3CAC62"/>
                </a:solidFill>
                <a:latin typeface="Verdana"/>
                <a:cs typeface="Verdana"/>
              </a:rPr>
              <a:t>РАСПОЛОЖЕНИЕ МАСТЕРСКИХ</a:t>
            </a:r>
            <a:endParaRPr sz="1243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22" name="object 122"/>
          <p:cNvSpPr txBox="1">
            <a:spLocks noGrp="1"/>
          </p:cNvSpPr>
          <p:nvPr>
            <p:ph type="title"/>
          </p:nvPr>
        </p:nvSpPr>
        <p:spPr>
          <a:xfrm>
            <a:off x="657538" y="207654"/>
            <a:ext cx="9566886" cy="661681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>
              <a:spcBef>
                <a:spcPts val="67"/>
              </a:spcBef>
            </a:pPr>
            <a:r>
              <a:rPr lang="ru-RU" sz="2122" dirty="0"/>
              <a:t>ОЦЕНКА</a:t>
            </a:r>
            <a:r>
              <a:rPr lang="ru-RU" sz="2122" spc="-6" dirty="0"/>
              <a:t> </a:t>
            </a:r>
            <a:r>
              <a:rPr lang="ru-RU" sz="2122" dirty="0"/>
              <a:t>УДОВЛЕТВОРЕННОСТИ </a:t>
            </a:r>
            <a:r>
              <a:rPr lang="ru-RU" sz="2122" spc="-6" dirty="0"/>
              <a:t>ПОКУПАТЕЛЕЙ:</a:t>
            </a:r>
            <a:br>
              <a:rPr lang="ru-RU" sz="2122" spc="-6" dirty="0"/>
            </a:br>
            <a:r>
              <a:rPr sz="2122" b="0" spc="-6" dirty="0" err="1"/>
              <a:t>Мастерские</a:t>
            </a:r>
            <a:endParaRPr sz="2122" dirty="0"/>
          </a:p>
        </p:txBody>
      </p:sp>
      <p:grpSp>
        <p:nvGrpSpPr>
          <p:cNvPr id="123" name="object 123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124" name="object 124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5" name="object 125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26" name="object 126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28" name="object 128"/>
          <p:cNvSpPr txBox="1">
            <a:spLocks noGrp="1"/>
          </p:cNvSpPr>
          <p:nvPr>
            <p:ph type="sldNum" sz="quarter" idx="7"/>
          </p:nvPr>
        </p:nvSpPr>
        <p:spPr>
          <a:xfrm>
            <a:off x="6633859" y="3736099"/>
            <a:ext cx="388111" cy="409557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defTabSz="554492">
              <a:spcBef>
                <a:spcPts val="64"/>
              </a:spcBef>
            </a:pPr>
            <a:r>
              <a:rPr kern="0" dirty="0"/>
              <a:t>стр.</a:t>
            </a:r>
            <a:r>
              <a:rPr kern="0" spc="-30" dirty="0"/>
              <a:t> </a:t>
            </a:r>
            <a:fld id="{81D60167-4931-47E6-BA6A-407CBD079E47}" type="slidenum">
              <a:rPr kern="0" spc="-15" dirty="0"/>
              <a:pPr marL="7701" defTabSz="554492">
                <a:spcBef>
                  <a:spcPts val="64"/>
                </a:spcBef>
              </a:pPr>
              <a:t>120</a:t>
            </a:fld>
            <a:endParaRPr kern="0" spc="-15" dirty="0"/>
          </a:p>
        </p:txBody>
      </p:sp>
    </p:spTree>
    <p:extLst>
      <p:ext uri="{BB962C8B-B14F-4D97-AF65-F5344CB8AC3E}">
        <p14:creationId xmlns:p14="http://schemas.microsoft.com/office/powerpoint/2010/main" val="3608025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62303" y="3026075"/>
            <a:ext cx="5784825" cy="986920"/>
          </a:xfrm>
          <a:custGeom>
            <a:avLst/>
            <a:gdLst/>
            <a:ahLst/>
            <a:cxnLst/>
            <a:rect l="l" t="t" r="r" b="b"/>
            <a:pathLst>
              <a:path w="9539605" h="1627504">
                <a:moveTo>
                  <a:pt x="9228273" y="0"/>
                </a:moveTo>
                <a:lnTo>
                  <a:pt x="311215" y="0"/>
                </a:lnTo>
                <a:lnTo>
                  <a:pt x="265226" y="3374"/>
                </a:lnTo>
                <a:lnTo>
                  <a:pt x="221332" y="13176"/>
                </a:lnTo>
                <a:lnTo>
                  <a:pt x="180015" y="28925"/>
                </a:lnTo>
                <a:lnTo>
                  <a:pt x="141755" y="50138"/>
                </a:lnTo>
                <a:lnTo>
                  <a:pt x="107035" y="76335"/>
                </a:lnTo>
                <a:lnTo>
                  <a:pt x="76335" y="107035"/>
                </a:lnTo>
                <a:lnTo>
                  <a:pt x="50138" y="141755"/>
                </a:lnTo>
                <a:lnTo>
                  <a:pt x="28925" y="180015"/>
                </a:lnTo>
                <a:lnTo>
                  <a:pt x="13176" y="221332"/>
                </a:lnTo>
                <a:lnTo>
                  <a:pt x="3374" y="265226"/>
                </a:lnTo>
                <a:lnTo>
                  <a:pt x="0" y="311215"/>
                </a:lnTo>
                <a:lnTo>
                  <a:pt x="0" y="1316022"/>
                </a:lnTo>
                <a:lnTo>
                  <a:pt x="3374" y="1362011"/>
                </a:lnTo>
                <a:lnTo>
                  <a:pt x="13176" y="1405905"/>
                </a:lnTo>
                <a:lnTo>
                  <a:pt x="28925" y="1447223"/>
                </a:lnTo>
                <a:lnTo>
                  <a:pt x="50138" y="1485482"/>
                </a:lnTo>
                <a:lnTo>
                  <a:pt x="76335" y="1520203"/>
                </a:lnTo>
                <a:lnTo>
                  <a:pt x="107035" y="1550902"/>
                </a:lnTo>
                <a:lnTo>
                  <a:pt x="141755" y="1577099"/>
                </a:lnTo>
                <a:lnTo>
                  <a:pt x="180015" y="1598313"/>
                </a:lnTo>
                <a:lnTo>
                  <a:pt x="221332" y="1614061"/>
                </a:lnTo>
                <a:lnTo>
                  <a:pt x="265226" y="1623864"/>
                </a:lnTo>
                <a:lnTo>
                  <a:pt x="311215" y="1627238"/>
                </a:lnTo>
                <a:lnTo>
                  <a:pt x="9228273" y="1627238"/>
                </a:lnTo>
                <a:lnTo>
                  <a:pt x="9274263" y="1623864"/>
                </a:lnTo>
                <a:lnTo>
                  <a:pt x="9318157" y="1614061"/>
                </a:lnTo>
                <a:lnTo>
                  <a:pt x="9359474" y="1598313"/>
                </a:lnTo>
                <a:lnTo>
                  <a:pt x="9397734" y="1577099"/>
                </a:lnTo>
                <a:lnTo>
                  <a:pt x="9432454" y="1550902"/>
                </a:lnTo>
                <a:lnTo>
                  <a:pt x="9463153" y="1520203"/>
                </a:lnTo>
                <a:lnTo>
                  <a:pt x="9489350" y="1485482"/>
                </a:lnTo>
                <a:lnTo>
                  <a:pt x="9510564" y="1447223"/>
                </a:lnTo>
                <a:lnTo>
                  <a:pt x="9526313" y="1405905"/>
                </a:lnTo>
                <a:lnTo>
                  <a:pt x="9536115" y="1362011"/>
                </a:lnTo>
                <a:lnTo>
                  <a:pt x="9539489" y="1316022"/>
                </a:lnTo>
                <a:lnTo>
                  <a:pt x="9539489" y="311215"/>
                </a:lnTo>
                <a:lnTo>
                  <a:pt x="9536115" y="265226"/>
                </a:lnTo>
                <a:lnTo>
                  <a:pt x="9526313" y="221332"/>
                </a:lnTo>
                <a:lnTo>
                  <a:pt x="9510564" y="180015"/>
                </a:lnTo>
                <a:lnTo>
                  <a:pt x="9489350" y="141755"/>
                </a:lnTo>
                <a:lnTo>
                  <a:pt x="9463153" y="107035"/>
                </a:lnTo>
                <a:lnTo>
                  <a:pt x="9432454" y="76335"/>
                </a:lnTo>
                <a:lnTo>
                  <a:pt x="9397734" y="50138"/>
                </a:lnTo>
                <a:lnTo>
                  <a:pt x="9359474" y="28925"/>
                </a:lnTo>
                <a:lnTo>
                  <a:pt x="9318157" y="13176"/>
                </a:lnTo>
                <a:lnTo>
                  <a:pt x="9274263" y="3374"/>
                </a:lnTo>
                <a:lnTo>
                  <a:pt x="9228273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6846103" y="1431382"/>
            <a:ext cx="4646959" cy="4667753"/>
            <a:chOff x="11289026" y="2360455"/>
            <a:chExt cx="7663180" cy="7697470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1289026" y="2518198"/>
              <a:ext cx="6601058" cy="7340892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14855850" y="4313319"/>
              <a:ext cx="2179320" cy="424180"/>
            </a:xfrm>
            <a:custGeom>
              <a:avLst/>
              <a:gdLst/>
              <a:ahLst/>
              <a:cxnLst/>
              <a:rect l="l" t="t" r="r" b="b"/>
              <a:pathLst>
                <a:path w="2179319" h="424179">
                  <a:moveTo>
                    <a:pt x="1219339" y="331838"/>
                  </a:moveTo>
                  <a:lnTo>
                    <a:pt x="1201686" y="285330"/>
                  </a:lnTo>
                  <a:lnTo>
                    <a:pt x="1156322" y="264922"/>
                  </a:lnTo>
                  <a:lnTo>
                    <a:pt x="66903" y="232244"/>
                  </a:lnTo>
                  <a:lnTo>
                    <a:pt x="41478" y="236588"/>
                  </a:lnTo>
                  <a:lnTo>
                    <a:pt x="20408" y="249885"/>
                  </a:lnTo>
                  <a:lnTo>
                    <a:pt x="5867" y="270116"/>
                  </a:lnTo>
                  <a:lnTo>
                    <a:pt x="0" y="295249"/>
                  </a:lnTo>
                  <a:lnTo>
                    <a:pt x="4343" y="320687"/>
                  </a:lnTo>
                  <a:lnTo>
                    <a:pt x="17653" y="341757"/>
                  </a:lnTo>
                  <a:lnTo>
                    <a:pt x="37884" y="356298"/>
                  </a:lnTo>
                  <a:lnTo>
                    <a:pt x="63017" y="362165"/>
                  </a:lnTo>
                  <a:lnTo>
                    <a:pt x="1152423" y="394855"/>
                  </a:lnTo>
                  <a:lnTo>
                    <a:pt x="1177861" y="390512"/>
                  </a:lnTo>
                  <a:lnTo>
                    <a:pt x="1198930" y="377202"/>
                  </a:lnTo>
                  <a:lnTo>
                    <a:pt x="1213472" y="356971"/>
                  </a:lnTo>
                  <a:lnTo>
                    <a:pt x="1219339" y="331838"/>
                  </a:lnTo>
                  <a:close/>
                </a:path>
                <a:path w="2179319" h="424179">
                  <a:moveTo>
                    <a:pt x="2174862" y="131889"/>
                  </a:moveTo>
                  <a:lnTo>
                    <a:pt x="2156129" y="82537"/>
                  </a:lnTo>
                  <a:lnTo>
                    <a:pt x="2107996" y="60871"/>
                  </a:lnTo>
                  <a:lnTo>
                    <a:pt x="79184" y="0"/>
                  </a:lnTo>
                  <a:lnTo>
                    <a:pt x="52197" y="4610"/>
                  </a:lnTo>
                  <a:lnTo>
                    <a:pt x="29832" y="18732"/>
                  </a:lnTo>
                  <a:lnTo>
                    <a:pt x="14401" y="40208"/>
                  </a:lnTo>
                  <a:lnTo>
                    <a:pt x="8178" y="66878"/>
                  </a:lnTo>
                  <a:lnTo>
                    <a:pt x="12788" y="93865"/>
                  </a:lnTo>
                  <a:lnTo>
                    <a:pt x="26911" y="116230"/>
                  </a:lnTo>
                  <a:lnTo>
                    <a:pt x="48374" y="131660"/>
                  </a:lnTo>
                  <a:lnTo>
                    <a:pt x="75057" y="137883"/>
                  </a:lnTo>
                  <a:lnTo>
                    <a:pt x="2103856" y="198755"/>
                  </a:lnTo>
                  <a:lnTo>
                    <a:pt x="2130856" y="194144"/>
                  </a:lnTo>
                  <a:lnTo>
                    <a:pt x="2153208" y="180022"/>
                  </a:lnTo>
                  <a:lnTo>
                    <a:pt x="2168639" y="158559"/>
                  </a:lnTo>
                  <a:lnTo>
                    <a:pt x="2174862" y="131889"/>
                  </a:lnTo>
                  <a:close/>
                </a:path>
                <a:path w="2179319" h="424179">
                  <a:moveTo>
                    <a:pt x="2178812" y="360629"/>
                  </a:moveTo>
                  <a:lnTo>
                    <a:pt x="2161159" y="314121"/>
                  </a:lnTo>
                  <a:lnTo>
                    <a:pt x="2115794" y="293712"/>
                  </a:lnTo>
                  <a:lnTo>
                    <a:pt x="1326235" y="270027"/>
                  </a:lnTo>
                  <a:lnTo>
                    <a:pt x="1300784" y="274370"/>
                  </a:lnTo>
                  <a:lnTo>
                    <a:pt x="1279715" y="287667"/>
                  </a:lnTo>
                  <a:lnTo>
                    <a:pt x="1265174" y="307898"/>
                  </a:lnTo>
                  <a:lnTo>
                    <a:pt x="1259306" y="333044"/>
                  </a:lnTo>
                  <a:lnTo>
                    <a:pt x="1263662" y="358482"/>
                  </a:lnTo>
                  <a:lnTo>
                    <a:pt x="1276959" y="379552"/>
                  </a:lnTo>
                  <a:lnTo>
                    <a:pt x="1297190" y="394093"/>
                  </a:lnTo>
                  <a:lnTo>
                    <a:pt x="1322324" y="399948"/>
                  </a:lnTo>
                  <a:lnTo>
                    <a:pt x="2111895" y="423646"/>
                  </a:lnTo>
                  <a:lnTo>
                    <a:pt x="2137333" y="419303"/>
                  </a:lnTo>
                  <a:lnTo>
                    <a:pt x="2158403" y="405993"/>
                  </a:lnTo>
                  <a:lnTo>
                    <a:pt x="2172944" y="385762"/>
                  </a:lnTo>
                  <a:lnTo>
                    <a:pt x="2178812" y="360629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14810664" y="3894283"/>
              <a:ext cx="1304290" cy="370205"/>
            </a:xfrm>
            <a:custGeom>
              <a:avLst/>
              <a:gdLst/>
              <a:ahLst/>
              <a:cxnLst/>
              <a:rect l="l" t="t" r="r" b="b"/>
              <a:pathLst>
                <a:path w="1304290" h="370204">
                  <a:moveTo>
                    <a:pt x="355460" y="138315"/>
                  </a:moveTo>
                  <a:lnTo>
                    <a:pt x="352602" y="128536"/>
                  </a:lnTo>
                  <a:lnTo>
                    <a:pt x="348526" y="124891"/>
                  </a:lnTo>
                  <a:lnTo>
                    <a:pt x="237985" y="105422"/>
                  </a:lnTo>
                  <a:lnTo>
                    <a:pt x="191363" y="3327"/>
                  </a:lnTo>
                  <a:lnTo>
                    <a:pt x="186791" y="304"/>
                  </a:lnTo>
                  <a:lnTo>
                    <a:pt x="176631" y="0"/>
                  </a:lnTo>
                  <a:lnTo>
                    <a:pt x="171894" y="2755"/>
                  </a:lnTo>
                  <a:lnTo>
                    <a:pt x="120459" y="99542"/>
                  </a:lnTo>
                  <a:lnTo>
                    <a:pt x="116611" y="102171"/>
                  </a:lnTo>
                  <a:lnTo>
                    <a:pt x="7721" y="114655"/>
                  </a:lnTo>
                  <a:lnTo>
                    <a:pt x="3429" y="118059"/>
                  </a:lnTo>
                  <a:lnTo>
                    <a:pt x="0" y="127647"/>
                  </a:lnTo>
                  <a:lnTo>
                    <a:pt x="1143" y="132994"/>
                  </a:lnTo>
                  <a:lnTo>
                    <a:pt x="77304" y="211823"/>
                  </a:lnTo>
                  <a:lnTo>
                    <a:pt x="78613" y="216293"/>
                  </a:lnTo>
                  <a:lnTo>
                    <a:pt x="56845" y="323710"/>
                  </a:lnTo>
                  <a:lnTo>
                    <a:pt x="58762" y="328841"/>
                  </a:lnTo>
                  <a:lnTo>
                    <a:pt x="66814" y="335076"/>
                  </a:lnTo>
                  <a:lnTo>
                    <a:pt x="72250" y="335622"/>
                  </a:lnTo>
                  <a:lnTo>
                    <a:pt x="170764" y="287566"/>
                  </a:lnTo>
                  <a:lnTo>
                    <a:pt x="175412" y="287705"/>
                  </a:lnTo>
                  <a:lnTo>
                    <a:pt x="270852" y="341579"/>
                  </a:lnTo>
                  <a:lnTo>
                    <a:pt x="276326" y="341350"/>
                  </a:lnTo>
                  <a:lnTo>
                    <a:pt x="284734" y="335622"/>
                  </a:lnTo>
                  <a:lnTo>
                    <a:pt x="286943" y="330619"/>
                  </a:lnTo>
                  <a:lnTo>
                    <a:pt x="271665" y="222084"/>
                  </a:lnTo>
                  <a:lnTo>
                    <a:pt x="273227" y="217703"/>
                  </a:lnTo>
                  <a:lnTo>
                    <a:pt x="350240" y="147027"/>
                  </a:lnTo>
                  <a:lnTo>
                    <a:pt x="353987" y="143573"/>
                  </a:lnTo>
                  <a:lnTo>
                    <a:pt x="355460" y="138315"/>
                  </a:lnTo>
                  <a:close/>
                </a:path>
                <a:path w="1304290" h="370204">
                  <a:moveTo>
                    <a:pt x="829614" y="152539"/>
                  </a:moveTo>
                  <a:lnTo>
                    <a:pt x="826757" y="142773"/>
                  </a:lnTo>
                  <a:lnTo>
                    <a:pt x="822680" y="139115"/>
                  </a:lnTo>
                  <a:lnTo>
                    <a:pt x="712139" y="119646"/>
                  </a:lnTo>
                  <a:lnTo>
                    <a:pt x="665518" y="17564"/>
                  </a:lnTo>
                  <a:lnTo>
                    <a:pt x="660946" y="14528"/>
                  </a:lnTo>
                  <a:lnTo>
                    <a:pt x="650786" y="14224"/>
                  </a:lnTo>
                  <a:lnTo>
                    <a:pt x="646049" y="16979"/>
                  </a:lnTo>
                  <a:lnTo>
                    <a:pt x="594614" y="113766"/>
                  </a:lnTo>
                  <a:lnTo>
                    <a:pt x="590765" y="116395"/>
                  </a:lnTo>
                  <a:lnTo>
                    <a:pt x="481876" y="128892"/>
                  </a:lnTo>
                  <a:lnTo>
                    <a:pt x="477583" y="132283"/>
                  </a:lnTo>
                  <a:lnTo>
                    <a:pt x="474154" y="141871"/>
                  </a:lnTo>
                  <a:lnTo>
                    <a:pt x="475297" y="147218"/>
                  </a:lnTo>
                  <a:lnTo>
                    <a:pt x="551472" y="226047"/>
                  </a:lnTo>
                  <a:lnTo>
                    <a:pt x="552767" y="230517"/>
                  </a:lnTo>
                  <a:lnTo>
                    <a:pt x="531012" y="337934"/>
                  </a:lnTo>
                  <a:lnTo>
                    <a:pt x="532917" y="343065"/>
                  </a:lnTo>
                  <a:lnTo>
                    <a:pt x="540969" y="349300"/>
                  </a:lnTo>
                  <a:lnTo>
                    <a:pt x="546404" y="349859"/>
                  </a:lnTo>
                  <a:lnTo>
                    <a:pt x="644918" y="301777"/>
                  </a:lnTo>
                  <a:lnTo>
                    <a:pt x="649566" y="301929"/>
                  </a:lnTo>
                  <a:lnTo>
                    <a:pt x="745007" y="355815"/>
                  </a:lnTo>
                  <a:lnTo>
                    <a:pt x="750481" y="355574"/>
                  </a:lnTo>
                  <a:lnTo>
                    <a:pt x="758901" y="349859"/>
                  </a:lnTo>
                  <a:lnTo>
                    <a:pt x="761111" y="344843"/>
                  </a:lnTo>
                  <a:lnTo>
                    <a:pt x="745832" y="236308"/>
                  </a:lnTo>
                  <a:lnTo>
                    <a:pt x="747382" y="231927"/>
                  </a:lnTo>
                  <a:lnTo>
                    <a:pt x="824395" y="161251"/>
                  </a:lnTo>
                  <a:lnTo>
                    <a:pt x="828141" y="157810"/>
                  </a:lnTo>
                  <a:lnTo>
                    <a:pt x="829614" y="152539"/>
                  </a:lnTo>
                  <a:close/>
                </a:path>
                <a:path w="1304290" h="370204">
                  <a:moveTo>
                    <a:pt x="1303769" y="166763"/>
                  </a:moveTo>
                  <a:lnTo>
                    <a:pt x="1300911" y="156997"/>
                  </a:lnTo>
                  <a:lnTo>
                    <a:pt x="1296847" y="153339"/>
                  </a:lnTo>
                  <a:lnTo>
                    <a:pt x="1186307" y="133883"/>
                  </a:lnTo>
                  <a:lnTo>
                    <a:pt x="1139672" y="31788"/>
                  </a:lnTo>
                  <a:lnTo>
                    <a:pt x="1135113" y="28765"/>
                  </a:lnTo>
                  <a:lnTo>
                    <a:pt x="1124940" y="28460"/>
                  </a:lnTo>
                  <a:lnTo>
                    <a:pt x="1120216" y="31216"/>
                  </a:lnTo>
                  <a:lnTo>
                    <a:pt x="1068781" y="127990"/>
                  </a:lnTo>
                  <a:lnTo>
                    <a:pt x="1064920" y="130619"/>
                  </a:lnTo>
                  <a:lnTo>
                    <a:pt x="956043" y="143116"/>
                  </a:lnTo>
                  <a:lnTo>
                    <a:pt x="951738" y="146519"/>
                  </a:lnTo>
                  <a:lnTo>
                    <a:pt x="948309" y="156095"/>
                  </a:lnTo>
                  <a:lnTo>
                    <a:pt x="949464" y="161442"/>
                  </a:lnTo>
                  <a:lnTo>
                    <a:pt x="1025626" y="240271"/>
                  </a:lnTo>
                  <a:lnTo>
                    <a:pt x="1026922" y="244741"/>
                  </a:lnTo>
                  <a:lnTo>
                    <a:pt x="1005166" y="352171"/>
                  </a:lnTo>
                  <a:lnTo>
                    <a:pt x="1007071" y="357301"/>
                  </a:lnTo>
                  <a:lnTo>
                    <a:pt x="1015123" y="363524"/>
                  </a:lnTo>
                  <a:lnTo>
                    <a:pt x="1020572" y="364083"/>
                  </a:lnTo>
                  <a:lnTo>
                    <a:pt x="1119073" y="316014"/>
                  </a:lnTo>
                  <a:lnTo>
                    <a:pt x="1123734" y="316153"/>
                  </a:lnTo>
                  <a:lnTo>
                    <a:pt x="1219174" y="370039"/>
                  </a:lnTo>
                  <a:lnTo>
                    <a:pt x="1224635" y="369811"/>
                  </a:lnTo>
                  <a:lnTo>
                    <a:pt x="1233043" y="364083"/>
                  </a:lnTo>
                  <a:lnTo>
                    <a:pt x="1235265" y="359079"/>
                  </a:lnTo>
                  <a:lnTo>
                    <a:pt x="1219987" y="250545"/>
                  </a:lnTo>
                  <a:lnTo>
                    <a:pt x="1221549" y="246164"/>
                  </a:lnTo>
                  <a:lnTo>
                    <a:pt x="1298549" y="175475"/>
                  </a:lnTo>
                  <a:lnTo>
                    <a:pt x="1302296" y="172034"/>
                  </a:lnTo>
                  <a:lnTo>
                    <a:pt x="1303769" y="166763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6233127" y="3936967"/>
              <a:ext cx="829944" cy="356235"/>
            </a:xfrm>
            <a:custGeom>
              <a:avLst/>
              <a:gdLst/>
              <a:ahLst/>
              <a:cxnLst/>
              <a:rect l="l" t="t" r="r" b="b"/>
              <a:pathLst>
                <a:path w="829944" h="356235">
                  <a:moveTo>
                    <a:pt x="355473" y="138315"/>
                  </a:moveTo>
                  <a:lnTo>
                    <a:pt x="352615" y="128536"/>
                  </a:lnTo>
                  <a:lnTo>
                    <a:pt x="348538" y="124891"/>
                  </a:lnTo>
                  <a:lnTo>
                    <a:pt x="237998" y="105422"/>
                  </a:lnTo>
                  <a:lnTo>
                    <a:pt x="191376" y="3327"/>
                  </a:lnTo>
                  <a:lnTo>
                    <a:pt x="186804" y="304"/>
                  </a:lnTo>
                  <a:lnTo>
                    <a:pt x="176644" y="0"/>
                  </a:lnTo>
                  <a:lnTo>
                    <a:pt x="171907" y="2755"/>
                  </a:lnTo>
                  <a:lnTo>
                    <a:pt x="120472" y="99542"/>
                  </a:lnTo>
                  <a:lnTo>
                    <a:pt x="116624" y="102171"/>
                  </a:lnTo>
                  <a:lnTo>
                    <a:pt x="7734" y="114655"/>
                  </a:lnTo>
                  <a:lnTo>
                    <a:pt x="3441" y="118059"/>
                  </a:lnTo>
                  <a:lnTo>
                    <a:pt x="0" y="127635"/>
                  </a:lnTo>
                  <a:lnTo>
                    <a:pt x="1155" y="132994"/>
                  </a:lnTo>
                  <a:lnTo>
                    <a:pt x="77317" y="211810"/>
                  </a:lnTo>
                  <a:lnTo>
                    <a:pt x="78625" y="216293"/>
                  </a:lnTo>
                  <a:lnTo>
                    <a:pt x="56857" y="323710"/>
                  </a:lnTo>
                  <a:lnTo>
                    <a:pt x="58762" y="328841"/>
                  </a:lnTo>
                  <a:lnTo>
                    <a:pt x="66814" y="335064"/>
                  </a:lnTo>
                  <a:lnTo>
                    <a:pt x="72263" y="335622"/>
                  </a:lnTo>
                  <a:lnTo>
                    <a:pt x="170776" y="287566"/>
                  </a:lnTo>
                  <a:lnTo>
                    <a:pt x="175425" y="287693"/>
                  </a:lnTo>
                  <a:lnTo>
                    <a:pt x="270865" y="341579"/>
                  </a:lnTo>
                  <a:lnTo>
                    <a:pt x="276326" y="341350"/>
                  </a:lnTo>
                  <a:lnTo>
                    <a:pt x="284746" y="335622"/>
                  </a:lnTo>
                  <a:lnTo>
                    <a:pt x="286956" y="330619"/>
                  </a:lnTo>
                  <a:lnTo>
                    <a:pt x="271665" y="222084"/>
                  </a:lnTo>
                  <a:lnTo>
                    <a:pt x="273240" y="217703"/>
                  </a:lnTo>
                  <a:lnTo>
                    <a:pt x="350240" y="147027"/>
                  </a:lnTo>
                  <a:lnTo>
                    <a:pt x="353999" y="143573"/>
                  </a:lnTo>
                  <a:lnTo>
                    <a:pt x="355473" y="138315"/>
                  </a:lnTo>
                  <a:close/>
                </a:path>
                <a:path w="829944" h="356235">
                  <a:moveTo>
                    <a:pt x="829627" y="152539"/>
                  </a:moveTo>
                  <a:lnTo>
                    <a:pt x="826770" y="142773"/>
                  </a:lnTo>
                  <a:lnTo>
                    <a:pt x="822693" y="139115"/>
                  </a:lnTo>
                  <a:lnTo>
                    <a:pt x="712152" y="119646"/>
                  </a:lnTo>
                  <a:lnTo>
                    <a:pt x="665530" y="17564"/>
                  </a:lnTo>
                  <a:lnTo>
                    <a:pt x="660958" y="14528"/>
                  </a:lnTo>
                  <a:lnTo>
                    <a:pt x="650798" y="14224"/>
                  </a:lnTo>
                  <a:lnTo>
                    <a:pt x="646061" y="16979"/>
                  </a:lnTo>
                  <a:lnTo>
                    <a:pt x="594626" y="113766"/>
                  </a:lnTo>
                  <a:lnTo>
                    <a:pt x="590778" y="116395"/>
                  </a:lnTo>
                  <a:lnTo>
                    <a:pt x="481888" y="128879"/>
                  </a:lnTo>
                  <a:lnTo>
                    <a:pt x="477596" y="132283"/>
                  </a:lnTo>
                  <a:lnTo>
                    <a:pt x="474167" y="141871"/>
                  </a:lnTo>
                  <a:lnTo>
                    <a:pt x="475310" y="147218"/>
                  </a:lnTo>
                  <a:lnTo>
                    <a:pt x="551484" y="226047"/>
                  </a:lnTo>
                  <a:lnTo>
                    <a:pt x="552780" y="230517"/>
                  </a:lnTo>
                  <a:lnTo>
                    <a:pt x="531025" y="337934"/>
                  </a:lnTo>
                  <a:lnTo>
                    <a:pt x="532930" y="343065"/>
                  </a:lnTo>
                  <a:lnTo>
                    <a:pt x="540981" y="349300"/>
                  </a:lnTo>
                  <a:lnTo>
                    <a:pt x="546417" y="349846"/>
                  </a:lnTo>
                  <a:lnTo>
                    <a:pt x="644931" y="301777"/>
                  </a:lnTo>
                  <a:lnTo>
                    <a:pt x="649579" y="301929"/>
                  </a:lnTo>
                  <a:lnTo>
                    <a:pt x="745020" y="355815"/>
                  </a:lnTo>
                  <a:lnTo>
                    <a:pt x="750493" y="355574"/>
                  </a:lnTo>
                  <a:lnTo>
                    <a:pt x="758901" y="349846"/>
                  </a:lnTo>
                  <a:lnTo>
                    <a:pt x="761111" y="344843"/>
                  </a:lnTo>
                  <a:lnTo>
                    <a:pt x="745845" y="236308"/>
                  </a:lnTo>
                  <a:lnTo>
                    <a:pt x="747395" y="231927"/>
                  </a:lnTo>
                  <a:lnTo>
                    <a:pt x="824407" y="161251"/>
                  </a:lnTo>
                  <a:lnTo>
                    <a:pt x="828154" y="157810"/>
                  </a:lnTo>
                  <a:lnTo>
                    <a:pt x="829627" y="152539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3800640" y="5345841"/>
              <a:ext cx="3566795" cy="1396365"/>
            </a:xfrm>
            <a:custGeom>
              <a:avLst/>
              <a:gdLst/>
              <a:ahLst/>
              <a:cxnLst/>
              <a:rect l="l" t="t" r="r" b="b"/>
              <a:pathLst>
                <a:path w="3566794" h="1396365">
                  <a:moveTo>
                    <a:pt x="115504" y="0"/>
                  </a:moveTo>
                  <a:lnTo>
                    <a:pt x="52575" y="32861"/>
                  </a:lnTo>
                  <a:lnTo>
                    <a:pt x="32744" y="69490"/>
                  </a:lnTo>
                  <a:lnTo>
                    <a:pt x="24522" y="114719"/>
                  </a:lnTo>
                  <a:lnTo>
                    <a:pt x="0" y="932296"/>
                  </a:lnTo>
                  <a:lnTo>
                    <a:pt x="5559" y="978184"/>
                  </a:lnTo>
                  <a:lnTo>
                    <a:pt x="23343" y="1016055"/>
                  </a:lnTo>
                  <a:lnTo>
                    <a:pt x="50627" y="1042048"/>
                  </a:lnTo>
                  <a:lnTo>
                    <a:pt x="84688" y="1052303"/>
                  </a:lnTo>
                  <a:lnTo>
                    <a:pt x="209229" y="1056041"/>
                  </a:lnTo>
                  <a:lnTo>
                    <a:pt x="235553" y="1062246"/>
                  </a:lnTo>
                  <a:lnTo>
                    <a:pt x="258660" y="1078268"/>
                  </a:lnTo>
                  <a:lnTo>
                    <a:pt x="277093" y="1102688"/>
                  </a:lnTo>
                  <a:lnTo>
                    <a:pt x="289394" y="1134091"/>
                  </a:lnTo>
                  <a:lnTo>
                    <a:pt x="349371" y="1370062"/>
                  </a:lnTo>
                  <a:lnTo>
                    <a:pt x="360744" y="1389822"/>
                  </a:lnTo>
                  <a:lnTo>
                    <a:pt x="377525" y="1395771"/>
                  </a:lnTo>
                  <a:lnTo>
                    <a:pt x="394105" y="1388186"/>
                  </a:lnTo>
                  <a:lnTo>
                    <a:pt x="404877" y="1367340"/>
                  </a:lnTo>
                  <a:lnTo>
                    <a:pt x="465221" y="1091987"/>
                  </a:lnTo>
                  <a:lnTo>
                    <a:pt x="478119" y="1056414"/>
                  </a:lnTo>
                  <a:lnTo>
                    <a:pt x="498433" y="1028891"/>
                  </a:lnTo>
                  <a:lnTo>
                    <a:pt x="524204" y="1011336"/>
                  </a:lnTo>
                  <a:lnTo>
                    <a:pt x="553470" y="1005665"/>
                  </a:lnTo>
                  <a:lnTo>
                    <a:pt x="3450962" y="1092605"/>
                  </a:lnTo>
                  <a:lnTo>
                    <a:pt x="3485576" y="1084415"/>
                  </a:lnTo>
                  <a:lnTo>
                    <a:pt x="3514370" y="1060106"/>
                  </a:lnTo>
                  <a:lnTo>
                    <a:pt x="3534394" y="1023370"/>
                  </a:lnTo>
                  <a:lnTo>
                    <a:pt x="3542698" y="977896"/>
                  </a:lnTo>
                  <a:lnTo>
                    <a:pt x="3566561" y="182549"/>
                  </a:lnTo>
                  <a:lnTo>
                    <a:pt x="3560931" y="136417"/>
                  </a:lnTo>
                  <a:lnTo>
                    <a:pt x="3542957" y="98431"/>
                  </a:lnTo>
                  <a:lnTo>
                    <a:pt x="3515422" y="72500"/>
                  </a:lnTo>
                  <a:lnTo>
                    <a:pt x="3481108" y="62532"/>
                  </a:lnTo>
                  <a:lnTo>
                    <a:pt x="115504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3907244" y="5473530"/>
              <a:ext cx="711200" cy="729615"/>
            </a:xfrm>
            <a:custGeom>
              <a:avLst/>
              <a:gdLst/>
              <a:ahLst/>
              <a:cxnLst/>
              <a:rect l="l" t="t" r="r" b="b"/>
              <a:pathLst>
                <a:path w="711200" h="729614">
                  <a:moveTo>
                    <a:pt x="366334" y="0"/>
                  </a:moveTo>
                  <a:lnTo>
                    <a:pt x="318010" y="1883"/>
                  </a:lnTo>
                  <a:lnTo>
                    <a:pt x="271466" y="10195"/>
                  </a:lnTo>
                  <a:lnTo>
                    <a:pt x="227140" y="24514"/>
                  </a:lnTo>
                  <a:lnTo>
                    <a:pt x="185467" y="44417"/>
                  </a:lnTo>
                  <a:lnTo>
                    <a:pt x="146884" y="69483"/>
                  </a:lnTo>
                  <a:lnTo>
                    <a:pt x="111829" y="99291"/>
                  </a:lnTo>
                  <a:lnTo>
                    <a:pt x="80736" y="133418"/>
                  </a:lnTo>
                  <a:lnTo>
                    <a:pt x="54043" y="171443"/>
                  </a:lnTo>
                  <a:lnTo>
                    <a:pt x="32187" y="212943"/>
                  </a:lnTo>
                  <a:lnTo>
                    <a:pt x="15603" y="257498"/>
                  </a:lnTo>
                  <a:lnTo>
                    <a:pt x="4728" y="304685"/>
                  </a:lnTo>
                  <a:lnTo>
                    <a:pt x="0" y="354083"/>
                  </a:lnTo>
                  <a:lnTo>
                    <a:pt x="1759" y="403673"/>
                  </a:lnTo>
                  <a:lnTo>
                    <a:pt x="9786" y="451426"/>
                  </a:lnTo>
                  <a:lnTo>
                    <a:pt x="23670" y="496894"/>
                  </a:lnTo>
                  <a:lnTo>
                    <a:pt x="42999" y="539630"/>
                  </a:lnTo>
                  <a:lnTo>
                    <a:pt x="67364" y="579187"/>
                  </a:lnTo>
                  <a:lnTo>
                    <a:pt x="96355" y="615117"/>
                  </a:lnTo>
                  <a:lnTo>
                    <a:pt x="129561" y="646973"/>
                  </a:lnTo>
                  <a:lnTo>
                    <a:pt x="166571" y="674307"/>
                  </a:lnTo>
                  <a:lnTo>
                    <a:pt x="206976" y="696673"/>
                  </a:lnTo>
                  <a:lnTo>
                    <a:pt x="250364" y="713623"/>
                  </a:lnTo>
                  <a:lnTo>
                    <a:pt x="296325" y="724709"/>
                  </a:lnTo>
                  <a:lnTo>
                    <a:pt x="344450" y="729485"/>
                  </a:lnTo>
                  <a:lnTo>
                    <a:pt x="392774" y="727604"/>
                  </a:lnTo>
                  <a:lnTo>
                    <a:pt x="439318" y="719293"/>
                  </a:lnTo>
                  <a:lnTo>
                    <a:pt x="483644" y="704976"/>
                  </a:lnTo>
                  <a:lnTo>
                    <a:pt x="525317" y="685073"/>
                  </a:lnTo>
                  <a:lnTo>
                    <a:pt x="563899" y="660006"/>
                  </a:lnTo>
                  <a:lnTo>
                    <a:pt x="598955" y="630199"/>
                  </a:lnTo>
                  <a:lnTo>
                    <a:pt x="630048" y="596072"/>
                  </a:lnTo>
                  <a:lnTo>
                    <a:pt x="656740" y="558047"/>
                  </a:lnTo>
                  <a:lnTo>
                    <a:pt x="678597" y="516547"/>
                  </a:lnTo>
                  <a:lnTo>
                    <a:pt x="695181" y="471993"/>
                  </a:lnTo>
                  <a:lnTo>
                    <a:pt x="706055" y="424808"/>
                  </a:lnTo>
                  <a:lnTo>
                    <a:pt x="710784" y="375412"/>
                  </a:lnTo>
                  <a:lnTo>
                    <a:pt x="709024" y="325820"/>
                  </a:lnTo>
                  <a:lnTo>
                    <a:pt x="700997" y="278065"/>
                  </a:lnTo>
                  <a:lnTo>
                    <a:pt x="687114" y="232596"/>
                  </a:lnTo>
                  <a:lnTo>
                    <a:pt x="667784" y="189860"/>
                  </a:lnTo>
                  <a:lnTo>
                    <a:pt x="643419" y="150303"/>
                  </a:lnTo>
                  <a:lnTo>
                    <a:pt x="614428" y="114373"/>
                  </a:lnTo>
                  <a:lnTo>
                    <a:pt x="581223" y="82517"/>
                  </a:lnTo>
                  <a:lnTo>
                    <a:pt x="544213" y="55182"/>
                  </a:lnTo>
                  <a:lnTo>
                    <a:pt x="503808" y="32816"/>
                  </a:lnTo>
                  <a:lnTo>
                    <a:pt x="460420" y="15865"/>
                  </a:lnTo>
                  <a:lnTo>
                    <a:pt x="414458" y="4777"/>
                  </a:lnTo>
                  <a:lnTo>
                    <a:pt x="366334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0" name="object 1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4158555" y="5578741"/>
              <a:ext cx="237270" cy="248254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14040327" y="5865372"/>
              <a:ext cx="457200" cy="218440"/>
            </a:xfrm>
            <a:custGeom>
              <a:avLst/>
              <a:gdLst/>
              <a:ahLst/>
              <a:cxnLst/>
              <a:rect l="l" t="t" r="r" b="b"/>
              <a:pathLst>
                <a:path w="457200" h="218439">
                  <a:moveTo>
                    <a:pt x="208241" y="0"/>
                  </a:moveTo>
                  <a:lnTo>
                    <a:pt x="155521" y="4505"/>
                  </a:lnTo>
                  <a:lnTo>
                    <a:pt x="102255" y="13849"/>
                  </a:lnTo>
                  <a:lnTo>
                    <a:pt x="48469" y="27813"/>
                  </a:lnTo>
                  <a:lnTo>
                    <a:pt x="8372" y="59972"/>
                  </a:lnTo>
                  <a:lnTo>
                    <a:pt x="0" y="84435"/>
                  </a:lnTo>
                  <a:lnTo>
                    <a:pt x="1203" y="111088"/>
                  </a:lnTo>
                  <a:lnTo>
                    <a:pt x="11873" y="155683"/>
                  </a:lnTo>
                  <a:lnTo>
                    <a:pt x="35823" y="193763"/>
                  </a:lnTo>
                  <a:lnTo>
                    <a:pt x="77976" y="209462"/>
                  </a:lnTo>
                  <a:lnTo>
                    <a:pt x="367590" y="218153"/>
                  </a:lnTo>
                  <a:lnTo>
                    <a:pt x="389680" y="215279"/>
                  </a:lnTo>
                  <a:lnTo>
                    <a:pt x="425155" y="190981"/>
                  </a:lnTo>
                  <a:lnTo>
                    <a:pt x="452854" y="123171"/>
                  </a:lnTo>
                  <a:lnTo>
                    <a:pt x="456814" y="96419"/>
                  </a:lnTo>
                  <a:lnTo>
                    <a:pt x="450737" y="70948"/>
                  </a:lnTo>
                  <a:lnTo>
                    <a:pt x="413170" y="34776"/>
                  </a:lnTo>
                  <a:lnTo>
                    <a:pt x="362880" y="17722"/>
                  </a:lnTo>
                  <a:lnTo>
                    <a:pt x="311945" y="6388"/>
                  </a:lnTo>
                  <a:lnTo>
                    <a:pt x="260390" y="554"/>
                  </a:lnTo>
                  <a:lnTo>
                    <a:pt x="208241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4808467" y="5883459"/>
              <a:ext cx="2180590" cy="433070"/>
            </a:xfrm>
            <a:custGeom>
              <a:avLst/>
              <a:gdLst/>
              <a:ahLst/>
              <a:cxnLst/>
              <a:rect l="l" t="t" r="r" b="b"/>
              <a:pathLst>
                <a:path w="2180590" h="433070">
                  <a:moveTo>
                    <a:pt x="919492" y="331838"/>
                  </a:moveTo>
                  <a:lnTo>
                    <a:pt x="901852" y="285330"/>
                  </a:lnTo>
                  <a:lnTo>
                    <a:pt x="856488" y="264934"/>
                  </a:lnTo>
                  <a:lnTo>
                    <a:pt x="66916" y="241236"/>
                  </a:lnTo>
                  <a:lnTo>
                    <a:pt x="41478" y="245579"/>
                  </a:lnTo>
                  <a:lnTo>
                    <a:pt x="20408" y="258876"/>
                  </a:lnTo>
                  <a:lnTo>
                    <a:pt x="5867" y="279107"/>
                  </a:lnTo>
                  <a:lnTo>
                    <a:pt x="0" y="304253"/>
                  </a:lnTo>
                  <a:lnTo>
                    <a:pt x="4343" y="329692"/>
                  </a:lnTo>
                  <a:lnTo>
                    <a:pt x="17653" y="350761"/>
                  </a:lnTo>
                  <a:lnTo>
                    <a:pt x="37884" y="365302"/>
                  </a:lnTo>
                  <a:lnTo>
                    <a:pt x="63004" y="371157"/>
                  </a:lnTo>
                  <a:lnTo>
                    <a:pt x="852589" y="394855"/>
                  </a:lnTo>
                  <a:lnTo>
                    <a:pt x="878027" y="390512"/>
                  </a:lnTo>
                  <a:lnTo>
                    <a:pt x="899096" y="377202"/>
                  </a:lnTo>
                  <a:lnTo>
                    <a:pt x="913638" y="356971"/>
                  </a:lnTo>
                  <a:lnTo>
                    <a:pt x="919492" y="331838"/>
                  </a:lnTo>
                  <a:close/>
                </a:path>
                <a:path w="2180590" h="433070">
                  <a:moveTo>
                    <a:pt x="2178812" y="369633"/>
                  </a:moveTo>
                  <a:lnTo>
                    <a:pt x="2161159" y="323113"/>
                  </a:lnTo>
                  <a:lnTo>
                    <a:pt x="2115794" y="302717"/>
                  </a:lnTo>
                  <a:lnTo>
                    <a:pt x="1026388" y="270027"/>
                  </a:lnTo>
                  <a:lnTo>
                    <a:pt x="1000950" y="274370"/>
                  </a:lnTo>
                  <a:lnTo>
                    <a:pt x="979881" y="287680"/>
                  </a:lnTo>
                  <a:lnTo>
                    <a:pt x="965339" y="307911"/>
                  </a:lnTo>
                  <a:lnTo>
                    <a:pt x="959472" y="333044"/>
                  </a:lnTo>
                  <a:lnTo>
                    <a:pt x="963828" y="358482"/>
                  </a:lnTo>
                  <a:lnTo>
                    <a:pt x="977125" y="379552"/>
                  </a:lnTo>
                  <a:lnTo>
                    <a:pt x="997356" y="394093"/>
                  </a:lnTo>
                  <a:lnTo>
                    <a:pt x="1022489" y="399948"/>
                  </a:lnTo>
                  <a:lnTo>
                    <a:pt x="2111895" y="432638"/>
                  </a:lnTo>
                  <a:lnTo>
                    <a:pt x="2137333" y="428294"/>
                  </a:lnTo>
                  <a:lnTo>
                    <a:pt x="2158403" y="414997"/>
                  </a:lnTo>
                  <a:lnTo>
                    <a:pt x="2172944" y="394766"/>
                  </a:lnTo>
                  <a:lnTo>
                    <a:pt x="2178812" y="369633"/>
                  </a:lnTo>
                  <a:close/>
                </a:path>
                <a:path w="2180590" h="433070">
                  <a:moveTo>
                    <a:pt x="2180044" y="131889"/>
                  </a:moveTo>
                  <a:lnTo>
                    <a:pt x="2161324" y="82537"/>
                  </a:lnTo>
                  <a:lnTo>
                    <a:pt x="2113178" y="60883"/>
                  </a:lnTo>
                  <a:lnTo>
                    <a:pt x="84366" y="0"/>
                  </a:lnTo>
                  <a:lnTo>
                    <a:pt x="57365" y="4622"/>
                  </a:lnTo>
                  <a:lnTo>
                    <a:pt x="35013" y="18732"/>
                  </a:lnTo>
                  <a:lnTo>
                    <a:pt x="19583" y="40195"/>
                  </a:lnTo>
                  <a:lnTo>
                    <a:pt x="13360" y="66865"/>
                  </a:lnTo>
                  <a:lnTo>
                    <a:pt x="17970" y="93865"/>
                  </a:lnTo>
                  <a:lnTo>
                    <a:pt x="32092" y="116217"/>
                  </a:lnTo>
                  <a:lnTo>
                    <a:pt x="53555" y="131660"/>
                  </a:lnTo>
                  <a:lnTo>
                    <a:pt x="80225" y="137883"/>
                  </a:lnTo>
                  <a:lnTo>
                    <a:pt x="2109038" y="198767"/>
                  </a:lnTo>
                  <a:lnTo>
                    <a:pt x="2136038" y="194144"/>
                  </a:lnTo>
                  <a:lnTo>
                    <a:pt x="2158390" y="180035"/>
                  </a:lnTo>
                  <a:lnTo>
                    <a:pt x="2173821" y="158559"/>
                  </a:lnTo>
                  <a:lnTo>
                    <a:pt x="2180044" y="131889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4763547" y="5464269"/>
              <a:ext cx="2252345" cy="398780"/>
            </a:xfrm>
            <a:custGeom>
              <a:avLst/>
              <a:gdLst/>
              <a:ahLst/>
              <a:cxnLst/>
              <a:rect l="l" t="t" r="r" b="b"/>
              <a:pathLst>
                <a:path w="2252344" h="398779">
                  <a:moveTo>
                    <a:pt x="355473" y="138315"/>
                  </a:moveTo>
                  <a:lnTo>
                    <a:pt x="352602" y="128549"/>
                  </a:lnTo>
                  <a:lnTo>
                    <a:pt x="348538" y="124891"/>
                  </a:lnTo>
                  <a:lnTo>
                    <a:pt x="237998" y="105422"/>
                  </a:lnTo>
                  <a:lnTo>
                    <a:pt x="191363" y="3340"/>
                  </a:lnTo>
                  <a:lnTo>
                    <a:pt x="186804" y="304"/>
                  </a:lnTo>
                  <a:lnTo>
                    <a:pt x="176631" y="0"/>
                  </a:lnTo>
                  <a:lnTo>
                    <a:pt x="171907" y="2755"/>
                  </a:lnTo>
                  <a:lnTo>
                    <a:pt x="120472" y="99542"/>
                  </a:lnTo>
                  <a:lnTo>
                    <a:pt x="116611" y="102171"/>
                  </a:lnTo>
                  <a:lnTo>
                    <a:pt x="7734" y="114655"/>
                  </a:lnTo>
                  <a:lnTo>
                    <a:pt x="3441" y="118059"/>
                  </a:lnTo>
                  <a:lnTo>
                    <a:pt x="0" y="127647"/>
                  </a:lnTo>
                  <a:lnTo>
                    <a:pt x="1155" y="132994"/>
                  </a:lnTo>
                  <a:lnTo>
                    <a:pt x="77317" y="211823"/>
                  </a:lnTo>
                  <a:lnTo>
                    <a:pt x="78613" y="216293"/>
                  </a:lnTo>
                  <a:lnTo>
                    <a:pt x="56857" y="323710"/>
                  </a:lnTo>
                  <a:lnTo>
                    <a:pt x="58762" y="328841"/>
                  </a:lnTo>
                  <a:lnTo>
                    <a:pt x="66814" y="335076"/>
                  </a:lnTo>
                  <a:lnTo>
                    <a:pt x="72263" y="335622"/>
                  </a:lnTo>
                  <a:lnTo>
                    <a:pt x="170776" y="287566"/>
                  </a:lnTo>
                  <a:lnTo>
                    <a:pt x="175425" y="287705"/>
                  </a:lnTo>
                  <a:lnTo>
                    <a:pt x="270865" y="341579"/>
                  </a:lnTo>
                  <a:lnTo>
                    <a:pt x="276326" y="341363"/>
                  </a:lnTo>
                  <a:lnTo>
                    <a:pt x="284734" y="335622"/>
                  </a:lnTo>
                  <a:lnTo>
                    <a:pt x="286956" y="330619"/>
                  </a:lnTo>
                  <a:lnTo>
                    <a:pt x="271665" y="222097"/>
                  </a:lnTo>
                  <a:lnTo>
                    <a:pt x="273240" y="217703"/>
                  </a:lnTo>
                  <a:lnTo>
                    <a:pt x="350240" y="147027"/>
                  </a:lnTo>
                  <a:lnTo>
                    <a:pt x="353987" y="143586"/>
                  </a:lnTo>
                  <a:lnTo>
                    <a:pt x="355473" y="138315"/>
                  </a:lnTo>
                  <a:close/>
                </a:path>
                <a:path w="2252344" h="398779">
                  <a:moveTo>
                    <a:pt x="829627" y="152539"/>
                  </a:moveTo>
                  <a:lnTo>
                    <a:pt x="826770" y="142773"/>
                  </a:lnTo>
                  <a:lnTo>
                    <a:pt x="822693" y="139115"/>
                  </a:lnTo>
                  <a:lnTo>
                    <a:pt x="712152" y="119659"/>
                  </a:lnTo>
                  <a:lnTo>
                    <a:pt x="665518" y="17564"/>
                  </a:lnTo>
                  <a:lnTo>
                    <a:pt x="660958" y="14541"/>
                  </a:lnTo>
                  <a:lnTo>
                    <a:pt x="650786" y="14236"/>
                  </a:lnTo>
                  <a:lnTo>
                    <a:pt x="646061" y="16992"/>
                  </a:lnTo>
                  <a:lnTo>
                    <a:pt x="594626" y="113766"/>
                  </a:lnTo>
                  <a:lnTo>
                    <a:pt x="590765" y="116395"/>
                  </a:lnTo>
                  <a:lnTo>
                    <a:pt x="481888" y="128892"/>
                  </a:lnTo>
                  <a:lnTo>
                    <a:pt x="477596" y="132295"/>
                  </a:lnTo>
                  <a:lnTo>
                    <a:pt x="474154" y="141871"/>
                  </a:lnTo>
                  <a:lnTo>
                    <a:pt x="475310" y="147218"/>
                  </a:lnTo>
                  <a:lnTo>
                    <a:pt x="551472" y="226047"/>
                  </a:lnTo>
                  <a:lnTo>
                    <a:pt x="552767" y="230517"/>
                  </a:lnTo>
                  <a:lnTo>
                    <a:pt x="531012" y="337934"/>
                  </a:lnTo>
                  <a:lnTo>
                    <a:pt x="532917" y="343065"/>
                  </a:lnTo>
                  <a:lnTo>
                    <a:pt x="540969" y="349300"/>
                  </a:lnTo>
                  <a:lnTo>
                    <a:pt x="546417" y="349859"/>
                  </a:lnTo>
                  <a:lnTo>
                    <a:pt x="644931" y="301790"/>
                  </a:lnTo>
                  <a:lnTo>
                    <a:pt x="649579" y="301929"/>
                  </a:lnTo>
                  <a:lnTo>
                    <a:pt x="745020" y="355815"/>
                  </a:lnTo>
                  <a:lnTo>
                    <a:pt x="750481" y="355600"/>
                  </a:lnTo>
                  <a:lnTo>
                    <a:pt x="758901" y="349859"/>
                  </a:lnTo>
                  <a:lnTo>
                    <a:pt x="761111" y="344855"/>
                  </a:lnTo>
                  <a:lnTo>
                    <a:pt x="745832" y="236308"/>
                  </a:lnTo>
                  <a:lnTo>
                    <a:pt x="747395" y="231927"/>
                  </a:lnTo>
                  <a:lnTo>
                    <a:pt x="824395" y="161251"/>
                  </a:lnTo>
                  <a:lnTo>
                    <a:pt x="828141" y="157810"/>
                  </a:lnTo>
                  <a:lnTo>
                    <a:pt x="829627" y="152539"/>
                  </a:lnTo>
                  <a:close/>
                </a:path>
                <a:path w="2252344" h="398779">
                  <a:moveTo>
                    <a:pt x="1303769" y="166763"/>
                  </a:moveTo>
                  <a:lnTo>
                    <a:pt x="1300924" y="156997"/>
                  </a:lnTo>
                  <a:lnTo>
                    <a:pt x="1296847" y="153352"/>
                  </a:lnTo>
                  <a:lnTo>
                    <a:pt x="1186307" y="133883"/>
                  </a:lnTo>
                  <a:lnTo>
                    <a:pt x="1139685" y="31788"/>
                  </a:lnTo>
                  <a:lnTo>
                    <a:pt x="1135113" y="28765"/>
                  </a:lnTo>
                  <a:lnTo>
                    <a:pt x="1124953" y="28460"/>
                  </a:lnTo>
                  <a:lnTo>
                    <a:pt x="1120216" y="31216"/>
                  </a:lnTo>
                  <a:lnTo>
                    <a:pt x="1068781" y="127990"/>
                  </a:lnTo>
                  <a:lnTo>
                    <a:pt x="1064933" y="130619"/>
                  </a:lnTo>
                  <a:lnTo>
                    <a:pt x="956043" y="143116"/>
                  </a:lnTo>
                  <a:lnTo>
                    <a:pt x="951750" y="146519"/>
                  </a:lnTo>
                  <a:lnTo>
                    <a:pt x="948321" y="156095"/>
                  </a:lnTo>
                  <a:lnTo>
                    <a:pt x="949464" y="161455"/>
                  </a:lnTo>
                  <a:lnTo>
                    <a:pt x="1025639" y="240284"/>
                  </a:lnTo>
                  <a:lnTo>
                    <a:pt x="1026934" y="244741"/>
                  </a:lnTo>
                  <a:lnTo>
                    <a:pt x="1005179" y="352171"/>
                  </a:lnTo>
                  <a:lnTo>
                    <a:pt x="1007084" y="357301"/>
                  </a:lnTo>
                  <a:lnTo>
                    <a:pt x="1015136" y="363524"/>
                  </a:lnTo>
                  <a:lnTo>
                    <a:pt x="1020572" y="364083"/>
                  </a:lnTo>
                  <a:lnTo>
                    <a:pt x="1119085" y="316026"/>
                  </a:lnTo>
                  <a:lnTo>
                    <a:pt x="1123734" y="316153"/>
                  </a:lnTo>
                  <a:lnTo>
                    <a:pt x="1219174" y="370039"/>
                  </a:lnTo>
                  <a:lnTo>
                    <a:pt x="1224648" y="369824"/>
                  </a:lnTo>
                  <a:lnTo>
                    <a:pt x="1233055" y="364083"/>
                  </a:lnTo>
                  <a:lnTo>
                    <a:pt x="1235265" y="359079"/>
                  </a:lnTo>
                  <a:lnTo>
                    <a:pt x="1219987" y="250545"/>
                  </a:lnTo>
                  <a:lnTo>
                    <a:pt x="1221549" y="246164"/>
                  </a:lnTo>
                  <a:lnTo>
                    <a:pt x="1298562" y="175475"/>
                  </a:lnTo>
                  <a:lnTo>
                    <a:pt x="1302308" y="172034"/>
                  </a:lnTo>
                  <a:lnTo>
                    <a:pt x="1303769" y="166763"/>
                  </a:lnTo>
                  <a:close/>
                </a:path>
                <a:path w="2252344" h="398779">
                  <a:moveTo>
                    <a:pt x="1777936" y="181000"/>
                  </a:moveTo>
                  <a:lnTo>
                    <a:pt x="1775079" y="171234"/>
                  </a:lnTo>
                  <a:lnTo>
                    <a:pt x="1771002" y="167576"/>
                  </a:lnTo>
                  <a:lnTo>
                    <a:pt x="1660461" y="148107"/>
                  </a:lnTo>
                  <a:lnTo>
                    <a:pt x="1613839" y="46012"/>
                  </a:lnTo>
                  <a:lnTo>
                    <a:pt x="1609280" y="42989"/>
                  </a:lnTo>
                  <a:lnTo>
                    <a:pt x="1599107" y="42684"/>
                  </a:lnTo>
                  <a:lnTo>
                    <a:pt x="1594370" y="45440"/>
                  </a:lnTo>
                  <a:lnTo>
                    <a:pt x="1542935" y="142227"/>
                  </a:lnTo>
                  <a:lnTo>
                    <a:pt x="1539087" y="144856"/>
                  </a:lnTo>
                  <a:lnTo>
                    <a:pt x="1430197" y="157340"/>
                  </a:lnTo>
                  <a:lnTo>
                    <a:pt x="1425905" y="160743"/>
                  </a:lnTo>
                  <a:lnTo>
                    <a:pt x="1422476" y="170332"/>
                  </a:lnTo>
                  <a:lnTo>
                    <a:pt x="1423631" y="175679"/>
                  </a:lnTo>
                  <a:lnTo>
                    <a:pt x="1499793" y="254508"/>
                  </a:lnTo>
                  <a:lnTo>
                    <a:pt x="1501089" y="258978"/>
                  </a:lnTo>
                  <a:lnTo>
                    <a:pt x="1479334" y="366395"/>
                  </a:lnTo>
                  <a:lnTo>
                    <a:pt x="1481239" y="371525"/>
                  </a:lnTo>
                  <a:lnTo>
                    <a:pt x="1489290" y="377761"/>
                  </a:lnTo>
                  <a:lnTo>
                    <a:pt x="1494739" y="378307"/>
                  </a:lnTo>
                  <a:lnTo>
                    <a:pt x="1593240" y="330250"/>
                  </a:lnTo>
                  <a:lnTo>
                    <a:pt x="1597888" y="330390"/>
                  </a:lnTo>
                  <a:lnTo>
                    <a:pt x="1693329" y="384263"/>
                  </a:lnTo>
                  <a:lnTo>
                    <a:pt x="1698802" y="384048"/>
                  </a:lnTo>
                  <a:lnTo>
                    <a:pt x="1707210" y="378307"/>
                  </a:lnTo>
                  <a:lnTo>
                    <a:pt x="1709432" y="373303"/>
                  </a:lnTo>
                  <a:lnTo>
                    <a:pt x="1694141" y="264769"/>
                  </a:lnTo>
                  <a:lnTo>
                    <a:pt x="1695716" y="260388"/>
                  </a:lnTo>
                  <a:lnTo>
                    <a:pt x="1772716" y="189712"/>
                  </a:lnTo>
                  <a:lnTo>
                    <a:pt x="1776463" y="186270"/>
                  </a:lnTo>
                  <a:lnTo>
                    <a:pt x="1777936" y="181000"/>
                  </a:lnTo>
                  <a:close/>
                </a:path>
                <a:path w="2252344" h="398779">
                  <a:moveTo>
                    <a:pt x="2252103" y="195224"/>
                  </a:moveTo>
                  <a:lnTo>
                    <a:pt x="2249246" y="185458"/>
                  </a:lnTo>
                  <a:lnTo>
                    <a:pt x="2245169" y="181800"/>
                  </a:lnTo>
                  <a:lnTo>
                    <a:pt x="2134628" y="162331"/>
                  </a:lnTo>
                  <a:lnTo>
                    <a:pt x="2087994" y="60248"/>
                  </a:lnTo>
                  <a:lnTo>
                    <a:pt x="2083435" y="57226"/>
                  </a:lnTo>
                  <a:lnTo>
                    <a:pt x="2073262" y="56921"/>
                  </a:lnTo>
                  <a:lnTo>
                    <a:pt x="2068537" y="59664"/>
                  </a:lnTo>
                  <a:lnTo>
                    <a:pt x="2017102" y="156451"/>
                  </a:lnTo>
                  <a:lnTo>
                    <a:pt x="2013242" y="159080"/>
                  </a:lnTo>
                  <a:lnTo>
                    <a:pt x="1904365" y="171577"/>
                  </a:lnTo>
                  <a:lnTo>
                    <a:pt x="1900072" y="174980"/>
                  </a:lnTo>
                  <a:lnTo>
                    <a:pt x="1896630" y="184556"/>
                  </a:lnTo>
                  <a:lnTo>
                    <a:pt x="1897786" y="189903"/>
                  </a:lnTo>
                  <a:lnTo>
                    <a:pt x="1973948" y="268732"/>
                  </a:lnTo>
                  <a:lnTo>
                    <a:pt x="1975243" y="273202"/>
                  </a:lnTo>
                  <a:lnTo>
                    <a:pt x="1953488" y="380619"/>
                  </a:lnTo>
                  <a:lnTo>
                    <a:pt x="1955393" y="385749"/>
                  </a:lnTo>
                  <a:lnTo>
                    <a:pt x="1963445" y="391985"/>
                  </a:lnTo>
                  <a:lnTo>
                    <a:pt x="1968893" y="392544"/>
                  </a:lnTo>
                  <a:lnTo>
                    <a:pt x="2067407" y="344474"/>
                  </a:lnTo>
                  <a:lnTo>
                    <a:pt x="2072055" y="344614"/>
                  </a:lnTo>
                  <a:lnTo>
                    <a:pt x="2167496" y="398500"/>
                  </a:lnTo>
                  <a:lnTo>
                    <a:pt x="2172957" y="398272"/>
                  </a:lnTo>
                  <a:lnTo>
                    <a:pt x="2181377" y="392544"/>
                  </a:lnTo>
                  <a:lnTo>
                    <a:pt x="2183587" y="387540"/>
                  </a:lnTo>
                  <a:lnTo>
                    <a:pt x="2168296" y="278993"/>
                  </a:lnTo>
                  <a:lnTo>
                    <a:pt x="2169871" y="274612"/>
                  </a:lnTo>
                  <a:lnTo>
                    <a:pt x="2246871" y="203936"/>
                  </a:lnTo>
                  <a:lnTo>
                    <a:pt x="2250617" y="200494"/>
                  </a:lnTo>
                  <a:lnTo>
                    <a:pt x="2252103" y="195224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3753646" y="6911573"/>
              <a:ext cx="3566795" cy="1396365"/>
            </a:xfrm>
            <a:custGeom>
              <a:avLst/>
              <a:gdLst/>
              <a:ahLst/>
              <a:cxnLst/>
              <a:rect l="l" t="t" r="r" b="b"/>
              <a:pathLst>
                <a:path w="3566794" h="1396365">
                  <a:moveTo>
                    <a:pt x="115514" y="0"/>
                  </a:moveTo>
                  <a:lnTo>
                    <a:pt x="52586" y="32861"/>
                  </a:lnTo>
                  <a:lnTo>
                    <a:pt x="32754" y="69490"/>
                  </a:lnTo>
                  <a:lnTo>
                    <a:pt x="24533" y="114719"/>
                  </a:lnTo>
                  <a:lnTo>
                    <a:pt x="0" y="932296"/>
                  </a:lnTo>
                  <a:lnTo>
                    <a:pt x="5565" y="978184"/>
                  </a:lnTo>
                  <a:lnTo>
                    <a:pt x="23352" y="1016055"/>
                  </a:lnTo>
                  <a:lnTo>
                    <a:pt x="50638" y="1042048"/>
                  </a:lnTo>
                  <a:lnTo>
                    <a:pt x="84698" y="1052303"/>
                  </a:lnTo>
                  <a:lnTo>
                    <a:pt x="209239" y="1056041"/>
                  </a:lnTo>
                  <a:lnTo>
                    <a:pt x="235563" y="1062246"/>
                  </a:lnTo>
                  <a:lnTo>
                    <a:pt x="258671" y="1078268"/>
                  </a:lnTo>
                  <a:lnTo>
                    <a:pt x="277104" y="1102688"/>
                  </a:lnTo>
                  <a:lnTo>
                    <a:pt x="289404" y="1134091"/>
                  </a:lnTo>
                  <a:lnTo>
                    <a:pt x="349382" y="1370062"/>
                  </a:lnTo>
                  <a:lnTo>
                    <a:pt x="360755" y="1389822"/>
                  </a:lnTo>
                  <a:lnTo>
                    <a:pt x="377535" y="1395771"/>
                  </a:lnTo>
                  <a:lnTo>
                    <a:pt x="394115" y="1388186"/>
                  </a:lnTo>
                  <a:lnTo>
                    <a:pt x="404888" y="1367340"/>
                  </a:lnTo>
                  <a:lnTo>
                    <a:pt x="465231" y="1091987"/>
                  </a:lnTo>
                  <a:lnTo>
                    <a:pt x="478129" y="1056414"/>
                  </a:lnTo>
                  <a:lnTo>
                    <a:pt x="498444" y="1028891"/>
                  </a:lnTo>
                  <a:lnTo>
                    <a:pt x="524214" y="1011336"/>
                  </a:lnTo>
                  <a:lnTo>
                    <a:pt x="553480" y="1005665"/>
                  </a:lnTo>
                  <a:lnTo>
                    <a:pt x="3450973" y="1092605"/>
                  </a:lnTo>
                  <a:lnTo>
                    <a:pt x="3485587" y="1084415"/>
                  </a:lnTo>
                  <a:lnTo>
                    <a:pt x="3514381" y="1060106"/>
                  </a:lnTo>
                  <a:lnTo>
                    <a:pt x="3534404" y="1023370"/>
                  </a:lnTo>
                  <a:lnTo>
                    <a:pt x="3542708" y="977896"/>
                  </a:lnTo>
                  <a:lnTo>
                    <a:pt x="3566572" y="182549"/>
                  </a:lnTo>
                  <a:lnTo>
                    <a:pt x="3560941" y="136417"/>
                  </a:lnTo>
                  <a:lnTo>
                    <a:pt x="3542968" y="98431"/>
                  </a:lnTo>
                  <a:lnTo>
                    <a:pt x="3515433" y="72500"/>
                  </a:lnTo>
                  <a:lnTo>
                    <a:pt x="3481119" y="62532"/>
                  </a:lnTo>
                  <a:lnTo>
                    <a:pt x="115514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13860261" y="7039262"/>
              <a:ext cx="711200" cy="729615"/>
            </a:xfrm>
            <a:custGeom>
              <a:avLst/>
              <a:gdLst/>
              <a:ahLst/>
              <a:cxnLst/>
              <a:rect l="l" t="t" r="r" b="b"/>
              <a:pathLst>
                <a:path w="711200" h="729615">
                  <a:moveTo>
                    <a:pt x="366334" y="0"/>
                  </a:moveTo>
                  <a:lnTo>
                    <a:pt x="318010" y="1883"/>
                  </a:lnTo>
                  <a:lnTo>
                    <a:pt x="271466" y="10196"/>
                  </a:lnTo>
                  <a:lnTo>
                    <a:pt x="227140" y="24515"/>
                  </a:lnTo>
                  <a:lnTo>
                    <a:pt x="185467" y="44419"/>
                  </a:lnTo>
                  <a:lnTo>
                    <a:pt x="146884" y="69487"/>
                  </a:lnTo>
                  <a:lnTo>
                    <a:pt x="111829" y="99295"/>
                  </a:lnTo>
                  <a:lnTo>
                    <a:pt x="80736" y="133423"/>
                  </a:lnTo>
                  <a:lnTo>
                    <a:pt x="54043" y="171447"/>
                  </a:lnTo>
                  <a:lnTo>
                    <a:pt x="32187" y="212948"/>
                  </a:lnTo>
                  <a:lnTo>
                    <a:pt x="15603" y="257502"/>
                  </a:lnTo>
                  <a:lnTo>
                    <a:pt x="4728" y="304688"/>
                  </a:lnTo>
                  <a:lnTo>
                    <a:pt x="0" y="354083"/>
                  </a:lnTo>
                  <a:lnTo>
                    <a:pt x="1759" y="403673"/>
                  </a:lnTo>
                  <a:lnTo>
                    <a:pt x="9786" y="451426"/>
                  </a:lnTo>
                  <a:lnTo>
                    <a:pt x="23670" y="496894"/>
                  </a:lnTo>
                  <a:lnTo>
                    <a:pt x="42999" y="539630"/>
                  </a:lnTo>
                  <a:lnTo>
                    <a:pt x="67364" y="579187"/>
                  </a:lnTo>
                  <a:lnTo>
                    <a:pt x="96355" y="615117"/>
                  </a:lnTo>
                  <a:lnTo>
                    <a:pt x="129561" y="646973"/>
                  </a:lnTo>
                  <a:lnTo>
                    <a:pt x="166571" y="674307"/>
                  </a:lnTo>
                  <a:lnTo>
                    <a:pt x="206976" y="696673"/>
                  </a:lnTo>
                  <a:lnTo>
                    <a:pt x="250364" y="713623"/>
                  </a:lnTo>
                  <a:lnTo>
                    <a:pt x="296325" y="724709"/>
                  </a:lnTo>
                  <a:lnTo>
                    <a:pt x="344450" y="729485"/>
                  </a:lnTo>
                  <a:lnTo>
                    <a:pt x="392774" y="727604"/>
                  </a:lnTo>
                  <a:lnTo>
                    <a:pt x="439317" y="719293"/>
                  </a:lnTo>
                  <a:lnTo>
                    <a:pt x="483643" y="704976"/>
                  </a:lnTo>
                  <a:lnTo>
                    <a:pt x="525315" y="685073"/>
                  </a:lnTo>
                  <a:lnTo>
                    <a:pt x="563896" y="660006"/>
                  </a:lnTo>
                  <a:lnTo>
                    <a:pt x="598951" y="630199"/>
                  </a:lnTo>
                  <a:lnTo>
                    <a:pt x="630043" y="596072"/>
                  </a:lnTo>
                  <a:lnTo>
                    <a:pt x="656736" y="558047"/>
                  </a:lnTo>
                  <a:lnTo>
                    <a:pt x="678593" y="516547"/>
                  </a:lnTo>
                  <a:lnTo>
                    <a:pt x="695177" y="471993"/>
                  </a:lnTo>
                  <a:lnTo>
                    <a:pt x="706053" y="424808"/>
                  </a:lnTo>
                  <a:lnTo>
                    <a:pt x="710784" y="375412"/>
                  </a:lnTo>
                  <a:lnTo>
                    <a:pt x="709024" y="325820"/>
                  </a:lnTo>
                  <a:lnTo>
                    <a:pt x="700997" y="278065"/>
                  </a:lnTo>
                  <a:lnTo>
                    <a:pt x="687114" y="232596"/>
                  </a:lnTo>
                  <a:lnTo>
                    <a:pt x="667784" y="189860"/>
                  </a:lnTo>
                  <a:lnTo>
                    <a:pt x="643419" y="150303"/>
                  </a:lnTo>
                  <a:lnTo>
                    <a:pt x="614428" y="114373"/>
                  </a:lnTo>
                  <a:lnTo>
                    <a:pt x="581223" y="82517"/>
                  </a:lnTo>
                  <a:lnTo>
                    <a:pt x="544213" y="55182"/>
                  </a:lnTo>
                  <a:lnTo>
                    <a:pt x="503808" y="32816"/>
                  </a:lnTo>
                  <a:lnTo>
                    <a:pt x="460420" y="15865"/>
                  </a:lnTo>
                  <a:lnTo>
                    <a:pt x="414458" y="4777"/>
                  </a:lnTo>
                  <a:lnTo>
                    <a:pt x="366334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6" name="object 1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4111573" y="7144472"/>
              <a:ext cx="237270" cy="248254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13993344" y="7431106"/>
              <a:ext cx="457200" cy="218440"/>
            </a:xfrm>
            <a:custGeom>
              <a:avLst/>
              <a:gdLst/>
              <a:ahLst/>
              <a:cxnLst/>
              <a:rect l="l" t="t" r="r" b="b"/>
              <a:pathLst>
                <a:path w="457200" h="218440">
                  <a:moveTo>
                    <a:pt x="208241" y="0"/>
                  </a:moveTo>
                  <a:lnTo>
                    <a:pt x="155521" y="4503"/>
                  </a:lnTo>
                  <a:lnTo>
                    <a:pt x="102255" y="13846"/>
                  </a:lnTo>
                  <a:lnTo>
                    <a:pt x="48469" y="27810"/>
                  </a:lnTo>
                  <a:lnTo>
                    <a:pt x="8372" y="59968"/>
                  </a:lnTo>
                  <a:lnTo>
                    <a:pt x="0" y="84432"/>
                  </a:lnTo>
                  <a:lnTo>
                    <a:pt x="1203" y="111085"/>
                  </a:lnTo>
                  <a:lnTo>
                    <a:pt x="11873" y="155680"/>
                  </a:lnTo>
                  <a:lnTo>
                    <a:pt x="35823" y="193760"/>
                  </a:lnTo>
                  <a:lnTo>
                    <a:pt x="77976" y="209459"/>
                  </a:lnTo>
                  <a:lnTo>
                    <a:pt x="367590" y="218149"/>
                  </a:lnTo>
                  <a:lnTo>
                    <a:pt x="389680" y="215275"/>
                  </a:lnTo>
                  <a:lnTo>
                    <a:pt x="425155" y="190978"/>
                  </a:lnTo>
                  <a:lnTo>
                    <a:pt x="452854" y="123168"/>
                  </a:lnTo>
                  <a:lnTo>
                    <a:pt x="456814" y="96416"/>
                  </a:lnTo>
                  <a:lnTo>
                    <a:pt x="450737" y="70944"/>
                  </a:lnTo>
                  <a:lnTo>
                    <a:pt x="413170" y="34773"/>
                  </a:lnTo>
                  <a:lnTo>
                    <a:pt x="362880" y="17722"/>
                  </a:lnTo>
                  <a:lnTo>
                    <a:pt x="311945" y="6389"/>
                  </a:lnTo>
                  <a:lnTo>
                    <a:pt x="260390" y="555"/>
                  </a:lnTo>
                  <a:lnTo>
                    <a:pt x="208241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14761680" y="7449038"/>
              <a:ext cx="2179320" cy="426720"/>
            </a:xfrm>
            <a:custGeom>
              <a:avLst/>
              <a:gdLst/>
              <a:ahLst/>
              <a:cxnLst/>
              <a:rect l="l" t="t" r="r" b="b"/>
              <a:pathLst>
                <a:path w="2179319" h="426720">
                  <a:moveTo>
                    <a:pt x="1219339" y="334403"/>
                  </a:moveTo>
                  <a:lnTo>
                    <a:pt x="1201686" y="287896"/>
                  </a:lnTo>
                  <a:lnTo>
                    <a:pt x="1156322" y="267500"/>
                  </a:lnTo>
                  <a:lnTo>
                    <a:pt x="66916" y="234810"/>
                  </a:lnTo>
                  <a:lnTo>
                    <a:pt x="41478" y="239153"/>
                  </a:lnTo>
                  <a:lnTo>
                    <a:pt x="20408" y="252450"/>
                  </a:lnTo>
                  <a:lnTo>
                    <a:pt x="5867" y="272681"/>
                  </a:lnTo>
                  <a:lnTo>
                    <a:pt x="0" y="297827"/>
                  </a:lnTo>
                  <a:lnTo>
                    <a:pt x="4343" y="323265"/>
                  </a:lnTo>
                  <a:lnTo>
                    <a:pt x="17653" y="344322"/>
                  </a:lnTo>
                  <a:lnTo>
                    <a:pt x="37884" y="358863"/>
                  </a:lnTo>
                  <a:lnTo>
                    <a:pt x="63017" y="364731"/>
                  </a:lnTo>
                  <a:lnTo>
                    <a:pt x="1152410" y="397421"/>
                  </a:lnTo>
                  <a:lnTo>
                    <a:pt x="1177861" y="393077"/>
                  </a:lnTo>
                  <a:lnTo>
                    <a:pt x="1198930" y="379780"/>
                  </a:lnTo>
                  <a:lnTo>
                    <a:pt x="1213472" y="359549"/>
                  </a:lnTo>
                  <a:lnTo>
                    <a:pt x="1219339" y="334403"/>
                  </a:lnTo>
                  <a:close/>
                </a:path>
                <a:path w="2179319" h="426720">
                  <a:moveTo>
                    <a:pt x="2174938" y="131889"/>
                  </a:moveTo>
                  <a:lnTo>
                    <a:pt x="2156206" y="82537"/>
                  </a:lnTo>
                  <a:lnTo>
                    <a:pt x="2108073" y="60883"/>
                  </a:lnTo>
                  <a:lnTo>
                    <a:pt x="79260" y="0"/>
                  </a:lnTo>
                  <a:lnTo>
                    <a:pt x="52273" y="4610"/>
                  </a:lnTo>
                  <a:lnTo>
                    <a:pt x="29908" y="18732"/>
                  </a:lnTo>
                  <a:lnTo>
                    <a:pt x="14478" y="40208"/>
                  </a:lnTo>
                  <a:lnTo>
                    <a:pt x="8255" y="66878"/>
                  </a:lnTo>
                  <a:lnTo>
                    <a:pt x="12865" y="93878"/>
                  </a:lnTo>
                  <a:lnTo>
                    <a:pt x="26987" y="116230"/>
                  </a:lnTo>
                  <a:lnTo>
                    <a:pt x="48450" y="131660"/>
                  </a:lnTo>
                  <a:lnTo>
                    <a:pt x="75133" y="137883"/>
                  </a:lnTo>
                  <a:lnTo>
                    <a:pt x="2103932" y="198755"/>
                  </a:lnTo>
                  <a:lnTo>
                    <a:pt x="2130933" y="194144"/>
                  </a:lnTo>
                  <a:lnTo>
                    <a:pt x="2153285" y="180035"/>
                  </a:lnTo>
                  <a:lnTo>
                    <a:pt x="2168715" y="158559"/>
                  </a:lnTo>
                  <a:lnTo>
                    <a:pt x="2174938" y="131889"/>
                  </a:lnTo>
                  <a:close/>
                </a:path>
                <a:path w="2179319" h="426720">
                  <a:moveTo>
                    <a:pt x="2178812" y="363194"/>
                  </a:moveTo>
                  <a:lnTo>
                    <a:pt x="2161159" y="316687"/>
                  </a:lnTo>
                  <a:lnTo>
                    <a:pt x="2115794" y="296291"/>
                  </a:lnTo>
                  <a:lnTo>
                    <a:pt x="1326235" y="272592"/>
                  </a:lnTo>
                  <a:lnTo>
                    <a:pt x="1300784" y="276936"/>
                  </a:lnTo>
                  <a:lnTo>
                    <a:pt x="1279715" y="290245"/>
                  </a:lnTo>
                  <a:lnTo>
                    <a:pt x="1265174" y="310476"/>
                  </a:lnTo>
                  <a:lnTo>
                    <a:pt x="1259306" y="335610"/>
                  </a:lnTo>
                  <a:lnTo>
                    <a:pt x="1263662" y="361048"/>
                  </a:lnTo>
                  <a:lnTo>
                    <a:pt x="1276959" y="382117"/>
                  </a:lnTo>
                  <a:lnTo>
                    <a:pt x="1297190" y="396659"/>
                  </a:lnTo>
                  <a:lnTo>
                    <a:pt x="1322324" y="402513"/>
                  </a:lnTo>
                  <a:lnTo>
                    <a:pt x="2111895" y="426212"/>
                  </a:lnTo>
                  <a:lnTo>
                    <a:pt x="2137333" y="421868"/>
                  </a:lnTo>
                  <a:lnTo>
                    <a:pt x="2158403" y="408571"/>
                  </a:lnTo>
                  <a:lnTo>
                    <a:pt x="2172944" y="388340"/>
                  </a:lnTo>
                  <a:lnTo>
                    <a:pt x="2178812" y="363194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14716571" y="7030000"/>
              <a:ext cx="355600" cy="341630"/>
            </a:xfrm>
            <a:custGeom>
              <a:avLst/>
              <a:gdLst/>
              <a:ahLst/>
              <a:cxnLst/>
              <a:rect l="l" t="t" r="r" b="b"/>
              <a:pathLst>
                <a:path w="355600" h="341629">
                  <a:moveTo>
                    <a:pt x="176633" y="0"/>
                  </a:moveTo>
                  <a:lnTo>
                    <a:pt x="171900" y="2753"/>
                  </a:lnTo>
                  <a:lnTo>
                    <a:pt x="120467" y="99536"/>
                  </a:lnTo>
                  <a:lnTo>
                    <a:pt x="116614" y="102164"/>
                  </a:lnTo>
                  <a:lnTo>
                    <a:pt x="7727" y="114656"/>
                  </a:lnTo>
                  <a:lnTo>
                    <a:pt x="3434" y="118059"/>
                  </a:lnTo>
                  <a:lnTo>
                    <a:pt x="0" y="127640"/>
                  </a:lnTo>
                  <a:lnTo>
                    <a:pt x="1151" y="132990"/>
                  </a:lnTo>
                  <a:lnTo>
                    <a:pt x="77317" y="211815"/>
                  </a:lnTo>
                  <a:lnTo>
                    <a:pt x="78615" y="216286"/>
                  </a:lnTo>
                  <a:lnTo>
                    <a:pt x="56856" y="323707"/>
                  </a:lnTo>
                  <a:lnTo>
                    <a:pt x="58762" y="328838"/>
                  </a:lnTo>
                  <a:lnTo>
                    <a:pt x="66814" y="335068"/>
                  </a:lnTo>
                  <a:lnTo>
                    <a:pt x="72259" y="335623"/>
                  </a:lnTo>
                  <a:lnTo>
                    <a:pt x="170769" y="287561"/>
                  </a:lnTo>
                  <a:lnTo>
                    <a:pt x="175418" y="287698"/>
                  </a:lnTo>
                  <a:lnTo>
                    <a:pt x="270860" y="341581"/>
                  </a:lnTo>
                  <a:lnTo>
                    <a:pt x="276326" y="341350"/>
                  </a:lnTo>
                  <a:lnTo>
                    <a:pt x="284734" y="335623"/>
                  </a:lnTo>
                  <a:lnTo>
                    <a:pt x="286954" y="330618"/>
                  </a:lnTo>
                  <a:lnTo>
                    <a:pt x="271667" y="222077"/>
                  </a:lnTo>
                  <a:lnTo>
                    <a:pt x="273237" y="217700"/>
                  </a:lnTo>
                  <a:lnTo>
                    <a:pt x="350240" y="147021"/>
                  </a:lnTo>
                  <a:lnTo>
                    <a:pt x="353989" y="143576"/>
                  </a:lnTo>
                  <a:lnTo>
                    <a:pt x="355465" y="138309"/>
                  </a:lnTo>
                  <a:lnTo>
                    <a:pt x="352607" y="128540"/>
                  </a:lnTo>
                  <a:lnTo>
                    <a:pt x="348533" y="124886"/>
                  </a:lnTo>
                  <a:lnTo>
                    <a:pt x="237992" y="105420"/>
                  </a:lnTo>
                  <a:lnTo>
                    <a:pt x="191365" y="3329"/>
                  </a:lnTo>
                  <a:lnTo>
                    <a:pt x="186800" y="303"/>
                  </a:lnTo>
                  <a:lnTo>
                    <a:pt x="176633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15190724" y="7044239"/>
              <a:ext cx="1778000" cy="384810"/>
            </a:xfrm>
            <a:custGeom>
              <a:avLst/>
              <a:gdLst/>
              <a:ahLst/>
              <a:cxnLst/>
              <a:rect l="l" t="t" r="r" b="b"/>
              <a:pathLst>
                <a:path w="1778000" h="384809">
                  <a:moveTo>
                    <a:pt x="355460" y="138303"/>
                  </a:moveTo>
                  <a:lnTo>
                    <a:pt x="352602" y="128536"/>
                  </a:lnTo>
                  <a:lnTo>
                    <a:pt x="348538" y="124879"/>
                  </a:lnTo>
                  <a:lnTo>
                    <a:pt x="237985" y="105422"/>
                  </a:lnTo>
                  <a:lnTo>
                    <a:pt x="191363" y="3327"/>
                  </a:lnTo>
                  <a:lnTo>
                    <a:pt x="186804" y="304"/>
                  </a:lnTo>
                  <a:lnTo>
                    <a:pt x="176631" y="0"/>
                  </a:lnTo>
                  <a:lnTo>
                    <a:pt x="171894" y="2743"/>
                  </a:lnTo>
                  <a:lnTo>
                    <a:pt x="120472" y="99529"/>
                  </a:lnTo>
                  <a:lnTo>
                    <a:pt x="116611" y="102158"/>
                  </a:lnTo>
                  <a:lnTo>
                    <a:pt x="7721" y="114655"/>
                  </a:lnTo>
                  <a:lnTo>
                    <a:pt x="3429" y="118059"/>
                  </a:lnTo>
                  <a:lnTo>
                    <a:pt x="0" y="127635"/>
                  </a:lnTo>
                  <a:lnTo>
                    <a:pt x="1155" y="132981"/>
                  </a:lnTo>
                  <a:lnTo>
                    <a:pt x="77317" y="211810"/>
                  </a:lnTo>
                  <a:lnTo>
                    <a:pt x="78613" y="216281"/>
                  </a:lnTo>
                  <a:lnTo>
                    <a:pt x="56857" y="323697"/>
                  </a:lnTo>
                  <a:lnTo>
                    <a:pt x="58762" y="328828"/>
                  </a:lnTo>
                  <a:lnTo>
                    <a:pt x="66814" y="335064"/>
                  </a:lnTo>
                  <a:lnTo>
                    <a:pt x="72263" y="335622"/>
                  </a:lnTo>
                  <a:lnTo>
                    <a:pt x="170764" y="287553"/>
                  </a:lnTo>
                  <a:lnTo>
                    <a:pt x="175412" y="287693"/>
                  </a:lnTo>
                  <a:lnTo>
                    <a:pt x="270865" y="341579"/>
                  </a:lnTo>
                  <a:lnTo>
                    <a:pt x="276326" y="341350"/>
                  </a:lnTo>
                  <a:lnTo>
                    <a:pt x="284734" y="335622"/>
                  </a:lnTo>
                  <a:lnTo>
                    <a:pt x="286956" y="330619"/>
                  </a:lnTo>
                  <a:lnTo>
                    <a:pt x="271678" y="222072"/>
                  </a:lnTo>
                  <a:lnTo>
                    <a:pt x="273240" y="217690"/>
                  </a:lnTo>
                  <a:lnTo>
                    <a:pt x="350240" y="147015"/>
                  </a:lnTo>
                  <a:lnTo>
                    <a:pt x="353987" y="143573"/>
                  </a:lnTo>
                  <a:lnTo>
                    <a:pt x="355460" y="138303"/>
                  </a:lnTo>
                  <a:close/>
                </a:path>
                <a:path w="1778000" h="384809">
                  <a:moveTo>
                    <a:pt x="829627" y="152539"/>
                  </a:moveTo>
                  <a:lnTo>
                    <a:pt x="826757" y="142760"/>
                  </a:lnTo>
                  <a:lnTo>
                    <a:pt x="822693" y="139115"/>
                  </a:lnTo>
                  <a:lnTo>
                    <a:pt x="712152" y="119646"/>
                  </a:lnTo>
                  <a:lnTo>
                    <a:pt x="665518" y="17551"/>
                  </a:lnTo>
                  <a:lnTo>
                    <a:pt x="660958" y="14528"/>
                  </a:lnTo>
                  <a:lnTo>
                    <a:pt x="650786" y="14224"/>
                  </a:lnTo>
                  <a:lnTo>
                    <a:pt x="646061" y="16979"/>
                  </a:lnTo>
                  <a:lnTo>
                    <a:pt x="594626" y="113753"/>
                  </a:lnTo>
                  <a:lnTo>
                    <a:pt x="590765" y="116382"/>
                  </a:lnTo>
                  <a:lnTo>
                    <a:pt x="481888" y="128879"/>
                  </a:lnTo>
                  <a:lnTo>
                    <a:pt x="477596" y="132283"/>
                  </a:lnTo>
                  <a:lnTo>
                    <a:pt x="474154" y="141859"/>
                  </a:lnTo>
                  <a:lnTo>
                    <a:pt x="475310" y="147218"/>
                  </a:lnTo>
                  <a:lnTo>
                    <a:pt x="551472" y="226034"/>
                  </a:lnTo>
                  <a:lnTo>
                    <a:pt x="552767" y="230505"/>
                  </a:lnTo>
                  <a:lnTo>
                    <a:pt x="531012" y="337934"/>
                  </a:lnTo>
                  <a:lnTo>
                    <a:pt x="532917" y="343065"/>
                  </a:lnTo>
                  <a:lnTo>
                    <a:pt x="540969" y="349288"/>
                  </a:lnTo>
                  <a:lnTo>
                    <a:pt x="546417" y="349846"/>
                  </a:lnTo>
                  <a:lnTo>
                    <a:pt x="644931" y="301790"/>
                  </a:lnTo>
                  <a:lnTo>
                    <a:pt x="649579" y="301917"/>
                  </a:lnTo>
                  <a:lnTo>
                    <a:pt x="745020" y="355803"/>
                  </a:lnTo>
                  <a:lnTo>
                    <a:pt x="750481" y="355574"/>
                  </a:lnTo>
                  <a:lnTo>
                    <a:pt x="758901" y="349846"/>
                  </a:lnTo>
                  <a:lnTo>
                    <a:pt x="761111" y="344843"/>
                  </a:lnTo>
                  <a:lnTo>
                    <a:pt x="745832" y="236308"/>
                  </a:lnTo>
                  <a:lnTo>
                    <a:pt x="747407" y="231927"/>
                  </a:lnTo>
                  <a:lnTo>
                    <a:pt x="824395" y="161239"/>
                  </a:lnTo>
                  <a:lnTo>
                    <a:pt x="828141" y="157797"/>
                  </a:lnTo>
                  <a:lnTo>
                    <a:pt x="829627" y="152539"/>
                  </a:lnTo>
                  <a:close/>
                </a:path>
                <a:path w="1778000" h="384809">
                  <a:moveTo>
                    <a:pt x="1303782" y="166763"/>
                  </a:moveTo>
                  <a:lnTo>
                    <a:pt x="1300924" y="156997"/>
                  </a:lnTo>
                  <a:lnTo>
                    <a:pt x="1296847" y="153339"/>
                  </a:lnTo>
                  <a:lnTo>
                    <a:pt x="1186307" y="133870"/>
                  </a:lnTo>
                  <a:lnTo>
                    <a:pt x="1139685" y="31775"/>
                  </a:lnTo>
                  <a:lnTo>
                    <a:pt x="1135113" y="28752"/>
                  </a:lnTo>
                  <a:lnTo>
                    <a:pt x="1124953" y="28448"/>
                  </a:lnTo>
                  <a:lnTo>
                    <a:pt x="1120216" y="31203"/>
                  </a:lnTo>
                  <a:lnTo>
                    <a:pt x="1068781" y="127990"/>
                  </a:lnTo>
                  <a:lnTo>
                    <a:pt x="1064933" y="130619"/>
                  </a:lnTo>
                  <a:lnTo>
                    <a:pt x="956043" y="143103"/>
                  </a:lnTo>
                  <a:lnTo>
                    <a:pt x="951750" y="146507"/>
                  </a:lnTo>
                  <a:lnTo>
                    <a:pt x="948321" y="156095"/>
                  </a:lnTo>
                  <a:lnTo>
                    <a:pt x="949464" y="161442"/>
                  </a:lnTo>
                  <a:lnTo>
                    <a:pt x="1025626" y="240271"/>
                  </a:lnTo>
                  <a:lnTo>
                    <a:pt x="1026934" y="244741"/>
                  </a:lnTo>
                  <a:lnTo>
                    <a:pt x="1005166" y="352158"/>
                  </a:lnTo>
                  <a:lnTo>
                    <a:pt x="1007071" y="357289"/>
                  </a:lnTo>
                  <a:lnTo>
                    <a:pt x="1015136" y="363524"/>
                  </a:lnTo>
                  <a:lnTo>
                    <a:pt x="1020572" y="364070"/>
                  </a:lnTo>
                  <a:lnTo>
                    <a:pt x="1119085" y="316001"/>
                  </a:lnTo>
                  <a:lnTo>
                    <a:pt x="1123734" y="316153"/>
                  </a:lnTo>
                  <a:lnTo>
                    <a:pt x="1219174" y="370027"/>
                  </a:lnTo>
                  <a:lnTo>
                    <a:pt x="1224648" y="369798"/>
                  </a:lnTo>
                  <a:lnTo>
                    <a:pt x="1233055" y="364070"/>
                  </a:lnTo>
                  <a:lnTo>
                    <a:pt x="1235265" y="359067"/>
                  </a:lnTo>
                  <a:lnTo>
                    <a:pt x="1219987" y="250532"/>
                  </a:lnTo>
                  <a:lnTo>
                    <a:pt x="1221549" y="246151"/>
                  </a:lnTo>
                  <a:lnTo>
                    <a:pt x="1298562" y="175475"/>
                  </a:lnTo>
                  <a:lnTo>
                    <a:pt x="1302308" y="172034"/>
                  </a:lnTo>
                  <a:lnTo>
                    <a:pt x="1303782" y="166763"/>
                  </a:lnTo>
                  <a:close/>
                </a:path>
                <a:path w="1778000" h="384809">
                  <a:moveTo>
                    <a:pt x="1777923" y="180987"/>
                  </a:moveTo>
                  <a:lnTo>
                    <a:pt x="1775079" y="171221"/>
                  </a:lnTo>
                  <a:lnTo>
                    <a:pt x="1771002" y="167563"/>
                  </a:lnTo>
                  <a:lnTo>
                    <a:pt x="1660461" y="148094"/>
                  </a:lnTo>
                  <a:lnTo>
                    <a:pt x="1613839" y="46012"/>
                  </a:lnTo>
                  <a:lnTo>
                    <a:pt x="1609267" y="42976"/>
                  </a:lnTo>
                  <a:lnTo>
                    <a:pt x="1599107" y="42684"/>
                  </a:lnTo>
                  <a:lnTo>
                    <a:pt x="1594370" y="45427"/>
                  </a:lnTo>
                  <a:lnTo>
                    <a:pt x="1542935" y="142214"/>
                  </a:lnTo>
                  <a:lnTo>
                    <a:pt x="1539087" y="144843"/>
                  </a:lnTo>
                  <a:lnTo>
                    <a:pt x="1430197" y="157340"/>
                  </a:lnTo>
                  <a:lnTo>
                    <a:pt x="1425905" y="160743"/>
                  </a:lnTo>
                  <a:lnTo>
                    <a:pt x="1422476" y="170319"/>
                  </a:lnTo>
                  <a:lnTo>
                    <a:pt x="1423619" y="175666"/>
                  </a:lnTo>
                  <a:lnTo>
                    <a:pt x="1499793" y="254495"/>
                  </a:lnTo>
                  <a:lnTo>
                    <a:pt x="1501089" y="258965"/>
                  </a:lnTo>
                  <a:lnTo>
                    <a:pt x="1479334" y="366382"/>
                  </a:lnTo>
                  <a:lnTo>
                    <a:pt x="1481239" y="371513"/>
                  </a:lnTo>
                  <a:lnTo>
                    <a:pt x="1489290" y="377748"/>
                  </a:lnTo>
                  <a:lnTo>
                    <a:pt x="1494726" y="378307"/>
                  </a:lnTo>
                  <a:lnTo>
                    <a:pt x="1593240" y="330238"/>
                  </a:lnTo>
                  <a:lnTo>
                    <a:pt x="1597888" y="330377"/>
                  </a:lnTo>
                  <a:lnTo>
                    <a:pt x="1693329" y="384263"/>
                  </a:lnTo>
                  <a:lnTo>
                    <a:pt x="1698802" y="384035"/>
                  </a:lnTo>
                  <a:lnTo>
                    <a:pt x="1707222" y="378307"/>
                  </a:lnTo>
                  <a:lnTo>
                    <a:pt x="1709432" y="373291"/>
                  </a:lnTo>
                  <a:lnTo>
                    <a:pt x="1694141" y="264769"/>
                  </a:lnTo>
                  <a:lnTo>
                    <a:pt x="1695716" y="260375"/>
                  </a:lnTo>
                  <a:lnTo>
                    <a:pt x="1772716" y="189699"/>
                  </a:lnTo>
                  <a:lnTo>
                    <a:pt x="1776463" y="186258"/>
                  </a:lnTo>
                  <a:lnTo>
                    <a:pt x="1777923" y="180987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15706255" y="7213187"/>
              <a:ext cx="2128520" cy="2844800"/>
            </a:xfrm>
            <a:custGeom>
              <a:avLst/>
              <a:gdLst/>
              <a:ahLst/>
              <a:cxnLst/>
              <a:rect l="l" t="t" r="r" b="b"/>
              <a:pathLst>
                <a:path w="2128519" h="2844800">
                  <a:moveTo>
                    <a:pt x="2128126" y="2844482"/>
                  </a:moveTo>
                  <a:lnTo>
                    <a:pt x="1696326" y="653580"/>
                  </a:lnTo>
                  <a:lnTo>
                    <a:pt x="933221" y="666203"/>
                  </a:lnTo>
                  <a:lnTo>
                    <a:pt x="938136" y="629564"/>
                  </a:lnTo>
                  <a:lnTo>
                    <a:pt x="945616" y="584923"/>
                  </a:lnTo>
                  <a:lnTo>
                    <a:pt x="955179" y="538505"/>
                  </a:lnTo>
                  <a:lnTo>
                    <a:pt x="967079" y="491020"/>
                  </a:lnTo>
                  <a:lnTo>
                    <a:pt x="981570" y="443179"/>
                  </a:lnTo>
                  <a:lnTo>
                    <a:pt x="998905" y="395693"/>
                  </a:lnTo>
                  <a:lnTo>
                    <a:pt x="1019327" y="349262"/>
                  </a:lnTo>
                  <a:lnTo>
                    <a:pt x="1043114" y="304596"/>
                  </a:lnTo>
                  <a:lnTo>
                    <a:pt x="1070495" y="262420"/>
                  </a:lnTo>
                  <a:lnTo>
                    <a:pt x="1101725" y="223418"/>
                  </a:lnTo>
                  <a:lnTo>
                    <a:pt x="1137069" y="188315"/>
                  </a:lnTo>
                  <a:lnTo>
                    <a:pt x="1176769" y="157822"/>
                  </a:lnTo>
                  <a:lnTo>
                    <a:pt x="1221079" y="132651"/>
                  </a:lnTo>
                  <a:lnTo>
                    <a:pt x="1270266" y="113499"/>
                  </a:lnTo>
                  <a:lnTo>
                    <a:pt x="1324571" y="101079"/>
                  </a:lnTo>
                  <a:lnTo>
                    <a:pt x="1381772" y="97548"/>
                  </a:lnTo>
                  <a:lnTo>
                    <a:pt x="1434846" y="105333"/>
                  </a:lnTo>
                  <a:lnTo>
                    <a:pt x="1484172" y="124548"/>
                  </a:lnTo>
                  <a:lnTo>
                    <a:pt x="1530108" y="155295"/>
                  </a:lnTo>
                  <a:lnTo>
                    <a:pt x="1570418" y="194678"/>
                  </a:lnTo>
                  <a:lnTo>
                    <a:pt x="1605915" y="241338"/>
                  </a:lnTo>
                  <a:lnTo>
                    <a:pt x="1636890" y="293801"/>
                  </a:lnTo>
                  <a:lnTo>
                    <a:pt x="1663661" y="350608"/>
                  </a:lnTo>
                  <a:lnTo>
                    <a:pt x="1686534" y="410273"/>
                  </a:lnTo>
                  <a:lnTo>
                    <a:pt x="1705787" y="471335"/>
                  </a:lnTo>
                  <a:lnTo>
                    <a:pt x="1721751" y="532320"/>
                  </a:lnTo>
                  <a:lnTo>
                    <a:pt x="1734705" y="591756"/>
                  </a:lnTo>
                  <a:lnTo>
                    <a:pt x="1744954" y="648169"/>
                  </a:lnTo>
                  <a:lnTo>
                    <a:pt x="1752803" y="700100"/>
                  </a:lnTo>
                  <a:lnTo>
                    <a:pt x="1758556" y="746074"/>
                  </a:lnTo>
                  <a:lnTo>
                    <a:pt x="1762518" y="784606"/>
                  </a:lnTo>
                  <a:lnTo>
                    <a:pt x="1766646" y="840943"/>
                  </a:lnTo>
                  <a:lnTo>
                    <a:pt x="1771205" y="859751"/>
                  </a:lnTo>
                  <a:lnTo>
                    <a:pt x="1782229" y="874839"/>
                  </a:lnTo>
                  <a:lnTo>
                    <a:pt x="1798104" y="884669"/>
                  </a:lnTo>
                  <a:lnTo>
                    <a:pt x="1817243" y="887717"/>
                  </a:lnTo>
                  <a:lnTo>
                    <a:pt x="1836039" y="883158"/>
                  </a:lnTo>
                  <a:lnTo>
                    <a:pt x="1851113" y="872134"/>
                  </a:lnTo>
                  <a:lnTo>
                    <a:pt x="1860943" y="856259"/>
                  </a:lnTo>
                  <a:lnTo>
                    <a:pt x="1864029" y="837158"/>
                  </a:lnTo>
                  <a:lnTo>
                    <a:pt x="1862467" y="809485"/>
                  </a:lnTo>
                  <a:lnTo>
                    <a:pt x="1857070" y="747801"/>
                  </a:lnTo>
                  <a:lnTo>
                    <a:pt x="1852307" y="706729"/>
                  </a:lnTo>
                  <a:lnTo>
                    <a:pt x="1845856" y="660222"/>
                  </a:lnTo>
                  <a:lnTo>
                    <a:pt x="1837448" y="609269"/>
                  </a:lnTo>
                  <a:lnTo>
                    <a:pt x="1826856" y="554913"/>
                  </a:lnTo>
                  <a:lnTo>
                    <a:pt x="1813826" y="498157"/>
                  </a:lnTo>
                  <a:lnTo>
                    <a:pt x="1798116" y="440029"/>
                  </a:lnTo>
                  <a:lnTo>
                    <a:pt x="1779460" y="381546"/>
                  </a:lnTo>
                  <a:lnTo>
                    <a:pt x="1757629" y="323723"/>
                  </a:lnTo>
                  <a:lnTo>
                    <a:pt x="1732381" y="267576"/>
                  </a:lnTo>
                  <a:lnTo>
                    <a:pt x="1703451" y="214122"/>
                  </a:lnTo>
                  <a:lnTo>
                    <a:pt x="1670608" y="164388"/>
                  </a:lnTo>
                  <a:lnTo>
                    <a:pt x="1633601" y="119392"/>
                  </a:lnTo>
                  <a:lnTo>
                    <a:pt x="1592173" y="80149"/>
                  </a:lnTo>
                  <a:lnTo>
                    <a:pt x="1550619" y="50317"/>
                  </a:lnTo>
                  <a:lnTo>
                    <a:pt x="1506753" y="27355"/>
                  </a:lnTo>
                  <a:lnTo>
                    <a:pt x="1460652" y="11303"/>
                  </a:lnTo>
                  <a:lnTo>
                    <a:pt x="1412379" y="2184"/>
                  </a:lnTo>
                  <a:lnTo>
                    <a:pt x="1362024" y="0"/>
                  </a:lnTo>
                  <a:lnTo>
                    <a:pt x="1309662" y="4775"/>
                  </a:lnTo>
                  <a:lnTo>
                    <a:pt x="1251889" y="17119"/>
                  </a:lnTo>
                  <a:lnTo>
                    <a:pt x="1198905" y="35191"/>
                  </a:lnTo>
                  <a:lnTo>
                    <a:pt x="1150480" y="58470"/>
                  </a:lnTo>
                  <a:lnTo>
                    <a:pt x="1106411" y="86423"/>
                  </a:lnTo>
                  <a:lnTo>
                    <a:pt x="1066507" y="118541"/>
                  </a:lnTo>
                  <a:lnTo>
                    <a:pt x="1030554" y="154330"/>
                  </a:lnTo>
                  <a:lnTo>
                    <a:pt x="998359" y="193230"/>
                  </a:lnTo>
                  <a:lnTo>
                    <a:pt x="969695" y="234772"/>
                  </a:lnTo>
                  <a:lnTo>
                    <a:pt x="944372" y="278396"/>
                  </a:lnTo>
                  <a:lnTo>
                    <a:pt x="922172" y="323608"/>
                  </a:lnTo>
                  <a:lnTo>
                    <a:pt x="902906" y="369900"/>
                  </a:lnTo>
                  <a:lnTo>
                    <a:pt x="886358" y="416725"/>
                  </a:lnTo>
                  <a:lnTo>
                    <a:pt x="872337" y="463600"/>
                  </a:lnTo>
                  <a:lnTo>
                    <a:pt x="860615" y="509981"/>
                  </a:lnTo>
                  <a:lnTo>
                    <a:pt x="851001" y="555371"/>
                  </a:lnTo>
                  <a:lnTo>
                    <a:pt x="843292" y="599236"/>
                  </a:lnTo>
                  <a:lnTo>
                    <a:pt x="837272" y="641070"/>
                  </a:lnTo>
                  <a:lnTo>
                    <a:pt x="834174" y="667842"/>
                  </a:lnTo>
                  <a:lnTo>
                    <a:pt x="356628" y="675728"/>
                  </a:lnTo>
                  <a:lnTo>
                    <a:pt x="0" y="2710103"/>
                  </a:lnTo>
                  <a:lnTo>
                    <a:pt x="3657" y="2760980"/>
                  </a:lnTo>
                  <a:lnTo>
                    <a:pt x="27241" y="2803842"/>
                  </a:lnTo>
                  <a:lnTo>
                    <a:pt x="66217" y="2833446"/>
                  </a:lnTo>
                  <a:lnTo>
                    <a:pt x="116001" y="2844482"/>
                  </a:lnTo>
                  <a:lnTo>
                    <a:pt x="2128126" y="2844482"/>
                  </a:lnTo>
                  <a:close/>
                </a:path>
              </a:pathLst>
            </a:custGeom>
            <a:solidFill>
              <a:srgbClr val="FF7500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17402580" y="7866760"/>
              <a:ext cx="771525" cy="2191385"/>
            </a:xfrm>
            <a:custGeom>
              <a:avLst/>
              <a:gdLst/>
              <a:ahLst/>
              <a:cxnLst/>
              <a:rect l="l" t="t" r="r" b="b"/>
              <a:pathLst>
                <a:path w="771525" h="2191384">
                  <a:moveTo>
                    <a:pt x="0" y="0"/>
                  </a:moveTo>
                  <a:lnTo>
                    <a:pt x="431808" y="2190896"/>
                  </a:lnTo>
                  <a:lnTo>
                    <a:pt x="690115" y="2190896"/>
                  </a:lnTo>
                  <a:lnTo>
                    <a:pt x="726337" y="2182576"/>
                  </a:lnTo>
                  <a:lnTo>
                    <a:pt x="754169" y="2160426"/>
                  </a:lnTo>
                  <a:lnTo>
                    <a:pt x="770180" y="2128664"/>
                  </a:lnTo>
                  <a:lnTo>
                    <a:pt x="770939" y="2091506"/>
                  </a:lnTo>
                  <a:lnTo>
                    <a:pt x="260191" y="221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6709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16243661" y="7207634"/>
              <a:ext cx="1038860" cy="888365"/>
            </a:xfrm>
            <a:custGeom>
              <a:avLst/>
              <a:gdLst/>
              <a:ahLst/>
              <a:cxnLst/>
              <a:rect l="l" t="t" r="r" b="b"/>
              <a:pathLst>
                <a:path w="1038859" h="888365">
                  <a:moveTo>
                    <a:pt x="536757" y="0"/>
                  </a:moveTo>
                  <a:lnTo>
                    <a:pt x="484382" y="4781"/>
                  </a:lnTo>
                  <a:lnTo>
                    <a:pt x="426616" y="17132"/>
                  </a:lnTo>
                  <a:lnTo>
                    <a:pt x="373624" y="35202"/>
                  </a:lnTo>
                  <a:lnTo>
                    <a:pt x="325200" y="58474"/>
                  </a:lnTo>
                  <a:lnTo>
                    <a:pt x="281138" y="86431"/>
                  </a:lnTo>
                  <a:lnTo>
                    <a:pt x="241235" y="118557"/>
                  </a:lnTo>
                  <a:lnTo>
                    <a:pt x="205284" y="154334"/>
                  </a:lnTo>
                  <a:lnTo>
                    <a:pt x="173080" y="193246"/>
                  </a:lnTo>
                  <a:lnTo>
                    <a:pt x="144418" y="234776"/>
                  </a:lnTo>
                  <a:lnTo>
                    <a:pt x="119093" y="278407"/>
                  </a:lnTo>
                  <a:lnTo>
                    <a:pt x="96899" y="323622"/>
                  </a:lnTo>
                  <a:lnTo>
                    <a:pt x="77633" y="369905"/>
                  </a:lnTo>
                  <a:lnTo>
                    <a:pt x="61087" y="416739"/>
                  </a:lnTo>
                  <a:lnTo>
                    <a:pt x="47057" y="463607"/>
                  </a:lnTo>
                  <a:lnTo>
                    <a:pt x="35339" y="509992"/>
                  </a:lnTo>
                  <a:lnTo>
                    <a:pt x="25725" y="555378"/>
                  </a:lnTo>
                  <a:lnTo>
                    <a:pt x="18013" y="599247"/>
                  </a:lnTo>
                  <a:lnTo>
                    <a:pt x="11995" y="641082"/>
                  </a:lnTo>
                  <a:lnTo>
                    <a:pt x="7468" y="680368"/>
                  </a:lnTo>
                  <a:lnTo>
                    <a:pt x="2063" y="749222"/>
                  </a:lnTo>
                  <a:lnTo>
                    <a:pt x="155" y="801675"/>
                  </a:lnTo>
                  <a:lnTo>
                    <a:pt x="0" y="820459"/>
                  </a:lnTo>
                  <a:lnTo>
                    <a:pt x="260" y="840557"/>
                  </a:lnTo>
                  <a:lnTo>
                    <a:pt x="4522" y="859072"/>
                  </a:lnTo>
                  <a:lnTo>
                    <a:pt x="15069" y="874068"/>
                  </a:lnTo>
                  <a:lnTo>
                    <a:pt x="30378" y="884114"/>
                  </a:lnTo>
                  <a:lnTo>
                    <a:pt x="48929" y="887781"/>
                  </a:lnTo>
                  <a:lnTo>
                    <a:pt x="49966" y="887781"/>
                  </a:lnTo>
                  <a:lnTo>
                    <a:pt x="94423" y="856623"/>
                  </a:lnTo>
                  <a:lnTo>
                    <a:pt x="97557" y="820335"/>
                  </a:lnTo>
                  <a:lnTo>
                    <a:pt x="97849" y="801262"/>
                  </a:lnTo>
                  <a:lnTo>
                    <a:pt x="100382" y="745723"/>
                  </a:lnTo>
                  <a:lnTo>
                    <a:pt x="107203" y="671723"/>
                  </a:lnTo>
                  <a:lnTo>
                    <a:pt x="112854" y="629573"/>
                  </a:lnTo>
                  <a:lnTo>
                    <a:pt x="120335" y="584936"/>
                  </a:lnTo>
                  <a:lnTo>
                    <a:pt x="129900" y="538522"/>
                  </a:lnTo>
                  <a:lnTo>
                    <a:pt x="141802" y="491039"/>
                  </a:lnTo>
                  <a:lnTo>
                    <a:pt x="156293" y="443197"/>
                  </a:lnTo>
                  <a:lnTo>
                    <a:pt x="173627" y="395705"/>
                  </a:lnTo>
                  <a:lnTo>
                    <a:pt x="194057" y="349273"/>
                  </a:lnTo>
                  <a:lnTo>
                    <a:pt x="217835" y="304610"/>
                  </a:lnTo>
                  <a:lnTo>
                    <a:pt x="245215" y="262426"/>
                  </a:lnTo>
                  <a:lnTo>
                    <a:pt x="276449" y="223429"/>
                  </a:lnTo>
                  <a:lnTo>
                    <a:pt x="311791" y="188330"/>
                  </a:lnTo>
                  <a:lnTo>
                    <a:pt x="351493" y="157837"/>
                  </a:lnTo>
                  <a:lnTo>
                    <a:pt x="395809" y="132660"/>
                  </a:lnTo>
                  <a:lnTo>
                    <a:pt x="444991" y="113509"/>
                  </a:lnTo>
                  <a:lnTo>
                    <a:pt x="499292" y="101092"/>
                  </a:lnTo>
                  <a:lnTo>
                    <a:pt x="556493" y="97560"/>
                  </a:lnTo>
                  <a:lnTo>
                    <a:pt x="609572" y="105348"/>
                  </a:lnTo>
                  <a:lnTo>
                    <a:pt x="658896" y="124559"/>
                  </a:lnTo>
                  <a:lnTo>
                    <a:pt x="704836" y="155300"/>
                  </a:lnTo>
                  <a:lnTo>
                    <a:pt x="745142" y="194686"/>
                  </a:lnTo>
                  <a:lnTo>
                    <a:pt x="780636" y="241348"/>
                  </a:lnTo>
                  <a:lnTo>
                    <a:pt x="811618" y="293815"/>
                  </a:lnTo>
                  <a:lnTo>
                    <a:pt x="838391" y="350618"/>
                  </a:lnTo>
                  <a:lnTo>
                    <a:pt x="861257" y="410284"/>
                  </a:lnTo>
                  <a:lnTo>
                    <a:pt x="880517" y="471344"/>
                  </a:lnTo>
                  <a:lnTo>
                    <a:pt x="896473" y="532328"/>
                  </a:lnTo>
                  <a:lnTo>
                    <a:pt x="909426" y="591764"/>
                  </a:lnTo>
                  <a:lnTo>
                    <a:pt x="919679" y="648181"/>
                  </a:lnTo>
                  <a:lnTo>
                    <a:pt x="927534" y="700110"/>
                  </a:lnTo>
                  <a:lnTo>
                    <a:pt x="933291" y="746080"/>
                  </a:lnTo>
                  <a:lnTo>
                    <a:pt x="937252" y="784620"/>
                  </a:lnTo>
                  <a:lnTo>
                    <a:pt x="941383" y="840955"/>
                  </a:lnTo>
                  <a:lnTo>
                    <a:pt x="945960" y="859804"/>
                  </a:lnTo>
                  <a:lnTo>
                    <a:pt x="957010" y="874952"/>
                  </a:lnTo>
                  <a:lnTo>
                    <a:pt x="972896" y="884797"/>
                  </a:lnTo>
                  <a:lnTo>
                    <a:pt x="991979" y="887739"/>
                  </a:lnTo>
                  <a:lnTo>
                    <a:pt x="1010775" y="883176"/>
                  </a:lnTo>
                  <a:lnTo>
                    <a:pt x="1025843" y="872142"/>
                  </a:lnTo>
                  <a:lnTo>
                    <a:pt x="1035674" y="856263"/>
                  </a:lnTo>
                  <a:lnTo>
                    <a:pt x="1038763" y="837164"/>
                  </a:lnTo>
                  <a:lnTo>
                    <a:pt x="1037196" y="809499"/>
                  </a:lnTo>
                  <a:lnTo>
                    <a:pt x="1031794" y="747804"/>
                  </a:lnTo>
                  <a:lnTo>
                    <a:pt x="1027038" y="706743"/>
                  </a:lnTo>
                  <a:lnTo>
                    <a:pt x="1020584" y="660230"/>
                  </a:lnTo>
                  <a:lnTo>
                    <a:pt x="1012183" y="609285"/>
                  </a:lnTo>
                  <a:lnTo>
                    <a:pt x="1001590" y="554926"/>
                  </a:lnTo>
                  <a:lnTo>
                    <a:pt x="988559" y="498172"/>
                  </a:lnTo>
                  <a:lnTo>
                    <a:pt x="972841" y="440042"/>
                  </a:lnTo>
                  <a:lnTo>
                    <a:pt x="954191" y="381554"/>
                  </a:lnTo>
                  <a:lnTo>
                    <a:pt x="932362" y="323727"/>
                  </a:lnTo>
                  <a:lnTo>
                    <a:pt x="907108" y="267580"/>
                  </a:lnTo>
                  <a:lnTo>
                    <a:pt x="878180" y="214131"/>
                  </a:lnTo>
                  <a:lnTo>
                    <a:pt x="845334" y="164399"/>
                  </a:lnTo>
                  <a:lnTo>
                    <a:pt x="808322" y="119403"/>
                  </a:lnTo>
                  <a:lnTo>
                    <a:pt x="766897" y="80161"/>
                  </a:lnTo>
                  <a:lnTo>
                    <a:pt x="725346" y="50324"/>
                  </a:lnTo>
                  <a:lnTo>
                    <a:pt x="681482" y="27367"/>
                  </a:lnTo>
                  <a:lnTo>
                    <a:pt x="635381" y="11314"/>
                  </a:lnTo>
                  <a:lnTo>
                    <a:pt x="587115" y="2184"/>
                  </a:lnTo>
                  <a:lnTo>
                    <a:pt x="536757" y="0"/>
                  </a:lnTo>
                  <a:close/>
                </a:path>
              </a:pathLst>
            </a:custGeom>
            <a:solidFill>
              <a:srgbClr val="FF7500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17726066" y="8337972"/>
              <a:ext cx="750570" cy="636270"/>
            </a:xfrm>
            <a:custGeom>
              <a:avLst/>
              <a:gdLst/>
              <a:ahLst/>
              <a:cxnLst/>
              <a:rect l="l" t="t" r="r" b="b"/>
              <a:pathLst>
                <a:path w="750569" h="636270">
                  <a:moveTo>
                    <a:pt x="406423" y="0"/>
                  </a:moveTo>
                  <a:lnTo>
                    <a:pt x="351415" y="3227"/>
                  </a:lnTo>
                  <a:lnTo>
                    <a:pt x="307180" y="12999"/>
                  </a:lnTo>
                  <a:lnTo>
                    <a:pt x="265588" y="28166"/>
                  </a:lnTo>
                  <a:lnTo>
                    <a:pt x="226710" y="48653"/>
                  </a:lnTo>
                  <a:lnTo>
                    <a:pt x="190616" y="74387"/>
                  </a:lnTo>
                  <a:lnTo>
                    <a:pt x="157378" y="105294"/>
                  </a:lnTo>
                  <a:lnTo>
                    <a:pt x="127065" y="141298"/>
                  </a:lnTo>
                  <a:lnTo>
                    <a:pt x="99750" y="182326"/>
                  </a:lnTo>
                  <a:lnTo>
                    <a:pt x="75502" y="228304"/>
                  </a:lnTo>
                  <a:lnTo>
                    <a:pt x="54392" y="279156"/>
                  </a:lnTo>
                  <a:lnTo>
                    <a:pt x="36492" y="334809"/>
                  </a:lnTo>
                  <a:lnTo>
                    <a:pt x="19846" y="405095"/>
                  </a:lnTo>
                  <a:lnTo>
                    <a:pt x="9186" y="470553"/>
                  </a:lnTo>
                  <a:lnTo>
                    <a:pt x="3200" y="527866"/>
                  </a:lnTo>
                  <a:lnTo>
                    <a:pt x="576" y="573717"/>
                  </a:lnTo>
                  <a:lnTo>
                    <a:pt x="0" y="604788"/>
                  </a:lnTo>
                  <a:lnTo>
                    <a:pt x="159" y="617764"/>
                  </a:lnTo>
                  <a:lnTo>
                    <a:pt x="1776" y="624794"/>
                  </a:lnTo>
                  <a:lnTo>
                    <a:pt x="5784" y="630490"/>
                  </a:lnTo>
                  <a:lnTo>
                    <a:pt x="11603" y="634307"/>
                  </a:lnTo>
                  <a:lnTo>
                    <a:pt x="18650" y="635700"/>
                  </a:lnTo>
                  <a:lnTo>
                    <a:pt x="26393" y="634014"/>
                  </a:lnTo>
                  <a:lnTo>
                    <a:pt x="32150" y="629865"/>
                  </a:lnTo>
                  <a:lnTo>
                    <a:pt x="35931" y="623860"/>
                  </a:lnTo>
                  <a:lnTo>
                    <a:pt x="37163" y="616612"/>
                  </a:lnTo>
                  <a:lnTo>
                    <a:pt x="37185" y="594984"/>
                  </a:lnTo>
                  <a:lnTo>
                    <a:pt x="37908" y="571138"/>
                  </a:lnTo>
                  <a:lnTo>
                    <a:pt x="42956" y="503392"/>
                  </a:lnTo>
                  <a:lnTo>
                    <a:pt x="48152" y="461893"/>
                  </a:lnTo>
                  <a:lnTo>
                    <a:pt x="55711" y="416912"/>
                  </a:lnTo>
                  <a:lnTo>
                    <a:pt x="66067" y="369649"/>
                  </a:lnTo>
                  <a:lnTo>
                    <a:pt x="79658" y="321307"/>
                  </a:lnTo>
                  <a:lnTo>
                    <a:pt x="96917" y="273085"/>
                  </a:lnTo>
                  <a:lnTo>
                    <a:pt x="118282" y="226186"/>
                  </a:lnTo>
                  <a:lnTo>
                    <a:pt x="144187" y="181810"/>
                  </a:lnTo>
                  <a:lnTo>
                    <a:pt x="175068" y="141159"/>
                  </a:lnTo>
                  <a:lnTo>
                    <a:pt x="211362" y="105434"/>
                  </a:lnTo>
                  <a:lnTo>
                    <a:pt x="253502" y="75835"/>
                  </a:lnTo>
                  <a:lnTo>
                    <a:pt x="301926" y="53565"/>
                  </a:lnTo>
                  <a:lnTo>
                    <a:pt x="357069" y="39823"/>
                  </a:lnTo>
                  <a:lnTo>
                    <a:pt x="404119" y="37038"/>
                  </a:lnTo>
                  <a:lnTo>
                    <a:pt x="448282" y="43653"/>
                  </a:lnTo>
                  <a:lnTo>
                    <a:pt x="489416" y="59625"/>
                  </a:lnTo>
                  <a:lnTo>
                    <a:pt x="527378" y="84911"/>
                  </a:lnTo>
                  <a:lnTo>
                    <a:pt x="566455" y="124503"/>
                  </a:lnTo>
                  <a:lnTo>
                    <a:pt x="599687" y="172351"/>
                  </a:lnTo>
                  <a:lnTo>
                    <a:pt x="627541" y="226241"/>
                  </a:lnTo>
                  <a:lnTo>
                    <a:pt x="650483" y="283960"/>
                  </a:lnTo>
                  <a:lnTo>
                    <a:pt x="668981" y="343293"/>
                  </a:lnTo>
                  <a:lnTo>
                    <a:pt x="683503" y="402028"/>
                  </a:lnTo>
                  <a:lnTo>
                    <a:pt x="694515" y="457951"/>
                  </a:lnTo>
                  <a:lnTo>
                    <a:pt x="702484" y="508848"/>
                  </a:lnTo>
                  <a:lnTo>
                    <a:pt x="707878" y="552506"/>
                  </a:lnTo>
                  <a:lnTo>
                    <a:pt x="712808" y="609251"/>
                  </a:lnTo>
                  <a:lnTo>
                    <a:pt x="713278" y="617910"/>
                  </a:lnTo>
                  <a:lnTo>
                    <a:pt x="714995" y="625032"/>
                  </a:lnTo>
                  <a:lnTo>
                    <a:pt x="719159" y="630727"/>
                  </a:lnTo>
                  <a:lnTo>
                    <a:pt x="725186" y="634458"/>
                  </a:lnTo>
                  <a:lnTo>
                    <a:pt x="732492" y="635690"/>
                  </a:lnTo>
                  <a:lnTo>
                    <a:pt x="739638" y="633955"/>
                  </a:lnTo>
                  <a:lnTo>
                    <a:pt x="745364" y="629762"/>
                  </a:lnTo>
                  <a:lnTo>
                    <a:pt x="749099" y="623729"/>
                  </a:lnTo>
                  <a:lnTo>
                    <a:pt x="750272" y="616476"/>
                  </a:lnTo>
                  <a:lnTo>
                    <a:pt x="749762" y="606209"/>
                  </a:lnTo>
                  <a:lnTo>
                    <a:pt x="745360" y="552288"/>
                  </a:lnTo>
                  <a:lnTo>
                    <a:pt x="740663" y="512030"/>
                  </a:lnTo>
                  <a:lnTo>
                    <a:pt x="733763" y="465171"/>
                  </a:lnTo>
                  <a:lnTo>
                    <a:pt x="724259" y="413407"/>
                  </a:lnTo>
                  <a:lnTo>
                    <a:pt x="711748" y="358438"/>
                  </a:lnTo>
                  <a:lnTo>
                    <a:pt x="695827" y="301959"/>
                  </a:lnTo>
                  <a:lnTo>
                    <a:pt x="676093" y="245670"/>
                  </a:lnTo>
                  <a:lnTo>
                    <a:pt x="652143" y="191268"/>
                  </a:lnTo>
                  <a:lnTo>
                    <a:pt x="623574" y="140449"/>
                  </a:lnTo>
                  <a:lnTo>
                    <a:pt x="589984" y="94913"/>
                  </a:lnTo>
                  <a:lnTo>
                    <a:pt x="550969" y="56357"/>
                  </a:lnTo>
                  <a:lnTo>
                    <a:pt x="506374" y="26613"/>
                  </a:lnTo>
                  <a:lnTo>
                    <a:pt x="458134" y="7811"/>
                  </a:lnTo>
                  <a:lnTo>
                    <a:pt x="406423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17082275" y="8814644"/>
              <a:ext cx="1870075" cy="1242060"/>
            </a:xfrm>
            <a:custGeom>
              <a:avLst/>
              <a:gdLst/>
              <a:ahLst/>
              <a:cxnLst/>
              <a:rect l="l" t="t" r="r" b="b"/>
              <a:pathLst>
                <a:path w="1870075" h="1242059">
                  <a:moveTo>
                    <a:pt x="1869541" y="1166342"/>
                  </a:moveTo>
                  <a:lnTo>
                    <a:pt x="1482534" y="16776"/>
                  </a:lnTo>
                  <a:lnTo>
                    <a:pt x="1285379" y="0"/>
                  </a:lnTo>
                  <a:lnTo>
                    <a:pt x="270230" y="16776"/>
                  </a:lnTo>
                  <a:lnTo>
                    <a:pt x="0" y="1139837"/>
                  </a:lnTo>
                  <a:lnTo>
                    <a:pt x="2768" y="1178382"/>
                  </a:lnTo>
                  <a:lnTo>
                    <a:pt x="20650" y="1210868"/>
                  </a:lnTo>
                  <a:lnTo>
                    <a:pt x="50177" y="1233297"/>
                  </a:lnTo>
                  <a:lnTo>
                    <a:pt x="87909" y="1241653"/>
                  </a:lnTo>
                  <a:lnTo>
                    <a:pt x="1612569" y="1241653"/>
                  </a:lnTo>
                  <a:lnTo>
                    <a:pt x="1808302" y="1241653"/>
                  </a:lnTo>
                  <a:lnTo>
                    <a:pt x="1835746" y="1235354"/>
                  </a:lnTo>
                  <a:lnTo>
                    <a:pt x="1856841" y="1218565"/>
                  </a:lnTo>
                  <a:lnTo>
                    <a:pt x="1868970" y="1194498"/>
                  </a:lnTo>
                  <a:lnTo>
                    <a:pt x="1869541" y="116634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17507932" y="8333783"/>
              <a:ext cx="750570" cy="636270"/>
            </a:xfrm>
            <a:custGeom>
              <a:avLst/>
              <a:gdLst/>
              <a:ahLst/>
              <a:cxnLst/>
              <a:rect l="l" t="t" r="r" b="b"/>
              <a:pathLst>
                <a:path w="750569" h="636270">
                  <a:moveTo>
                    <a:pt x="406421" y="0"/>
                  </a:moveTo>
                  <a:lnTo>
                    <a:pt x="351415" y="3223"/>
                  </a:lnTo>
                  <a:lnTo>
                    <a:pt x="307180" y="12992"/>
                  </a:lnTo>
                  <a:lnTo>
                    <a:pt x="265589" y="28157"/>
                  </a:lnTo>
                  <a:lnTo>
                    <a:pt x="226712" y="48644"/>
                  </a:lnTo>
                  <a:lnTo>
                    <a:pt x="190619" y="74378"/>
                  </a:lnTo>
                  <a:lnTo>
                    <a:pt x="157381" y="105285"/>
                  </a:lnTo>
                  <a:lnTo>
                    <a:pt x="127070" y="141291"/>
                  </a:lnTo>
                  <a:lnTo>
                    <a:pt x="99754" y="182320"/>
                  </a:lnTo>
                  <a:lnTo>
                    <a:pt x="75506" y="228298"/>
                  </a:lnTo>
                  <a:lnTo>
                    <a:pt x="54395" y="279151"/>
                  </a:lnTo>
                  <a:lnTo>
                    <a:pt x="36492" y="334805"/>
                  </a:lnTo>
                  <a:lnTo>
                    <a:pt x="19846" y="405091"/>
                  </a:lnTo>
                  <a:lnTo>
                    <a:pt x="9186" y="470549"/>
                  </a:lnTo>
                  <a:lnTo>
                    <a:pt x="3200" y="527862"/>
                  </a:lnTo>
                  <a:lnTo>
                    <a:pt x="576" y="573712"/>
                  </a:lnTo>
                  <a:lnTo>
                    <a:pt x="0" y="604784"/>
                  </a:lnTo>
                  <a:lnTo>
                    <a:pt x="159" y="617759"/>
                  </a:lnTo>
                  <a:lnTo>
                    <a:pt x="1776" y="624789"/>
                  </a:lnTo>
                  <a:lnTo>
                    <a:pt x="5784" y="630485"/>
                  </a:lnTo>
                  <a:lnTo>
                    <a:pt x="11603" y="634303"/>
                  </a:lnTo>
                  <a:lnTo>
                    <a:pt x="18650" y="635696"/>
                  </a:lnTo>
                  <a:lnTo>
                    <a:pt x="26393" y="634009"/>
                  </a:lnTo>
                  <a:lnTo>
                    <a:pt x="32150" y="629861"/>
                  </a:lnTo>
                  <a:lnTo>
                    <a:pt x="35931" y="623856"/>
                  </a:lnTo>
                  <a:lnTo>
                    <a:pt x="37163" y="616608"/>
                  </a:lnTo>
                  <a:lnTo>
                    <a:pt x="37185" y="594979"/>
                  </a:lnTo>
                  <a:lnTo>
                    <a:pt x="37909" y="571134"/>
                  </a:lnTo>
                  <a:lnTo>
                    <a:pt x="42958" y="503388"/>
                  </a:lnTo>
                  <a:lnTo>
                    <a:pt x="48155" y="461888"/>
                  </a:lnTo>
                  <a:lnTo>
                    <a:pt x="55715" y="416907"/>
                  </a:lnTo>
                  <a:lnTo>
                    <a:pt x="66072" y="369645"/>
                  </a:lnTo>
                  <a:lnTo>
                    <a:pt x="79663" y="321302"/>
                  </a:lnTo>
                  <a:lnTo>
                    <a:pt x="96924" y="273081"/>
                  </a:lnTo>
                  <a:lnTo>
                    <a:pt x="118289" y="226182"/>
                  </a:lnTo>
                  <a:lnTo>
                    <a:pt x="144195" y="181806"/>
                  </a:lnTo>
                  <a:lnTo>
                    <a:pt x="175077" y="141155"/>
                  </a:lnTo>
                  <a:lnTo>
                    <a:pt x="211371" y="105429"/>
                  </a:lnTo>
                  <a:lnTo>
                    <a:pt x="253512" y="75831"/>
                  </a:lnTo>
                  <a:lnTo>
                    <a:pt x="301937" y="53560"/>
                  </a:lnTo>
                  <a:lnTo>
                    <a:pt x="357080" y="39819"/>
                  </a:lnTo>
                  <a:lnTo>
                    <a:pt x="404115" y="37028"/>
                  </a:lnTo>
                  <a:lnTo>
                    <a:pt x="448277" y="43641"/>
                  </a:lnTo>
                  <a:lnTo>
                    <a:pt x="489418" y="59615"/>
                  </a:lnTo>
                  <a:lnTo>
                    <a:pt x="527389" y="84906"/>
                  </a:lnTo>
                  <a:lnTo>
                    <a:pt x="566464" y="124499"/>
                  </a:lnTo>
                  <a:lnTo>
                    <a:pt x="599694" y="172347"/>
                  </a:lnTo>
                  <a:lnTo>
                    <a:pt x="627547" y="226237"/>
                  </a:lnTo>
                  <a:lnTo>
                    <a:pt x="650489" y="283955"/>
                  </a:lnTo>
                  <a:lnTo>
                    <a:pt x="668987" y="343289"/>
                  </a:lnTo>
                  <a:lnTo>
                    <a:pt x="683509" y="402024"/>
                  </a:lnTo>
                  <a:lnTo>
                    <a:pt x="694522" y="457947"/>
                  </a:lnTo>
                  <a:lnTo>
                    <a:pt x="702492" y="508844"/>
                  </a:lnTo>
                  <a:lnTo>
                    <a:pt x="707887" y="552502"/>
                  </a:lnTo>
                  <a:lnTo>
                    <a:pt x="712818" y="609247"/>
                  </a:lnTo>
                  <a:lnTo>
                    <a:pt x="713289" y="617906"/>
                  </a:lnTo>
                  <a:lnTo>
                    <a:pt x="715044" y="625037"/>
                  </a:lnTo>
                  <a:lnTo>
                    <a:pt x="719271" y="630738"/>
                  </a:lnTo>
                  <a:lnTo>
                    <a:pt x="725311" y="634468"/>
                  </a:lnTo>
                  <a:lnTo>
                    <a:pt x="732503" y="635685"/>
                  </a:lnTo>
                  <a:lnTo>
                    <a:pt x="739648" y="633951"/>
                  </a:lnTo>
                  <a:lnTo>
                    <a:pt x="745374" y="629758"/>
                  </a:lnTo>
                  <a:lnTo>
                    <a:pt x="749109" y="623725"/>
                  </a:lnTo>
                  <a:lnTo>
                    <a:pt x="750282" y="616471"/>
                  </a:lnTo>
                  <a:lnTo>
                    <a:pt x="749770" y="606204"/>
                  </a:lnTo>
                  <a:lnTo>
                    <a:pt x="745365" y="552284"/>
                  </a:lnTo>
                  <a:lnTo>
                    <a:pt x="740666" y="512026"/>
                  </a:lnTo>
                  <a:lnTo>
                    <a:pt x="733766" y="465166"/>
                  </a:lnTo>
                  <a:lnTo>
                    <a:pt x="724261" y="413403"/>
                  </a:lnTo>
                  <a:lnTo>
                    <a:pt x="711749" y="358433"/>
                  </a:lnTo>
                  <a:lnTo>
                    <a:pt x="695828" y="301955"/>
                  </a:lnTo>
                  <a:lnTo>
                    <a:pt x="676093" y="245666"/>
                  </a:lnTo>
                  <a:lnTo>
                    <a:pt x="652143" y="191263"/>
                  </a:lnTo>
                  <a:lnTo>
                    <a:pt x="623574" y="140445"/>
                  </a:lnTo>
                  <a:lnTo>
                    <a:pt x="589984" y="94909"/>
                  </a:lnTo>
                  <a:lnTo>
                    <a:pt x="550969" y="56352"/>
                  </a:lnTo>
                  <a:lnTo>
                    <a:pt x="506370" y="26610"/>
                  </a:lnTo>
                  <a:lnTo>
                    <a:pt x="458130" y="7811"/>
                  </a:lnTo>
                  <a:lnTo>
                    <a:pt x="406421" y="0"/>
                  </a:lnTo>
                  <a:close/>
                </a:path>
              </a:pathLst>
            </a:custGeom>
            <a:solidFill>
              <a:srgbClr val="DADADA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12439348" y="9792348"/>
              <a:ext cx="526415" cy="250190"/>
            </a:xfrm>
            <a:custGeom>
              <a:avLst/>
              <a:gdLst/>
              <a:ahLst/>
              <a:cxnLst/>
              <a:rect l="l" t="t" r="r" b="b"/>
              <a:pathLst>
                <a:path w="526415" h="250190">
                  <a:moveTo>
                    <a:pt x="23025" y="0"/>
                  </a:moveTo>
                  <a:lnTo>
                    <a:pt x="13978" y="51917"/>
                  </a:lnTo>
                  <a:lnTo>
                    <a:pt x="8563" y="87352"/>
                  </a:lnTo>
                  <a:lnTo>
                    <a:pt x="4624" y="122619"/>
                  </a:lnTo>
                  <a:lnTo>
                    <a:pt x="0" y="174036"/>
                  </a:lnTo>
                  <a:lnTo>
                    <a:pt x="2894" y="198212"/>
                  </a:lnTo>
                  <a:lnTo>
                    <a:pt x="33416" y="232732"/>
                  </a:lnTo>
                  <a:lnTo>
                    <a:pt x="150208" y="242348"/>
                  </a:lnTo>
                  <a:lnTo>
                    <a:pt x="263204" y="246195"/>
                  </a:lnTo>
                  <a:lnTo>
                    <a:pt x="321191" y="247816"/>
                  </a:lnTo>
                  <a:lnTo>
                    <a:pt x="376995" y="249040"/>
                  </a:lnTo>
                  <a:lnTo>
                    <a:pt x="428233" y="249720"/>
                  </a:lnTo>
                  <a:lnTo>
                    <a:pt x="472522" y="249709"/>
                  </a:lnTo>
                  <a:lnTo>
                    <a:pt x="507481" y="248861"/>
                  </a:lnTo>
                  <a:lnTo>
                    <a:pt x="516452" y="246194"/>
                  </a:lnTo>
                  <a:lnTo>
                    <a:pt x="522853" y="239982"/>
                  </a:lnTo>
                  <a:lnTo>
                    <a:pt x="525837" y="231562"/>
                  </a:lnTo>
                  <a:lnTo>
                    <a:pt x="524559" y="222275"/>
                  </a:lnTo>
                  <a:lnTo>
                    <a:pt x="94960" y="11633"/>
                  </a:lnTo>
                  <a:lnTo>
                    <a:pt x="23025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8" name="object 2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2449714" y="9724803"/>
              <a:ext cx="132509" cy="145165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12136151" y="7774087"/>
              <a:ext cx="437515" cy="2009775"/>
            </a:xfrm>
            <a:custGeom>
              <a:avLst/>
              <a:gdLst/>
              <a:ahLst/>
              <a:cxnLst/>
              <a:rect l="l" t="t" r="r" b="b"/>
              <a:pathLst>
                <a:path w="437515" h="2009775">
                  <a:moveTo>
                    <a:pt x="322892" y="62"/>
                  </a:moveTo>
                  <a:lnTo>
                    <a:pt x="28755" y="0"/>
                  </a:lnTo>
                  <a:lnTo>
                    <a:pt x="12033" y="459221"/>
                  </a:lnTo>
                  <a:lnTo>
                    <a:pt x="1337" y="193283"/>
                  </a:lnTo>
                  <a:lnTo>
                    <a:pt x="12033" y="484519"/>
                  </a:lnTo>
                  <a:lnTo>
                    <a:pt x="15139" y="551085"/>
                  </a:lnTo>
                  <a:lnTo>
                    <a:pt x="19308" y="617727"/>
                  </a:lnTo>
                  <a:lnTo>
                    <a:pt x="24466" y="684316"/>
                  </a:lnTo>
                  <a:lnTo>
                    <a:pt x="30541" y="750721"/>
                  </a:lnTo>
                  <a:lnTo>
                    <a:pt x="37461" y="816810"/>
                  </a:lnTo>
                  <a:lnTo>
                    <a:pt x="45155" y="882453"/>
                  </a:lnTo>
                  <a:lnTo>
                    <a:pt x="53549" y="947519"/>
                  </a:lnTo>
                  <a:lnTo>
                    <a:pt x="62572" y="1011879"/>
                  </a:lnTo>
                  <a:lnTo>
                    <a:pt x="72151" y="1075400"/>
                  </a:lnTo>
                  <a:lnTo>
                    <a:pt x="82214" y="1137952"/>
                  </a:lnTo>
                  <a:lnTo>
                    <a:pt x="92689" y="1199404"/>
                  </a:lnTo>
                  <a:lnTo>
                    <a:pt x="103504" y="1259627"/>
                  </a:lnTo>
                  <a:lnTo>
                    <a:pt x="114587" y="1318488"/>
                  </a:lnTo>
                  <a:lnTo>
                    <a:pt x="125864" y="1375858"/>
                  </a:lnTo>
                  <a:lnTo>
                    <a:pt x="137266" y="1431605"/>
                  </a:lnTo>
                  <a:lnTo>
                    <a:pt x="148718" y="1485599"/>
                  </a:lnTo>
                  <a:lnTo>
                    <a:pt x="160149" y="1537710"/>
                  </a:lnTo>
                  <a:lnTo>
                    <a:pt x="171486" y="1587806"/>
                  </a:lnTo>
                  <a:lnTo>
                    <a:pt x="182658" y="1635756"/>
                  </a:lnTo>
                  <a:lnTo>
                    <a:pt x="193592" y="1681431"/>
                  </a:lnTo>
                  <a:lnTo>
                    <a:pt x="204216" y="1724699"/>
                  </a:lnTo>
                  <a:lnTo>
                    <a:pt x="214458" y="1765430"/>
                  </a:lnTo>
                  <a:lnTo>
                    <a:pt x="224246" y="1803492"/>
                  </a:lnTo>
                  <a:lnTo>
                    <a:pt x="242169" y="1871090"/>
                  </a:lnTo>
                  <a:lnTo>
                    <a:pt x="257409" y="1926447"/>
                  </a:lnTo>
                  <a:lnTo>
                    <a:pt x="273972" y="1984243"/>
                  </a:lnTo>
                  <a:lnTo>
                    <a:pt x="308694" y="2009373"/>
                  </a:lnTo>
                  <a:lnTo>
                    <a:pt x="345498" y="2006203"/>
                  </a:lnTo>
                  <a:lnTo>
                    <a:pt x="404827" y="1992952"/>
                  </a:lnTo>
                  <a:lnTo>
                    <a:pt x="437351" y="1969372"/>
                  </a:lnTo>
                  <a:lnTo>
                    <a:pt x="436920" y="1962086"/>
                  </a:lnTo>
                  <a:lnTo>
                    <a:pt x="426260" y="1914612"/>
                  </a:lnTo>
                  <a:lnTo>
                    <a:pt x="416237" y="1864437"/>
                  </a:lnTo>
                  <a:lnTo>
                    <a:pt x="406832" y="1811767"/>
                  </a:lnTo>
                  <a:lnTo>
                    <a:pt x="398028" y="1756809"/>
                  </a:lnTo>
                  <a:lnTo>
                    <a:pt x="389804" y="1699771"/>
                  </a:lnTo>
                  <a:lnTo>
                    <a:pt x="382143" y="1640859"/>
                  </a:lnTo>
                  <a:lnTo>
                    <a:pt x="375025" y="1580280"/>
                  </a:lnTo>
                  <a:lnTo>
                    <a:pt x="368433" y="1518241"/>
                  </a:lnTo>
                  <a:lnTo>
                    <a:pt x="362348" y="1454950"/>
                  </a:lnTo>
                  <a:lnTo>
                    <a:pt x="356750" y="1390612"/>
                  </a:lnTo>
                  <a:lnTo>
                    <a:pt x="351622" y="1325436"/>
                  </a:lnTo>
                  <a:lnTo>
                    <a:pt x="346944" y="1259627"/>
                  </a:lnTo>
                  <a:lnTo>
                    <a:pt x="342698" y="1193393"/>
                  </a:lnTo>
                  <a:lnTo>
                    <a:pt x="338866" y="1126942"/>
                  </a:lnTo>
                  <a:lnTo>
                    <a:pt x="335429" y="1060479"/>
                  </a:lnTo>
                  <a:lnTo>
                    <a:pt x="332367" y="994211"/>
                  </a:lnTo>
                  <a:lnTo>
                    <a:pt x="329663" y="928347"/>
                  </a:lnTo>
                  <a:lnTo>
                    <a:pt x="327298" y="863091"/>
                  </a:lnTo>
                  <a:lnTo>
                    <a:pt x="325253" y="798653"/>
                  </a:lnTo>
                  <a:lnTo>
                    <a:pt x="323510" y="735238"/>
                  </a:lnTo>
                  <a:lnTo>
                    <a:pt x="322049" y="673054"/>
                  </a:lnTo>
                  <a:lnTo>
                    <a:pt x="320853" y="612307"/>
                  </a:lnTo>
                  <a:lnTo>
                    <a:pt x="319179" y="495952"/>
                  </a:lnTo>
                  <a:lnTo>
                    <a:pt x="318338" y="387831"/>
                  </a:lnTo>
                  <a:lnTo>
                    <a:pt x="318182" y="289599"/>
                  </a:lnTo>
                  <a:lnTo>
                    <a:pt x="318561" y="202911"/>
                  </a:lnTo>
                  <a:lnTo>
                    <a:pt x="319326" y="129422"/>
                  </a:lnTo>
                  <a:lnTo>
                    <a:pt x="320328" y="70789"/>
                  </a:lnTo>
                  <a:lnTo>
                    <a:pt x="321418" y="28666"/>
                  </a:lnTo>
                  <a:lnTo>
                    <a:pt x="322447" y="4710"/>
                  </a:lnTo>
                  <a:lnTo>
                    <a:pt x="322892" y="62"/>
                  </a:lnTo>
                  <a:close/>
                </a:path>
              </a:pathLst>
            </a:custGeom>
            <a:solidFill>
              <a:srgbClr val="1A8439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30" name="object 3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1945349" y="9697269"/>
              <a:ext cx="211574" cy="354009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11848845" y="7741201"/>
              <a:ext cx="622300" cy="2046605"/>
            </a:xfrm>
            <a:custGeom>
              <a:avLst/>
              <a:gdLst/>
              <a:ahLst/>
              <a:cxnLst/>
              <a:rect l="l" t="t" r="r" b="b"/>
              <a:pathLst>
                <a:path w="622300" h="2046604">
                  <a:moveTo>
                    <a:pt x="622008" y="0"/>
                  </a:moveTo>
                  <a:lnTo>
                    <a:pt x="44957" y="73945"/>
                  </a:lnTo>
                  <a:lnTo>
                    <a:pt x="36477" y="128803"/>
                  </a:lnTo>
                  <a:lnTo>
                    <a:pt x="28983" y="184855"/>
                  </a:lnTo>
                  <a:lnTo>
                    <a:pt x="22439" y="241981"/>
                  </a:lnTo>
                  <a:lnTo>
                    <a:pt x="16809" y="300065"/>
                  </a:lnTo>
                  <a:lnTo>
                    <a:pt x="12057" y="358989"/>
                  </a:lnTo>
                  <a:lnTo>
                    <a:pt x="8149" y="418633"/>
                  </a:lnTo>
                  <a:lnTo>
                    <a:pt x="5048" y="478881"/>
                  </a:lnTo>
                  <a:lnTo>
                    <a:pt x="2718" y="539614"/>
                  </a:lnTo>
                  <a:lnTo>
                    <a:pt x="1124" y="600714"/>
                  </a:lnTo>
                  <a:lnTo>
                    <a:pt x="229" y="662063"/>
                  </a:lnTo>
                  <a:lnTo>
                    <a:pt x="0" y="723544"/>
                  </a:lnTo>
                  <a:lnTo>
                    <a:pt x="398" y="785038"/>
                  </a:lnTo>
                  <a:lnTo>
                    <a:pt x="1390" y="846427"/>
                  </a:lnTo>
                  <a:lnTo>
                    <a:pt x="2938" y="907593"/>
                  </a:lnTo>
                  <a:lnTo>
                    <a:pt x="5008" y="968418"/>
                  </a:lnTo>
                  <a:lnTo>
                    <a:pt x="7564" y="1028785"/>
                  </a:lnTo>
                  <a:lnTo>
                    <a:pt x="10570" y="1088574"/>
                  </a:lnTo>
                  <a:lnTo>
                    <a:pt x="13989" y="1147669"/>
                  </a:lnTo>
                  <a:lnTo>
                    <a:pt x="17788" y="1205951"/>
                  </a:lnTo>
                  <a:lnTo>
                    <a:pt x="21929" y="1263302"/>
                  </a:lnTo>
                  <a:lnTo>
                    <a:pt x="26377" y="1319604"/>
                  </a:lnTo>
                  <a:lnTo>
                    <a:pt x="31097" y="1374739"/>
                  </a:lnTo>
                  <a:lnTo>
                    <a:pt x="36052" y="1428589"/>
                  </a:lnTo>
                  <a:lnTo>
                    <a:pt x="41207" y="1481037"/>
                  </a:lnTo>
                  <a:lnTo>
                    <a:pt x="46526" y="1531963"/>
                  </a:lnTo>
                  <a:lnTo>
                    <a:pt x="51974" y="1581251"/>
                  </a:lnTo>
                  <a:lnTo>
                    <a:pt x="57515" y="1628781"/>
                  </a:lnTo>
                  <a:lnTo>
                    <a:pt x="63112" y="1674437"/>
                  </a:lnTo>
                  <a:lnTo>
                    <a:pt x="68731" y="1718100"/>
                  </a:lnTo>
                  <a:lnTo>
                    <a:pt x="74335" y="1759651"/>
                  </a:lnTo>
                  <a:lnTo>
                    <a:pt x="79890" y="1798974"/>
                  </a:lnTo>
                  <a:lnTo>
                    <a:pt x="90705" y="1870461"/>
                  </a:lnTo>
                  <a:lnTo>
                    <a:pt x="100891" y="1931615"/>
                  </a:lnTo>
                  <a:lnTo>
                    <a:pt x="110162" y="1981494"/>
                  </a:lnTo>
                  <a:lnTo>
                    <a:pt x="118232" y="2019153"/>
                  </a:lnTo>
                  <a:lnTo>
                    <a:pt x="162212" y="2045540"/>
                  </a:lnTo>
                  <a:lnTo>
                    <a:pt x="184472" y="2046484"/>
                  </a:lnTo>
                  <a:lnTo>
                    <a:pt x="209233" y="2044872"/>
                  </a:lnTo>
                  <a:lnTo>
                    <a:pt x="249887" y="2029554"/>
                  </a:lnTo>
                  <a:lnTo>
                    <a:pt x="257497" y="1942792"/>
                  </a:lnTo>
                  <a:lnTo>
                    <a:pt x="260448" y="1692128"/>
                  </a:lnTo>
                  <a:lnTo>
                    <a:pt x="262241" y="1584390"/>
                  </a:lnTo>
                  <a:lnTo>
                    <a:pt x="264811" y="1468461"/>
                  </a:lnTo>
                  <a:lnTo>
                    <a:pt x="266457" y="1408156"/>
                  </a:lnTo>
                  <a:lnTo>
                    <a:pt x="268381" y="1346682"/>
                  </a:lnTo>
                  <a:lnTo>
                    <a:pt x="270610" y="1284331"/>
                  </a:lnTo>
                  <a:lnTo>
                    <a:pt x="273173" y="1221396"/>
                  </a:lnTo>
                  <a:lnTo>
                    <a:pt x="276098" y="1158169"/>
                  </a:lnTo>
                  <a:lnTo>
                    <a:pt x="279411" y="1094942"/>
                  </a:lnTo>
                  <a:lnTo>
                    <a:pt x="283142" y="1032009"/>
                  </a:lnTo>
                  <a:lnTo>
                    <a:pt x="287318" y="969662"/>
                  </a:lnTo>
                  <a:lnTo>
                    <a:pt x="291967" y="908194"/>
                  </a:lnTo>
                  <a:lnTo>
                    <a:pt x="297117" y="847897"/>
                  </a:lnTo>
                  <a:lnTo>
                    <a:pt x="302796" y="789063"/>
                  </a:lnTo>
                  <a:lnTo>
                    <a:pt x="309031" y="731987"/>
                  </a:lnTo>
                  <a:lnTo>
                    <a:pt x="315850" y="676960"/>
                  </a:lnTo>
                  <a:lnTo>
                    <a:pt x="323282" y="624274"/>
                  </a:lnTo>
                  <a:lnTo>
                    <a:pt x="331354" y="574223"/>
                  </a:lnTo>
                  <a:lnTo>
                    <a:pt x="340095" y="527099"/>
                  </a:lnTo>
                  <a:lnTo>
                    <a:pt x="349531" y="483195"/>
                  </a:lnTo>
                  <a:lnTo>
                    <a:pt x="359691" y="442803"/>
                  </a:lnTo>
                  <a:lnTo>
                    <a:pt x="382717" y="402974"/>
                  </a:lnTo>
                  <a:lnTo>
                    <a:pt x="605820" y="242736"/>
                  </a:lnTo>
                  <a:lnTo>
                    <a:pt x="622008" y="0"/>
                  </a:lnTo>
                  <a:close/>
                </a:path>
              </a:pathLst>
            </a:custGeom>
            <a:solidFill>
              <a:srgbClr val="1A8439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11853563" y="6422309"/>
              <a:ext cx="1290320" cy="1483360"/>
            </a:xfrm>
            <a:custGeom>
              <a:avLst/>
              <a:gdLst/>
              <a:ahLst/>
              <a:cxnLst/>
              <a:rect l="l" t="t" r="r" b="b"/>
              <a:pathLst>
                <a:path w="1290319" h="1483359">
                  <a:moveTo>
                    <a:pt x="1141424" y="0"/>
                  </a:moveTo>
                  <a:lnTo>
                    <a:pt x="1088351" y="15369"/>
                  </a:lnTo>
                  <a:lnTo>
                    <a:pt x="1035426" y="28470"/>
                  </a:lnTo>
                  <a:lnTo>
                    <a:pt x="982976" y="39223"/>
                  </a:lnTo>
                  <a:lnTo>
                    <a:pt x="931329" y="47552"/>
                  </a:lnTo>
                  <a:lnTo>
                    <a:pt x="880813" y="53379"/>
                  </a:lnTo>
                  <a:lnTo>
                    <a:pt x="831755" y="56625"/>
                  </a:lnTo>
                  <a:lnTo>
                    <a:pt x="784482" y="57212"/>
                  </a:lnTo>
                  <a:lnTo>
                    <a:pt x="521781" y="69134"/>
                  </a:lnTo>
                  <a:lnTo>
                    <a:pt x="285110" y="100996"/>
                  </a:lnTo>
                  <a:lnTo>
                    <a:pt x="114067" y="133943"/>
                  </a:lnTo>
                  <a:lnTo>
                    <a:pt x="48253" y="149115"/>
                  </a:lnTo>
                  <a:lnTo>
                    <a:pt x="1382" y="610789"/>
                  </a:lnTo>
                  <a:lnTo>
                    <a:pt x="0" y="1032904"/>
                  </a:lnTo>
                  <a:lnTo>
                    <a:pt x="18181" y="1340871"/>
                  </a:lnTo>
                  <a:lnTo>
                    <a:pt x="30003" y="1460102"/>
                  </a:lnTo>
                  <a:lnTo>
                    <a:pt x="234424" y="1483290"/>
                  </a:lnTo>
                  <a:lnTo>
                    <a:pt x="419950" y="1465026"/>
                  </a:lnTo>
                  <a:lnTo>
                    <a:pt x="554668" y="1433438"/>
                  </a:lnTo>
                  <a:lnTo>
                    <a:pt x="606666" y="1416658"/>
                  </a:lnTo>
                  <a:lnTo>
                    <a:pt x="665536" y="1157650"/>
                  </a:lnTo>
                  <a:lnTo>
                    <a:pt x="751142" y="835935"/>
                  </a:lnTo>
                  <a:lnTo>
                    <a:pt x="828303" y="561931"/>
                  </a:lnTo>
                  <a:lnTo>
                    <a:pt x="861841" y="446059"/>
                  </a:lnTo>
                  <a:lnTo>
                    <a:pt x="917739" y="437960"/>
                  </a:lnTo>
                  <a:lnTo>
                    <a:pt x="971448" y="427879"/>
                  </a:lnTo>
                  <a:lnTo>
                    <a:pt x="1023012" y="415916"/>
                  </a:lnTo>
                  <a:lnTo>
                    <a:pt x="1072474" y="402172"/>
                  </a:lnTo>
                  <a:lnTo>
                    <a:pt x="1119876" y="386749"/>
                  </a:lnTo>
                  <a:lnTo>
                    <a:pt x="1165263" y="369745"/>
                  </a:lnTo>
                  <a:lnTo>
                    <a:pt x="1208678" y="351262"/>
                  </a:lnTo>
                  <a:lnTo>
                    <a:pt x="1250164" y="331401"/>
                  </a:lnTo>
                  <a:lnTo>
                    <a:pt x="1289765" y="310262"/>
                  </a:lnTo>
                  <a:lnTo>
                    <a:pt x="1254633" y="264824"/>
                  </a:lnTo>
                  <a:lnTo>
                    <a:pt x="1224823" y="217387"/>
                  </a:lnTo>
                  <a:lnTo>
                    <a:pt x="1199929" y="169372"/>
                  </a:lnTo>
                  <a:lnTo>
                    <a:pt x="1179548" y="122204"/>
                  </a:lnTo>
                  <a:lnTo>
                    <a:pt x="1163274" y="77304"/>
                  </a:lnTo>
                  <a:lnTo>
                    <a:pt x="1150701" y="36095"/>
                  </a:lnTo>
                  <a:lnTo>
                    <a:pt x="1141424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12994983" y="5600655"/>
              <a:ext cx="825500" cy="1132205"/>
            </a:xfrm>
            <a:custGeom>
              <a:avLst/>
              <a:gdLst/>
              <a:ahLst/>
              <a:cxnLst/>
              <a:rect l="l" t="t" r="r" b="b"/>
              <a:pathLst>
                <a:path w="825500" h="1132204">
                  <a:moveTo>
                    <a:pt x="825436" y="31508"/>
                  </a:moveTo>
                  <a:lnTo>
                    <a:pt x="825119" y="16878"/>
                  </a:lnTo>
                  <a:lnTo>
                    <a:pt x="814616" y="0"/>
                  </a:lnTo>
                  <a:lnTo>
                    <a:pt x="791883" y="20574"/>
                  </a:lnTo>
                  <a:lnTo>
                    <a:pt x="736523" y="73126"/>
                  </a:lnTo>
                  <a:lnTo>
                    <a:pt x="667791" y="143929"/>
                  </a:lnTo>
                  <a:lnTo>
                    <a:pt x="604926" y="219214"/>
                  </a:lnTo>
                  <a:lnTo>
                    <a:pt x="599325" y="245135"/>
                  </a:lnTo>
                  <a:lnTo>
                    <a:pt x="600125" y="286016"/>
                  </a:lnTo>
                  <a:lnTo>
                    <a:pt x="604634" y="339585"/>
                  </a:lnTo>
                  <a:lnTo>
                    <a:pt x="599059" y="341426"/>
                  </a:lnTo>
                  <a:lnTo>
                    <a:pt x="586892" y="381723"/>
                  </a:lnTo>
                  <a:lnTo>
                    <a:pt x="569912" y="420992"/>
                  </a:lnTo>
                  <a:lnTo>
                    <a:pt x="548424" y="459143"/>
                  </a:lnTo>
                  <a:lnTo>
                    <a:pt x="522744" y="496125"/>
                  </a:lnTo>
                  <a:lnTo>
                    <a:pt x="493179" y="531850"/>
                  </a:lnTo>
                  <a:lnTo>
                    <a:pt x="460044" y="566254"/>
                  </a:lnTo>
                  <a:lnTo>
                    <a:pt x="423633" y="599249"/>
                  </a:lnTo>
                  <a:lnTo>
                    <a:pt x="384263" y="630796"/>
                  </a:lnTo>
                  <a:lnTo>
                    <a:pt x="342252" y="660793"/>
                  </a:lnTo>
                  <a:lnTo>
                    <a:pt x="297903" y="689178"/>
                  </a:lnTo>
                  <a:lnTo>
                    <a:pt x="251523" y="715886"/>
                  </a:lnTo>
                  <a:lnTo>
                    <a:pt x="203415" y="740829"/>
                  </a:lnTo>
                  <a:lnTo>
                    <a:pt x="153911" y="763955"/>
                  </a:lnTo>
                  <a:lnTo>
                    <a:pt x="103289" y="785177"/>
                  </a:lnTo>
                  <a:lnTo>
                    <a:pt x="51879" y="804443"/>
                  </a:lnTo>
                  <a:lnTo>
                    <a:pt x="0" y="821651"/>
                  </a:lnTo>
                  <a:lnTo>
                    <a:pt x="9271" y="857745"/>
                  </a:lnTo>
                  <a:lnTo>
                    <a:pt x="21856" y="898956"/>
                  </a:lnTo>
                  <a:lnTo>
                    <a:pt x="38125" y="943864"/>
                  </a:lnTo>
                  <a:lnTo>
                    <a:pt x="58508" y="991031"/>
                  </a:lnTo>
                  <a:lnTo>
                    <a:pt x="83400" y="1039050"/>
                  </a:lnTo>
                  <a:lnTo>
                    <a:pt x="113207" y="1086485"/>
                  </a:lnTo>
                  <a:lnTo>
                    <a:pt x="148336" y="1131925"/>
                  </a:lnTo>
                  <a:lnTo>
                    <a:pt x="425208" y="902601"/>
                  </a:lnTo>
                  <a:lnTo>
                    <a:pt x="585330" y="650519"/>
                  </a:lnTo>
                  <a:lnTo>
                    <a:pt x="659117" y="446989"/>
                  </a:lnTo>
                  <a:lnTo>
                    <a:pt x="674839" y="373253"/>
                  </a:lnTo>
                  <a:lnTo>
                    <a:pt x="675474" y="373189"/>
                  </a:lnTo>
                  <a:lnTo>
                    <a:pt x="715352" y="356374"/>
                  </a:lnTo>
                  <a:lnTo>
                    <a:pt x="749858" y="315569"/>
                  </a:lnTo>
                  <a:lnTo>
                    <a:pt x="771867" y="279222"/>
                  </a:lnTo>
                  <a:lnTo>
                    <a:pt x="792797" y="228485"/>
                  </a:lnTo>
                  <a:lnTo>
                    <a:pt x="793559" y="210731"/>
                  </a:lnTo>
                  <a:lnTo>
                    <a:pt x="790803" y="193090"/>
                  </a:lnTo>
                  <a:lnTo>
                    <a:pt x="783259" y="171615"/>
                  </a:lnTo>
                  <a:lnTo>
                    <a:pt x="773468" y="152374"/>
                  </a:lnTo>
                  <a:lnTo>
                    <a:pt x="751624" y="115633"/>
                  </a:lnTo>
                  <a:lnTo>
                    <a:pt x="818730" y="45720"/>
                  </a:lnTo>
                  <a:lnTo>
                    <a:pt x="821372" y="41821"/>
                  </a:lnTo>
                  <a:lnTo>
                    <a:pt x="825436" y="31508"/>
                  </a:lnTo>
                  <a:close/>
                </a:path>
              </a:pathLst>
            </a:custGeom>
            <a:solidFill>
              <a:srgbClr val="F4D2AD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34" name="object 3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3636901" y="5761647"/>
              <a:ext cx="93287" cy="163942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11521108" y="6571431"/>
              <a:ext cx="514984" cy="581025"/>
            </a:xfrm>
            <a:custGeom>
              <a:avLst/>
              <a:gdLst/>
              <a:ahLst/>
              <a:cxnLst/>
              <a:rect l="l" t="t" r="r" b="b"/>
              <a:pathLst>
                <a:path w="514984" h="581025">
                  <a:moveTo>
                    <a:pt x="380710" y="0"/>
                  </a:moveTo>
                  <a:lnTo>
                    <a:pt x="190856" y="132825"/>
                  </a:lnTo>
                  <a:lnTo>
                    <a:pt x="87914" y="229578"/>
                  </a:lnTo>
                  <a:lnTo>
                    <a:pt x="36193" y="337488"/>
                  </a:lnTo>
                  <a:lnTo>
                    <a:pt x="0" y="503785"/>
                  </a:lnTo>
                  <a:lnTo>
                    <a:pt x="34207" y="507228"/>
                  </a:lnTo>
                  <a:lnTo>
                    <a:pt x="74399" y="513481"/>
                  </a:lnTo>
                  <a:lnTo>
                    <a:pt x="119593" y="523265"/>
                  </a:lnTo>
                  <a:lnTo>
                    <a:pt x="168807" y="537299"/>
                  </a:lnTo>
                  <a:lnTo>
                    <a:pt x="221061" y="556303"/>
                  </a:lnTo>
                  <a:lnTo>
                    <a:pt x="275373" y="580998"/>
                  </a:lnTo>
                  <a:lnTo>
                    <a:pt x="333756" y="496035"/>
                  </a:lnTo>
                  <a:lnTo>
                    <a:pt x="413785" y="418059"/>
                  </a:lnTo>
                  <a:lnTo>
                    <a:pt x="484505" y="361033"/>
                  </a:lnTo>
                  <a:lnTo>
                    <a:pt x="514958" y="338921"/>
                  </a:lnTo>
                  <a:lnTo>
                    <a:pt x="380710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12170270" y="5897111"/>
              <a:ext cx="469900" cy="662940"/>
            </a:xfrm>
            <a:custGeom>
              <a:avLst/>
              <a:gdLst/>
              <a:ahLst/>
              <a:cxnLst/>
              <a:rect l="l" t="t" r="r" b="b"/>
              <a:pathLst>
                <a:path w="469900" h="662940">
                  <a:moveTo>
                    <a:pt x="469328" y="265849"/>
                  </a:moveTo>
                  <a:lnTo>
                    <a:pt x="460603" y="213055"/>
                  </a:lnTo>
                  <a:lnTo>
                    <a:pt x="426021" y="134543"/>
                  </a:lnTo>
                  <a:lnTo>
                    <a:pt x="355561" y="0"/>
                  </a:lnTo>
                  <a:lnTo>
                    <a:pt x="70091" y="85420"/>
                  </a:lnTo>
                  <a:lnTo>
                    <a:pt x="149275" y="298259"/>
                  </a:lnTo>
                  <a:lnTo>
                    <a:pt x="113233" y="298259"/>
                  </a:lnTo>
                  <a:lnTo>
                    <a:pt x="0" y="625665"/>
                  </a:lnTo>
                  <a:lnTo>
                    <a:pt x="2209" y="631571"/>
                  </a:lnTo>
                  <a:lnTo>
                    <a:pt x="7150" y="634301"/>
                  </a:lnTo>
                  <a:lnTo>
                    <a:pt x="28651" y="644588"/>
                  </a:lnTo>
                  <a:lnTo>
                    <a:pt x="61747" y="655599"/>
                  </a:lnTo>
                  <a:lnTo>
                    <a:pt x="104876" y="662813"/>
                  </a:lnTo>
                  <a:lnTo>
                    <a:pt x="156451" y="661644"/>
                  </a:lnTo>
                  <a:lnTo>
                    <a:pt x="214922" y="647585"/>
                  </a:lnTo>
                  <a:lnTo>
                    <a:pt x="278688" y="616038"/>
                  </a:lnTo>
                  <a:lnTo>
                    <a:pt x="303847" y="577011"/>
                  </a:lnTo>
                  <a:lnTo>
                    <a:pt x="328091" y="389610"/>
                  </a:lnTo>
                  <a:lnTo>
                    <a:pt x="356133" y="391795"/>
                  </a:lnTo>
                  <a:lnTo>
                    <a:pt x="395389" y="387400"/>
                  </a:lnTo>
                  <a:lnTo>
                    <a:pt x="427367" y="374738"/>
                  </a:lnTo>
                  <a:lnTo>
                    <a:pt x="450227" y="353466"/>
                  </a:lnTo>
                  <a:lnTo>
                    <a:pt x="462165" y="323202"/>
                  </a:lnTo>
                  <a:lnTo>
                    <a:pt x="469328" y="265849"/>
                  </a:lnTo>
                  <a:close/>
                </a:path>
              </a:pathLst>
            </a:custGeom>
            <a:solidFill>
              <a:srgbClr val="F4D2AD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12072291" y="5729961"/>
              <a:ext cx="516255" cy="513080"/>
            </a:xfrm>
            <a:custGeom>
              <a:avLst/>
              <a:gdLst/>
              <a:ahLst/>
              <a:cxnLst/>
              <a:rect l="l" t="t" r="r" b="b"/>
              <a:pathLst>
                <a:path w="516254" h="513079">
                  <a:moveTo>
                    <a:pt x="439613" y="0"/>
                  </a:moveTo>
                  <a:lnTo>
                    <a:pt x="408081" y="12839"/>
                  </a:lnTo>
                  <a:lnTo>
                    <a:pt x="372480" y="48507"/>
                  </a:lnTo>
                  <a:lnTo>
                    <a:pt x="368679" y="53428"/>
                  </a:lnTo>
                  <a:lnTo>
                    <a:pt x="361235" y="53543"/>
                  </a:lnTo>
                  <a:lnTo>
                    <a:pt x="357444" y="48601"/>
                  </a:lnTo>
                  <a:lnTo>
                    <a:pt x="340320" y="29798"/>
                  </a:lnTo>
                  <a:lnTo>
                    <a:pt x="314134" y="11207"/>
                  </a:lnTo>
                  <a:lnTo>
                    <a:pt x="279816" y="1635"/>
                  </a:lnTo>
                  <a:lnTo>
                    <a:pt x="238296" y="9890"/>
                  </a:lnTo>
                  <a:lnTo>
                    <a:pt x="204999" y="31119"/>
                  </a:lnTo>
                  <a:lnTo>
                    <a:pt x="186320" y="54910"/>
                  </a:lnTo>
                  <a:lnTo>
                    <a:pt x="178268" y="77868"/>
                  </a:lnTo>
                  <a:lnTo>
                    <a:pt x="176853" y="96600"/>
                  </a:lnTo>
                  <a:lnTo>
                    <a:pt x="177083" y="102673"/>
                  </a:lnTo>
                  <a:lnTo>
                    <a:pt x="171649" y="107395"/>
                  </a:lnTo>
                  <a:lnTo>
                    <a:pt x="165680" y="106254"/>
                  </a:lnTo>
                  <a:lnTo>
                    <a:pt x="138243" y="103500"/>
                  </a:lnTo>
                  <a:lnTo>
                    <a:pt x="103070" y="107920"/>
                  </a:lnTo>
                  <a:lnTo>
                    <a:pt x="67261" y="126399"/>
                  </a:lnTo>
                  <a:lnTo>
                    <a:pt x="37915" y="165823"/>
                  </a:lnTo>
                  <a:lnTo>
                    <a:pt x="25725" y="204277"/>
                  </a:lnTo>
                  <a:lnTo>
                    <a:pt x="25497" y="234183"/>
                  </a:lnTo>
                  <a:lnTo>
                    <a:pt x="33054" y="256316"/>
                  </a:lnTo>
                  <a:lnTo>
                    <a:pt x="44218" y="271453"/>
                  </a:lnTo>
                  <a:lnTo>
                    <a:pt x="49223" y="276594"/>
                  </a:lnTo>
                  <a:lnTo>
                    <a:pt x="47024" y="285065"/>
                  </a:lnTo>
                  <a:lnTo>
                    <a:pt x="12219" y="305457"/>
                  </a:lnTo>
                  <a:lnTo>
                    <a:pt x="0" y="352121"/>
                  </a:lnTo>
                  <a:lnTo>
                    <a:pt x="12731" y="386039"/>
                  </a:lnTo>
                  <a:lnTo>
                    <a:pt x="38941" y="401783"/>
                  </a:lnTo>
                  <a:lnTo>
                    <a:pt x="68119" y="405729"/>
                  </a:lnTo>
                  <a:lnTo>
                    <a:pt x="89756" y="404255"/>
                  </a:lnTo>
                  <a:lnTo>
                    <a:pt x="92897" y="403805"/>
                  </a:lnTo>
                  <a:lnTo>
                    <a:pt x="96049" y="404883"/>
                  </a:lnTo>
                  <a:lnTo>
                    <a:pt x="159561" y="462892"/>
                  </a:lnTo>
                  <a:lnTo>
                    <a:pt x="210571" y="494168"/>
                  </a:lnTo>
                  <a:lnTo>
                    <a:pt x="268693" y="511885"/>
                  </a:lnTo>
                  <a:lnTo>
                    <a:pt x="275625" y="512692"/>
                  </a:lnTo>
                  <a:lnTo>
                    <a:pt x="280996" y="505844"/>
                  </a:lnTo>
                  <a:lnTo>
                    <a:pt x="242463" y="393816"/>
                  </a:lnTo>
                  <a:lnTo>
                    <a:pt x="244694" y="388685"/>
                  </a:lnTo>
                  <a:lnTo>
                    <a:pt x="266410" y="379062"/>
                  </a:lnTo>
                  <a:lnTo>
                    <a:pt x="271792" y="376675"/>
                  </a:lnTo>
                  <a:lnTo>
                    <a:pt x="273771" y="370099"/>
                  </a:lnTo>
                  <a:lnTo>
                    <a:pt x="261925" y="351333"/>
                  </a:lnTo>
                  <a:lnTo>
                    <a:pt x="252064" y="333467"/>
                  </a:lnTo>
                  <a:lnTo>
                    <a:pt x="242939" y="313394"/>
                  </a:lnTo>
                  <a:lnTo>
                    <a:pt x="236526" y="292929"/>
                  </a:lnTo>
                  <a:lnTo>
                    <a:pt x="225032" y="284501"/>
                  </a:lnTo>
                  <a:lnTo>
                    <a:pt x="227029" y="278283"/>
                  </a:lnTo>
                  <a:lnTo>
                    <a:pt x="247764" y="271204"/>
                  </a:lnTo>
                  <a:lnTo>
                    <a:pt x="292483" y="260197"/>
                  </a:lnTo>
                  <a:lnTo>
                    <a:pt x="342803" y="247549"/>
                  </a:lnTo>
                  <a:lnTo>
                    <a:pt x="396068" y="231131"/>
                  </a:lnTo>
                  <a:lnTo>
                    <a:pt x="446033" y="209641"/>
                  </a:lnTo>
                  <a:lnTo>
                    <a:pt x="486456" y="181778"/>
                  </a:lnTo>
                  <a:lnTo>
                    <a:pt x="511094" y="146242"/>
                  </a:lnTo>
                  <a:lnTo>
                    <a:pt x="516073" y="118156"/>
                  </a:lnTo>
                  <a:lnTo>
                    <a:pt x="513527" y="85457"/>
                  </a:lnTo>
                  <a:lnTo>
                    <a:pt x="504032" y="52718"/>
                  </a:lnTo>
                  <a:lnTo>
                    <a:pt x="488164" y="24513"/>
                  </a:lnTo>
                  <a:lnTo>
                    <a:pt x="466499" y="5415"/>
                  </a:lnTo>
                  <a:lnTo>
                    <a:pt x="439613" y="0"/>
                  </a:lnTo>
                  <a:close/>
                </a:path>
              </a:pathLst>
            </a:custGeom>
            <a:solidFill>
              <a:srgbClr val="624E4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38" name="object 3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2259192" y="6077337"/>
              <a:ext cx="120404" cy="97209"/>
            </a:xfrm>
            <a:prstGeom prst="rect">
              <a:avLst/>
            </a:prstGeom>
          </p:spPr>
        </p:pic>
        <p:sp>
          <p:nvSpPr>
            <p:cNvPr id="39" name="object 39"/>
            <p:cNvSpPr/>
            <p:nvPr/>
          </p:nvSpPr>
          <p:spPr>
            <a:xfrm>
              <a:off x="11908205" y="7673828"/>
              <a:ext cx="2674620" cy="2180590"/>
            </a:xfrm>
            <a:custGeom>
              <a:avLst/>
              <a:gdLst/>
              <a:ahLst/>
              <a:cxnLst/>
              <a:rect l="l" t="t" r="r" b="b"/>
              <a:pathLst>
                <a:path w="2674619" h="2180590">
                  <a:moveTo>
                    <a:pt x="2674302" y="414820"/>
                  </a:moveTo>
                  <a:lnTo>
                    <a:pt x="2648877" y="376110"/>
                  </a:lnTo>
                  <a:lnTo>
                    <a:pt x="2625712" y="370268"/>
                  </a:lnTo>
                  <a:lnTo>
                    <a:pt x="2551468" y="370268"/>
                  </a:lnTo>
                  <a:lnTo>
                    <a:pt x="2551468" y="467817"/>
                  </a:lnTo>
                  <a:lnTo>
                    <a:pt x="2221801" y="1229855"/>
                  </a:lnTo>
                  <a:lnTo>
                    <a:pt x="1144320" y="1229855"/>
                  </a:lnTo>
                  <a:lnTo>
                    <a:pt x="1094714" y="963676"/>
                  </a:lnTo>
                  <a:lnTo>
                    <a:pt x="1094714" y="1229855"/>
                  </a:lnTo>
                  <a:lnTo>
                    <a:pt x="949236" y="1229855"/>
                  </a:lnTo>
                  <a:lnTo>
                    <a:pt x="930249" y="1233678"/>
                  </a:lnTo>
                  <a:lnTo>
                    <a:pt x="924864" y="1237310"/>
                  </a:lnTo>
                  <a:lnTo>
                    <a:pt x="694232" y="467817"/>
                  </a:lnTo>
                  <a:lnTo>
                    <a:pt x="952690" y="467817"/>
                  </a:lnTo>
                  <a:lnTo>
                    <a:pt x="1094714" y="1229855"/>
                  </a:lnTo>
                  <a:lnTo>
                    <a:pt x="1094714" y="963676"/>
                  </a:lnTo>
                  <a:lnTo>
                    <a:pt x="1002309" y="467817"/>
                  </a:lnTo>
                  <a:lnTo>
                    <a:pt x="2551468" y="467817"/>
                  </a:lnTo>
                  <a:lnTo>
                    <a:pt x="2551468" y="370268"/>
                  </a:lnTo>
                  <a:lnTo>
                    <a:pt x="668794" y="370268"/>
                  </a:lnTo>
                  <a:lnTo>
                    <a:pt x="665213" y="370992"/>
                  </a:lnTo>
                  <a:lnTo>
                    <a:pt x="564896" y="36271"/>
                  </a:lnTo>
                  <a:lnTo>
                    <a:pt x="557745" y="21526"/>
                  </a:lnTo>
                  <a:lnTo>
                    <a:pt x="546595" y="10071"/>
                  </a:lnTo>
                  <a:lnTo>
                    <a:pt x="532422" y="2641"/>
                  </a:lnTo>
                  <a:lnTo>
                    <a:pt x="516255" y="0"/>
                  </a:lnTo>
                  <a:lnTo>
                    <a:pt x="50761" y="0"/>
                  </a:lnTo>
                  <a:lnTo>
                    <a:pt x="31000" y="3987"/>
                  </a:lnTo>
                  <a:lnTo>
                    <a:pt x="14871" y="14871"/>
                  </a:lnTo>
                  <a:lnTo>
                    <a:pt x="3987" y="31013"/>
                  </a:lnTo>
                  <a:lnTo>
                    <a:pt x="0" y="50761"/>
                  </a:lnTo>
                  <a:lnTo>
                    <a:pt x="3987" y="70523"/>
                  </a:lnTo>
                  <a:lnTo>
                    <a:pt x="14871" y="86664"/>
                  </a:lnTo>
                  <a:lnTo>
                    <a:pt x="31000" y="97536"/>
                  </a:lnTo>
                  <a:lnTo>
                    <a:pt x="50761" y="101523"/>
                  </a:lnTo>
                  <a:lnTo>
                    <a:pt x="478409" y="101523"/>
                  </a:lnTo>
                  <a:lnTo>
                    <a:pt x="1090637" y="2144204"/>
                  </a:lnTo>
                  <a:lnTo>
                    <a:pt x="1097788" y="2158949"/>
                  </a:lnTo>
                  <a:lnTo>
                    <a:pt x="1108951" y="2170404"/>
                  </a:lnTo>
                  <a:lnTo>
                    <a:pt x="1123124" y="2177834"/>
                  </a:lnTo>
                  <a:lnTo>
                    <a:pt x="1139291" y="2180475"/>
                  </a:lnTo>
                  <a:lnTo>
                    <a:pt x="2167305" y="2180475"/>
                  </a:lnTo>
                  <a:lnTo>
                    <a:pt x="2187067" y="2176475"/>
                  </a:lnTo>
                  <a:lnTo>
                    <a:pt x="2203196" y="2165604"/>
                  </a:lnTo>
                  <a:lnTo>
                    <a:pt x="2214080" y="2149462"/>
                  </a:lnTo>
                  <a:lnTo>
                    <a:pt x="2218067" y="2129713"/>
                  </a:lnTo>
                  <a:lnTo>
                    <a:pt x="2214080" y="2109940"/>
                  </a:lnTo>
                  <a:lnTo>
                    <a:pt x="2203196" y="2093810"/>
                  </a:lnTo>
                  <a:lnTo>
                    <a:pt x="2187067" y="2082927"/>
                  </a:lnTo>
                  <a:lnTo>
                    <a:pt x="2167305" y="2078939"/>
                  </a:lnTo>
                  <a:lnTo>
                    <a:pt x="1177137" y="2078939"/>
                  </a:lnTo>
                  <a:lnTo>
                    <a:pt x="951877" y="1327391"/>
                  </a:lnTo>
                  <a:lnTo>
                    <a:pt x="2253843" y="1327391"/>
                  </a:lnTo>
                  <a:lnTo>
                    <a:pt x="2267953" y="1325308"/>
                  </a:lnTo>
                  <a:lnTo>
                    <a:pt x="2298598" y="1297990"/>
                  </a:lnTo>
                  <a:lnTo>
                    <a:pt x="2670479" y="438404"/>
                  </a:lnTo>
                  <a:lnTo>
                    <a:pt x="2673870" y="426758"/>
                  </a:lnTo>
                  <a:lnTo>
                    <a:pt x="2674302" y="414820"/>
                  </a:lnTo>
                  <a:close/>
                </a:path>
              </a:pathLst>
            </a:custGeom>
            <a:solidFill>
              <a:srgbClr val="B1B1B1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40" name="object 4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2922700" y="9803525"/>
              <a:ext cx="253835" cy="253835"/>
            </a:xfrm>
            <a:prstGeom prst="rect">
              <a:avLst/>
            </a:prstGeom>
          </p:spPr>
        </p:pic>
        <p:pic>
          <p:nvPicPr>
            <p:cNvPr id="41" name="object 4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3883030" y="9803525"/>
              <a:ext cx="253824" cy="253835"/>
            </a:xfrm>
            <a:prstGeom prst="rect">
              <a:avLst/>
            </a:prstGeom>
          </p:spPr>
        </p:pic>
        <p:sp>
          <p:nvSpPr>
            <p:cNvPr id="42" name="object 42"/>
            <p:cNvSpPr/>
            <p:nvPr/>
          </p:nvSpPr>
          <p:spPr>
            <a:xfrm>
              <a:off x="12620028" y="8080622"/>
              <a:ext cx="1849755" cy="893444"/>
            </a:xfrm>
            <a:custGeom>
              <a:avLst/>
              <a:gdLst/>
              <a:ahLst/>
              <a:cxnLst/>
              <a:rect l="l" t="t" r="r" b="b"/>
              <a:pathLst>
                <a:path w="1849755" h="893445">
                  <a:moveTo>
                    <a:pt x="1849196" y="221843"/>
                  </a:moveTo>
                  <a:lnTo>
                    <a:pt x="1847278" y="212356"/>
                  </a:lnTo>
                  <a:lnTo>
                    <a:pt x="1842058" y="204597"/>
                  </a:lnTo>
                  <a:lnTo>
                    <a:pt x="1834299" y="199377"/>
                  </a:lnTo>
                  <a:lnTo>
                    <a:pt x="1824812" y="197459"/>
                  </a:lnTo>
                  <a:lnTo>
                    <a:pt x="1511261" y="197459"/>
                  </a:lnTo>
                  <a:lnTo>
                    <a:pt x="1541576" y="41275"/>
                  </a:lnTo>
                  <a:lnTo>
                    <a:pt x="1541500" y="31584"/>
                  </a:lnTo>
                  <a:lnTo>
                    <a:pt x="1537843" y="22987"/>
                  </a:lnTo>
                  <a:lnTo>
                    <a:pt x="1531226" y="16383"/>
                  </a:lnTo>
                  <a:lnTo>
                    <a:pt x="1522272" y="12700"/>
                  </a:lnTo>
                  <a:lnTo>
                    <a:pt x="1512595" y="12776"/>
                  </a:lnTo>
                  <a:lnTo>
                    <a:pt x="1503997" y="16433"/>
                  </a:lnTo>
                  <a:lnTo>
                    <a:pt x="1497380" y="23037"/>
                  </a:lnTo>
                  <a:lnTo>
                    <a:pt x="1493697" y="31978"/>
                  </a:lnTo>
                  <a:lnTo>
                    <a:pt x="1461579" y="197459"/>
                  </a:lnTo>
                  <a:lnTo>
                    <a:pt x="1452118" y="197459"/>
                  </a:lnTo>
                  <a:lnTo>
                    <a:pt x="1452118" y="246227"/>
                  </a:lnTo>
                  <a:lnTo>
                    <a:pt x="1413497" y="445262"/>
                  </a:lnTo>
                  <a:lnTo>
                    <a:pt x="1404035" y="445262"/>
                  </a:lnTo>
                  <a:lnTo>
                    <a:pt x="1404035" y="494030"/>
                  </a:lnTo>
                  <a:lnTo>
                    <a:pt x="1369174" y="673696"/>
                  </a:lnTo>
                  <a:lnTo>
                    <a:pt x="1196124" y="673696"/>
                  </a:lnTo>
                  <a:lnTo>
                    <a:pt x="1197368" y="494030"/>
                  </a:lnTo>
                  <a:lnTo>
                    <a:pt x="1404035" y="494030"/>
                  </a:lnTo>
                  <a:lnTo>
                    <a:pt x="1404035" y="445262"/>
                  </a:lnTo>
                  <a:lnTo>
                    <a:pt x="1197698" y="445262"/>
                  </a:lnTo>
                  <a:lnTo>
                    <a:pt x="1199083" y="246227"/>
                  </a:lnTo>
                  <a:lnTo>
                    <a:pt x="1452118" y="246227"/>
                  </a:lnTo>
                  <a:lnTo>
                    <a:pt x="1452118" y="197459"/>
                  </a:lnTo>
                  <a:lnTo>
                    <a:pt x="1199413" y="197459"/>
                  </a:lnTo>
                  <a:lnTo>
                    <a:pt x="1200619" y="24612"/>
                  </a:lnTo>
                  <a:lnTo>
                    <a:pt x="1198778" y="15100"/>
                  </a:lnTo>
                  <a:lnTo>
                    <a:pt x="1193596" y="7315"/>
                  </a:lnTo>
                  <a:lnTo>
                    <a:pt x="1185887" y="2032"/>
                  </a:lnTo>
                  <a:lnTo>
                    <a:pt x="1176401" y="50"/>
                  </a:lnTo>
                  <a:lnTo>
                    <a:pt x="1166787" y="1955"/>
                  </a:lnTo>
                  <a:lnTo>
                    <a:pt x="1159052" y="7137"/>
                  </a:lnTo>
                  <a:lnTo>
                    <a:pt x="1153820" y="14833"/>
                  </a:lnTo>
                  <a:lnTo>
                    <a:pt x="1151851" y="24269"/>
                  </a:lnTo>
                  <a:lnTo>
                    <a:pt x="1150645" y="197459"/>
                  </a:lnTo>
                  <a:lnTo>
                    <a:pt x="1150315" y="197459"/>
                  </a:lnTo>
                  <a:lnTo>
                    <a:pt x="1150315" y="246227"/>
                  </a:lnTo>
                  <a:lnTo>
                    <a:pt x="1148943" y="445262"/>
                  </a:lnTo>
                  <a:lnTo>
                    <a:pt x="1148600" y="445262"/>
                  </a:lnTo>
                  <a:lnTo>
                    <a:pt x="1148600" y="494030"/>
                  </a:lnTo>
                  <a:lnTo>
                    <a:pt x="1147356" y="673696"/>
                  </a:lnTo>
                  <a:lnTo>
                    <a:pt x="904455" y="673696"/>
                  </a:lnTo>
                  <a:lnTo>
                    <a:pt x="904455" y="494030"/>
                  </a:lnTo>
                  <a:lnTo>
                    <a:pt x="1148600" y="494030"/>
                  </a:lnTo>
                  <a:lnTo>
                    <a:pt x="1148600" y="445262"/>
                  </a:lnTo>
                  <a:lnTo>
                    <a:pt x="904455" y="445262"/>
                  </a:lnTo>
                  <a:lnTo>
                    <a:pt x="904455" y="246227"/>
                  </a:lnTo>
                  <a:lnTo>
                    <a:pt x="1150315" y="246227"/>
                  </a:lnTo>
                  <a:lnTo>
                    <a:pt x="1150315" y="197459"/>
                  </a:lnTo>
                  <a:lnTo>
                    <a:pt x="904455" y="197459"/>
                  </a:lnTo>
                  <a:lnTo>
                    <a:pt x="904455" y="24371"/>
                  </a:lnTo>
                  <a:lnTo>
                    <a:pt x="902538" y="14884"/>
                  </a:lnTo>
                  <a:lnTo>
                    <a:pt x="897305" y="7137"/>
                  </a:lnTo>
                  <a:lnTo>
                    <a:pt x="889558" y="1905"/>
                  </a:lnTo>
                  <a:lnTo>
                    <a:pt x="880071" y="0"/>
                  </a:lnTo>
                  <a:lnTo>
                    <a:pt x="870572" y="1905"/>
                  </a:lnTo>
                  <a:lnTo>
                    <a:pt x="862825" y="7137"/>
                  </a:lnTo>
                  <a:lnTo>
                    <a:pt x="857592" y="14884"/>
                  </a:lnTo>
                  <a:lnTo>
                    <a:pt x="855675" y="24371"/>
                  </a:lnTo>
                  <a:lnTo>
                    <a:pt x="855675" y="197459"/>
                  </a:lnTo>
                  <a:lnTo>
                    <a:pt x="855675" y="246227"/>
                  </a:lnTo>
                  <a:lnTo>
                    <a:pt x="855675" y="445262"/>
                  </a:lnTo>
                  <a:lnTo>
                    <a:pt x="855675" y="494030"/>
                  </a:lnTo>
                  <a:lnTo>
                    <a:pt x="855675" y="673696"/>
                  </a:lnTo>
                  <a:lnTo>
                    <a:pt x="652741" y="673696"/>
                  </a:lnTo>
                  <a:lnTo>
                    <a:pt x="649147" y="494030"/>
                  </a:lnTo>
                  <a:lnTo>
                    <a:pt x="855675" y="494030"/>
                  </a:lnTo>
                  <a:lnTo>
                    <a:pt x="855675" y="445262"/>
                  </a:lnTo>
                  <a:lnTo>
                    <a:pt x="648169" y="445262"/>
                  </a:lnTo>
                  <a:lnTo>
                    <a:pt x="644194" y="246227"/>
                  </a:lnTo>
                  <a:lnTo>
                    <a:pt x="855675" y="246227"/>
                  </a:lnTo>
                  <a:lnTo>
                    <a:pt x="855675" y="197459"/>
                  </a:lnTo>
                  <a:lnTo>
                    <a:pt x="643216" y="197459"/>
                  </a:lnTo>
                  <a:lnTo>
                    <a:pt x="639749" y="23939"/>
                  </a:lnTo>
                  <a:lnTo>
                    <a:pt x="637679" y="14452"/>
                  </a:lnTo>
                  <a:lnTo>
                    <a:pt x="632358" y="6743"/>
                  </a:lnTo>
                  <a:lnTo>
                    <a:pt x="624522" y="1663"/>
                  </a:lnTo>
                  <a:lnTo>
                    <a:pt x="614895" y="63"/>
                  </a:lnTo>
                  <a:lnTo>
                    <a:pt x="605434" y="2159"/>
                  </a:lnTo>
                  <a:lnTo>
                    <a:pt x="597789" y="7543"/>
                  </a:lnTo>
                  <a:lnTo>
                    <a:pt x="592721" y="15405"/>
                  </a:lnTo>
                  <a:lnTo>
                    <a:pt x="590994" y="24930"/>
                  </a:lnTo>
                  <a:lnTo>
                    <a:pt x="594436" y="197459"/>
                  </a:lnTo>
                  <a:lnTo>
                    <a:pt x="24384" y="197459"/>
                  </a:lnTo>
                  <a:lnTo>
                    <a:pt x="14897" y="199377"/>
                  </a:lnTo>
                  <a:lnTo>
                    <a:pt x="7137" y="204597"/>
                  </a:lnTo>
                  <a:lnTo>
                    <a:pt x="1917" y="212356"/>
                  </a:lnTo>
                  <a:lnTo>
                    <a:pt x="0" y="221843"/>
                  </a:lnTo>
                  <a:lnTo>
                    <a:pt x="1917" y="231330"/>
                  </a:lnTo>
                  <a:lnTo>
                    <a:pt x="7137" y="239090"/>
                  </a:lnTo>
                  <a:lnTo>
                    <a:pt x="14897" y="244309"/>
                  </a:lnTo>
                  <a:lnTo>
                    <a:pt x="24384" y="246227"/>
                  </a:lnTo>
                  <a:lnTo>
                    <a:pt x="595414" y="246227"/>
                  </a:lnTo>
                  <a:lnTo>
                    <a:pt x="599389" y="445262"/>
                  </a:lnTo>
                  <a:lnTo>
                    <a:pt x="105676" y="445262"/>
                  </a:lnTo>
                  <a:lnTo>
                    <a:pt x="96189" y="447179"/>
                  </a:lnTo>
                  <a:lnTo>
                    <a:pt x="88442" y="452399"/>
                  </a:lnTo>
                  <a:lnTo>
                    <a:pt x="83210" y="460159"/>
                  </a:lnTo>
                  <a:lnTo>
                    <a:pt x="81292" y="469646"/>
                  </a:lnTo>
                  <a:lnTo>
                    <a:pt x="83210" y="479132"/>
                  </a:lnTo>
                  <a:lnTo>
                    <a:pt x="88442" y="486892"/>
                  </a:lnTo>
                  <a:lnTo>
                    <a:pt x="96189" y="492112"/>
                  </a:lnTo>
                  <a:lnTo>
                    <a:pt x="105676" y="494030"/>
                  </a:lnTo>
                  <a:lnTo>
                    <a:pt x="600367" y="494030"/>
                  </a:lnTo>
                  <a:lnTo>
                    <a:pt x="603961" y="673696"/>
                  </a:lnTo>
                  <a:lnTo>
                    <a:pt x="167640" y="673696"/>
                  </a:lnTo>
                  <a:lnTo>
                    <a:pt x="158153" y="675614"/>
                  </a:lnTo>
                  <a:lnTo>
                    <a:pt x="150393" y="680847"/>
                  </a:lnTo>
                  <a:lnTo>
                    <a:pt x="145173" y="688594"/>
                  </a:lnTo>
                  <a:lnTo>
                    <a:pt x="143256" y="698093"/>
                  </a:lnTo>
                  <a:lnTo>
                    <a:pt x="145173" y="707580"/>
                  </a:lnTo>
                  <a:lnTo>
                    <a:pt x="150393" y="715327"/>
                  </a:lnTo>
                  <a:lnTo>
                    <a:pt x="158153" y="720559"/>
                  </a:lnTo>
                  <a:lnTo>
                    <a:pt x="167640" y="722477"/>
                  </a:lnTo>
                  <a:lnTo>
                    <a:pt x="604939" y="722477"/>
                  </a:lnTo>
                  <a:lnTo>
                    <a:pt x="607885" y="868946"/>
                  </a:lnTo>
                  <a:lnTo>
                    <a:pt x="609942" y="878293"/>
                  </a:lnTo>
                  <a:lnTo>
                    <a:pt x="615213" y="885875"/>
                  </a:lnTo>
                  <a:lnTo>
                    <a:pt x="622896" y="890981"/>
                  </a:lnTo>
                  <a:lnTo>
                    <a:pt x="632256" y="892835"/>
                  </a:lnTo>
                  <a:lnTo>
                    <a:pt x="642213" y="890727"/>
                  </a:lnTo>
                  <a:lnTo>
                    <a:pt x="649846" y="885355"/>
                  </a:lnTo>
                  <a:lnTo>
                    <a:pt x="654913" y="877493"/>
                  </a:lnTo>
                  <a:lnTo>
                    <a:pt x="656640" y="867956"/>
                  </a:lnTo>
                  <a:lnTo>
                    <a:pt x="653719" y="722477"/>
                  </a:lnTo>
                  <a:lnTo>
                    <a:pt x="855675" y="722477"/>
                  </a:lnTo>
                  <a:lnTo>
                    <a:pt x="855675" y="864577"/>
                  </a:lnTo>
                  <a:lnTo>
                    <a:pt x="857592" y="874064"/>
                  </a:lnTo>
                  <a:lnTo>
                    <a:pt x="862825" y="881824"/>
                  </a:lnTo>
                  <a:lnTo>
                    <a:pt x="870572" y="887044"/>
                  </a:lnTo>
                  <a:lnTo>
                    <a:pt x="880071" y="888961"/>
                  </a:lnTo>
                  <a:lnTo>
                    <a:pt x="889558" y="887044"/>
                  </a:lnTo>
                  <a:lnTo>
                    <a:pt x="897305" y="881824"/>
                  </a:lnTo>
                  <a:lnTo>
                    <a:pt x="902538" y="874064"/>
                  </a:lnTo>
                  <a:lnTo>
                    <a:pt x="904455" y="864577"/>
                  </a:lnTo>
                  <a:lnTo>
                    <a:pt x="904455" y="722477"/>
                  </a:lnTo>
                  <a:lnTo>
                    <a:pt x="1147025" y="722477"/>
                  </a:lnTo>
                  <a:lnTo>
                    <a:pt x="1146086" y="860539"/>
                  </a:lnTo>
                  <a:lnTo>
                    <a:pt x="1170470" y="885088"/>
                  </a:lnTo>
                  <a:lnTo>
                    <a:pt x="1179906" y="883196"/>
                  </a:lnTo>
                  <a:lnTo>
                    <a:pt x="1187640" y="878014"/>
                  </a:lnTo>
                  <a:lnTo>
                    <a:pt x="1192872" y="870318"/>
                  </a:lnTo>
                  <a:lnTo>
                    <a:pt x="1194841" y="860869"/>
                  </a:lnTo>
                  <a:lnTo>
                    <a:pt x="1195793" y="722477"/>
                  </a:lnTo>
                  <a:lnTo>
                    <a:pt x="1359712" y="722477"/>
                  </a:lnTo>
                  <a:lnTo>
                    <a:pt x="1335189" y="848893"/>
                  </a:lnTo>
                  <a:lnTo>
                    <a:pt x="1335265" y="858570"/>
                  </a:lnTo>
                  <a:lnTo>
                    <a:pt x="1338910" y="867181"/>
                  </a:lnTo>
                  <a:lnTo>
                    <a:pt x="1345526" y="873785"/>
                  </a:lnTo>
                  <a:lnTo>
                    <a:pt x="1354480" y="877481"/>
                  </a:lnTo>
                  <a:lnTo>
                    <a:pt x="1356055" y="877773"/>
                  </a:lnTo>
                  <a:lnTo>
                    <a:pt x="1359154" y="877925"/>
                  </a:lnTo>
                  <a:lnTo>
                    <a:pt x="1367396" y="876477"/>
                  </a:lnTo>
                  <a:lnTo>
                    <a:pt x="1374559" y="872426"/>
                  </a:lnTo>
                  <a:lnTo>
                    <a:pt x="1379982" y="866178"/>
                  </a:lnTo>
                  <a:lnTo>
                    <a:pt x="1383068" y="858177"/>
                  </a:lnTo>
                  <a:lnTo>
                    <a:pt x="1409395" y="722477"/>
                  </a:lnTo>
                  <a:lnTo>
                    <a:pt x="1607985" y="722477"/>
                  </a:lnTo>
                  <a:lnTo>
                    <a:pt x="1617472" y="720559"/>
                  </a:lnTo>
                  <a:lnTo>
                    <a:pt x="1625231" y="715327"/>
                  </a:lnTo>
                  <a:lnTo>
                    <a:pt x="1630451" y="707580"/>
                  </a:lnTo>
                  <a:lnTo>
                    <a:pt x="1632369" y="698093"/>
                  </a:lnTo>
                  <a:lnTo>
                    <a:pt x="1630451" y="688594"/>
                  </a:lnTo>
                  <a:lnTo>
                    <a:pt x="1625231" y="680847"/>
                  </a:lnTo>
                  <a:lnTo>
                    <a:pt x="1617472" y="675614"/>
                  </a:lnTo>
                  <a:lnTo>
                    <a:pt x="1607985" y="673696"/>
                  </a:lnTo>
                  <a:lnTo>
                    <a:pt x="1418856" y="673696"/>
                  </a:lnTo>
                  <a:lnTo>
                    <a:pt x="1453718" y="494030"/>
                  </a:lnTo>
                  <a:lnTo>
                    <a:pt x="1716392" y="494030"/>
                  </a:lnTo>
                  <a:lnTo>
                    <a:pt x="1725891" y="492112"/>
                  </a:lnTo>
                  <a:lnTo>
                    <a:pt x="1733638" y="486892"/>
                  </a:lnTo>
                  <a:lnTo>
                    <a:pt x="1738871" y="479132"/>
                  </a:lnTo>
                  <a:lnTo>
                    <a:pt x="1740789" y="469646"/>
                  </a:lnTo>
                  <a:lnTo>
                    <a:pt x="1738871" y="460159"/>
                  </a:lnTo>
                  <a:lnTo>
                    <a:pt x="1733638" y="452399"/>
                  </a:lnTo>
                  <a:lnTo>
                    <a:pt x="1725891" y="447179"/>
                  </a:lnTo>
                  <a:lnTo>
                    <a:pt x="1716392" y="445262"/>
                  </a:lnTo>
                  <a:lnTo>
                    <a:pt x="1463179" y="445262"/>
                  </a:lnTo>
                  <a:lnTo>
                    <a:pt x="1501800" y="246227"/>
                  </a:lnTo>
                  <a:lnTo>
                    <a:pt x="1824812" y="246227"/>
                  </a:lnTo>
                  <a:lnTo>
                    <a:pt x="1834299" y="244309"/>
                  </a:lnTo>
                  <a:lnTo>
                    <a:pt x="1842058" y="239090"/>
                  </a:lnTo>
                  <a:lnTo>
                    <a:pt x="1847278" y="231330"/>
                  </a:lnTo>
                  <a:lnTo>
                    <a:pt x="1849196" y="221843"/>
                  </a:lnTo>
                  <a:close/>
                </a:path>
              </a:pathLst>
            </a:custGeom>
            <a:solidFill>
              <a:srgbClr val="B1B1B1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11396116" y="7040708"/>
              <a:ext cx="840105" cy="775335"/>
            </a:xfrm>
            <a:custGeom>
              <a:avLst/>
              <a:gdLst/>
              <a:ahLst/>
              <a:cxnLst/>
              <a:rect l="l" t="t" r="r" b="b"/>
              <a:pathLst>
                <a:path w="840104" h="775334">
                  <a:moveTo>
                    <a:pt x="840092" y="733209"/>
                  </a:moveTo>
                  <a:lnTo>
                    <a:pt x="830199" y="704507"/>
                  </a:lnTo>
                  <a:lnTo>
                    <a:pt x="794702" y="652526"/>
                  </a:lnTo>
                  <a:lnTo>
                    <a:pt x="723138" y="558634"/>
                  </a:lnTo>
                  <a:lnTo>
                    <a:pt x="524497" y="558634"/>
                  </a:lnTo>
                  <a:lnTo>
                    <a:pt x="368935" y="467855"/>
                  </a:lnTo>
                  <a:lnTo>
                    <a:pt x="304152" y="391045"/>
                  </a:lnTo>
                  <a:lnTo>
                    <a:pt x="318503" y="286308"/>
                  </a:lnTo>
                  <a:lnTo>
                    <a:pt x="400354" y="111734"/>
                  </a:lnTo>
                  <a:lnTo>
                    <a:pt x="305308" y="33743"/>
                  </a:lnTo>
                  <a:lnTo>
                    <a:pt x="245173" y="0"/>
                  </a:lnTo>
                  <a:lnTo>
                    <a:pt x="194360" y="3492"/>
                  </a:lnTo>
                  <a:lnTo>
                    <a:pt x="127241" y="37236"/>
                  </a:lnTo>
                  <a:lnTo>
                    <a:pt x="6591" y="332651"/>
                  </a:lnTo>
                  <a:lnTo>
                    <a:pt x="0" y="491909"/>
                  </a:lnTo>
                  <a:lnTo>
                    <a:pt x="137718" y="569696"/>
                  </a:lnTo>
                  <a:lnTo>
                    <a:pt x="450024" y="620712"/>
                  </a:lnTo>
                  <a:lnTo>
                    <a:pt x="452932" y="649224"/>
                  </a:lnTo>
                  <a:lnTo>
                    <a:pt x="473290" y="662609"/>
                  </a:lnTo>
                  <a:lnTo>
                    <a:pt x="528574" y="664349"/>
                  </a:lnTo>
                  <a:lnTo>
                    <a:pt x="636219" y="657948"/>
                  </a:lnTo>
                  <a:lnTo>
                    <a:pt x="699744" y="764908"/>
                  </a:lnTo>
                  <a:lnTo>
                    <a:pt x="719112" y="768946"/>
                  </a:lnTo>
                  <a:lnTo>
                    <a:pt x="762647" y="775042"/>
                  </a:lnTo>
                  <a:lnTo>
                    <a:pt x="808507" y="774166"/>
                  </a:lnTo>
                  <a:lnTo>
                    <a:pt x="834859" y="757262"/>
                  </a:lnTo>
                  <a:lnTo>
                    <a:pt x="840092" y="733209"/>
                  </a:lnTo>
                  <a:close/>
                </a:path>
              </a:pathLst>
            </a:custGeom>
            <a:solidFill>
              <a:srgbClr val="F4D2AD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12524847" y="5759050"/>
              <a:ext cx="33655" cy="128270"/>
            </a:xfrm>
            <a:custGeom>
              <a:avLst/>
              <a:gdLst/>
              <a:ahLst/>
              <a:cxnLst/>
              <a:rect l="l" t="t" r="r" b="b"/>
              <a:pathLst>
                <a:path w="33654" h="128270">
                  <a:moveTo>
                    <a:pt x="3539" y="94"/>
                  </a:moveTo>
                  <a:lnTo>
                    <a:pt x="2073" y="0"/>
                  </a:lnTo>
                  <a:lnTo>
                    <a:pt x="136" y="1696"/>
                  </a:lnTo>
                  <a:lnTo>
                    <a:pt x="41" y="3162"/>
                  </a:lnTo>
                  <a:lnTo>
                    <a:pt x="5950" y="10630"/>
                  </a:lnTo>
                  <a:lnTo>
                    <a:pt x="16474" y="27391"/>
                  </a:lnTo>
                  <a:lnTo>
                    <a:pt x="26203" y="51134"/>
                  </a:lnTo>
                  <a:lnTo>
                    <a:pt x="28878" y="78573"/>
                  </a:lnTo>
                  <a:lnTo>
                    <a:pt x="26120" y="91277"/>
                  </a:lnTo>
                  <a:lnTo>
                    <a:pt x="20577" y="103054"/>
                  </a:lnTo>
                  <a:lnTo>
                    <a:pt x="12275" y="113865"/>
                  </a:lnTo>
                  <a:lnTo>
                    <a:pt x="209" y="124446"/>
                  </a:lnTo>
                  <a:lnTo>
                    <a:pt x="0" y="125901"/>
                  </a:lnTo>
                  <a:lnTo>
                    <a:pt x="1225" y="127535"/>
                  </a:lnTo>
                  <a:lnTo>
                    <a:pt x="1926" y="127859"/>
                  </a:lnTo>
                  <a:lnTo>
                    <a:pt x="2638" y="127859"/>
                  </a:lnTo>
                  <a:lnTo>
                    <a:pt x="30555" y="92712"/>
                  </a:lnTo>
                  <a:lnTo>
                    <a:pt x="33517" y="79044"/>
                  </a:lnTo>
                  <a:lnTo>
                    <a:pt x="30888" y="50379"/>
                  </a:lnTo>
                  <a:lnTo>
                    <a:pt x="21001" y="25789"/>
                  </a:lnTo>
                  <a:lnTo>
                    <a:pt x="10090" y="8330"/>
                  </a:lnTo>
                  <a:lnTo>
                    <a:pt x="3539" y="9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12814294" y="2360455"/>
              <a:ext cx="1219835" cy="1120775"/>
            </a:xfrm>
            <a:custGeom>
              <a:avLst/>
              <a:gdLst/>
              <a:ahLst/>
              <a:cxnLst/>
              <a:rect l="l" t="t" r="r" b="b"/>
              <a:pathLst>
                <a:path w="1219834" h="1120775">
                  <a:moveTo>
                    <a:pt x="1219303" y="0"/>
                  </a:moveTo>
                  <a:lnTo>
                    <a:pt x="746835" y="0"/>
                  </a:lnTo>
                  <a:lnTo>
                    <a:pt x="731746" y="1468"/>
                  </a:lnTo>
                  <a:lnTo>
                    <a:pt x="717825" y="6003"/>
                  </a:lnTo>
                  <a:lnTo>
                    <a:pt x="705699" y="13804"/>
                  </a:lnTo>
                  <a:lnTo>
                    <a:pt x="695999" y="25067"/>
                  </a:lnTo>
                  <a:lnTo>
                    <a:pt x="294460" y="663643"/>
                  </a:lnTo>
                  <a:lnTo>
                    <a:pt x="214152" y="790221"/>
                  </a:lnTo>
                  <a:lnTo>
                    <a:pt x="133844" y="915516"/>
                  </a:lnTo>
                  <a:lnTo>
                    <a:pt x="80306" y="998142"/>
                  </a:lnTo>
                  <a:lnTo>
                    <a:pt x="26768" y="1079910"/>
                  </a:lnTo>
                  <a:lnTo>
                    <a:pt x="0" y="1120437"/>
                  </a:lnTo>
                  <a:lnTo>
                    <a:pt x="683989" y="1120437"/>
                  </a:lnTo>
                  <a:lnTo>
                    <a:pt x="728598" y="1032098"/>
                  </a:lnTo>
                  <a:lnTo>
                    <a:pt x="773207" y="942265"/>
                  </a:lnTo>
                  <a:lnTo>
                    <a:pt x="817817" y="851113"/>
                  </a:lnTo>
                  <a:lnTo>
                    <a:pt x="862426" y="758814"/>
                  </a:lnTo>
                  <a:lnTo>
                    <a:pt x="929341" y="618596"/>
                  </a:lnTo>
                  <a:lnTo>
                    <a:pt x="1040866" y="381629"/>
                  </a:lnTo>
                  <a:lnTo>
                    <a:pt x="1219303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13498290" y="2363051"/>
              <a:ext cx="1041400" cy="1126490"/>
            </a:xfrm>
            <a:custGeom>
              <a:avLst/>
              <a:gdLst/>
              <a:ahLst/>
              <a:cxnLst/>
              <a:rect l="l" t="t" r="r" b="b"/>
              <a:pathLst>
                <a:path w="1041400" h="1126489">
                  <a:moveTo>
                    <a:pt x="1040868" y="0"/>
                  </a:moveTo>
                  <a:lnTo>
                    <a:pt x="535303" y="0"/>
                  </a:lnTo>
                  <a:lnTo>
                    <a:pt x="0" y="1126279"/>
                  </a:lnTo>
                  <a:lnTo>
                    <a:pt x="683989" y="1126279"/>
                  </a:lnTo>
                  <a:lnTo>
                    <a:pt x="1040868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14182278" y="2363051"/>
              <a:ext cx="862965" cy="1126490"/>
            </a:xfrm>
            <a:custGeom>
              <a:avLst/>
              <a:gdLst/>
              <a:ahLst/>
              <a:cxnLst/>
              <a:rect l="l" t="t" r="r" b="b"/>
              <a:pathLst>
                <a:path w="862965" h="1126489">
                  <a:moveTo>
                    <a:pt x="862444" y="0"/>
                  </a:moveTo>
                  <a:lnTo>
                    <a:pt x="356879" y="0"/>
                  </a:lnTo>
                  <a:lnTo>
                    <a:pt x="0" y="1126279"/>
                  </a:lnTo>
                  <a:lnTo>
                    <a:pt x="684000" y="1126279"/>
                  </a:lnTo>
                  <a:lnTo>
                    <a:pt x="862444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14866277" y="2363051"/>
              <a:ext cx="684530" cy="1126490"/>
            </a:xfrm>
            <a:custGeom>
              <a:avLst/>
              <a:gdLst/>
              <a:ahLst/>
              <a:cxnLst/>
              <a:rect l="l" t="t" r="r" b="b"/>
              <a:pathLst>
                <a:path w="684530" h="1126489">
                  <a:moveTo>
                    <a:pt x="684000" y="0"/>
                  </a:moveTo>
                  <a:lnTo>
                    <a:pt x="178444" y="0"/>
                  </a:lnTo>
                  <a:lnTo>
                    <a:pt x="0" y="1126279"/>
                  </a:lnTo>
                  <a:lnTo>
                    <a:pt x="684000" y="1126279"/>
                  </a:lnTo>
                  <a:lnTo>
                    <a:pt x="684000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15550277" y="2363051"/>
              <a:ext cx="684530" cy="1126490"/>
            </a:xfrm>
            <a:custGeom>
              <a:avLst/>
              <a:gdLst/>
              <a:ahLst/>
              <a:cxnLst/>
              <a:rect l="l" t="t" r="r" b="b"/>
              <a:pathLst>
                <a:path w="684530" h="1126489">
                  <a:moveTo>
                    <a:pt x="505565" y="0"/>
                  </a:moveTo>
                  <a:lnTo>
                    <a:pt x="0" y="0"/>
                  </a:lnTo>
                  <a:lnTo>
                    <a:pt x="0" y="1126279"/>
                  </a:lnTo>
                  <a:lnTo>
                    <a:pt x="684000" y="1126279"/>
                  </a:lnTo>
                  <a:lnTo>
                    <a:pt x="505565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16055841" y="2363051"/>
              <a:ext cx="862965" cy="1126490"/>
            </a:xfrm>
            <a:custGeom>
              <a:avLst/>
              <a:gdLst/>
              <a:ahLst/>
              <a:cxnLst/>
              <a:rect l="l" t="t" r="r" b="b"/>
              <a:pathLst>
                <a:path w="862965" h="1126489">
                  <a:moveTo>
                    <a:pt x="505555" y="0"/>
                  </a:moveTo>
                  <a:lnTo>
                    <a:pt x="0" y="0"/>
                  </a:lnTo>
                  <a:lnTo>
                    <a:pt x="178434" y="1126279"/>
                  </a:lnTo>
                  <a:lnTo>
                    <a:pt x="862434" y="1126279"/>
                  </a:lnTo>
                  <a:lnTo>
                    <a:pt x="505555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16561401" y="2363051"/>
              <a:ext cx="1041400" cy="1126490"/>
            </a:xfrm>
            <a:custGeom>
              <a:avLst/>
              <a:gdLst/>
              <a:ahLst/>
              <a:cxnLst/>
              <a:rect l="l" t="t" r="r" b="b"/>
              <a:pathLst>
                <a:path w="1041400" h="1126489">
                  <a:moveTo>
                    <a:pt x="505565" y="0"/>
                  </a:moveTo>
                  <a:lnTo>
                    <a:pt x="0" y="0"/>
                  </a:lnTo>
                  <a:lnTo>
                    <a:pt x="356879" y="1126279"/>
                  </a:lnTo>
                  <a:lnTo>
                    <a:pt x="1040868" y="1126279"/>
                  </a:lnTo>
                  <a:lnTo>
                    <a:pt x="505565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17066970" y="2360458"/>
              <a:ext cx="1219835" cy="1120775"/>
            </a:xfrm>
            <a:custGeom>
              <a:avLst/>
              <a:gdLst/>
              <a:ahLst/>
              <a:cxnLst/>
              <a:rect l="l" t="t" r="r" b="b"/>
              <a:pathLst>
                <a:path w="1219834" h="1120775">
                  <a:moveTo>
                    <a:pt x="472456" y="0"/>
                  </a:moveTo>
                  <a:lnTo>
                    <a:pt x="0" y="0"/>
                  </a:lnTo>
                  <a:lnTo>
                    <a:pt x="245335" y="524191"/>
                  </a:lnTo>
                  <a:lnTo>
                    <a:pt x="312248" y="665542"/>
                  </a:lnTo>
                  <a:lnTo>
                    <a:pt x="379161" y="805096"/>
                  </a:lnTo>
                  <a:lnTo>
                    <a:pt x="423772" y="896843"/>
                  </a:lnTo>
                  <a:lnTo>
                    <a:pt x="468383" y="987357"/>
                  </a:lnTo>
                  <a:lnTo>
                    <a:pt x="512996" y="1076465"/>
                  </a:lnTo>
                  <a:lnTo>
                    <a:pt x="535303" y="1120437"/>
                  </a:lnTo>
                  <a:lnTo>
                    <a:pt x="1219292" y="1120437"/>
                  </a:lnTo>
                  <a:lnTo>
                    <a:pt x="1165755" y="1039140"/>
                  </a:lnTo>
                  <a:lnTo>
                    <a:pt x="1112217" y="956929"/>
                  </a:lnTo>
                  <a:lnTo>
                    <a:pt x="1031910" y="832148"/>
                  </a:lnTo>
                  <a:lnTo>
                    <a:pt x="924832" y="663643"/>
                  </a:lnTo>
                  <a:lnTo>
                    <a:pt x="550061" y="67364"/>
                  </a:lnTo>
                  <a:lnTo>
                    <a:pt x="523292" y="25067"/>
                  </a:lnTo>
                  <a:lnTo>
                    <a:pt x="513593" y="13804"/>
                  </a:lnTo>
                  <a:lnTo>
                    <a:pt x="501467" y="6003"/>
                  </a:lnTo>
                  <a:lnTo>
                    <a:pt x="487545" y="1468"/>
                  </a:lnTo>
                  <a:lnTo>
                    <a:pt x="472456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12804444" y="3480889"/>
              <a:ext cx="700405" cy="480695"/>
            </a:xfrm>
            <a:custGeom>
              <a:avLst/>
              <a:gdLst/>
              <a:ahLst/>
              <a:cxnLst/>
              <a:rect l="l" t="t" r="r" b="b"/>
              <a:pathLst>
                <a:path w="700405" h="480695">
                  <a:moveTo>
                    <a:pt x="700271" y="0"/>
                  </a:moveTo>
                  <a:lnTo>
                    <a:pt x="0" y="0"/>
                  </a:lnTo>
                  <a:lnTo>
                    <a:pt x="0" y="195104"/>
                  </a:lnTo>
                  <a:lnTo>
                    <a:pt x="3986" y="238367"/>
                  </a:lnTo>
                  <a:lnTo>
                    <a:pt x="15520" y="279279"/>
                  </a:lnTo>
                  <a:lnTo>
                    <a:pt x="33962" y="317468"/>
                  </a:lnTo>
                  <a:lnTo>
                    <a:pt x="58673" y="352560"/>
                  </a:lnTo>
                  <a:lnTo>
                    <a:pt x="89013" y="384183"/>
                  </a:lnTo>
                  <a:lnTo>
                    <a:pt x="124343" y="411963"/>
                  </a:lnTo>
                  <a:lnTo>
                    <a:pt x="164025" y="435528"/>
                  </a:lnTo>
                  <a:lnTo>
                    <a:pt x="207418" y="454506"/>
                  </a:lnTo>
                  <a:lnTo>
                    <a:pt x="253884" y="468523"/>
                  </a:lnTo>
                  <a:lnTo>
                    <a:pt x="302783" y="477206"/>
                  </a:lnTo>
                  <a:lnTo>
                    <a:pt x="353476" y="480184"/>
                  </a:lnTo>
                  <a:lnTo>
                    <a:pt x="360805" y="480184"/>
                  </a:lnTo>
                  <a:lnTo>
                    <a:pt x="411172" y="477206"/>
                  </a:lnTo>
                  <a:lnTo>
                    <a:pt x="459176" y="468523"/>
                  </a:lnTo>
                  <a:lnTo>
                    <a:pt x="504305" y="454506"/>
                  </a:lnTo>
                  <a:lnTo>
                    <a:pt x="546046" y="435528"/>
                  </a:lnTo>
                  <a:lnTo>
                    <a:pt x="583885" y="411963"/>
                  </a:lnTo>
                  <a:lnTo>
                    <a:pt x="617310" y="384183"/>
                  </a:lnTo>
                  <a:lnTo>
                    <a:pt x="645808" y="352560"/>
                  </a:lnTo>
                  <a:lnTo>
                    <a:pt x="668867" y="317468"/>
                  </a:lnTo>
                  <a:lnTo>
                    <a:pt x="685972" y="279279"/>
                  </a:lnTo>
                  <a:lnTo>
                    <a:pt x="696611" y="238367"/>
                  </a:lnTo>
                  <a:lnTo>
                    <a:pt x="700271" y="195104"/>
                  </a:lnTo>
                  <a:lnTo>
                    <a:pt x="700271" y="0"/>
                  </a:lnTo>
                  <a:close/>
                </a:path>
              </a:pathLst>
            </a:custGeom>
            <a:solidFill>
              <a:srgbClr val="0B468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13504715" y="3480889"/>
              <a:ext cx="670560" cy="480695"/>
            </a:xfrm>
            <a:custGeom>
              <a:avLst/>
              <a:gdLst/>
              <a:ahLst/>
              <a:cxnLst/>
              <a:rect l="l" t="t" r="r" b="b"/>
              <a:pathLst>
                <a:path w="670559" h="480695">
                  <a:moveTo>
                    <a:pt x="670262" y="0"/>
                  </a:moveTo>
                  <a:lnTo>
                    <a:pt x="0" y="0"/>
                  </a:lnTo>
                  <a:lnTo>
                    <a:pt x="0" y="195104"/>
                  </a:lnTo>
                  <a:lnTo>
                    <a:pt x="3530" y="238367"/>
                  </a:lnTo>
                  <a:lnTo>
                    <a:pt x="13803" y="279279"/>
                  </a:lnTo>
                  <a:lnTo>
                    <a:pt x="30340" y="317468"/>
                  </a:lnTo>
                  <a:lnTo>
                    <a:pt x="52664" y="352560"/>
                  </a:lnTo>
                  <a:lnTo>
                    <a:pt x="80296" y="384183"/>
                  </a:lnTo>
                  <a:lnTo>
                    <a:pt x="112759" y="411963"/>
                  </a:lnTo>
                  <a:lnTo>
                    <a:pt x="149574" y="435528"/>
                  </a:lnTo>
                  <a:lnTo>
                    <a:pt x="190265" y="454506"/>
                  </a:lnTo>
                  <a:lnTo>
                    <a:pt x="234352" y="468523"/>
                  </a:lnTo>
                  <a:lnTo>
                    <a:pt x="281359" y="477206"/>
                  </a:lnTo>
                  <a:lnTo>
                    <a:pt x="330806" y="480184"/>
                  </a:lnTo>
                  <a:lnTo>
                    <a:pt x="338021" y="480184"/>
                  </a:lnTo>
                  <a:lnTo>
                    <a:pt x="387501" y="477206"/>
                  </a:lnTo>
                  <a:lnTo>
                    <a:pt x="434599" y="468523"/>
                  </a:lnTo>
                  <a:lnTo>
                    <a:pt x="478824" y="454506"/>
                  </a:lnTo>
                  <a:lnTo>
                    <a:pt x="519683" y="435528"/>
                  </a:lnTo>
                  <a:lnTo>
                    <a:pt x="556688" y="411963"/>
                  </a:lnTo>
                  <a:lnTo>
                    <a:pt x="589346" y="384183"/>
                  </a:lnTo>
                  <a:lnTo>
                    <a:pt x="617167" y="352560"/>
                  </a:lnTo>
                  <a:lnTo>
                    <a:pt x="639659" y="317468"/>
                  </a:lnTo>
                  <a:lnTo>
                    <a:pt x="656334" y="279279"/>
                  </a:lnTo>
                  <a:lnTo>
                    <a:pt x="666698" y="238367"/>
                  </a:lnTo>
                  <a:lnTo>
                    <a:pt x="670262" y="195104"/>
                  </a:lnTo>
                  <a:lnTo>
                    <a:pt x="670262" y="0"/>
                  </a:lnTo>
                  <a:close/>
                </a:path>
              </a:pathLst>
            </a:custGeom>
            <a:solidFill>
              <a:srgbClr val="D79606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14174976" y="3480889"/>
              <a:ext cx="690880" cy="480695"/>
            </a:xfrm>
            <a:custGeom>
              <a:avLst/>
              <a:gdLst/>
              <a:ahLst/>
              <a:cxnLst/>
              <a:rect l="l" t="t" r="r" b="b"/>
              <a:pathLst>
                <a:path w="690880" h="480695">
                  <a:moveTo>
                    <a:pt x="690272" y="0"/>
                  </a:moveTo>
                  <a:lnTo>
                    <a:pt x="0" y="0"/>
                  </a:lnTo>
                  <a:lnTo>
                    <a:pt x="0" y="195104"/>
                  </a:lnTo>
                  <a:lnTo>
                    <a:pt x="3897" y="238367"/>
                  </a:lnTo>
                  <a:lnTo>
                    <a:pt x="15188" y="279279"/>
                  </a:lnTo>
                  <a:lnTo>
                    <a:pt x="33266" y="317468"/>
                  </a:lnTo>
                  <a:lnTo>
                    <a:pt x="57527" y="352560"/>
                  </a:lnTo>
                  <a:lnTo>
                    <a:pt x="87366" y="384183"/>
                  </a:lnTo>
                  <a:lnTo>
                    <a:pt x="122179" y="411963"/>
                  </a:lnTo>
                  <a:lnTo>
                    <a:pt x="161359" y="435528"/>
                  </a:lnTo>
                  <a:lnTo>
                    <a:pt x="204303" y="454506"/>
                  </a:lnTo>
                  <a:lnTo>
                    <a:pt x="250405" y="468523"/>
                  </a:lnTo>
                  <a:lnTo>
                    <a:pt x="299060" y="477206"/>
                  </a:lnTo>
                  <a:lnTo>
                    <a:pt x="349664" y="480184"/>
                  </a:lnTo>
                  <a:lnTo>
                    <a:pt x="356994" y="480184"/>
                  </a:lnTo>
                  <a:lnTo>
                    <a:pt x="407216" y="477206"/>
                  </a:lnTo>
                  <a:lnTo>
                    <a:pt x="454825" y="468523"/>
                  </a:lnTo>
                  <a:lnTo>
                    <a:pt x="499364" y="454506"/>
                  </a:lnTo>
                  <a:lnTo>
                    <a:pt x="540374" y="435528"/>
                  </a:lnTo>
                  <a:lnTo>
                    <a:pt x="577400" y="411963"/>
                  </a:lnTo>
                  <a:lnTo>
                    <a:pt x="609984" y="384183"/>
                  </a:lnTo>
                  <a:lnTo>
                    <a:pt x="637668" y="352560"/>
                  </a:lnTo>
                  <a:lnTo>
                    <a:pt x="659997" y="317468"/>
                  </a:lnTo>
                  <a:lnTo>
                    <a:pt x="676511" y="279279"/>
                  </a:lnTo>
                  <a:lnTo>
                    <a:pt x="686755" y="238367"/>
                  </a:lnTo>
                  <a:lnTo>
                    <a:pt x="690272" y="195104"/>
                  </a:lnTo>
                  <a:lnTo>
                    <a:pt x="690272" y="0"/>
                  </a:lnTo>
                  <a:close/>
                </a:path>
              </a:pathLst>
            </a:custGeom>
            <a:solidFill>
              <a:srgbClr val="0B468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14865244" y="3480889"/>
              <a:ext cx="680720" cy="480695"/>
            </a:xfrm>
            <a:custGeom>
              <a:avLst/>
              <a:gdLst/>
              <a:ahLst/>
              <a:cxnLst/>
              <a:rect l="l" t="t" r="r" b="b"/>
              <a:pathLst>
                <a:path w="680719" h="480695">
                  <a:moveTo>
                    <a:pt x="680262" y="0"/>
                  </a:moveTo>
                  <a:lnTo>
                    <a:pt x="0" y="0"/>
                  </a:lnTo>
                  <a:lnTo>
                    <a:pt x="0" y="195104"/>
                  </a:lnTo>
                  <a:lnTo>
                    <a:pt x="3674" y="238367"/>
                  </a:lnTo>
                  <a:lnTo>
                    <a:pt x="14343" y="279279"/>
                  </a:lnTo>
                  <a:lnTo>
                    <a:pt x="31472" y="317468"/>
                  </a:lnTo>
                  <a:lnTo>
                    <a:pt x="54527" y="352560"/>
                  </a:lnTo>
                  <a:lnTo>
                    <a:pt x="82974" y="384183"/>
                  </a:lnTo>
                  <a:lnTo>
                    <a:pt x="116280" y="411963"/>
                  </a:lnTo>
                  <a:lnTo>
                    <a:pt x="153910" y="435528"/>
                  </a:lnTo>
                  <a:lnTo>
                    <a:pt x="195332" y="454506"/>
                  </a:lnTo>
                  <a:lnTo>
                    <a:pt x="240011" y="468523"/>
                  </a:lnTo>
                  <a:lnTo>
                    <a:pt x="287413" y="477206"/>
                  </a:lnTo>
                  <a:lnTo>
                    <a:pt x="337005" y="480184"/>
                  </a:lnTo>
                  <a:lnTo>
                    <a:pt x="344209" y="480184"/>
                  </a:lnTo>
                  <a:lnTo>
                    <a:pt x="393781" y="477206"/>
                  </a:lnTo>
                  <a:lnTo>
                    <a:pt x="441124" y="468523"/>
                  </a:lnTo>
                  <a:lnTo>
                    <a:pt x="485712" y="454506"/>
                  </a:lnTo>
                  <a:lnTo>
                    <a:pt x="527022" y="435528"/>
                  </a:lnTo>
                  <a:lnTo>
                    <a:pt x="564527" y="411963"/>
                  </a:lnTo>
                  <a:lnTo>
                    <a:pt x="597702" y="384183"/>
                  </a:lnTo>
                  <a:lnTo>
                    <a:pt x="626023" y="352560"/>
                  </a:lnTo>
                  <a:lnTo>
                    <a:pt x="648965" y="317468"/>
                  </a:lnTo>
                  <a:lnTo>
                    <a:pt x="666002" y="279279"/>
                  </a:lnTo>
                  <a:lnTo>
                    <a:pt x="676609" y="238367"/>
                  </a:lnTo>
                  <a:lnTo>
                    <a:pt x="680262" y="195104"/>
                  </a:lnTo>
                  <a:lnTo>
                    <a:pt x="680262" y="0"/>
                  </a:lnTo>
                  <a:close/>
                </a:path>
              </a:pathLst>
            </a:custGeom>
            <a:solidFill>
              <a:srgbClr val="D79606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15545507" y="3480889"/>
              <a:ext cx="680720" cy="480695"/>
            </a:xfrm>
            <a:custGeom>
              <a:avLst/>
              <a:gdLst/>
              <a:ahLst/>
              <a:cxnLst/>
              <a:rect l="l" t="t" r="r" b="b"/>
              <a:pathLst>
                <a:path w="680719" h="480695">
                  <a:moveTo>
                    <a:pt x="680262" y="0"/>
                  </a:moveTo>
                  <a:lnTo>
                    <a:pt x="0" y="0"/>
                  </a:lnTo>
                  <a:lnTo>
                    <a:pt x="0" y="195104"/>
                  </a:lnTo>
                  <a:lnTo>
                    <a:pt x="3809" y="238367"/>
                  </a:lnTo>
                  <a:lnTo>
                    <a:pt x="14857" y="279279"/>
                  </a:lnTo>
                  <a:lnTo>
                    <a:pt x="32572" y="317468"/>
                  </a:lnTo>
                  <a:lnTo>
                    <a:pt x="56385" y="352560"/>
                  </a:lnTo>
                  <a:lnTo>
                    <a:pt x="85723" y="384183"/>
                  </a:lnTo>
                  <a:lnTo>
                    <a:pt x="120018" y="411963"/>
                  </a:lnTo>
                  <a:lnTo>
                    <a:pt x="158698" y="435528"/>
                  </a:lnTo>
                  <a:lnTo>
                    <a:pt x="201192" y="454506"/>
                  </a:lnTo>
                  <a:lnTo>
                    <a:pt x="246929" y="468523"/>
                  </a:lnTo>
                  <a:lnTo>
                    <a:pt x="295340" y="477206"/>
                  </a:lnTo>
                  <a:lnTo>
                    <a:pt x="345853" y="480184"/>
                  </a:lnTo>
                  <a:lnTo>
                    <a:pt x="353193" y="480184"/>
                  </a:lnTo>
                  <a:lnTo>
                    <a:pt x="403271" y="477206"/>
                  </a:lnTo>
                  <a:lnTo>
                    <a:pt x="450483" y="468523"/>
                  </a:lnTo>
                  <a:lnTo>
                    <a:pt x="494429" y="454506"/>
                  </a:lnTo>
                  <a:lnTo>
                    <a:pt x="534707" y="435528"/>
                  </a:lnTo>
                  <a:lnTo>
                    <a:pt x="570917" y="411963"/>
                  </a:lnTo>
                  <a:lnTo>
                    <a:pt x="602656" y="384183"/>
                  </a:lnTo>
                  <a:lnTo>
                    <a:pt x="629524" y="352560"/>
                  </a:lnTo>
                  <a:lnTo>
                    <a:pt x="651120" y="317468"/>
                  </a:lnTo>
                  <a:lnTo>
                    <a:pt x="667042" y="279279"/>
                  </a:lnTo>
                  <a:lnTo>
                    <a:pt x="676890" y="238367"/>
                  </a:lnTo>
                  <a:lnTo>
                    <a:pt x="680262" y="195104"/>
                  </a:lnTo>
                  <a:lnTo>
                    <a:pt x="680262" y="0"/>
                  </a:lnTo>
                  <a:close/>
                </a:path>
              </a:pathLst>
            </a:custGeom>
            <a:solidFill>
              <a:srgbClr val="0B468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object 58"/>
            <p:cNvSpPr/>
            <p:nvPr/>
          </p:nvSpPr>
          <p:spPr>
            <a:xfrm>
              <a:off x="16225772" y="3480889"/>
              <a:ext cx="690880" cy="480695"/>
            </a:xfrm>
            <a:custGeom>
              <a:avLst/>
              <a:gdLst/>
              <a:ahLst/>
              <a:cxnLst/>
              <a:rect l="l" t="t" r="r" b="b"/>
              <a:pathLst>
                <a:path w="690880" h="480695">
                  <a:moveTo>
                    <a:pt x="690261" y="0"/>
                  </a:moveTo>
                  <a:lnTo>
                    <a:pt x="0" y="0"/>
                  </a:lnTo>
                  <a:lnTo>
                    <a:pt x="0" y="195104"/>
                  </a:lnTo>
                  <a:lnTo>
                    <a:pt x="3818" y="238367"/>
                  </a:lnTo>
                  <a:lnTo>
                    <a:pt x="14882" y="279279"/>
                  </a:lnTo>
                  <a:lnTo>
                    <a:pt x="32601" y="317468"/>
                  </a:lnTo>
                  <a:lnTo>
                    <a:pt x="56386" y="352560"/>
                  </a:lnTo>
                  <a:lnTo>
                    <a:pt x="85647" y="384183"/>
                  </a:lnTo>
                  <a:lnTo>
                    <a:pt x="119795" y="411963"/>
                  </a:lnTo>
                  <a:lnTo>
                    <a:pt x="158239" y="435528"/>
                  </a:lnTo>
                  <a:lnTo>
                    <a:pt x="200391" y="454506"/>
                  </a:lnTo>
                  <a:lnTo>
                    <a:pt x="245660" y="468523"/>
                  </a:lnTo>
                  <a:lnTo>
                    <a:pt x="293457" y="477206"/>
                  </a:lnTo>
                  <a:lnTo>
                    <a:pt x="343193" y="480184"/>
                  </a:lnTo>
                  <a:lnTo>
                    <a:pt x="350408" y="480184"/>
                  </a:lnTo>
                  <a:lnTo>
                    <a:pt x="400066" y="477206"/>
                  </a:lnTo>
                  <a:lnTo>
                    <a:pt x="447650" y="468523"/>
                  </a:lnTo>
                  <a:lnTo>
                    <a:pt x="492601" y="454506"/>
                  </a:lnTo>
                  <a:lnTo>
                    <a:pt x="534358" y="435528"/>
                  </a:lnTo>
                  <a:lnTo>
                    <a:pt x="572363" y="411963"/>
                  </a:lnTo>
                  <a:lnTo>
                    <a:pt x="606057" y="384183"/>
                  </a:lnTo>
                  <a:lnTo>
                    <a:pt x="634878" y="352560"/>
                  </a:lnTo>
                  <a:lnTo>
                    <a:pt x="658269" y="317468"/>
                  </a:lnTo>
                  <a:lnTo>
                    <a:pt x="675669" y="279279"/>
                  </a:lnTo>
                  <a:lnTo>
                    <a:pt x="686520" y="238367"/>
                  </a:lnTo>
                  <a:lnTo>
                    <a:pt x="690261" y="195104"/>
                  </a:lnTo>
                  <a:lnTo>
                    <a:pt x="690261" y="0"/>
                  </a:lnTo>
                  <a:close/>
                </a:path>
              </a:pathLst>
            </a:custGeom>
            <a:solidFill>
              <a:srgbClr val="D79606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object 59"/>
            <p:cNvSpPr/>
            <p:nvPr/>
          </p:nvSpPr>
          <p:spPr>
            <a:xfrm>
              <a:off x="16916039" y="3480889"/>
              <a:ext cx="690880" cy="480695"/>
            </a:xfrm>
            <a:custGeom>
              <a:avLst/>
              <a:gdLst/>
              <a:ahLst/>
              <a:cxnLst/>
              <a:rect l="l" t="t" r="r" b="b"/>
              <a:pathLst>
                <a:path w="690880" h="480695">
                  <a:moveTo>
                    <a:pt x="690272" y="0"/>
                  </a:moveTo>
                  <a:lnTo>
                    <a:pt x="0" y="0"/>
                  </a:lnTo>
                  <a:lnTo>
                    <a:pt x="0" y="195104"/>
                  </a:lnTo>
                  <a:lnTo>
                    <a:pt x="3720" y="238367"/>
                  </a:lnTo>
                  <a:lnTo>
                    <a:pt x="14525" y="279279"/>
                  </a:lnTo>
                  <a:lnTo>
                    <a:pt x="31877" y="317468"/>
                  </a:lnTo>
                  <a:lnTo>
                    <a:pt x="55240" y="352560"/>
                  </a:lnTo>
                  <a:lnTo>
                    <a:pt x="84078" y="384183"/>
                  </a:lnTo>
                  <a:lnTo>
                    <a:pt x="117855" y="411963"/>
                  </a:lnTo>
                  <a:lnTo>
                    <a:pt x="156034" y="435528"/>
                  </a:lnTo>
                  <a:lnTo>
                    <a:pt x="198080" y="454506"/>
                  </a:lnTo>
                  <a:lnTo>
                    <a:pt x="243456" y="468523"/>
                  </a:lnTo>
                  <a:lnTo>
                    <a:pt x="291625" y="477206"/>
                  </a:lnTo>
                  <a:lnTo>
                    <a:pt x="342052" y="480184"/>
                  </a:lnTo>
                  <a:lnTo>
                    <a:pt x="349382" y="480184"/>
                  </a:lnTo>
                  <a:lnTo>
                    <a:pt x="399781" y="477206"/>
                  </a:lnTo>
                  <a:lnTo>
                    <a:pt x="447876" y="468523"/>
                  </a:lnTo>
                  <a:lnTo>
                    <a:pt x="493141" y="454506"/>
                  </a:lnTo>
                  <a:lnTo>
                    <a:pt x="535050" y="435528"/>
                  </a:lnTo>
                  <a:lnTo>
                    <a:pt x="573076" y="411963"/>
                  </a:lnTo>
                  <a:lnTo>
                    <a:pt x="606695" y="384183"/>
                  </a:lnTo>
                  <a:lnTo>
                    <a:pt x="635381" y="352560"/>
                  </a:lnTo>
                  <a:lnTo>
                    <a:pt x="658607" y="317468"/>
                  </a:lnTo>
                  <a:lnTo>
                    <a:pt x="675848" y="279279"/>
                  </a:lnTo>
                  <a:lnTo>
                    <a:pt x="686578" y="238367"/>
                  </a:lnTo>
                  <a:lnTo>
                    <a:pt x="690272" y="195104"/>
                  </a:lnTo>
                  <a:lnTo>
                    <a:pt x="690272" y="0"/>
                  </a:lnTo>
                  <a:close/>
                </a:path>
              </a:pathLst>
            </a:custGeom>
            <a:solidFill>
              <a:srgbClr val="0B468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17606307" y="3480889"/>
              <a:ext cx="670560" cy="480695"/>
            </a:xfrm>
            <a:custGeom>
              <a:avLst/>
              <a:gdLst/>
              <a:ahLst/>
              <a:cxnLst/>
              <a:rect l="l" t="t" r="r" b="b"/>
              <a:pathLst>
                <a:path w="670559" h="480695">
                  <a:moveTo>
                    <a:pt x="670262" y="0"/>
                  </a:moveTo>
                  <a:lnTo>
                    <a:pt x="0" y="0"/>
                  </a:lnTo>
                  <a:lnTo>
                    <a:pt x="0" y="195104"/>
                  </a:lnTo>
                  <a:lnTo>
                    <a:pt x="3497" y="238367"/>
                  </a:lnTo>
                  <a:lnTo>
                    <a:pt x="13679" y="279279"/>
                  </a:lnTo>
                  <a:lnTo>
                    <a:pt x="30080" y="317468"/>
                  </a:lnTo>
                  <a:lnTo>
                    <a:pt x="52236" y="352560"/>
                  </a:lnTo>
                  <a:lnTo>
                    <a:pt x="79682" y="384183"/>
                  </a:lnTo>
                  <a:lnTo>
                    <a:pt x="111952" y="411963"/>
                  </a:lnTo>
                  <a:lnTo>
                    <a:pt x="148581" y="435528"/>
                  </a:lnTo>
                  <a:lnTo>
                    <a:pt x="189105" y="454506"/>
                  </a:lnTo>
                  <a:lnTo>
                    <a:pt x="233058" y="468523"/>
                  </a:lnTo>
                  <a:lnTo>
                    <a:pt x="279976" y="477206"/>
                  </a:lnTo>
                  <a:lnTo>
                    <a:pt x="329393" y="480184"/>
                  </a:lnTo>
                  <a:lnTo>
                    <a:pt x="336597" y="480184"/>
                  </a:lnTo>
                  <a:lnTo>
                    <a:pt x="386111" y="477206"/>
                  </a:lnTo>
                  <a:lnTo>
                    <a:pt x="433300" y="468523"/>
                  </a:lnTo>
                  <a:lnTo>
                    <a:pt x="477660" y="454506"/>
                  </a:lnTo>
                  <a:lnTo>
                    <a:pt x="518687" y="435528"/>
                  </a:lnTo>
                  <a:lnTo>
                    <a:pt x="555879" y="411963"/>
                  </a:lnTo>
                  <a:lnTo>
                    <a:pt x="588731" y="384183"/>
                  </a:lnTo>
                  <a:lnTo>
                    <a:pt x="616739" y="352560"/>
                  </a:lnTo>
                  <a:lnTo>
                    <a:pt x="639399" y="317468"/>
                  </a:lnTo>
                  <a:lnTo>
                    <a:pt x="656209" y="279279"/>
                  </a:lnTo>
                  <a:lnTo>
                    <a:pt x="666665" y="238367"/>
                  </a:lnTo>
                  <a:lnTo>
                    <a:pt x="670262" y="195104"/>
                  </a:lnTo>
                  <a:lnTo>
                    <a:pt x="670262" y="0"/>
                  </a:lnTo>
                  <a:close/>
                </a:path>
              </a:pathLst>
            </a:custGeom>
            <a:solidFill>
              <a:srgbClr val="D79606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1" name="object 61"/>
          <p:cNvSpPr txBox="1"/>
          <p:nvPr/>
        </p:nvSpPr>
        <p:spPr>
          <a:xfrm>
            <a:off x="620830" y="6137322"/>
            <a:ext cx="5742853" cy="20769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algn="r" defTabSz="554492">
              <a:spcBef>
                <a:spcPts val="55"/>
              </a:spcBef>
            </a:pPr>
            <a:r>
              <a:rPr sz="1304" kern="0" dirty="0">
                <a:solidFill>
                  <a:srgbClr val="338DCD"/>
                </a:solidFill>
                <a:latin typeface="Verdana"/>
                <a:cs typeface="Verdana"/>
              </a:rPr>
              <a:t>*Средний</a:t>
            </a:r>
            <a:r>
              <a:rPr sz="1304" kern="0" spc="-45" dirty="0">
                <a:solidFill>
                  <a:srgbClr val="338DCD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338DCD"/>
                </a:solidFill>
                <a:latin typeface="Verdana"/>
                <a:cs typeface="Verdana"/>
              </a:rPr>
              <a:t>уровень</a:t>
            </a:r>
            <a:r>
              <a:rPr sz="1304" kern="0" spc="-42" dirty="0">
                <a:solidFill>
                  <a:srgbClr val="338DCD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338DCD"/>
                </a:solidFill>
                <a:latin typeface="Verdana"/>
                <a:cs typeface="Verdana"/>
              </a:rPr>
              <a:t>NPS</a:t>
            </a:r>
            <a:r>
              <a:rPr sz="1304" kern="0" spc="-42" dirty="0">
                <a:solidFill>
                  <a:srgbClr val="338DCD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338DCD"/>
                </a:solidFill>
                <a:latin typeface="Verdana"/>
                <a:cs typeface="Verdana"/>
              </a:rPr>
              <a:t>по</a:t>
            </a:r>
            <a:r>
              <a:rPr sz="1304" kern="0" spc="-45" dirty="0">
                <a:solidFill>
                  <a:srgbClr val="338DCD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338DCD"/>
                </a:solidFill>
                <a:latin typeface="Verdana"/>
                <a:cs typeface="Verdana"/>
              </a:rPr>
              <a:t>рынку</a:t>
            </a:r>
            <a:r>
              <a:rPr sz="1304" kern="0" spc="-42" dirty="0">
                <a:solidFill>
                  <a:srgbClr val="338DCD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338DCD"/>
                </a:solidFill>
                <a:latin typeface="Verdana"/>
                <a:cs typeface="Verdana"/>
              </a:rPr>
              <a:t>FMCG</a:t>
            </a:r>
            <a:r>
              <a:rPr sz="1304" kern="0" spc="-42" dirty="0">
                <a:solidFill>
                  <a:srgbClr val="338DCD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338DCD"/>
                </a:solidFill>
                <a:latin typeface="Verdana"/>
                <a:cs typeface="Verdana"/>
              </a:rPr>
              <a:t>=</a:t>
            </a:r>
            <a:r>
              <a:rPr sz="1304" kern="0" spc="-42" dirty="0">
                <a:solidFill>
                  <a:srgbClr val="338DCD"/>
                </a:solidFill>
                <a:latin typeface="Verdana"/>
                <a:cs typeface="Verdana"/>
              </a:rPr>
              <a:t> </a:t>
            </a:r>
            <a:r>
              <a:rPr sz="1304" kern="0" dirty="0">
                <a:solidFill>
                  <a:srgbClr val="338DCD"/>
                </a:solidFill>
                <a:latin typeface="Verdana"/>
                <a:cs typeface="Verdana"/>
              </a:rPr>
              <a:t>30%</a:t>
            </a:r>
            <a:r>
              <a:rPr sz="1304" kern="0" spc="-45" dirty="0">
                <a:solidFill>
                  <a:srgbClr val="338DCD"/>
                </a:solidFill>
                <a:latin typeface="Verdana"/>
                <a:cs typeface="Verdana"/>
              </a:rPr>
              <a:t> </a:t>
            </a:r>
            <a:r>
              <a:rPr sz="1304" kern="0" spc="-6" dirty="0">
                <a:solidFill>
                  <a:srgbClr val="FF0000"/>
                </a:solidFill>
                <a:latin typeface="Verdana"/>
                <a:cs typeface="Verdana"/>
                <a:hlinkClick r:id="rId10"/>
              </a:rPr>
              <a:t>www.customer.guru</a:t>
            </a:r>
            <a:endParaRPr sz="1304" kern="0" dirty="0">
              <a:solidFill>
                <a:srgbClr val="FF0000"/>
              </a:solidFill>
              <a:latin typeface="Verdana"/>
              <a:cs typeface="Verdana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808495" y="1406792"/>
            <a:ext cx="5511044" cy="3758166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defTabSz="554492">
              <a:spcBef>
                <a:spcPts val="64"/>
              </a:spcBef>
            </a:pP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Если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товар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не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может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быть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003B95"/>
                </a:solidFill>
                <a:latin typeface="Verdana"/>
                <a:cs typeface="Verdana"/>
              </a:rPr>
              <a:t>протестирован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717759" defTabSz="554492">
              <a:spcBef>
                <a:spcPts val="3"/>
              </a:spcBef>
            </a:pP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в</a:t>
            </a:r>
            <a:r>
              <a:rPr sz="1546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МАСТЕРСКОЙ,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то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проводятся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онлайн</a:t>
            </a:r>
            <a:r>
              <a:rPr sz="1546" kern="0" spc="-6" dirty="0">
                <a:solidFill>
                  <a:srgbClr val="003B95"/>
                </a:solidFill>
                <a:latin typeface="Verdana"/>
                <a:cs typeface="Verdana"/>
              </a:rPr>
              <a:t> опросы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покупателей</a:t>
            </a:r>
            <a:r>
              <a:rPr sz="1546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конкретного</a:t>
            </a:r>
            <a:r>
              <a:rPr sz="1546" kern="0" spc="-1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003B95"/>
                </a:solidFill>
                <a:latin typeface="Verdana"/>
                <a:cs typeface="Verdana"/>
              </a:rPr>
              <a:t>товара.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spcBef>
                <a:spcPts val="9"/>
              </a:spcBef>
            </a:pP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Покупатели</a:t>
            </a:r>
            <a:r>
              <a:rPr sz="1546" b="1" kern="0" spc="-18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этого</a:t>
            </a:r>
            <a:r>
              <a:rPr sz="1546" b="1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546" b="1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получают</a:t>
            </a:r>
            <a:r>
              <a:rPr sz="1546" b="1" kern="0" spc="-1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b="1" kern="0" spc="-6" dirty="0">
                <a:solidFill>
                  <a:srgbClr val="003B95"/>
                </a:solidFill>
                <a:latin typeface="Verdana"/>
                <a:cs typeface="Verdana"/>
              </a:rPr>
              <a:t>ссылку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spcBef>
                <a:spcPts val="6"/>
              </a:spcBef>
            </a:pP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с</a:t>
            </a:r>
            <a:r>
              <a:rPr sz="1546" b="1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вопросами</a:t>
            </a:r>
            <a:r>
              <a:rPr sz="1546" b="1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по</a:t>
            </a:r>
            <a:r>
              <a:rPr sz="1546" b="1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качеству</a:t>
            </a:r>
            <a:r>
              <a:rPr sz="1546" b="1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003B95"/>
                </a:solidFill>
                <a:latin typeface="Verdana"/>
                <a:cs typeface="Verdana"/>
              </a:rPr>
              <a:t>купленного</a:t>
            </a:r>
            <a:r>
              <a:rPr sz="1546" b="1" kern="0" spc="-6" dirty="0">
                <a:solidFill>
                  <a:srgbClr val="003B95"/>
                </a:solidFill>
                <a:latin typeface="Verdana"/>
                <a:cs typeface="Verdana"/>
              </a:rPr>
              <a:t> товара.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defTabSz="554492">
              <a:spcBef>
                <a:spcPts val="1843"/>
              </a:spcBef>
            </a:pP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530618" defTabSz="554492"/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Оценка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товара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делается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на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основе</a:t>
            </a:r>
            <a:r>
              <a:rPr sz="1546" kern="0" spc="-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spc="-6" dirty="0">
                <a:solidFill>
                  <a:srgbClr val="003B95"/>
                </a:solidFill>
                <a:latin typeface="Verdana"/>
                <a:cs typeface="Verdana"/>
              </a:rPr>
              <a:t>полученного </a:t>
            </a:r>
            <a:r>
              <a:rPr sz="1546" kern="0" dirty="0">
                <a:solidFill>
                  <a:srgbClr val="003B95"/>
                </a:solidFill>
                <a:latin typeface="Verdana"/>
                <a:cs typeface="Verdana"/>
              </a:rPr>
              <a:t>значения</a:t>
            </a:r>
            <a:r>
              <a:rPr sz="1546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546" kern="0" spc="-15" dirty="0">
                <a:solidFill>
                  <a:srgbClr val="003B95"/>
                </a:solidFill>
                <a:latin typeface="Verdana"/>
                <a:cs typeface="Verdana"/>
              </a:rPr>
              <a:t>NPS</a:t>
            </a:r>
            <a:endParaRPr sz="1546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marR="3081" defTabSz="554492">
              <a:lnSpc>
                <a:spcPts val="1619"/>
              </a:lnSpc>
              <a:spcBef>
                <a:spcPts val="18"/>
              </a:spcBef>
            </a:pPr>
            <a:r>
              <a:rPr sz="1334" i="1" kern="0" dirty="0">
                <a:solidFill>
                  <a:srgbClr val="003B95"/>
                </a:solidFill>
                <a:latin typeface="Verdana"/>
                <a:cs typeface="Verdana"/>
              </a:rPr>
              <a:t>NPS</a:t>
            </a:r>
            <a:r>
              <a:rPr sz="1334" i="1" kern="0" spc="4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34" i="1" kern="0" dirty="0">
                <a:solidFill>
                  <a:srgbClr val="003B95"/>
                </a:solidFill>
                <a:latin typeface="Verdana"/>
                <a:cs typeface="Verdana"/>
              </a:rPr>
              <a:t>–</a:t>
            </a:r>
            <a:r>
              <a:rPr sz="1334" i="1" kern="0" spc="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34" i="1" kern="0" dirty="0">
                <a:solidFill>
                  <a:srgbClr val="003B95"/>
                </a:solidFill>
                <a:latin typeface="Verdana"/>
                <a:cs typeface="Verdana"/>
              </a:rPr>
              <a:t>индекс</a:t>
            </a:r>
            <a:r>
              <a:rPr sz="1334" i="1" kern="0" spc="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34" i="1" kern="0" dirty="0">
                <a:solidFill>
                  <a:srgbClr val="003B95"/>
                </a:solidFill>
                <a:latin typeface="Verdana"/>
                <a:cs typeface="Verdana"/>
              </a:rPr>
              <a:t>лояльности</a:t>
            </a:r>
            <a:r>
              <a:rPr sz="1334" i="1" kern="0" spc="4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34" i="1" kern="0" dirty="0">
                <a:solidFill>
                  <a:srgbClr val="003B95"/>
                </a:solidFill>
                <a:latin typeface="Verdana"/>
                <a:cs typeface="Verdana"/>
              </a:rPr>
              <a:t>покупателей</a:t>
            </a:r>
            <a:r>
              <a:rPr sz="1334" i="1" kern="0" spc="4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34" i="1" kern="0" dirty="0">
                <a:solidFill>
                  <a:srgbClr val="003B95"/>
                </a:solidFill>
                <a:latin typeface="Verdana"/>
                <a:cs typeface="Verdana"/>
              </a:rPr>
              <a:t>к</a:t>
            </a:r>
            <a:r>
              <a:rPr sz="1334" i="1" kern="0" spc="4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34" i="1" kern="0" dirty="0">
                <a:solidFill>
                  <a:srgbClr val="003B95"/>
                </a:solidFill>
                <a:latin typeface="Verdana"/>
                <a:cs typeface="Verdana"/>
              </a:rPr>
              <a:t>конкретному</a:t>
            </a:r>
            <a:r>
              <a:rPr sz="1334" i="1" kern="0" spc="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34" i="1" kern="0" spc="-6" dirty="0">
                <a:solidFill>
                  <a:srgbClr val="003B95"/>
                </a:solidFill>
                <a:latin typeface="Verdana"/>
                <a:cs typeface="Verdana"/>
              </a:rPr>
              <a:t>товару </a:t>
            </a:r>
            <a:r>
              <a:rPr sz="1334" i="1" kern="0" dirty="0">
                <a:solidFill>
                  <a:srgbClr val="003B95"/>
                </a:solidFill>
                <a:latin typeface="Verdana"/>
                <a:cs typeface="Verdana"/>
              </a:rPr>
              <a:t>(Net</a:t>
            </a:r>
            <a:r>
              <a:rPr sz="1334" i="1" kern="0" spc="45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34" i="1" kern="0" dirty="0">
                <a:solidFill>
                  <a:srgbClr val="003B95"/>
                </a:solidFill>
                <a:latin typeface="Verdana"/>
                <a:cs typeface="Verdana"/>
              </a:rPr>
              <a:t>Promoter</a:t>
            </a:r>
            <a:r>
              <a:rPr sz="1334" i="1" kern="0" spc="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34" i="1" kern="0" spc="-6" dirty="0">
                <a:solidFill>
                  <a:srgbClr val="003B95"/>
                </a:solidFill>
                <a:latin typeface="Verdana"/>
                <a:cs typeface="Verdana"/>
              </a:rPr>
              <a:t>Score)</a:t>
            </a:r>
            <a:endParaRPr sz="133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defTabSz="554492"/>
            <a:endParaRPr sz="133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defTabSz="554492">
              <a:spcBef>
                <a:spcPts val="609"/>
              </a:spcBef>
            </a:pPr>
            <a:endParaRPr sz="133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2762"/>
              </a:lnSpc>
            </a:pPr>
            <a:r>
              <a:rPr sz="2304" kern="0" dirty="0">
                <a:solidFill>
                  <a:srgbClr val="3CAC62"/>
                </a:solidFill>
                <a:latin typeface="Verdana"/>
                <a:cs typeface="Verdana"/>
              </a:rPr>
              <a:t>Если</a:t>
            </a:r>
            <a:r>
              <a:rPr sz="2304" kern="0" spc="-49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2304" kern="0" dirty="0">
                <a:solidFill>
                  <a:srgbClr val="3CAC62"/>
                </a:solidFill>
                <a:latin typeface="Verdana"/>
                <a:cs typeface="Verdana"/>
              </a:rPr>
              <a:t>NPS</a:t>
            </a:r>
            <a:r>
              <a:rPr sz="2304" kern="0" spc="-73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2304" b="1" kern="0" dirty="0">
                <a:solidFill>
                  <a:srgbClr val="3CAC62"/>
                </a:solidFill>
                <a:latin typeface="Verdana"/>
                <a:cs typeface="Verdana"/>
              </a:rPr>
              <a:t>&lt;</a:t>
            </a:r>
            <a:r>
              <a:rPr sz="2304" b="1" kern="0" spc="-45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2304" b="1" kern="0" spc="-15" dirty="0">
                <a:solidFill>
                  <a:srgbClr val="3CAC62"/>
                </a:solidFill>
                <a:latin typeface="Verdana"/>
                <a:cs typeface="Verdana"/>
              </a:rPr>
              <a:t>30%</a:t>
            </a:r>
            <a:endParaRPr sz="230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lnSpc>
                <a:spcPts val="2762"/>
              </a:lnSpc>
            </a:pPr>
            <a:r>
              <a:rPr sz="2304" kern="0" dirty="0">
                <a:solidFill>
                  <a:srgbClr val="3CAC62"/>
                </a:solidFill>
                <a:latin typeface="Verdana"/>
                <a:cs typeface="Verdana"/>
              </a:rPr>
              <a:t>требуется</a:t>
            </a:r>
            <a:r>
              <a:rPr sz="2304" kern="0" spc="-121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2304" kern="0" dirty="0" err="1">
                <a:solidFill>
                  <a:srgbClr val="3CAC62"/>
                </a:solidFill>
                <a:latin typeface="Verdana"/>
                <a:cs typeface="Verdana"/>
              </a:rPr>
              <a:t>доработка</a:t>
            </a:r>
            <a:r>
              <a:rPr sz="2304" kern="0" spc="-121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2304" kern="0" spc="-6" dirty="0" err="1" smtClean="0">
                <a:solidFill>
                  <a:srgbClr val="3CAC62"/>
                </a:solidFill>
                <a:latin typeface="Verdana"/>
                <a:cs typeface="Verdana"/>
              </a:rPr>
              <a:t>товара</a:t>
            </a:r>
            <a:endParaRPr sz="230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3" name="object 63"/>
          <p:cNvSpPr txBox="1">
            <a:spLocks noGrp="1"/>
          </p:cNvSpPr>
          <p:nvPr>
            <p:ph type="title"/>
          </p:nvPr>
        </p:nvSpPr>
        <p:spPr>
          <a:xfrm>
            <a:off x="468237" y="239313"/>
            <a:ext cx="8357441" cy="661681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>
              <a:spcBef>
                <a:spcPts val="67"/>
              </a:spcBef>
            </a:pPr>
            <a:r>
              <a:rPr lang="ru-RU" sz="2122" dirty="0"/>
              <a:t>ОЦЕНКА</a:t>
            </a:r>
            <a:r>
              <a:rPr lang="ru-RU" sz="2122" spc="-6" dirty="0"/>
              <a:t> </a:t>
            </a:r>
            <a:r>
              <a:rPr lang="ru-RU" sz="2122" dirty="0"/>
              <a:t>УДОВЛЕТВОРЕННОСТИ </a:t>
            </a:r>
            <a:r>
              <a:rPr lang="ru-RU" sz="2122" spc="-6" dirty="0"/>
              <a:t>ПОКУПАТЕЛЕЙ: </a:t>
            </a:r>
            <a:r>
              <a:rPr sz="2122" b="0" dirty="0" err="1" smtClean="0"/>
              <a:t>онлайн</a:t>
            </a:r>
            <a:r>
              <a:rPr lang="ru-RU" sz="2122" b="0" spc="-15" dirty="0" smtClean="0"/>
              <a:t>-</a:t>
            </a:r>
            <a:r>
              <a:rPr sz="2122" b="0" spc="-6" dirty="0" err="1" smtClean="0"/>
              <a:t>опросы</a:t>
            </a:r>
            <a:endParaRPr sz="2122" dirty="0"/>
          </a:p>
        </p:txBody>
      </p:sp>
      <p:grpSp>
        <p:nvGrpSpPr>
          <p:cNvPr id="64" name="object 64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65" name="object 65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object 66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7" name="object 67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10938683" y="6161991"/>
            <a:ext cx="616873" cy="20769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</a:pPr>
            <a:r>
              <a:rPr sz="1304" kern="0" dirty="0">
                <a:solidFill>
                  <a:srgbClr val="338DCD"/>
                </a:solidFill>
                <a:latin typeface="Verdana"/>
                <a:cs typeface="Verdana"/>
              </a:rPr>
              <a:t>стр.</a:t>
            </a:r>
            <a:r>
              <a:rPr sz="1304" kern="0" spc="-30" dirty="0">
                <a:solidFill>
                  <a:srgbClr val="338DCD"/>
                </a:solidFill>
                <a:latin typeface="Verdana"/>
                <a:cs typeface="Verdana"/>
              </a:rPr>
              <a:t> </a:t>
            </a:r>
            <a:r>
              <a:rPr sz="1304" kern="0" spc="-15" dirty="0">
                <a:solidFill>
                  <a:srgbClr val="338DCD"/>
                </a:solidFill>
                <a:latin typeface="Verdana"/>
                <a:cs typeface="Verdana"/>
              </a:rPr>
              <a:t>3</a:t>
            </a:r>
            <a:r>
              <a:rPr lang="ru-RU" sz="1304" kern="0" spc="-15" dirty="0">
                <a:solidFill>
                  <a:srgbClr val="338DCD"/>
                </a:solidFill>
                <a:latin typeface="Verdana"/>
                <a:cs typeface="Verdana"/>
              </a:rPr>
              <a:t>6</a:t>
            </a:r>
            <a:endParaRPr sz="130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02604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Скругленный прямоугольник 58"/>
          <p:cNvSpPr/>
          <p:nvPr/>
        </p:nvSpPr>
        <p:spPr>
          <a:xfrm>
            <a:off x="2168342" y="5942514"/>
            <a:ext cx="6991617" cy="443782"/>
          </a:xfrm>
          <a:prstGeom prst="roundRect">
            <a:avLst/>
          </a:prstGeom>
          <a:solidFill>
            <a:srgbClr val="F9B8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endParaRPr lang="ru-RU" sz="1092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052097" y="2161357"/>
            <a:ext cx="6469085" cy="3590286"/>
          </a:xfrm>
          <a:custGeom>
            <a:avLst/>
            <a:gdLst/>
            <a:ahLst/>
            <a:cxnLst/>
            <a:rect l="l" t="t" r="r" b="b"/>
            <a:pathLst>
              <a:path w="8352790" h="6193790">
                <a:moveTo>
                  <a:pt x="0" y="6193486"/>
                </a:moveTo>
                <a:lnTo>
                  <a:pt x="0" y="0"/>
                </a:lnTo>
                <a:lnTo>
                  <a:pt x="8352656" y="0"/>
                </a:lnTo>
                <a:lnTo>
                  <a:pt x="8352656" y="268714"/>
                </a:lnTo>
              </a:path>
            </a:pathLst>
          </a:custGeom>
          <a:ln w="10449">
            <a:solidFill>
              <a:srgbClr val="338DCD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7953831" y="2343359"/>
            <a:ext cx="0" cy="3573784"/>
          </a:xfrm>
          <a:custGeom>
            <a:avLst/>
            <a:gdLst/>
            <a:ahLst/>
            <a:cxnLst/>
            <a:rect l="l" t="t" r="r" b="b"/>
            <a:pathLst>
              <a:path h="5893434">
                <a:moveTo>
                  <a:pt x="0" y="0"/>
                </a:moveTo>
                <a:lnTo>
                  <a:pt x="0" y="5893349"/>
                </a:lnTo>
              </a:path>
            </a:pathLst>
          </a:custGeom>
          <a:ln w="16983">
            <a:solidFill>
              <a:srgbClr val="338DCD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672280" y="1244296"/>
            <a:ext cx="2417050" cy="686570"/>
          </a:xfrm>
          <a:custGeom>
            <a:avLst/>
            <a:gdLst/>
            <a:ahLst/>
            <a:cxnLst/>
            <a:rect l="l" t="t" r="r" b="b"/>
            <a:pathLst>
              <a:path w="3985895" h="1132205">
                <a:moveTo>
                  <a:pt x="3743016" y="0"/>
                </a:moveTo>
                <a:lnTo>
                  <a:pt x="242757" y="0"/>
                </a:lnTo>
                <a:lnTo>
                  <a:pt x="193833" y="4932"/>
                </a:lnTo>
                <a:lnTo>
                  <a:pt x="148265" y="19077"/>
                </a:lnTo>
                <a:lnTo>
                  <a:pt x="107030" y="41459"/>
                </a:lnTo>
                <a:lnTo>
                  <a:pt x="71102" y="71102"/>
                </a:lnTo>
                <a:lnTo>
                  <a:pt x="41459" y="107030"/>
                </a:lnTo>
                <a:lnTo>
                  <a:pt x="19077" y="148265"/>
                </a:lnTo>
                <a:lnTo>
                  <a:pt x="4932" y="193833"/>
                </a:lnTo>
                <a:lnTo>
                  <a:pt x="0" y="242757"/>
                </a:lnTo>
                <a:lnTo>
                  <a:pt x="0" y="888862"/>
                </a:lnTo>
                <a:lnTo>
                  <a:pt x="4932" y="937786"/>
                </a:lnTo>
                <a:lnTo>
                  <a:pt x="19077" y="983354"/>
                </a:lnTo>
                <a:lnTo>
                  <a:pt x="41459" y="1024589"/>
                </a:lnTo>
                <a:lnTo>
                  <a:pt x="71102" y="1060517"/>
                </a:lnTo>
                <a:lnTo>
                  <a:pt x="107030" y="1090160"/>
                </a:lnTo>
                <a:lnTo>
                  <a:pt x="148265" y="1112542"/>
                </a:lnTo>
                <a:lnTo>
                  <a:pt x="193833" y="1126687"/>
                </a:lnTo>
                <a:lnTo>
                  <a:pt x="242757" y="1131619"/>
                </a:lnTo>
                <a:lnTo>
                  <a:pt x="3743016" y="1131619"/>
                </a:lnTo>
                <a:lnTo>
                  <a:pt x="3791940" y="1126687"/>
                </a:lnTo>
                <a:lnTo>
                  <a:pt x="3837508" y="1112542"/>
                </a:lnTo>
                <a:lnTo>
                  <a:pt x="3878743" y="1090160"/>
                </a:lnTo>
                <a:lnTo>
                  <a:pt x="3914671" y="1060517"/>
                </a:lnTo>
                <a:lnTo>
                  <a:pt x="3944314" y="1024589"/>
                </a:lnTo>
                <a:lnTo>
                  <a:pt x="3966696" y="983354"/>
                </a:lnTo>
                <a:lnTo>
                  <a:pt x="3980841" y="937786"/>
                </a:lnTo>
                <a:lnTo>
                  <a:pt x="3985773" y="888862"/>
                </a:lnTo>
                <a:lnTo>
                  <a:pt x="3985773" y="242757"/>
                </a:lnTo>
                <a:lnTo>
                  <a:pt x="3980841" y="193833"/>
                </a:lnTo>
                <a:lnTo>
                  <a:pt x="3966696" y="148265"/>
                </a:lnTo>
                <a:lnTo>
                  <a:pt x="3944314" y="107030"/>
                </a:lnTo>
                <a:lnTo>
                  <a:pt x="3914671" y="71102"/>
                </a:lnTo>
                <a:lnTo>
                  <a:pt x="3878743" y="41459"/>
                </a:lnTo>
                <a:lnTo>
                  <a:pt x="3837508" y="19077"/>
                </a:lnTo>
                <a:lnTo>
                  <a:pt x="3791940" y="4932"/>
                </a:lnTo>
                <a:lnTo>
                  <a:pt x="3743016" y="0"/>
                </a:lnTo>
                <a:close/>
              </a:path>
            </a:pathLst>
          </a:custGeom>
          <a:solidFill>
            <a:srgbClr val="DADADA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66931" y="1322827"/>
            <a:ext cx="1421658" cy="513357"/>
          </a:xfrm>
          <a:prstGeom prst="rect">
            <a:avLst/>
          </a:prstGeom>
        </p:spPr>
        <p:txBody>
          <a:bodyPr vert="horz" wrap="square" lIns="0" tIns="13092" rIns="0" bIns="0" rtlCol="0">
            <a:spAutoFit/>
          </a:bodyPr>
          <a:lstStyle/>
          <a:p>
            <a:pPr marL="7701" marR="3081" algn="ctr" defTabSz="554492">
              <a:lnSpc>
                <a:spcPts val="1340"/>
              </a:lnSpc>
              <a:spcBef>
                <a:spcPts val="103"/>
              </a:spcBef>
              <a:tabLst>
                <a:tab pos="697736" algn="l"/>
              </a:tabLst>
            </a:pPr>
            <a:r>
              <a:rPr sz="1122" b="1" kern="0" spc="-6" dirty="0">
                <a:solidFill>
                  <a:srgbClr val="003B95"/>
                </a:solidFill>
                <a:latin typeface="Verdana"/>
                <a:cs typeface="Verdana"/>
              </a:rPr>
              <a:t>Анализ</a:t>
            </a:r>
            <a:r>
              <a:rPr sz="1122" b="1" kern="0" dirty="0">
                <a:solidFill>
                  <a:srgbClr val="003B95"/>
                </a:solidFill>
                <a:latin typeface="Verdana"/>
                <a:cs typeface="Verdana"/>
              </a:rPr>
              <a:t>	</a:t>
            </a:r>
            <a:r>
              <a:rPr sz="1122" b="1" kern="0" spc="-6" dirty="0">
                <a:solidFill>
                  <a:srgbClr val="003B95"/>
                </a:solidFill>
                <a:latin typeface="Verdana"/>
                <a:cs typeface="Verdana"/>
              </a:rPr>
              <a:t>жалоб, </a:t>
            </a:r>
            <a:r>
              <a:rPr sz="1122" b="1" kern="0" dirty="0">
                <a:solidFill>
                  <a:srgbClr val="003B95"/>
                </a:solidFill>
                <a:latin typeface="Verdana"/>
                <a:cs typeface="Verdana"/>
              </a:rPr>
              <a:t>мониторинг</a:t>
            </a:r>
            <a:r>
              <a:rPr sz="1122" b="1" kern="0" spc="-91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122" b="1" kern="0" spc="-12" dirty="0">
                <a:solidFill>
                  <a:srgbClr val="003B95"/>
                </a:solidFill>
                <a:latin typeface="Verdana"/>
                <a:cs typeface="Verdana"/>
              </a:rPr>
              <a:t>ПИТ, </a:t>
            </a:r>
            <a:r>
              <a:rPr sz="1122" b="1" kern="0" spc="-6" dirty="0">
                <a:solidFill>
                  <a:srgbClr val="003B95"/>
                </a:solidFill>
                <a:latin typeface="Verdana"/>
                <a:cs typeface="Verdana"/>
              </a:rPr>
              <a:t>продаж</a:t>
            </a:r>
            <a:endParaRPr sz="112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715725" y="1244296"/>
            <a:ext cx="2417050" cy="686570"/>
          </a:xfrm>
          <a:custGeom>
            <a:avLst/>
            <a:gdLst/>
            <a:ahLst/>
            <a:cxnLst/>
            <a:rect l="l" t="t" r="r" b="b"/>
            <a:pathLst>
              <a:path w="3985895" h="1132205">
                <a:moveTo>
                  <a:pt x="3743016" y="0"/>
                </a:moveTo>
                <a:lnTo>
                  <a:pt x="242757" y="0"/>
                </a:lnTo>
                <a:lnTo>
                  <a:pt x="193833" y="4932"/>
                </a:lnTo>
                <a:lnTo>
                  <a:pt x="148265" y="19077"/>
                </a:lnTo>
                <a:lnTo>
                  <a:pt x="107030" y="41459"/>
                </a:lnTo>
                <a:lnTo>
                  <a:pt x="71102" y="71102"/>
                </a:lnTo>
                <a:lnTo>
                  <a:pt x="41459" y="107030"/>
                </a:lnTo>
                <a:lnTo>
                  <a:pt x="19077" y="148265"/>
                </a:lnTo>
                <a:lnTo>
                  <a:pt x="4932" y="193833"/>
                </a:lnTo>
                <a:lnTo>
                  <a:pt x="0" y="242757"/>
                </a:lnTo>
                <a:lnTo>
                  <a:pt x="0" y="888862"/>
                </a:lnTo>
                <a:lnTo>
                  <a:pt x="4932" y="937786"/>
                </a:lnTo>
                <a:lnTo>
                  <a:pt x="19077" y="983354"/>
                </a:lnTo>
                <a:lnTo>
                  <a:pt x="41459" y="1024589"/>
                </a:lnTo>
                <a:lnTo>
                  <a:pt x="71102" y="1060517"/>
                </a:lnTo>
                <a:lnTo>
                  <a:pt x="107030" y="1090160"/>
                </a:lnTo>
                <a:lnTo>
                  <a:pt x="148265" y="1112542"/>
                </a:lnTo>
                <a:lnTo>
                  <a:pt x="193833" y="1126687"/>
                </a:lnTo>
                <a:lnTo>
                  <a:pt x="242757" y="1131619"/>
                </a:lnTo>
                <a:lnTo>
                  <a:pt x="3743016" y="1131619"/>
                </a:lnTo>
                <a:lnTo>
                  <a:pt x="3791940" y="1126687"/>
                </a:lnTo>
                <a:lnTo>
                  <a:pt x="3837508" y="1112542"/>
                </a:lnTo>
                <a:lnTo>
                  <a:pt x="3878743" y="1090160"/>
                </a:lnTo>
                <a:lnTo>
                  <a:pt x="3914671" y="1060517"/>
                </a:lnTo>
                <a:lnTo>
                  <a:pt x="3944314" y="1024589"/>
                </a:lnTo>
                <a:lnTo>
                  <a:pt x="3966696" y="983354"/>
                </a:lnTo>
                <a:lnTo>
                  <a:pt x="3980841" y="937786"/>
                </a:lnTo>
                <a:lnTo>
                  <a:pt x="3985773" y="888862"/>
                </a:lnTo>
                <a:lnTo>
                  <a:pt x="3985773" y="242757"/>
                </a:lnTo>
                <a:lnTo>
                  <a:pt x="3980841" y="193833"/>
                </a:lnTo>
                <a:lnTo>
                  <a:pt x="3966696" y="148265"/>
                </a:lnTo>
                <a:lnTo>
                  <a:pt x="3944314" y="107030"/>
                </a:lnTo>
                <a:lnTo>
                  <a:pt x="3914671" y="71102"/>
                </a:lnTo>
                <a:lnTo>
                  <a:pt x="3878743" y="41459"/>
                </a:lnTo>
                <a:lnTo>
                  <a:pt x="3837508" y="19077"/>
                </a:lnTo>
                <a:lnTo>
                  <a:pt x="3791940" y="4932"/>
                </a:lnTo>
                <a:lnTo>
                  <a:pt x="3743016" y="0"/>
                </a:lnTo>
                <a:close/>
              </a:path>
            </a:pathLst>
          </a:custGeom>
          <a:solidFill>
            <a:srgbClr val="DADADA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790343" y="1322833"/>
            <a:ext cx="2262639" cy="449237"/>
          </a:xfrm>
          <a:prstGeom prst="rect">
            <a:avLst/>
          </a:prstGeom>
        </p:spPr>
        <p:txBody>
          <a:bodyPr vert="horz" wrap="square" lIns="0" tIns="13092" rIns="0" bIns="0" rtlCol="0">
            <a:spAutoFit/>
          </a:bodyPr>
          <a:lstStyle/>
          <a:p>
            <a:pPr marL="474784" marR="471318" algn="ctr" defTabSz="554492">
              <a:lnSpc>
                <a:spcPts val="1340"/>
              </a:lnSpc>
              <a:spcBef>
                <a:spcPts val="103"/>
              </a:spcBef>
            </a:pPr>
            <a:r>
              <a:rPr sz="1122" b="1" kern="0" spc="-6" dirty="0">
                <a:solidFill>
                  <a:srgbClr val="003B95"/>
                </a:solidFill>
                <a:latin typeface="Verdana"/>
                <a:cs typeface="Verdana"/>
              </a:rPr>
              <a:t>Подтверждение проблематики</a:t>
            </a:r>
            <a:endParaRPr sz="112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algn="ctr" defTabSz="554492">
              <a:lnSpc>
                <a:spcPts val="849"/>
              </a:lnSpc>
            </a:pPr>
            <a:r>
              <a:rPr sz="667" kern="0" dirty="0">
                <a:solidFill>
                  <a:srgbClr val="003B95"/>
                </a:solidFill>
                <a:latin typeface="Verdana"/>
                <a:cs typeface="Verdana"/>
              </a:rPr>
              <a:t>(</a:t>
            </a:r>
            <a:r>
              <a:rPr sz="667" kern="0" dirty="0">
                <a:solidFill>
                  <a:srgbClr val="003B95"/>
                </a:solidFill>
                <a:latin typeface="Verdana"/>
                <a:cs typeface="Verdana"/>
                <a:hlinkClick r:id="rId2" action="ppaction://hlinksldjump"/>
              </a:rPr>
              <a:t>см.</a:t>
            </a:r>
            <a:r>
              <a:rPr sz="667" kern="0" spc="33" dirty="0">
                <a:solidFill>
                  <a:srgbClr val="003B95"/>
                </a:solidFill>
                <a:latin typeface="Verdana"/>
                <a:cs typeface="Verdana"/>
                <a:hlinkClick r:id="rId2" action="ppaction://hlinksldjump"/>
              </a:rPr>
              <a:t> </a:t>
            </a:r>
            <a:r>
              <a:rPr sz="667" kern="0" dirty="0">
                <a:solidFill>
                  <a:srgbClr val="003B95"/>
                </a:solidFill>
                <a:latin typeface="Verdana"/>
                <a:cs typeface="Verdana"/>
                <a:hlinkClick r:id="rId2" action="ppaction://hlinksldjump"/>
              </a:rPr>
              <a:t>раздел</a:t>
            </a:r>
            <a:r>
              <a:rPr sz="667" kern="0" spc="33" dirty="0">
                <a:solidFill>
                  <a:srgbClr val="003B95"/>
                </a:solidFill>
                <a:latin typeface="Verdana"/>
                <a:cs typeface="Verdana"/>
                <a:hlinkClick r:id="rId2" action="ppaction://hlinksldjump"/>
              </a:rPr>
              <a:t> </a:t>
            </a:r>
            <a:r>
              <a:rPr sz="667" kern="0" dirty="0">
                <a:solidFill>
                  <a:srgbClr val="003B95"/>
                </a:solidFill>
                <a:latin typeface="Verdana"/>
                <a:cs typeface="Verdana"/>
                <a:hlinkClick r:id="rId2" action="ppaction://hlinksldjump"/>
              </a:rPr>
              <a:t>“Контроль</a:t>
            </a:r>
            <a:r>
              <a:rPr sz="667" kern="0" spc="33" dirty="0">
                <a:solidFill>
                  <a:srgbClr val="003B95"/>
                </a:solidFill>
                <a:latin typeface="Verdana"/>
                <a:cs typeface="Verdana"/>
                <a:hlinkClick r:id="rId2" action="ppaction://hlinksldjump"/>
              </a:rPr>
              <a:t> </a:t>
            </a:r>
            <a:r>
              <a:rPr sz="667" kern="0" dirty="0">
                <a:solidFill>
                  <a:srgbClr val="003B95"/>
                </a:solidFill>
                <a:latin typeface="Verdana"/>
                <a:cs typeface="Verdana"/>
                <a:hlinkClick r:id="rId2" action="ppaction://hlinksldjump"/>
              </a:rPr>
              <a:t>Качества</a:t>
            </a:r>
            <a:r>
              <a:rPr sz="667" kern="0" spc="33" dirty="0">
                <a:solidFill>
                  <a:srgbClr val="003B95"/>
                </a:solidFill>
                <a:latin typeface="Verdana"/>
                <a:cs typeface="Verdana"/>
                <a:hlinkClick r:id="rId2" action="ppaction://hlinksldjump"/>
              </a:rPr>
              <a:t> </a:t>
            </a:r>
            <a:r>
              <a:rPr sz="667" kern="0" spc="-6" dirty="0" err="1">
                <a:solidFill>
                  <a:srgbClr val="003B95"/>
                </a:solidFill>
                <a:latin typeface="Verdana"/>
                <a:cs typeface="Verdana"/>
                <a:hlinkClick r:id="rId2" action="ppaction://hlinksldjump"/>
              </a:rPr>
              <a:t>товаров</a:t>
            </a:r>
            <a:r>
              <a:rPr sz="667" kern="0" spc="-6" dirty="0">
                <a:solidFill>
                  <a:srgbClr val="003B95"/>
                </a:solidFill>
                <a:latin typeface="Verdana"/>
                <a:cs typeface="Verdana"/>
                <a:hlinkClick r:id="rId2" action="ppaction://hlinksldjump"/>
              </a:rPr>
              <a:t>”</a:t>
            </a:r>
            <a:r>
              <a:rPr lang="ru-RU" sz="667" kern="0" spc="-6" dirty="0">
                <a:solidFill>
                  <a:srgbClr val="003B95"/>
                </a:solidFill>
                <a:latin typeface="Verdana"/>
                <a:cs typeface="Verdana"/>
                <a:hlinkClick r:id="rId2" action="ppaction://hlinksldjump"/>
              </a:rPr>
              <a:t> </a:t>
            </a:r>
            <a:r>
              <a:rPr lang="ru-RU" sz="667" kern="0" spc="-6" dirty="0">
                <a:solidFill>
                  <a:srgbClr val="003B95"/>
                </a:solidFill>
                <a:latin typeface="Verdana"/>
                <a:cs typeface="Verdana"/>
              </a:rPr>
              <a:t>стр. 24</a:t>
            </a:r>
            <a:r>
              <a:rPr sz="667" kern="0" spc="-6" dirty="0">
                <a:solidFill>
                  <a:srgbClr val="003B95"/>
                </a:solidFill>
                <a:latin typeface="Verdana"/>
                <a:cs typeface="Verdana"/>
              </a:rPr>
              <a:t>)</a:t>
            </a:r>
            <a:endParaRPr sz="667" kern="0" dirty="0">
              <a:solidFill>
                <a:srgbClr val="003B95"/>
              </a:solidFill>
              <a:latin typeface="Verdana"/>
              <a:cs typeface="Verdana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742909" y="1244296"/>
            <a:ext cx="2417050" cy="686570"/>
          </a:xfrm>
          <a:custGeom>
            <a:avLst/>
            <a:gdLst/>
            <a:ahLst/>
            <a:cxnLst/>
            <a:rect l="l" t="t" r="r" b="b"/>
            <a:pathLst>
              <a:path w="3985894" h="1132205">
                <a:moveTo>
                  <a:pt x="3743016" y="0"/>
                </a:moveTo>
                <a:lnTo>
                  <a:pt x="242757" y="0"/>
                </a:lnTo>
                <a:lnTo>
                  <a:pt x="193833" y="4932"/>
                </a:lnTo>
                <a:lnTo>
                  <a:pt x="148265" y="19077"/>
                </a:lnTo>
                <a:lnTo>
                  <a:pt x="107030" y="41459"/>
                </a:lnTo>
                <a:lnTo>
                  <a:pt x="71102" y="71102"/>
                </a:lnTo>
                <a:lnTo>
                  <a:pt x="41459" y="107030"/>
                </a:lnTo>
                <a:lnTo>
                  <a:pt x="19077" y="148265"/>
                </a:lnTo>
                <a:lnTo>
                  <a:pt x="4932" y="193833"/>
                </a:lnTo>
                <a:lnTo>
                  <a:pt x="0" y="242757"/>
                </a:lnTo>
                <a:lnTo>
                  <a:pt x="0" y="888862"/>
                </a:lnTo>
                <a:lnTo>
                  <a:pt x="4932" y="937786"/>
                </a:lnTo>
                <a:lnTo>
                  <a:pt x="19077" y="983354"/>
                </a:lnTo>
                <a:lnTo>
                  <a:pt x="41459" y="1024589"/>
                </a:lnTo>
                <a:lnTo>
                  <a:pt x="71102" y="1060517"/>
                </a:lnTo>
                <a:lnTo>
                  <a:pt x="107030" y="1090160"/>
                </a:lnTo>
                <a:lnTo>
                  <a:pt x="148265" y="1112542"/>
                </a:lnTo>
                <a:lnTo>
                  <a:pt x="193833" y="1126687"/>
                </a:lnTo>
                <a:lnTo>
                  <a:pt x="242757" y="1131619"/>
                </a:lnTo>
                <a:lnTo>
                  <a:pt x="3743016" y="1131619"/>
                </a:lnTo>
                <a:lnTo>
                  <a:pt x="3791940" y="1126687"/>
                </a:lnTo>
                <a:lnTo>
                  <a:pt x="3837508" y="1112542"/>
                </a:lnTo>
                <a:lnTo>
                  <a:pt x="3878743" y="1090160"/>
                </a:lnTo>
                <a:lnTo>
                  <a:pt x="3914671" y="1060517"/>
                </a:lnTo>
                <a:lnTo>
                  <a:pt x="3944314" y="1024589"/>
                </a:lnTo>
                <a:lnTo>
                  <a:pt x="3966696" y="983354"/>
                </a:lnTo>
                <a:lnTo>
                  <a:pt x="3980841" y="937786"/>
                </a:lnTo>
                <a:lnTo>
                  <a:pt x="3985773" y="888862"/>
                </a:lnTo>
                <a:lnTo>
                  <a:pt x="3985773" y="242757"/>
                </a:lnTo>
                <a:lnTo>
                  <a:pt x="3980841" y="193833"/>
                </a:lnTo>
                <a:lnTo>
                  <a:pt x="3966696" y="148265"/>
                </a:lnTo>
                <a:lnTo>
                  <a:pt x="3944314" y="107030"/>
                </a:lnTo>
                <a:lnTo>
                  <a:pt x="3914671" y="71102"/>
                </a:lnTo>
                <a:lnTo>
                  <a:pt x="3878743" y="41459"/>
                </a:lnTo>
                <a:lnTo>
                  <a:pt x="3837508" y="19077"/>
                </a:lnTo>
                <a:lnTo>
                  <a:pt x="3791940" y="4932"/>
                </a:lnTo>
                <a:lnTo>
                  <a:pt x="3743016" y="0"/>
                </a:lnTo>
                <a:close/>
              </a:path>
            </a:pathLst>
          </a:custGeom>
          <a:solidFill>
            <a:srgbClr val="3CAC62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895282" y="1322827"/>
            <a:ext cx="2105532" cy="513357"/>
          </a:xfrm>
          <a:prstGeom prst="rect">
            <a:avLst/>
          </a:prstGeom>
        </p:spPr>
        <p:txBody>
          <a:bodyPr vert="horz" wrap="square" lIns="0" tIns="13092" rIns="0" bIns="0" rtlCol="0">
            <a:spAutoFit/>
          </a:bodyPr>
          <a:lstStyle/>
          <a:p>
            <a:pPr marL="7701" marR="3081" indent="385" algn="ctr" defTabSz="554492">
              <a:lnSpc>
                <a:spcPts val="1340"/>
              </a:lnSpc>
              <a:spcBef>
                <a:spcPts val="103"/>
              </a:spcBef>
            </a:pP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Проблематика подтверждена,</a:t>
            </a:r>
            <a:r>
              <a:rPr sz="1122" b="1" kern="0" spc="-6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варианты решения</a:t>
            </a:r>
            <a:endParaRPr sz="1122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873010" y="2328162"/>
            <a:ext cx="2417050" cy="500199"/>
          </a:xfrm>
          <a:custGeom>
            <a:avLst/>
            <a:gdLst/>
            <a:ahLst/>
            <a:cxnLst/>
            <a:rect l="l" t="t" r="r" b="b"/>
            <a:pathLst>
              <a:path w="3985895" h="824864">
                <a:moveTo>
                  <a:pt x="3778544" y="0"/>
                </a:moveTo>
                <a:lnTo>
                  <a:pt x="207229" y="0"/>
                </a:lnTo>
                <a:lnTo>
                  <a:pt x="159714" y="5472"/>
                </a:lnTo>
                <a:lnTo>
                  <a:pt x="116096" y="21061"/>
                </a:lnTo>
                <a:lnTo>
                  <a:pt x="77619" y="45522"/>
                </a:lnTo>
                <a:lnTo>
                  <a:pt x="45526" y="77612"/>
                </a:lnTo>
                <a:lnTo>
                  <a:pt x="21063" y="116087"/>
                </a:lnTo>
                <a:lnTo>
                  <a:pt x="5473" y="159704"/>
                </a:lnTo>
                <a:lnTo>
                  <a:pt x="0" y="207218"/>
                </a:lnTo>
                <a:lnTo>
                  <a:pt x="0" y="617384"/>
                </a:lnTo>
                <a:lnTo>
                  <a:pt x="5473" y="664899"/>
                </a:lnTo>
                <a:lnTo>
                  <a:pt x="21063" y="708517"/>
                </a:lnTo>
                <a:lnTo>
                  <a:pt x="45526" y="746994"/>
                </a:lnTo>
                <a:lnTo>
                  <a:pt x="77619" y="779086"/>
                </a:lnTo>
                <a:lnTo>
                  <a:pt x="116096" y="803550"/>
                </a:lnTo>
                <a:lnTo>
                  <a:pt x="159714" y="819140"/>
                </a:lnTo>
                <a:lnTo>
                  <a:pt x="207229" y="824613"/>
                </a:lnTo>
                <a:lnTo>
                  <a:pt x="3778544" y="824613"/>
                </a:lnTo>
                <a:lnTo>
                  <a:pt x="3826059" y="819140"/>
                </a:lnTo>
                <a:lnTo>
                  <a:pt x="3869677" y="803550"/>
                </a:lnTo>
                <a:lnTo>
                  <a:pt x="3908154" y="779086"/>
                </a:lnTo>
                <a:lnTo>
                  <a:pt x="3940247" y="746994"/>
                </a:lnTo>
                <a:lnTo>
                  <a:pt x="3964710" y="708517"/>
                </a:lnTo>
                <a:lnTo>
                  <a:pt x="3980300" y="664899"/>
                </a:lnTo>
                <a:lnTo>
                  <a:pt x="3985773" y="617384"/>
                </a:lnTo>
                <a:lnTo>
                  <a:pt x="3985773" y="207218"/>
                </a:lnTo>
                <a:lnTo>
                  <a:pt x="3980300" y="159704"/>
                </a:lnTo>
                <a:lnTo>
                  <a:pt x="3964710" y="116087"/>
                </a:lnTo>
                <a:lnTo>
                  <a:pt x="3940247" y="77612"/>
                </a:lnTo>
                <a:lnTo>
                  <a:pt x="3908154" y="45522"/>
                </a:lnTo>
                <a:lnTo>
                  <a:pt x="3869677" y="21061"/>
                </a:lnTo>
                <a:lnTo>
                  <a:pt x="3826059" y="5472"/>
                </a:lnTo>
                <a:lnTo>
                  <a:pt x="3778544" y="0"/>
                </a:lnTo>
                <a:close/>
              </a:path>
            </a:pathLst>
          </a:custGeom>
          <a:solidFill>
            <a:srgbClr val="6DB784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268102" y="2381292"/>
            <a:ext cx="1626513" cy="17967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</a:pPr>
            <a:r>
              <a:rPr sz="1122" b="1" kern="0" dirty="0">
                <a:solidFill>
                  <a:srgbClr val="FFFFFF"/>
                </a:solidFill>
                <a:latin typeface="Verdana"/>
                <a:cs typeface="Verdana"/>
              </a:rPr>
              <a:t>Запрос</a:t>
            </a:r>
            <a:r>
              <a:rPr sz="1122" b="1" kern="0" spc="-67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поставщику</a:t>
            </a:r>
            <a:endParaRPr sz="112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223292" y="2551459"/>
            <a:ext cx="1716233" cy="17967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</a:pPr>
            <a:r>
              <a:rPr sz="1122" b="1" kern="0" dirty="0">
                <a:solidFill>
                  <a:srgbClr val="FFFFFF"/>
                </a:solidFill>
                <a:latin typeface="Verdana"/>
                <a:cs typeface="Verdana"/>
              </a:rPr>
              <a:t>на</a:t>
            </a:r>
            <a:r>
              <a:rPr sz="1122" b="1" kern="0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122" b="1" kern="0" dirty="0">
                <a:solidFill>
                  <a:srgbClr val="FFFFFF"/>
                </a:solidFill>
                <a:latin typeface="Verdana"/>
                <a:cs typeface="Verdana"/>
              </a:rPr>
              <a:t>доработку</a:t>
            </a:r>
            <a:r>
              <a:rPr sz="1122" b="1" kern="0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товара</a:t>
            </a:r>
            <a:endParaRPr sz="112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745344" y="2328162"/>
            <a:ext cx="2417050" cy="500199"/>
          </a:xfrm>
          <a:custGeom>
            <a:avLst/>
            <a:gdLst/>
            <a:ahLst/>
            <a:cxnLst/>
            <a:rect l="l" t="t" r="r" b="b"/>
            <a:pathLst>
              <a:path w="3985894" h="824864">
                <a:moveTo>
                  <a:pt x="3778544" y="0"/>
                </a:moveTo>
                <a:lnTo>
                  <a:pt x="207229" y="0"/>
                </a:lnTo>
                <a:lnTo>
                  <a:pt x="159714" y="5472"/>
                </a:lnTo>
                <a:lnTo>
                  <a:pt x="116096" y="21061"/>
                </a:lnTo>
                <a:lnTo>
                  <a:pt x="77619" y="45522"/>
                </a:lnTo>
                <a:lnTo>
                  <a:pt x="45526" y="77612"/>
                </a:lnTo>
                <a:lnTo>
                  <a:pt x="21063" y="116087"/>
                </a:lnTo>
                <a:lnTo>
                  <a:pt x="5473" y="159704"/>
                </a:lnTo>
                <a:lnTo>
                  <a:pt x="0" y="207218"/>
                </a:lnTo>
                <a:lnTo>
                  <a:pt x="0" y="617384"/>
                </a:lnTo>
                <a:lnTo>
                  <a:pt x="5473" y="664899"/>
                </a:lnTo>
                <a:lnTo>
                  <a:pt x="21063" y="708517"/>
                </a:lnTo>
                <a:lnTo>
                  <a:pt x="45526" y="746994"/>
                </a:lnTo>
                <a:lnTo>
                  <a:pt x="77619" y="779086"/>
                </a:lnTo>
                <a:lnTo>
                  <a:pt x="116096" y="803550"/>
                </a:lnTo>
                <a:lnTo>
                  <a:pt x="159714" y="819140"/>
                </a:lnTo>
                <a:lnTo>
                  <a:pt x="207229" y="824613"/>
                </a:lnTo>
                <a:lnTo>
                  <a:pt x="3778544" y="824613"/>
                </a:lnTo>
                <a:lnTo>
                  <a:pt x="3826059" y="819140"/>
                </a:lnTo>
                <a:lnTo>
                  <a:pt x="3869677" y="803550"/>
                </a:lnTo>
                <a:lnTo>
                  <a:pt x="3908154" y="779086"/>
                </a:lnTo>
                <a:lnTo>
                  <a:pt x="3940247" y="746994"/>
                </a:lnTo>
                <a:lnTo>
                  <a:pt x="3964710" y="708517"/>
                </a:lnTo>
                <a:lnTo>
                  <a:pt x="3980300" y="664899"/>
                </a:lnTo>
                <a:lnTo>
                  <a:pt x="3985773" y="617384"/>
                </a:lnTo>
                <a:lnTo>
                  <a:pt x="3985773" y="207218"/>
                </a:lnTo>
                <a:lnTo>
                  <a:pt x="3980300" y="159704"/>
                </a:lnTo>
                <a:lnTo>
                  <a:pt x="3964710" y="116087"/>
                </a:lnTo>
                <a:lnTo>
                  <a:pt x="3940247" y="77612"/>
                </a:lnTo>
                <a:lnTo>
                  <a:pt x="3908154" y="45522"/>
                </a:lnTo>
                <a:lnTo>
                  <a:pt x="3869677" y="21061"/>
                </a:lnTo>
                <a:lnTo>
                  <a:pt x="3826059" y="5472"/>
                </a:lnTo>
                <a:lnTo>
                  <a:pt x="3778544" y="0"/>
                </a:lnTo>
                <a:close/>
              </a:path>
            </a:pathLst>
          </a:custGeom>
          <a:solidFill>
            <a:srgbClr val="6DB784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224837" y="2389758"/>
            <a:ext cx="1458240" cy="161404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defTabSz="554492">
              <a:spcBef>
                <a:spcPts val="58"/>
              </a:spcBef>
            </a:pPr>
            <a:r>
              <a:rPr sz="1001" b="1" kern="0" dirty="0">
                <a:solidFill>
                  <a:srgbClr val="FFFFFF"/>
                </a:solidFill>
                <a:latin typeface="Verdana"/>
                <a:cs typeface="Verdana"/>
              </a:rPr>
              <a:t>Запрос</a:t>
            </a:r>
            <a:r>
              <a:rPr sz="1001" b="1" kern="0" spc="-64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b="1" kern="0" spc="-6" dirty="0">
                <a:solidFill>
                  <a:srgbClr val="FFFFFF"/>
                </a:solidFill>
                <a:latin typeface="Verdana"/>
                <a:cs typeface="Verdana"/>
              </a:rPr>
              <a:t>поставщику</a:t>
            </a:r>
            <a:endParaRPr sz="1001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838276" y="2542147"/>
            <a:ext cx="2231449" cy="251044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algn="ctr" defTabSz="554492">
              <a:lnSpc>
                <a:spcPts val="1173"/>
              </a:lnSpc>
              <a:spcBef>
                <a:spcPts val="58"/>
              </a:spcBef>
            </a:pPr>
            <a:r>
              <a:rPr sz="1001" b="1" kern="0" dirty="0">
                <a:solidFill>
                  <a:srgbClr val="FFFFFF"/>
                </a:solidFill>
                <a:latin typeface="Verdana"/>
                <a:cs typeface="Verdana"/>
              </a:rPr>
              <a:t>на</a:t>
            </a:r>
            <a:r>
              <a:rPr sz="1001" b="1" kern="0" spc="-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b="1" kern="0" spc="-6" dirty="0">
                <a:solidFill>
                  <a:srgbClr val="FFFFFF"/>
                </a:solidFill>
                <a:latin typeface="Verdana"/>
                <a:cs typeface="Verdana"/>
              </a:rPr>
              <a:t>корректирующие</a:t>
            </a:r>
            <a:r>
              <a:rPr sz="1001" b="1" kern="0" spc="-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b="1" kern="0" spc="-6" dirty="0">
                <a:solidFill>
                  <a:srgbClr val="FFFFFF"/>
                </a:solidFill>
                <a:latin typeface="Verdana"/>
                <a:cs typeface="Verdana"/>
              </a:rPr>
              <a:t>действия</a:t>
            </a:r>
            <a:endParaRPr sz="1001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algn="ctr" defTabSz="554492">
              <a:lnSpc>
                <a:spcPts val="737"/>
              </a:lnSpc>
            </a:pPr>
            <a:r>
              <a:rPr sz="637" kern="0" dirty="0">
                <a:solidFill>
                  <a:srgbClr val="FFFFFF"/>
                </a:solidFill>
                <a:latin typeface="Verdana"/>
                <a:cs typeface="Verdana"/>
              </a:rPr>
              <a:t>(если</a:t>
            </a:r>
            <a:r>
              <a:rPr sz="637" kern="0" spc="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dirty="0">
                <a:solidFill>
                  <a:srgbClr val="FFFFFF"/>
                </a:solidFill>
                <a:latin typeface="Verdana"/>
                <a:cs typeface="Verdana"/>
              </a:rPr>
              <a:t>предоставление</a:t>
            </a:r>
            <a:r>
              <a:rPr sz="637" kern="0" spc="5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dirty="0">
                <a:solidFill>
                  <a:srgbClr val="FFFFFF"/>
                </a:solidFill>
                <a:latin typeface="Verdana"/>
                <a:cs typeface="Verdana"/>
              </a:rPr>
              <a:t>образцов</a:t>
            </a:r>
            <a:r>
              <a:rPr sz="637" kern="0" spc="5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dirty="0">
                <a:solidFill>
                  <a:srgbClr val="FFFFFF"/>
                </a:solidFill>
                <a:latin typeface="Verdana"/>
                <a:cs typeface="Verdana"/>
              </a:rPr>
              <a:t>не</a:t>
            </a:r>
            <a:r>
              <a:rPr sz="637" kern="0" spc="5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spc="-6" dirty="0">
                <a:solidFill>
                  <a:srgbClr val="FFFFFF"/>
                </a:solidFill>
                <a:latin typeface="Verdana"/>
                <a:cs typeface="Verdana"/>
              </a:rPr>
              <a:t>эффективно)</a:t>
            </a:r>
            <a:endParaRPr sz="637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9295172" y="2328162"/>
            <a:ext cx="2417050" cy="500199"/>
          </a:xfrm>
          <a:custGeom>
            <a:avLst/>
            <a:gdLst/>
            <a:ahLst/>
            <a:cxnLst/>
            <a:rect l="l" t="t" r="r" b="b"/>
            <a:pathLst>
              <a:path w="3985894" h="824864">
                <a:moveTo>
                  <a:pt x="3778544" y="0"/>
                </a:moveTo>
                <a:lnTo>
                  <a:pt x="207229" y="0"/>
                </a:lnTo>
                <a:lnTo>
                  <a:pt x="159714" y="5472"/>
                </a:lnTo>
                <a:lnTo>
                  <a:pt x="116096" y="21061"/>
                </a:lnTo>
                <a:lnTo>
                  <a:pt x="77619" y="45522"/>
                </a:lnTo>
                <a:lnTo>
                  <a:pt x="45526" y="77612"/>
                </a:lnTo>
                <a:lnTo>
                  <a:pt x="21063" y="116087"/>
                </a:lnTo>
                <a:lnTo>
                  <a:pt x="5473" y="159704"/>
                </a:lnTo>
                <a:lnTo>
                  <a:pt x="0" y="207218"/>
                </a:lnTo>
                <a:lnTo>
                  <a:pt x="0" y="617384"/>
                </a:lnTo>
                <a:lnTo>
                  <a:pt x="5473" y="664899"/>
                </a:lnTo>
                <a:lnTo>
                  <a:pt x="21063" y="708517"/>
                </a:lnTo>
                <a:lnTo>
                  <a:pt x="45526" y="746994"/>
                </a:lnTo>
                <a:lnTo>
                  <a:pt x="77619" y="779086"/>
                </a:lnTo>
                <a:lnTo>
                  <a:pt x="116096" y="803550"/>
                </a:lnTo>
                <a:lnTo>
                  <a:pt x="159714" y="819140"/>
                </a:lnTo>
                <a:lnTo>
                  <a:pt x="207229" y="824613"/>
                </a:lnTo>
                <a:lnTo>
                  <a:pt x="3778544" y="824613"/>
                </a:lnTo>
                <a:lnTo>
                  <a:pt x="3826059" y="819140"/>
                </a:lnTo>
                <a:lnTo>
                  <a:pt x="3869677" y="803550"/>
                </a:lnTo>
                <a:lnTo>
                  <a:pt x="3908154" y="779086"/>
                </a:lnTo>
                <a:lnTo>
                  <a:pt x="3940247" y="746994"/>
                </a:lnTo>
                <a:lnTo>
                  <a:pt x="3964710" y="708517"/>
                </a:lnTo>
                <a:lnTo>
                  <a:pt x="3980300" y="664899"/>
                </a:lnTo>
                <a:lnTo>
                  <a:pt x="3985773" y="617384"/>
                </a:lnTo>
                <a:lnTo>
                  <a:pt x="3985773" y="207218"/>
                </a:lnTo>
                <a:lnTo>
                  <a:pt x="3980300" y="159704"/>
                </a:lnTo>
                <a:lnTo>
                  <a:pt x="3964710" y="116087"/>
                </a:lnTo>
                <a:lnTo>
                  <a:pt x="3940247" y="77612"/>
                </a:lnTo>
                <a:lnTo>
                  <a:pt x="3908154" y="45522"/>
                </a:lnTo>
                <a:lnTo>
                  <a:pt x="3869677" y="21061"/>
                </a:lnTo>
                <a:lnTo>
                  <a:pt x="3826059" y="5472"/>
                </a:lnTo>
                <a:lnTo>
                  <a:pt x="3778544" y="0"/>
                </a:lnTo>
                <a:close/>
              </a:path>
            </a:pathLst>
          </a:custGeom>
          <a:solidFill>
            <a:srgbClr val="6DB784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0000371" y="2381292"/>
            <a:ext cx="1000782" cy="17967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</a:pP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Блокировка</a:t>
            </a:r>
            <a:endParaRPr sz="112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9752920" y="2551459"/>
            <a:ext cx="1495976" cy="17967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</a:pPr>
            <a:r>
              <a:rPr sz="1122" b="1" kern="0" dirty="0">
                <a:solidFill>
                  <a:srgbClr val="FFFFFF"/>
                </a:solidFill>
                <a:latin typeface="Verdana"/>
                <a:cs typeface="Verdana"/>
              </a:rPr>
              <a:t>или</a:t>
            </a:r>
            <a:r>
              <a:rPr sz="1122" b="1" kern="0" spc="-3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122" b="1" kern="0" dirty="0">
                <a:solidFill>
                  <a:srgbClr val="FFFFFF"/>
                </a:solidFill>
                <a:latin typeface="Verdana"/>
                <a:cs typeface="Verdana"/>
              </a:rPr>
              <a:t>вывод</a:t>
            </a:r>
            <a:r>
              <a:rPr sz="1122" b="1" kern="0" spc="-3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122" b="1" kern="0" spc="-6" dirty="0">
                <a:solidFill>
                  <a:srgbClr val="FFFFFF"/>
                </a:solidFill>
                <a:latin typeface="Verdana"/>
                <a:cs typeface="Verdana"/>
              </a:rPr>
              <a:t>товара</a:t>
            </a:r>
            <a:endParaRPr sz="1122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6745344" y="3006724"/>
            <a:ext cx="2417050" cy="500199"/>
          </a:xfrm>
          <a:custGeom>
            <a:avLst/>
            <a:gdLst/>
            <a:ahLst/>
            <a:cxnLst/>
            <a:rect l="l" t="t" r="r" b="b"/>
            <a:pathLst>
              <a:path w="3985894" h="824864">
                <a:moveTo>
                  <a:pt x="3778544" y="0"/>
                </a:moveTo>
                <a:lnTo>
                  <a:pt x="207229" y="0"/>
                </a:lnTo>
                <a:lnTo>
                  <a:pt x="159714" y="5472"/>
                </a:lnTo>
                <a:lnTo>
                  <a:pt x="116096" y="21061"/>
                </a:lnTo>
                <a:lnTo>
                  <a:pt x="77619" y="45522"/>
                </a:lnTo>
                <a:lnTo>
                  <a:pt x="45526" y="77612"/>
                </a:lnTo>
                <a:lnTo>
                  <a:pt x="21063" y="116087"/>
                </a:lnTo>
                <a:lnTo>
                  <a:pt x="5473" y="159704"/>
                </a:lnTo>
                <a:lnTo>
                  <a:pt x="0" y="207218"/>
                </a:lnTo>
                <a:lnTo>
                  <a:pt x="0" y="617384"/>
                </a:lnTo>
                <a:lnTo>
                  <a:pt x="5473" y="664899"/>
                </a:lnTo>
                <a:lnTo>
                  <a:pt x="21063" y="708517"/>
                </a:lnTo>
                <a:lnTo>
                  <a:pt x="45526" y="746994"/>
                </a:lnTo>
                <a:lnTo>
                  <a:pt x="77619" y="779086"/>
                </a:lnTo>
                <a:lnTo>
                  <a:pt x="116096" y="803550"/>
                </a:lnTo>
                <a:lnTo>
                  <a:pt x="159714" y="819140"/>
                </a:lnTo>
                <a:lnTo>
                  <a:pt x="207229" y="824613"/>
                </a:lnTo>
                <a:lnTo>
                  <a:pt x="3778544" y="824613"/>
                </a:lnTo>
                <a:lnTo>
                  <a:pt x="3826059" y="819140"/>
                </a:lnTo>
                <a:lnTo>
                  <a:pt x="3869677" y="803550"/>
                </a:lnTo>
                <a:lnTo>
                  <a:pt x="3908154" y="779086"/>
                </a:lnTo>
                <a:lnTo>
                  <a:pt x="3940247" y="746994"/>
                </a:lnTo>
                <a:lnTo>
                  <a:pt x="3964710" y="708517"/>
                </a:lnTo>
                <a:lnTo>
                  <a:pt x="3980300" y="664899"/>
                </a:lnTo>
                <a:lnTo>
                  <a:pt x="3985773" y="617384"/>
                </a:lnTo>
                <a:lnTo>
                  <a:pt x="3985773" y="207218"/>
                </a:lnTo>
                <a:lnTo>
                  <a:pt x="3980300" y="159704"/>
                </a:lnTo>
                <a:lnTo>
                  <a:pt x="3964710" y="116087"/>
                </a:lnTo>
                <a:lnTo>
                  <a:pt x="3940247" y="77612"/>
                </a:lnTo>
                <a:lnTo>
                  <a:pt x="3908154" y="45522"/>
                </a:lnTo>
                <a:lnTo>
                  <a:pt x="3869677" y="21061"/>
                </a:lnTo>
                <a:lnTo>
                  <a:pt x="3826059" y="5472"/>
                </a:lnTo>
                <a:lnTo>
                  <a:pt x="3778544" y="0"/>
                </a:lnTo>
                <a:close/>
              </a:path>
            </a:pathLst>
          </a:custGeom>
          <a:solidFill>
            <a:srgbClr val="0A4D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875195" y="3055624"/>
            <a:ext cx="2151356" cy="40518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algn="ctr" defTabSz="554492">
              <a:spcBef>
                <a:spcPts val="58"/>
              </a:spcBef>
            </a:pPr>
            <a:r>
              <a:rPr sz="1001" kern="0" dirty="0">
                <a:solidFill>
                  <a:srgbClr val="FFFFFF"/>
                </a:solidFill>
                <a:latin typeface="Verdana"/>
                <a:cs typeface="Verdana"/>
              </a:rPr>
              <a:t>Поставщик</a:t>
            </a:r>
            <a:r>
              <a:rPr sz="1001" kern="0" spc="-18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kern="0" spc="-6" dirty="0">
                <a:solidFill>
                  <a:srgbClr val="FFFFFF"/>
                </a:solidFill>
                <a:latin typeface="Verdana"/>
                <a:cs typeface="Verdana"/>
              </a:rPr>
              <a:t>предоставляет</a:t>
            </a:r>
            <a:r>
              <a:rPr sz="1001" kern="0" spc="-18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kern="0" spc="-6" dirty="0">
                <a:solidFill>
                  <a:srgbClr val="FFFFFF"/>
                </a:solidFill>
                <a:latin typeface="Verdana"/>
                <a:cs typeface="Verdana"/>
              </a:rPr>
              <a:t>ответ </a:t>
            </a:r>
            <a:r>
              <a:rPr sz="1001" kern="0" dirty="0">
                <a:solidFill>
                  <a:srgbClr val="FFFFFF"/>
                </a:solidFill>
                <a:latin typeface="Verdana"/>
                <a:cs typeface="Verdana"/>
              </a:rPr>
              <a:t>по</a:t>
            </a:r>
            <a:r>
              <a:rPr sz="1001" kern="0" spc="-2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FFFFFF"/>
                </a:solidFill>
                <a:latin typeface="Verdana"/>
                <a:cs typeface="Verdana"/>
              </a:rPr>
              <a:t>корректирующим</a:t>
            </a:r>
            <a:r>
              <a:rPr sz="1001" kern="0" spc="-2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kern="0" spc="-6" dirty="0">
                <a:solidFill>
                  <a:srgbClr val="FFFFFF"/>
                </a:solidFill>
                <a:latin typeface="Verdana"/>
                <a:cs typeface="Verdana"/>
              </a:rPr>
              <a:t>действиям,</a:t>
            </a:r>
            <a:endParaRPr sz="1001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29650" algn="ctr" defTabSz="554492">
              <a:lnSpc>
                <a:spcPts val="706"/>
              </a:lnSpc>
            </a:pPr>
            <a:r>
              <a:rPr sz="637" kern="0" dirty="0">
                <a:solidFill>
                  <a:srgbClr val="FFFFFF"/>
                </a:solidFill>
                <a:latin typeface="Verdana"/>
                <a:cs typeface="Verdana"/>
              </a:rPr>
              <a:t>7</a:t>
            </a:r>
            <a:r>
              <a:rPr sz="637" kern="0" spc="18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dirty="0">
                <a:solidFill>
                  <a:srgbClr val="FFFFFF"/>
                </a:solidFill>
                <a:latin typeface="Verdana"/>
                <a:cs typeface="Verdana"/>
              </a:rPr>
              <a:t>дней</a:t>
            </a:r>
            <a:r>
              <a:rPr sz="637" kern="0" spc="2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dirty="0">
                <a:solidFill>
                  <a:srgbClr val="FFFFFF"/>
                </a:solidFill>
                <a:latin typeface="Verdana"/>
                <a:cs typeface="Verdana"/>
              </a:rPr>
              <a:t>после</a:t>
            </a:r>
            <a:r>
              <a:rPr sz="637" kern="0" spc="2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dirty="0">
                <a:solidFill>
                  <a:srgbClr val="FFFFFF"/>
                </a:solidFill>
                <a:latin typeface="Verdana"/>
                <a:cs typeface="Verdana"/>
              </a:rPr>
              <a:t>получения</a:t>
            </a:r>
            <a:r>
              <a:rPr sz="637" kern="0" spc="18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spc="-6" dirty="0">
                <a:solidFill>
                  <a:srgbClr val="FFFFFF"/>
                </a:solidFill>
                <a:latin typeface="Verdana"/>
                <a:cs typeface="Verdana"/>
              </a:rPr>
              <a:t>запроса</a:t>
            </a:r>
            <a:endParaRPr sz="637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873010" y="3006724"/>
            <a:ext cx="2417050" cy="500199"/>
          </a:xfrm>
          <a:custGeom>
            <a:avLst/>
            <a:gdLst/>
            <a:ahLst/>
            <a:cxnLst/>
            <a:rect l="l" t="t" r="r" b="b"/>
            <a:pathLst>
              <a:path w="3985895" h="824864">
                <a:moveTo>
                  <a:pt x="3778544" y="0"/>
                </a:moveTo>
                <a:lnTo>
                  <a:pt x="207229" y="0"/>
                </a:lnTo>
                <a:lnTo>
                  <a:pt x="159714" y="5472"/>
                </a:lnTo>
                <a:lnTo>
                  <a:pt x="116096" y="21061"/>
                </a:lnTo>
                <a:lnTo>
                  <a:pt x="77619" y="45522"/>
                </a:lnTo>
                <a:lnTo>
                  <a:pt x="45526" y="77612"/>
                </a:lnTo>
                <a:lnTo>
                  <a:pt x="21063" y="116087"/>
                </a:lnTo>
                <a:lnTo>
                  <a:pt x="5473" y="159704"/>
                </a:lnTo>
                <a:lnTo>
                  <a:pt x="0" y="207218"/>
                </a:lnTo>
                <a:lnTo>
                  <a:pt x="0" y="617384"/>
                </a:lnTo>
                <a:lnTo>
                  <a:pt x="5473" y="664899"/>
                </a:lnTo>
                <a:lnTo>
                  <a:pt x="21063" y="708517"/>
                </a:lnTo>
                <a:lnTo>
                  <a:pt x="45526" y="746994"/>
                </a:lnTo>
                <a:lnTo>
                  <a:pt x="77619" y="779086"/>
                </a:lnTo>
                <a:lnTo>
                  <a:pt x="116096" y="803550"/>
                </a:lnTo>
                <a:lnTo>
                  <a:pt x="159714" y="819140"/>
                </a:lnTo>
                <a:lnTo>
                  <a:pt x="207229" y="824613"/>
                </a:lnTo>
                <a:lnTo>
                  <a:pt x="3778544" y="824613"/>
                </a:lnTo>
                <a:lnTo>
                  <a:pt x="3826059" y="819140"/>
                </a:lnTo>
                <a:lnTo>
                  <a:pt x="3869677" y="803550"/>
                </a:lnTo>
                <a:lnTo>
                  <a:pt x="3908154" y="779086"/>
                </a:lnTo>
                <a:lnTo>
                  <a:pt x="3940247" y="746994"/>
                </a:lnTo>
                <a:lnTo>
                  <a:pt x="3964710" y="708517"/>
                </a:lnTo>
                <a:lnTo>
                  <a:pt x="3980300" y="664899"/>
                </a:lnTo>
                <a:lnTo>
                  <a:pt x="3985773" y="617384"/>
                </a:lnTo>
                <a:lnTo>
                  <a:pt x="3985773" y="207218"/>
                </a:lnTo>
                <a:lnTo>
                  <a:pt x="3980300" y="159704"/>
                </a:lnTo>
                <a:lnTo>
                  <a:pt x="3964710" y="116087"/>
                </a:lnTo>
                <a:lnTo>
                  <a:pt x="3940247" y="77612"/>
                </a:lnTo>
                <a:lnTo>
                  <a:pt x="3908154" y="45522"/>
                </a:lnTo>
                <a:lnTo>
                  <a:pt x="3869677" y="21061"/>
                </a:lnTo>
                <a:lnTo>
                  <a:pt x="3826059" y="5472"/>
                </a:lnTo>
                <a:lnTo>
                  <a:pt x="3778544" y="0"/>
                </a:lnTo>
                <a:close/>
              </a:path>
            </a:pathLst>
          </a:custGeom>
          <a:solidFill>
            <a:srgbClr val="0A4D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958415" y="3093721"/>
            <a:ext cx="2196408" cy="31542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indent="44282" defTabSz="554492">
              <a:spcBef>
                <a:spcPts val="58"/>
              </a:spcBef>
              <a:tabLst>
                <a:tab pos="1663862" algn="l"/>
              </a:tabLst>
            </a:pPr>
            <a:r>
              <a:rPr sz="1001" kern="0" dirty="0">
                <a:solidFill>
                  <a:srgbClr val="FFFFFF"/>
                </a:solidFill>
                <a:latin typeface="Verdana"/>
                <a:cs typeface="Verdana"/>
              </a:rPr>
              <a:t>Поставщик</a:t>
            </a:r>
            <a:r>
              <a:rPr sz="1001" kern="0" spc="-18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kern="0" spc="-6" dirty="0">
                <a:solidFill>
                  <a:srgbClr val="FFFFFF"/>
                </a:solidFill>
                <a:latin typeface="Verdana"/>
                <a:cs typeface="Verdana"/>
              </a:rPr>
              <a:t>предоставляет</a:t>
            </a:r>
            <a:r>
              <a:rPr sz="1001" kern="0" spc="-18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kern="0" spc="-6" dirty="0">
                <a:solidFill>
                  <a:srgbClr val="FFFFFF"/>
                </a:solidFill>
                <a:latin typeface="Verdana"/>
                <a:cs typeface="Verdana"/>
              </a:rPr>
              <a:t>ответ </a:t>
            </a:r>
            <a:r>
              <a:rPr sz="1001" kern="0" dirty="0">
                <a:solidFill>
                  <a:srgbClr val="FFFFFF"/>
                </a:solidFill>
                <a:latin typeface="Verdana"/>
                <a:cs typeface="Verdana"/>
              </a:rPr>
              <a:t>в</a:t>
            </a:r>
            <a:r>
              <a:rPr sz="1001" kern="0" spc="-1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FFFFFF"/>
                </a:solidFill>
                <a:latin typeface="Verdana"/>
                <a:cs typeface="Verdana"/>
              </a:rPr>
              <a:t>течении</a:t>
            </a:r>
            <a:r>
              <a:rPr sz="1001" kern="0" spc="-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FFFFFF"/>
                </a:solidFill>
                <a:latin typeface="Verdana"/>
                <a:cs typeface="Verdana"/>
              </a:rPr>
              <a:t>7</a:t>
            </a:r>
            <a:r>
              <a:rPr sz="1001" kern="0" spc="-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kern="0" dirty="0">
                <a:solidFill>
                  <a:srgbClr val="FFFFFF"/>
                </a:solidFill>
                <a:latin typeface="Verdana"/>
                <a:cs typeface="Verdana"/>
              </a:rPr>
              <a:t>дней</a:t>
            </a:r>
            <a:r>
              <a:rPr sz="1001" kern="0" spc="-1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kern="0" spc="-6" dirty="0">
                <a:solidFill>
                  <a:srgbClr val="FFFFFF"/>
                </a:solidFill>
                <a:latin typeface="Verdana"/>
                <a:cs typeface="Verdana"/>
              </a:rPr>
              <a:t>после</a:t>
            </a:r>
            <a:r>
              <a:rPr sz="1001" kern="0" dirty="0">
                <a:solidFill>
                  <a:srgbClr val="FFFFFF"/>
                </a:solidFill>
                <a:latin typeface="Verdana"/>
                <a:cs typeface="Verdana"/>
              </a:rPr>
              <a:t>	</a:t>
            </a:r>
            <a:r>
              <a:rPr sz="1001" kern="0" spc="-6" dirty="0">
                <a:solidFill>
                  <a:srgbClr val="FFFFFF"/>
                </a:solidFill>
                <a:latin typeface="Verdana"/>
                <a:cs typeface="Verdana"/>
              </a:rPr>
              <a:t>запроса</a:t>
            </a:r>
            <a:endParaRPr sz="1001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2873010" y="3685286"/>
            <a:ext cx="2417050" cy="500199"/>
          </a:xfrm>
          <a:custGeom>
            <a:avLst/>
            <a:gdLst/>
            <a:ahLst/>
            <a:cxnLst/>
            <a:rect l="l" t="t" r="r" b="b"/>
            <a:pathLst>
              <a:path w="3985895" h="824865">
                <a:moveTo>
                  <a:pt x="3778544" y="0"/>
                </a:moveTo>
                <a:lnTo>
                  <a:pt x="207229" y="0"/>
                </a:lnTo>
                <a:lnTo>
                  <a:pt x="159714" y="5472"/>
                </a:lnTo>
                <a:lnTo>
                  <a:pt x="116096" y="21061"/>
                </a:lnTo>
                <a:lnTo>
                  <a:pt x="77619" y="45522"/>
                </a:lnTo>
                <a:lnTo>
                  <a:pt x="45526" y="77612"/>
                </a:lnTo>
                <a:lnTo>
                  <a:pt x="21063" y="116087"/>
                </a:lnTo>
                <a:lnTo>
                  <a:pt x="5473" y="159704"/>
                </a:lnTo>
                <a:lnTo>
                  <a:pt x="0" y="207218"/>
                </a:lnTo>
                <a:lnTo>
                  <a:pt x="0" y="617384"/>
                </a:lnTo>
                <a:lnTo>
                  <a:pt x="5473" y="664899"/>
                </a:lnTo>
                <a:lnTo>
                  <a:pt x="21063" y="708517"/>
                </a:lnTo>
                <a:lnTo>
                  <a:pt x="45526" y="746994"/>
                </a:lnTo>
                <a:lnTo>
                  <a:pt x="77619" y="779086"/>
                </a:lnTo>
                <a:lnTo>
                  <a:pt x="116096" y="803550"/>
                </a:lnTo>
                <a:lnTo>
                  <a:pt x="159714" y="819140"/>
                </a:lnTo>
                <a:lnTo>
                  <a:pt x="207229" y="824613"/>
                </a:lnTo>
                <a:lnTo>
                  <a:pt x="3778544" y="824613"/>
                </a:lnTo>
                <a:lnTo>
                  <a:pt x="3826059" y="819140"/>
                </a:lnTo>
                <a:lnTo>
                  <a:pt x="3869677" y="803550"/>
                </a:lnTo>
                <a:lnTo>
                  <a:pt x="3908154" y="779086"/>
                </a:lnTo>
                <a:lnTo>
                  <a:pt x="3940247" y="746994"/>
                </a:lnTo>
                <a:lnTo>
                  <a:pt x="3964710" y="708517"/>
                </a:lnTo>
                <a:lnTo>
                  <a:pt x="3980300" y="664899"/>
                </a:lnTo>
                <a:lnTo>
                  <a:pt x="3985773" y="617384"/>
                </a:lnTo>
                <a:lnTo>
                  <a:pt x="3985773" y="207218"/>
                </a:lnTo>
                <a:lnTo>
                  <a:pt x="3980300" y="159704"/>
                </a:lnTo>
                <a:lnTo>
                  <a:pt x="3964710" y="116087"/>
                </a:lnTo>
                <a:lnTo>
                  <a:pt x="3940247" y="77612"/>
                </a:lnTo>
                <a:lnTo>
                  <a:pt x="3908154" y="45522"/>
                </a:lnTo>
                <a:lnTo>
                  <a:pt x="3869677" y="21061"/>
                </a:lnTo>
                <a:lnTo>
                  <a:pt x="3826059" y="5472"/>
                </a:lnTo>
                <a:lnTo>
                  <a:pt x="3778544" y="0"/>
                </a:lnTo>
                <a:close/>
              </a:path>
            </a:pathLst>
          </a:custGeom>
          <a:solidFill>
            <a:srgbClr val="0A4D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911790" y="3772280"/>
            <a:ext cx="2333876" cy="358898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56219" marR="51214" algn="ctr" defTabSz="554492">
              <a:spcBef>
                <a:spcPts val="61"/>
              </a:spcBef>
            </a:pPr>
            <a:r>
              <a:rPr sz="849" kern="0" dirty="0">
                <a:solidFill>
                  <a:srgbClr val="FFFFFF"/>
                </a:solidFill>
                <a:latin typeface="Verdana"/>
                <a:cs typeface="Verdana"/>
              </a:rPr>
              <a:t>Поставщик</a:t>
            </a:r>
            <a:r>
              <a:rPr sz="849" kern="0" spc="-1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849" kern="0" spc="-6" dirty="0">
                <a:solidFill>
                  <a:srgbClr val="FFFFFF"/>
                </a:solidFill>
                <a:latin typeface="Verdana"/>
                <a:cs typeface="Verdana"/>
              </a:rPr>
              <a:t>предоставляет</a:t>
            </a:r>
            <a:r>
              <a:rPr sz="849" kern="0" spc="-1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849" kern="0" spc="-6" dirty="0">
                <a:solidFill>
                  <a:srgbClr val="FFFFFF"/>
                </a:solidFill>
                <a:latin typeface="Verdana"/>
                <a:cs typeface="Verdana"/>
              </a:rPr>
              <a:t>улучшенные </a:t>
            </a:r>
            <a:r>
              <a:rPr sz="849" kern="0" dirty="0">
                <a:solidFill>
                  <a:srgbClr val="FFFFFF"/>
                </a:solidFill>
                <a:latin typeface="Verdana"/>
                <a:cs typeface="Verdana"/>
              </a:rPr>
              <a:t>образцы,</a:t>
            </a:r>
            <a:r>
              <a:rPr sz="849" kern="0" spc="-1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849" kern="0" dirty="0">
                <a:solidFill>
                  <a:srgbClr val="FFFFFF"/>
                </a:solidFill>
                <a:latin typeface="Verdana"/>
                <a:cs typeface="Verdana"/>
              </a:rPr>
              <a:t>14</a:t>
            </a:r>
            <a:r>
              <a:rPr sz="849" kern="0" spc="-1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849" kern="0" dirty="0">
                <a:solidFill>
                  <a:srgbClr val="FFFFFF"/>
                </a:solidFill>
                <a:latin typeface="Verdana"/>
                <a:cs typeface="Verdana"/>
              </a:rPr>
              <a:t>дней</a:t>
            </a:r>
            <a:r>
              <a:rPr sz="849" kern="0" spc="-1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849" kern="0" dirty="0" err="1">
                <a:solidFill>
                  <a:srgbClr val="FFFFFF"/>
                </a:solidFill>
                <a:latin typeface="Verdana"/>
                <a:cs typeface="Verdana"/>
              </a:rPr>
              <a:t>после</a:t>
            </a:r>
            <a:r>
              <a:rPr sz="849" kern="0" spc="-1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849" kern="0" spc="-6" dirty="0" err="1">
                <a:solidFill>
                  <a:srgbClr val="FFFFFF"/>
                </a:solidFill>
                <a:latin typeface="Verdana"/>
                <a:cs typeface="Verdana"/>
              </a:rPr>
              <a:t>запроса</a:t>
            </a:r>
            <a:endParaRPr sz="84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algn="ctr" defTabSz="554492">
              <a:lnSpc>
                <a:spcPts val="740"/>
              </a:lnSpc>
            </a:pPr>
            <a:r>
              <a:rPr sz="637" kern="0" dirty="0">
                <a:solidFill>
                  <a:srgbClr val="FFFFFF"/>
                </a:solidFill>
                <a:latin typeface="Verdana"/>
                <a:cs typeface="Verdana"/>
              </a:rPr>
              <a:t>(</a:t>
            </a:r>
            <a:r>
              <a:rPr sz="637" kern="0" dirty="0" err="1">
                <a:solidFill>
                  <a:srgbClr val="FFFFFF"/>
                </a:solidFill>
                <a:latin typeface="Verdana"/>
                <a:cs typeface="Verdana"/>
              </a:rPr>
              <a:t>или</a:t>
            </a:r>
            <a:r>
              <a:rPr sz="637" kern="0" spc="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dirty="0" err="1">
                <a:solidFill>
                  <a:srgbClr val="FFFFFF"/>
                </a:solidFill>
                <a:latin typeface="Verdana"/>
                <a:cs typeface="Verdana"/>
              </a:rPr>
              <a:t>согласовывает</a:t>
            </a:r>
            <a:r>
              <a:rPr sz="637" kern="0" spc="4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dirty="0" err="1">
                <a:solidFill>
                  <a:srgbClr val="FFFFFF"/>
                </a:solidFill>
                <a:latin typeface="Verdana"/>
                <a:cs typeface="Verdana"/>
              </a:rPr>
              <a:t>сроки</a:t>
            </a:r>
            <a:r>
              <a:rPr sz="637" kern="0" spc="4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dirty="0" err="1">
                <a:solidFill>
                  <a:srgbClr val="FFFFFF"/>
                </a:solidFill>
                <a:latin typeface="Verdana"/>
                <a:cs typeface="Verdana"/>
              </a:rPr>
              <a:t>предоставления</a:t>
            </a:r>
            <a:r>
              <a:rPr sz="637" kern="0" spc="4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637" kern="0" spc="-6" dirty="0" err="1">
                <a:solidFill>
                  <a:srgbClr val="FFFFFF"/>
                </a:solidFill>
                <a:latin typeface="Verdana"/>
                <a:cs typeface="Verdana"/>
              </a:rPr>
              <a:t>образцов</a:t>
            </a:r>
            <a:r>
              <a:rPr sz="637" kern="0" spc="-6" dirty="0">
                <a:solidFill>
                  <a:srgbClr val="FFFFFF"/>
                </a:solidFill>
                <a:latin typeface="Verdana"/>
                <a:cs typeface="Verdana"/>
              </a:rPr>
              <a:t>)</a:t>
            </a:r>
            <a:endParaRPr sz="637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2873010" y="4363847"/>
            <a:ext cx="2417050" cy="500199"/>
          </a:xfrm>
          <a:custGeom>
            <a:avLst/>
            <a:gdLst/>
            <a:ahLst/>
            <a:cxnLst/>
            <a:rect l="l" t="t" r="r" b="b"/>
            <a:pathLst>
              <a:path w="3985895" h="824865">
                <a:moveTo>
                  <a:pt x="3778544" y="0"/>
                </a:moveTo>
                <a:lnTo>
                  <a:pt x="207229" y="0"/>
                </a:lnTo>
                <a:lnTo>
                  <a:pt x="159714" y="5472"/>
                </a:lnTo>
                <a:lnTo>
                  <a:pt x="116096" y="21061"/>
                </a:lnTo>
                <a:lnTo>
                  <a:pt x="77619" y="45522"/>
                </a:lnTo>
                <a:lnTo>
                  <a:pt x="45526" y="77612"/>
                </a:lnTo>
                <a:lnTo>
                  <a:pt x="21063" y="116087"/>
                </a:lnTo>
                <a:lnTo>
                  <a:pt x="5473" y="159704"/>
                </a:lnTo>
                <a:lnTo>
                  <a:pt x="0" y="207218"/>
                </a:lnTo>
                <a:lnTo>
                  <a:pt x="0" y="617384"/>
                </a:lnTo>
                <a:lnTo>
                  <a:pt x="5473" y="664899"/>
                </a:lnTo>
                <a:lnTo>
                  <a:pt x="21063" y="708517"/>
                </a:lnTo>
                <a:lnTo>
                  <a:pt x="45526" y="746994"/>
                </a:lnTo>
                <a:lnTo>
                  <a:pt x="77619" y="779086"/>
                </a:lnTo>
                <a:lnTo>
                  <a:pt x="116096" y="803550"/>
                </a:lnTo>
                <a:lnTo>
                  <a:pt x="159714" y="819140"/>
                </a:lnTo>
                <a:lnTo>
                  <a:pt x="207229" y="824613"/>
                </a:lnTo>
                <a:lnTo>
                  <a:pt x="3778544" y="824613"/>
                </a:lnTo>
                <a:lnTo>
                  <a:pt x="3826059" y="819140"/>
                </a:lnTo>
                <a:lnTo>
                  <a:pt x="3869677" y="803550"/>
                </a:lnTo>
                <a:lnTo>
                  <a:pt x="3908154" y="779086"/>
                </a:lnTo>
                <a:lnTo>
                  <a:pt x="3940247" y="746994"/>
                </a:lnTo>
                <a:lnTo>
                  <a:pt x="3964710" y="708517"/>
                </a:lnTo>
                <a:lnTo>
                  <a:pt x="3980300" y="664899"/>
                </a:lnTo>
                <a:lnTo>
                  <a:pt x="3985773" y="617384"/>
                </a:lnTo>
                <a:lnTo>
                  <a:pt x="3985773" y="207218"/>
                </a:lnTo>
                <a:lnTo>
                  <a:pt x="3980300" y="159704"/>
                </a:lnTo>
                <a:lnTo>
                  <a:pt x="3964710" y="116087"/>
                </a:lnTo>
                <a:lnTo>
                  <a:pt x="3940247" y="77612"/>
                </a:lnTo>
                <a:lnTo>
                  <a:pt x="3908154" y="45522"/>
                </a:lnTo>
                <a:lnTo>
                  <a:pt x="3869677" y="21061"/>
                </a:lnTo>
                <a:lnTo>
                  <a:pt x="3826059" y="5472"/>
                </a:lnTo>
                <a:lnTo>
                  <a:pt x="3778544" y="0"/>
                </a:lnTo>
                <a:close/>
              </a:path>
            </a:pathLst>
          </a:custGeom>
          <a:solidFill>
            <a:srgbClr val="0A4D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012644" y="4450838"/>
            <a:ext cx="2132873" cy="292470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algn="ctr" defTabSz="554492">
              <a:spcBef>
                <a:spcPts val="61"/>
              </a:spcBef>
            </a:pPr>
            <a:r>
              <a:rPr sz="849" kern="0" dirty="0">
                <a:solidFill>
                  <a:srgbClr val="FFFFFF"/>
                </a:solidFill>
                <a:latin typeface="Verdana"/>
                <a:cs typeface="Verdana"/>
              </a:rPr>
              <a:t>Тестирование</a:t>
            </a:r>
            <a:r>
              <a:rPr sz="849" kern="0" spc="-3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849" kern="0" dirty="0">
                <a:solidFill>
                  <a:srgbClr val="FFFFFF"/>
                </a:solidFill>
                <a:latin typeface="Verdana"/>
                <a:cs typeface="Verdana"/>
              </a:rPr>
              <a:t>улучшенных</a:t>
            </a:r>
            <a:r>
              <a:rPr sz="849" kern="0" spc="-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849" kern="0" spc="-6" dirty="0">
                <a:solidFill>
                  <a:srgbClr val="FFFFFF"/>
                </a:solidFill>
                <a:latin typeface="Verdana"/>
                <a:cs typeface="Verdana"/>
              </a:rPr>
              <a:t>образцов,</a:t>
            </a:r>
            <a:endParaRPr sz="849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algn="ctr" defTabSz="554492">
              <a:spcBef>
                <a:spcPts val="30"/>
              </a:spcBef>
            </a:pPr>
            <a:r>
              <a:rPr sz="1001" b="1" kern="0" dirty="0">
                <a:solidFill>
                  <a:srgbClr val="FFFFFF"/>
                </a:solidFill>
                <a:latin typeface="Verdana"/>
                <a:cs typeface="Verdana"/>
              </a:rPr>
              <a:t>14</a:t>
            </a:r>
            <a:r>
              <a:rPr sz="1001" b="1" kern="0" spc="-3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b="1" kern="0" dirty="0">
                <a:solidFill>
                  <a:srgbClr val="FFFFFF"/>
                </a:solidFill>
                <a:latin typeface="Verdana"/>
                <a:cs typeface="Verdana"/>
              </a:rPr>
              <a:t>дней</a:t>
            </a:r>
            <a:r>
              <a:rPr sz="1001" b="1" kern="0" spc="-3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b="1" kern="0" dirty="0">
                <a:solidFill>
                  <a:srgbClr val="FFFFFF"/>
                </a:solidFill>
                <a:latin typeface="Verdana"/>
                <a:cs typeface="Verdana"/>
              </a:rPr>
              <a:t>после</a:t>
            </a:r>
            <a:r>
              <a:rPr sz="1001" b="1" kern="0" spc="-3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1" b="1" kern="0" spc="-6" dirty="0">
                <a:solidFill>
                  <a:srgbClr val="FFFFFF"/>
                </a:solidFill>
                <a:latin typeface="Verdana"/>
                <a:cs typeface="Verdana"/>
              </a:rPr>
              <a:t>получения*</a:t>
            </a:r>
            <a:endParaRPr sz="1001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2168342" y="5057647"/>
            <a:ext cx="4970028" cy="740094"/>
            <a:chOff x="6947254" y="8340434"/>
            <a:chExt cx="8195945" cy="1220470"/>
          </a:xfrm>
        </p:grpSpPr>
        <p:sp>
          <p:nvSpPr>
            <p:cNvPr id="30" name="object 30"/>
            <p:cNvSpPr/>
            <p:nvPr/>
          </p:nvSpPr>
          <p:spPr>
            <a:xfrm>
              <a:off x="6947254" y="8340434"/>
              <a:ext cx="8195945" cy="1220470"/>
            </a:xfrm>
            <a:custGeom>
              <a:avLst/>
              <a:gdLst/>
              <a:ahLst/>
              <a:cxnLst/>
              <a:rect l="l" t="t" r="r" b="b"/>
              <a:pathLst>
                <a:path w="8195944" h="1220470">
                  <a:moveTo>
                    <a:pt x="7983170" y="0"/>
                  </a:moveTo>
                  <a:lnTo>
                    <a:pt x="212736" y="0"/>
                  </a:lnTo>
                  <a:lnTo>
                    <a:pt x="163957" y="5618"/>
                  </a:lnTo>
                  <a:lnTo>
                    <a:pt x="119179" y="21622"/>
                  </a:lnTo>
                  <a:lnTo>
                    <a:pt x="79679" y="46734"/>
                  </a:lnTo>
                  <a:lnTo>
                    <a:pt x="46735" y="79677"/>
                  </a:lnTo>
                  <a:lnTo>
                    <a:pt x="21622" y="119175"/>
                  </a:lnTo>
                  <a:lnTo>
                    <a:pt x="5618" y="163950"/>
                  </a:lnTo>
                  <a:lnTo>
                    <a:pt x="0" y="212726"/>
                  </a:lnTo>
                  <a:lnTo>
                    <a:pt x="0" y="1007686"/>
                  </a:lnTo>
                  <a:lnTo>
                    <a:pt x="5618" y="1056465"/>
                  </a:lnTo>
                  <a:lnTo>
                    <a:pt x="21622" y="1101243"/>
                  </a:lnTo>
                  <a:lnTo>
                    <a:pt x="46735" y="1140743"/>
                  </a:lnTo>
                  <a:lnTo>
                    <a:pt x="79679" y="1173688"/>
                  </a:lnTo>
                  <a:lnTo>
                    <a:pt x="119179" y="1198801"/>
                  </a:lnTo>
                  <a:lnTo>
                    <a:pt x="163957" y="1214805"/>
                  </a:lnTo>
                  <a:lnTo>
                    <a:pt x="212736" y="1220423"/>
                  </a:lnTo>
                  <a:lnTo>
                    <a:pt x="7983170" y="1220423"/>
                  </a:lnTo>
                  <a:lnTo>
                    <a:pt x="8031949" y="1214805"/>
                  </a:lnTo>
                  <a:lnTo>
                    <a:pt x="8076727" y="1198801"/>
                  </a:lnTo>
                  <a:lnTo>
                    <a:pt x="8116227" y="1173688"/>
                  </a:lnTo>
                  <a:lnTo>
                    <a:pt x="8149172" y="1140743"/>
                  </a:lnTo>
                  <a:lnTo>
                    <a:pt x="8174285" y="1101243"/>
                  </a:lnTo>
                  <a:lnTo>
                    <a:pt x="8190289" y="1056465"/>
                  </a:lnTo>
                  <a:lnTo>
                    <a:pt x="8195907" y="1007686"/>
                  </a:lnTo>
                  <a:lnTo>
                    <a:pt x="8195907" y="212726"/>
                  </a:lnTo>
                  <a:lnTo>
                    <a:pt x="8190289" y="163950"/>
                  </a:lnTo>
                  <a:lnTo>
                    <a:pt x="8174285" y="119175"/>
                  </a:lnTo>
                  <a:lnTo>
                    <a:pt x="8149172" y="79677"/>
                  </a:lnTo>
                  <a:lnTo>
                    <a:pt x="8116227" y="46734"/>
                  </a:lnTo>
                  <a:lnTo>
                    <a:pt x="8076727" y="21622"/>
                  </a:lnTo>
                  <a:lnTo>
                    <a:pt x="8031949" y="5618"/>
                  </a:lnTo>
                  <a:lnTo>
                    <a:pt x="7983170" y="0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11159379" y="8508377"/>
              <a:ext cx="0" cy="918210"/>
            </a:xfrm>
            <a:custGeom>
              <a:avLst/>
              <a:gdLst/>
              <a:ahLst/>
              <a:cxnLst/>
              <a:rect l="l" t="t" r="r" b="b"/>
              <a:pathLst>
                <a:path h="918209">
                  <a:moveTo>
                    <a:pt x="0" y="0"/>
                  </a:moveTo>
                  <a:lnTo>
                    <a:pt x="0" y="918118"/>
                  </a:lnTo>
                </a:path>
              </a:pathLst>
            </a:custGeom>
            <a:ln w="1047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object 32"/>
            <p:cNvSpPr txBox="1"/>
            <p:nvPr/>
          </p:nvSpPr>
          <p:spPr>
            <a:xfrm>
              <a:off x="7240786" y="8567413"/>
              <a:ext cx="3521710" cy="659311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algn="ctr" defTabSz="554492">
                <a:spcBef>
                  <a:spcPts val="61"/>
                </a:spcBef>
              </a:pP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Если</a:t>
              </a:r>
              <a:r>
                <a:rPr sz="849" b="1" kern="0" spc="-45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улучшенный</a:t>
              </a:r>
              <a:r>
                <a:rPr sz="849" b="1" kern="0" spc="-39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spc="-6" dirty="0">
                  <a:solidFill>
                    <a:srgbClr val="FFFFFF"/>
                  </a:solidFill>
                  <a:latin typeface="Verdana"/>
                  <a:cs typeface="Verdana"/>
                </a:rPr>
                <a:t>образец</a:t>
              </a:r>
              <a:endParaRPr sz="849" kern="0" dirty="0">
                <a:solidFill>
                  <a:sysClr val="windowText" lastClr="000000"/>
                </a:solidFill>
                <a:latin typeface="Verdana"/>
                <a:cs typeface="Verdana"/>
              </a:endParaRPr>
            </a:p>
            <a:p>
              <a:pPr algn="ctr" defTabSz="554492"/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НЕ</a:t>
              </a:r>
              <a:r>
                <a:rPr sz="849" b="1" kern="0" spc="-18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ПОДТВЕРЖДЕН</a:t>
              </a:r>
              <a:r>
                <a:rPr sz="849" b="1" kern="0" spc="-18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ДЛЯ</a:t>
              </a:r>
              <a:r>
                <a:rPr sz="849" b="1" kern="0" spc="-18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spc="-6" dirty="0">
                  <a:solidFill>
                    <a:srgbClr val="FFFFFF"/>
                  </a:solidFill>
                  <a:latin typeface="Verdana"/>
                  <a:cs typeface="Verdana"/>
                </a:rPr>
                <a:t>ЗАПУСКА,</a:t>
              </a:r>
              <a:endParaRPr sz="849" kern="0" dirty="0">
                <a:solidFill>
                  <a:sysClr val="windowText" lastClr="000000"/>
                </a:solidFill>
                <a:latin typeface="Verdana"/>
                <a:cs typeface="Verdana"/>
              </a:endParaRPr>
            </a:p>
            <a:p>
              <a:pPr algn="ctr" defTabSz="554492">
                <a:spcBef>
                  <a:spcPts val="3"/>
                </a:spcBef>
              </a:pP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запрос</a:t>
              </a:r>
              <a:r>
                <a:rPr sz="849" b="1" kern="0" spc="-30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поставщику</a:t>
              </a:r>
              <a:r>
                <a:rPr sz="849" b="1" kern="0" spc="233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на</a:t>
              </a:r>
              <a:r>
                <a:rPr sz="849" b="1" kern="0" spc="-27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spc="-6" dirty="0">
                  <a:solidFill>
                    <a:srgbClr val="FFFFFF"/>
                  </a:solidFill>
                  <a:latin typeface="Verdana"/>
                  <a:cs typeface="Verdana"/>
                </a:rPr>
                <a:t>доработку</a:t>
              </a:r>
              <a:endParaRPr sz="849" kern="0" dirty="0">
                <a:solidFill>
                  <a:sysClr val="windowText" lastClr="000000"/>
                </a:solidFill>
                <a:latin typeface="Verdana"/>
                <a:cs typeface="Verdana"/>
              </a:endParaRPr>
            </a:p>
          </p:txBody>
        </p:sp>
        <p:sp>
          <p:nvSpPr>
            <p:cNvPr id="33" name="object 33"/>
            <p:cNvSpPr txBox="1"/>
            <p:nvPr/>
          </p:nvSpPr>
          <p:spPr>
            <a:xfrm>
              <a:off x="11468585" y="8515079"/>
              <a:ext cx="3178810" cy="874806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316" marR="3081" indent="385" algn="ctr" defTabSz="554492">
                <a:spcBef>
                  <a:spcPts val="61"/>
                </a:spcBef>
              </a:pP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Если</a:t>
              </a:r>
              <a:r>
                <a:rPr sz="849" b="1" kern="0" spc="-45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улучшенный</a:t>
              </a:r>
              <a:r>
                <a:rPr sz="849" b="1" kern="0" spc="-39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spc="-6" dirty="0">
                  <a:solidFill>
                    <a:srgbClr val="FFFFFF"/>
                  </a:solidFill>
                  <a:latin typeface="Verdana"/>
                  <a:cs typeface="Verdana"/>
                </a:rPr>
                <a:t>образец </a:t>
              </a: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ПОДТВЕРЖДЕН</a:t>
              </a:r>
              <a:r>
                <a:rPr sz="849" b="1" kern="0" spc="-24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ДЛЯ</a:t>
              </a:r>
              <a:r>
                <a:rPr sz="849" b="1" kern="0" spc="-21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spc="-6" dirty="0">
                  <a:solidFill>
                    <a:srgbClr val="FFFFFF"/>
                  </a:solidFill>
                  <a:latin typeface="Verdana"/>
                  <a:cs typeface="Verdana"/>
                </a:rPr>
                <a:t>ЗАПУСКА,</a:t>
              </a:r>
              <a:endParaRPr sz="849" kern="0" dirty="0">
                <a:solidFill>
                  <a:sysClr val="windowText" lastClr="000000"/>
                </a:solidFill>
                <a:latin typeface="Verdana"/>
                <a:cs typeface="Verdana"/>
              </a:endParaRPr>
            </a:p>
            <a:p>
              <a:pPr marL="288798" marR="283406" algn="ctr" defTabSz="554492">
                <a:spcBef>
                  <a:spcPts val="3"/>
                </a:spcBef>
              </a:pP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Поставщик </a:t>
              </a:r>
              <a:r>
                <a:rPr sz="849" b="1" kern="0" spc="-6" dirty="0">
                  <a:solidFill>
                    <a:srgbClr val="FFFFFF"/>
                  </a:solidFill>
                  <a:latin typeface="Verdana"/>
                  <a:cs typeface="Verdana"/>
                </a:rPr>
                <a:t>запускает </a:t>
              </a:r>
              <a:r>
                <a:rPr sz="849" b="1" kern="0" dirty="0">
                  <a:solidFill>
                    <a:srgbClr val="FFFFFF"/>
                  </a:solidFill>
                  <a:latin typeface="Verdana"/>
                  <a:cs typeface="Verdana"/>
                </a:rPr>
                <a:t>доработанный</a:t>
              </a:r>
              <a:r>
                <a:rPr sz="849" b="1" kern="0" spc="-33" dirty="0">
                  <a:solidFill>
                    <a:srgbClr val="FFFFFF"/>
                  </a:solidFill>
                  <a:latin typeface="Verdana"/>
                  <a:cs typeface="Verdana"/>
                </a:rPr>
                <a:t> </a:t>
              </a:r>
              <a:r>
                <a:rPr sz="849" b="1" kern="0" spc="-6" dirty="0">
                  <a:solidFill>
                    <a:srgbClr val="FFFFFF"/>
                  </a:solidFill>
                  <a:latin typeface="Verdana"/>
                  <a:cs typeface="Verdana"/>
                </a:rPr>
                <a:t>товар</a:t>
              </a:r>
              <a:endParaRPr sz="849" kern="0" dirty="0">
                <a:solidFill>
                  <a:sysClr val="windowText" lastClr="000000"/>
                </a:solidFill>
                <a:latin typeface="Verdana"/>
                <a:cs typeface="Verdana"/>
              </a:endParaRPr>
            </a:p>
          </p:txBody>
        </p:sp>
      </p:grpSp>
      <p:sp>
        <p:nvSpPr>
          <p:cNvPr id="34" name="object 34"/>
          <p:cNvSpPr/>
          <p:nvPr/>
        </p:nvSpPr>
        <p:spPr>
          <a:xfrm>
            <a:off x="3311764" y="1386448"/>
            <a:ext cx="181750" cy="404318"/>
          </a:xfrm>
          <a:custGeom>
            <a:avLst/>
            <a:gdLst/>
            <a:ahLst/>
            <a:cxnLst/>
            <a:rect l="l" t="t" r="r" b="b"/>
            <a:pathLst>
              <a:path w="299720" h="666750">
                <a:moveTo>
                  <a:pt x="0" y="0"/>
                </a:moveTo>
                <a:lnTo>
                  <a:pt x="0" y="666136"/>
                </a:lnTo>
                <a:lnTo>
                  <a:pt x="299226" y="333068"/>
                </a:lnTo>
                <a:lnTo>
                  <a:pt x="0" y="0"/>
                </a:lnTo>
                <a:close/>
              </a:path>
            </a:pathLst>
          </a:custGeom>
          <a:solidFill>
            <a:srgbClr val="338DCD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6355208" y="1378872"/>
            <a:ext cx="181750" cy="404318"/>
          </a:xfrm>
          <a:custGeom>
            <a:avLst/>
            <a:gdLst/>
            <a:ahLst/>
            <a:cxnLst/>
            <a:rect l="l" t="t" r="r" b="b"/>
            <a:pathLst>
              <a:path w="299720" h="666750">
                <a:moveTo>
                  <a:pt x="0" y="0"/>
                </a:moveTo>
                <a:lnTo>
                  <a:pt x="0" y="666136"/>
                </a:lnTo>
                <a:lnTo>
                  <a:pt x="299226" y="333068"/>
                </a:lnTo>
                <a:lnTo>
                  <a:pt x="0" y="0"/>
                </a:lnTo>
                <a:close/>
              </a:path>
            </a:pathLst>
          </a:custGeom>
          <a:solidFill>
            <a:srgbClr val="338DCD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7953831" y="1930511"/>
            <a:ext cx="0" cy="393921"/>
          </a:xfrm>
          <a:custGeom>
            <a:avLst/>
            <a:gdLst/>
            <a:ahLst/>
            <a:cxnLst/>
            <a:rect l="l" t="t" r="r" b="b"/>
            <a:pathLst>
              <a:path h="649604">
                <a:moveTo>
                  <a:pt x="0" y="0"/>
                </a:moveTo>
                <a:lnTo>
                  <a:pt x="0" y="649404"/>
                </a:lnTo>
              </a:path>
            </a:pathLst>
          </a:custGeom>
          <a:ln w="10470">
            <a:solidFill>
              <a:srgbClr val="338DCD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3944664" y="2867551"/>
            <a:ext cx="222567" cy="100117"/>
          </a:xfrm>
          <a:custGeom>
            <a:avLst/>
            <a:gdLst/>
            <a:ahLst/>
            <a:cxnLst/>
            <a:rect l="l" t="t" r="r" b="b"/>
            <a:pathLst>
              <a:path w="367029" h="165100">
                <a:moveTo>
                  <a:pt x="366480" y="0"/>
                </a:moveTo>
                <a:lnTo>
                  <a:pt x="0" y="0"/>
                </a:lnTo>
                <a:lnTo>
                  <a:pt x="183240" y="164623"/>
                </a:lnTo>
                <a:lnTo>
                  <a:pt x="366480" y="0"/>
                </a:lnTo>
                <a:close/>
              </a:path>
            </a:pathLst>
          </a:custGeom>
          <a:solidFill>
            <a:srgbClr val="338DCD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3944664" y="3546112"/>
            <a:ext cx="222567" cy="100117"/>
          </a:xfrm>
          <a:custGeom>
            <a:avLst/>
            <a:gdLst/>
            <a:ahLst/>
            <a:cxnLst/>
            <a:rect l="l" t="t" r="r" b="b"/>
            <a:pathLst>
              <a:path w="367029" h="165100">
                <a:moveTo>
                  <a:pt x="366480" y="0"/>
                </a:moveTo>
                <a:lnTo>
                  <a:pt x="0" y="0"/>
                </a:lnTo>
                <a:lnTo>
                  <a:pt x="183240" y="164623"/>
                </a:lnTo>
                <a:lnTo>
                  <a:pt x="366480" y="0"/>
                </a:lnTo>
                <a:close/>
              </a:path>
            </a:pathLst>
          </a:custGeom>
          <a:solidFill>
            <a:srgbClr val="338DCD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3944664" y="4224674"/>
            <a:ext cx="222567" cy="100117"/>
          </a:xfrm>
          <a:custGeom>
            <a:avLst/>
            <a:gdLst/>
            <a:ahLst/>
            <a:cxnLst/>
            <a:rect l="l" t="t" r="r" b="b"/>
            <a:pathLst>
              <a:path w="367029" h="165100">
                <a:moveTo>
                  <a:pt x="366480" y="0"/>
                </a:moveTo>
                <a:lnTo>
                  <a:pt x="0" y="0"/>
                </a:lnTo>
                <a:lnTo>
                  <a:pt x="183240" y="164623"/>
                </a:lnTo>
                <a:lnTo>
                  <a:pt x="366480" y="0"/>
                </a:lnTo>
                <a:close/>
              </a:path>
            </a:pathLst>
          </a:custGeom>
          <a:solidFill>
            <a:srgbClr val="338DCD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3944664" y="4903235"/>
            <a:ext cx="222567" cy="100117"/>
          </a:xfrm>
          <a:custGeom>
            <a:avLst/>
            <a:gdLst/>
            <a:ahLst/>
            <a:cxnLst/>
            <a:rect l="l" t="t" r="r" b="b"/>
            <a:pathLst>
              <a:path w="367029" h="165100">
                <a:moveTo>
                  <a:pt x="366480" y="0"/>
                </a:moveTo>
                <a:lnTo>
                  <a:pt x="0" y="0"/>
                </a:lnTo>
                <a:lnTo>
                  <a:pt x="183240" y="164623"/>
                </a:lnTo>
                <a:lnTo>
                  <a:pt x="366480" y="0"/>
                </a:lnTo>
                <a:close/>
              </a:path>
            </a:pathLst>
          </a:custGeom>
          <a:solidFill>
            <a:srgbClr val="338DCD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672676" y="6062842"/>
            <a:ext cx="5982947" cy="19776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534469" marR="3081" indent="-527153" algn="ctr" defTabSz="554492">
              <a:lnSpc>
                <a:spcPct val="101800"/>
              </a:lnSpc>
              <a:spcBef>
                <a:spcPts val="58"/>
              </a:spcBef>
            </a:pPr>
            <a:r>
              <a:rPr sz="1213" b="1" kern="0" dirty="0">
                <a:solidFill>
                  <a:srgbClr val="003B95"/>
                </a:solidFill>
                <a:latin typeface="Verdana"/>
                <a:cs typeface="Verdana"/>
              </a:rPr>
              <a:t>Мониторинг</a:t>
            </a:r>
            <a:r>
              <a:rPr sz="1213" b="1" kern="0" spc="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13" b="1" kern="0" dirty="0">
                <a:solidFill>
                  <a:srgbClr val="003B95"/>
                </a:solidFill>
                <a:latin typeface="Verdana"/>
                <a:cs typeface="Verdana"/>
              </a:rPr>
              <a:t>ПИТ,</a:t>
            </a:r>
            <a:r>
              <a:rPr sz="1213" b="1" kern="0" spc="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13" b="1" kern="0" dirty="0">
                <a:solidFill>
                  <a:srgbClr val="003B95"/>
                </a:solidFill>
                <a:latin typeface="Verdana"/>
                <a:cs typeface="Verdana"/>
              </a:rPr>
              <a:t>тестирование</a:t>
            </a:r>
            <a:r>
              <a:rPr sz="1213" b="1" kern="0" spc="42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13" b="1" kern="0" spc="-6" dirty="0">
                <a:solidFill>
                  <a:srgbClr val="003B95"/>
                </a:solidFill>
                <a:latin typeface="Verdana"/>
                <a:cs typeface="Verdana"/>
              </a:rPr>
              <a:t>товаров </a:t>
            </a:r>
            <a:r>
              <a:rPr sz="1213" b="1" kern="0" dirty="0">
                <a:solidFill>
                  <a:srgbClr val="003B95"/>
                </a:solidFill>
                <a:latin typeface="Verdana"/>
                <a:cs typeface="Verdana"/>
              </a:rPr>
              <a:t>с</a:t>
            </a:r>
            <a:r>
              <a:rPr sz="1213" b="1" kern="0" spc="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13" b="1" kern="0" dirty="0">
                <a:solidFill>
                  <a:srgbClr val="003B95"/>
                </a:solidFill>
                <a:latin typeface="Verdana"/>
                <a:cs typeface="Verdana"/>
              </a:rPr>
              <a:t>полки</a:t>
            </a:r>
            <a:r>
              <a:rPr sz="1213" b="1" kern="0" spc="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13" b="1" kern="0" dirty="0">
                <a:solidFill>
                  <a:srgbClr val="003B95"/>
                </a:solidFill>
                <a:latin typeface="Verdana"/>
                <a:cs typeface="Verdana"/>
              </a:rPr>
              <a:t>после</a:t>
            </a:r>
            <a:r>
              <a:rPr sz="1213" b="1" kern="0" spc="49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213" b="1" kern="0" spc="-6" dirty="0">
                <a:solidFill>
                  <a:srgbClr val="003B95"/>
                </a:solidFill>
                <a:latin typeface="Verdana"/>
                <a:cs typeface="Verdana"/>
              </a:rPr>
              <a:t>улучшения</a:t>
            </a:r>
            <a:endParaRPr sz="1213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46" name="object 46"/>
          <p:cNvSpPr txBox="1">
            <a:spLocks noGrp="1"/>
          </p:cNvSpPr>
          <p:nvPr>
            <p:ph type="title"/>
          </p:nvPr>
        </p:nvSpPr>
        <p:spPr>
          <a:xfrm>
            <a:off x="383608" y="373746"/>
            <a:ext cx="6626879" cy="931358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dirty="0"/>
              <a:t>ПРОЦЕСС</a:t>
            </a:r>
            <a:r>
              <a:rPr spc="-194" dirty="0"/>
              <a:t> </a:t>
            </a:r>
            <a:r>
              <a:rPr dirty="0"/>
              <a:t>УЛУЧШЕНИЯ</a:t>
            </a:r>
            <a:r>
              <a:rPr spc="-194" dirty="0"/>
              <a:t> </a:t>
            </a:r>
            <a:r>
              <a:rPr spc="-6" dirty="0"/>
              <a:t>КАЧЕСТВА</a:t>
            </a:r>
          </a:p>
        </p:txBody>
      </p:sp>
      <p:grpSp>
        <p:nvGrpSpPr>
          <p:cNvPr id="47" name="object 47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48" name="object 48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0" name="object 50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0938683" y="6161991"/>
            <a:ext cx="616873" cy="20769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defTabSz="554492">
              <a:spcBef>
                <a:spcPts val="55"/>
              </a:spcBef>
            </a:pPr>
            <a:r>
              <a:rPr sz="1304" kern="0" dirty="0">
                <a:solidFill>
                  <a:srgbClr val="338DCD"/>
                </a:solidFill>
                <a:latin typeface="Verdana"/>
                <a:cs typeface="Verdana"/>
              </a:rPr>
              <a:t>стр.</a:t>
            </a:r>
            <a:r>
              <a:rPr sz="1304" kern="0" spc="-30" dirty="0">
                <a:solidFill>
                  <a:srgbClr val="338DCD"/>
                </a:solidFill>
                <a:latin typeface="Verdana"/>
                <a:cs typeface="Verdana"/>
              </a:rPr>
              <a:t> </a:t>
            </a:r>
            <a:r>
              <a:rPr sz="1304" kern="0" spc="-15" dirty="0">
                <a:solidFill>
                  <a:srgbClr val="338DCD"/>
                </a:solidFill>
                <a:latin typeface="Verdana"/>
                <a:cs typeface="Verdana"/>
              </a:rPr>
              <a:t>3</a:t>
            </a:r>
            <a:r>
              <a:rPr lang="ru-RU" sz="1304" kern="0" spc="-15" dirty="0">
                <a:solidFill>
                  <a:srgbClr val="338DCD"/>
                </a:solidFill>
                <a:latin typeface="Verdana"/>
                <a:cs typeface="Verdana"/>
              </a:rPr>
              <a:t>7</a:t>
            </a:r>
            <a:endParaRPr sz="1304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6" name="object 40"/>
          <p:cNvSpPr/>
          <p:nvPr/>
        </p:nvSpPr>
        <p:spPr>
          <a:xfrm>
            <a:off x="5915429" y="5831267"/>
            <a:ext cx="222567" cy="100117"/>
          </a:xfrm>
          <a:custGeom>
            <a:avLst/>
            <a:gdLst/>
            <a:ahLst/>
            <a:cxnLst/>
            <a:rect l="l" t="t" r="r" b="b"/>
            <a:pathLst>
              <a:path w="367029" h="165100">
                <a:moveTo>
                  <a:pt x="366480" y="0"/>
                </a:moveTo>
                <a:lnTo>
                  <a:pt x="0" y="0"/>
                </a:lnTo>
                <a:lnTo>
                  <a:pt x="183240" y="164623"/>
                </a:lnTo>
                <a:lnTo>
                  <a:pt x="366480" y="0"/>
                </a:lnTo>
                <a:close/>
              </a:path>
            </a:pathLst>
          </a:custGeom>
          <a:solidFill>
            <a:srgbClr val="338DCD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7" name="object 40"/>
          <p:cNvSpPr/>
          <p:nvPr/>
        </p:nvSpPr>
        <p:spPr>
          <a:xfrm>
            <a:off x="7842548" y="5826017"/>
            <a:ext cx="222567" cy="100117"/>
          </a:xfrm>
          <a:custGeom>
            <a:avLst/>
            <a:gdLst/>
            <a:ahLst/>
            <a:cxnLst/>
            <a:rect l="l" t="t" r="r" b="b"/>
            <a:pathLst>
              <a:path w="367029" h="165100">
                <a:moveTo>
                  <a:pt x="366480" y="0"/>
                </a:moveTo>
                <a:lnTo>
                  <a:pt x="0" y="0"/>
                </a:lnTo>
                <a:lnTo>
                  <a:pt x="183240" y="164623"/>
                </a:lnTo>
                <a:lnTo>
                  <a:pt x="366480" y="0"/>
                </a:lnTo>
                <a:close/>
              </a:path>
            </a:pathLst>
          </a:custGeom>
          <a:solidFill>
            <a:srgbClr val="338DCD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 flipH="1">
            <a:off x="1613848" y="5437889"/>
            <a:ext cx="554493" cy="0"/>
          </a:xfrm>
          <a:prstGeom prst="line">
            <a:avLst/>
          </a:prstGeom>
          <a:ln w="19050">
            <a:solidFill>
              <a:srgbClr val="338D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1613848" y="2578261"/>
            <a:ext cx="0" cy="2859628"/>
          </a:xfrm>
          <a:prstGeom prst="line">
            <a:avLst/>
          </a:prstGeom>
          <a:ln w="19050">
            <a:solidFill>
              <a:srgbClr val="338D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613848" y="2578261"/>
            <a:ext cx="115672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bject 37"/>
          <p:cNvSpPr/>
          <p:nvPr/>
        </p:nvSpPr>
        <p:spPr>
          <a:xfrm rot="16200000">
            <a:off x="2659292" y="2530526"/>
            <a:ext cx="222567" cy="100117"/>
          </a:xfrm>
          <a:custGeom>
            <a:avLst/>
            <a:gdLst/>
            <a:ahLst/>
            <a:cxnLst/>
            <a:rect l="l" t="t" r="r" b="b"/>
            <a:pathLst>
              <a:path w="367029" h="165100">
                <a:moveTo>
                  <a:pt x="366480" y="0"/>
                </a:moveTo>
                <a:lnTo>
                  <a:pt x="0" y="0"/>
                </a:lnTo>
                <a:lnTo>
                  <a:pt x="183240" y="164623"/>
                </a:lnTo>
                <a:lnTo>
                  <a:pt x="366480" y="0"/>
                </a:lnTo>
                <a:close/>
              </a:path>
            </a:pathLst>
          </a:custGeom>
          <a:solidFill>
            <a:srgbClr val="338DCD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622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23257" y="3705803"/>
            <a:ext cx="5266913" cy="1204482"/>
          </a:xfrm>
          <a:custGeom>
            <a:avLst/>
            <a:gdLst/>
            <a:ahLst/>
            <a:cxnLst/>
            <a:rect l="l" t="t" r="r" b="b"/>
            <a:pathLst>
              <a:path w="8685530" h="1986279">
                <a:moveTo>
                  <a:pt x="8394278" y="0"/>
                </a:moveTo>
                <a:lnTo>
                  <a:pt x="290828" y="0"/>
                </a:lnTo>
                <a:lnTo>
                  <a:pt x="243654" y="3806"/>
                </a:lnTo>
                <a:lnTo>
                  <a:pt x="198903" y="14826"/>
                </a:lnTo>
                <a:lnTo>
                  <a:pt x="157174" y="32460"/>
                </a:lnTo>
                <a:lnTo>
                  <a:pt x="119067" y="56111"/>
                </a:lnTo>
                <a:lnTo>
                  <a:pt x="85180" y="85179"/>
                </a:lnTo>
                <a:lnTo>
                  <a:pt x="56112" y="119065"/>
                </a:lnTo>
                <a:lnTo>
                  <a:pt x="32461" y="157171"/>
                </a:lnTo>
                <a:lnTo>
                  <a:pt x="14826" y="198897"/>
                </a:lnTo>
                <a:lnTo>
                  <a:pt x="3806" y="243646"/>
                </a:lnTo>
                <a:lnTo>
                  <a:pt x="0" y="290818"/>
                </a:lnTo>
                <a:lnTo>
                  <a:pt x="0" y="1695163"/>
                </a:lnTo>
                <a:lnTo>
                  <a:pt x="3806" y="1742334"/>
                </a:lnTo>
                <a:lnTo>
                  <a:pt x="14826" y="1787083"/>
                </a:lnTo>
                <a:lnTo>
                  <a:pt x="32461" y="1828810"/>
                </a:lnTo>
                <a:lnTo>
                  <a:pt x="56112" y="1866915"/>
                </a:lnTo>
                <a:lnTo>
                  <a:pt x="85180" y="1900802"/>
                </a:lnTo>
                <a:lnTo>
                  <a:pt x="119067" y="1929869"/>
                </a:lnTo>
                <a:lnTo>
                  <a:pt x="157174" y="1953520"/>
                </a:lnTo>
                <a:lnTo>
                  <a:pt x="198903" y="1971155"/>
                </a:lnTo>
                <a:lnTo>
                  <a:pt x="243654" y="1982175"/>
                </a:lnTo>
                <a:lnTo>
                  <a:pt x="290828" y="1985981"/>
                </a:lnTo>
                <a:lnTo>
                  <a:pt x="8394278" y="1985981"/>
                </a:lnTo>
                <a:lnTo>
                  <a:pt x="8441450" y="1982175"/>
                </a:lnTo>
                <a:lnTo>
                  <a:pt x="8486198" y="1971155"/>
                </a:lnTo>
                <a:lnTo>
                  <a:pt x="8527925" y="1953520"/>
                </a:lnTo>
                <a:lnTo>
                  <a:pt x="8566031" y="1929869"/>
                </a:lnTo>
                <a:lnTo>
                  <a:pt x="8599917" y="1900802"/>
                </a:lnTo>
                <a:lnTo>
                  <a:pt x="8628985" y="1866915"/>
                </a:lnTo>
                <a:lnTo>
                  <a:pt x="8652635" y="1828810"/>
                </a:lnTo>
                <a:lnTo>
                  <a:pt x="8670270" y="1787083"/>
                </a:lnTo>
                <a:lnTo>
                  <a:pt x="8681290" y="1742334"/>
                </a:lnTo>
                <a:lnTo>
                  <a:pt x="8685096" y="1695163"/>
                </a:lnTo>
                <a:lnTo>
                  <a:pt x="8685096" y="290818"/>
                </a:lnTo>
                <a:lnTo>
                  <a:pt x="8681290" y="243646"/>
                </a:lnTo>
                <a:lnTo>
                  <a:pt x="8670270" y="198897"/>
                </a:lnTo>
                <a:lnTo>
                  <a:pt x="8652635" y="157171"/>
                </a:lnTo>
                <a:lnTo>
                  <a:pt x="8628985" y="119065"/>
                </a:lnTo>
                <a:lnTo>
                  <a:pt x="8599917" y="85179"/>
                </a:lnTo>
                <a:lnTo>
                  <a:pt x="8566031" y="56111"/>
                </a:lnTo>
                <a:lnTo>
                  <a:pt x="8527925" y="32460"/>
                </a:lnTo>
                <a:lnTo>
                  <a:pt x="8486198" y="14826"/>
                </a:lnTo>
                <a:lnTo>
                  <a:pt x="8441450" y="3806"/>
                </a:lnTo>
                <a:lnTo>
                  <a:pt x="8394278" y="0"/>
                </a:lnTo>
                <a:close/>
              </a:path>
            </a:pathLst>
          </a:custGeom>
          <a:solidFill>
            <a:srgbClr val="0A4D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1023257" y="2150741"/>
            <a:ext cx="5266913" cy="1204482"/>
          </a:xfrm>
          <a:custGeom>
            <a:avLst/>
            <a:gdLst/>
            <a:ahLst/>
            <a:cxnLst/>
            <a:rect l="l" t="t" r="r" b="b"/>
            <a:pathLst>
              <a:path w="8685530" h="1986279">
                <a:moveTo>
                  <a:pt x="8394278" y="0"/>
                </a:moveTo>
                <a:lnTo>
                  <a:pt x="290828" y="0"/>
                </a:lnTo>
                <a:lnTo>
                  <a:pt x="243654" y="3806"/>
                </a:lnTo>
                <a:lnTo>
                  <a:pt x="198903" y="14826"/>
                </a:lnTo>
                <a:lnTo>
                  <a:pt x="157174" y="32460"/>
                </a:lnTo>
                <a:lnTo>
                  <a:pt x="119067" y="56111"/>
                </a:lnTo>
                <a:lnTo>
                  <a:pt x="85180" y="85179"/>
                </a:lnTo>
                <a:lnTo>
                  <a:pt x="56112" y="119065"/>
                </a:lnTo>
                <a:lnTo>
                  <a:pt x="32461" y="157171"/>
                </a:lnTo>
                <a:lnTo>
                  <a:pt x="14826" y="198897"/>
                </a:lnTo>
                <a:lnTo>
                  <a:pt x="3806" y="243646"/>
                </a:lnTo>
                <a:lnTo>
                  <a:pt x="0" y="290818"/>
                </a:lnTo>
                <a:lnTo>
                  <a:pt x="0" y="1695163"/>
                </a:lnTo>
                <a:lnTo>
                  <a:pt x="3806" y="1742334"/>
                </a:lnTo>
                <a:lnTo>
                  <a:pt x="14826" y="1787083"/>
                </a:lnTo>
                <a:lnTo>
                  <a:pt x="32461" y="1828810"/>
                </a:lnTo>
                <a:lnTo>
                  <a:pt x="56112" y="1866915"/>
                </a:lnTo>
                <a:lnTo>
                  <a:pt x="85180" y="1900802"/>
                </a:lnTo>
                <a:lnTo>
                  <a:pt x="119067" y="1929869"/>
                </a:lnTo>
                <a:lnTo>
                  <a:pt x="157174" y="1953520"/>
                </a:lnTo>
                <a:lnTo>
                  <a:pt x="198903" y="1971155"/>
                </a:lnTo>
                <a:lnTo>
                  <a:pt x="243654" y="1982175"/>
                </a:lnTo>
                <a:lnTo>
                  <a:pt x="290828" y="1985981"/>
                </a:lnTo>
                <a:lnTo>
                  <a:pt x="8394278" y="1985981"/>
                </a:lnTo>
                <a:lnTo>
                  <a:pt x="8441450" y="1982175"/>
                </a:lnTo>
                <a:lnTo>
                  <a:pt x="8486198" y="1971155"/>
                </a:lnTo>
                <a:lnTo>
                  <a:pt x="8527925" y="1953520"/>
                </a:lnTo>
                <a:lnTo>
                  <a:pt x="8566031" y="1929869"/>
                </a:lnTo>
                <a:lnTo>
                  <a:pt x="8599917" y="1900802"/>
                </a:lnTo>
                <a:lnTo>
                  <a:pt x="8628985" y="1866915"/>
                </a:lnTo>
                <a:lnTo>
                  <a:pt x="8652635" y="1828810"/>
                </a:lnTo>
                <a:lnTo>
                  <a:pt x="8670270" y="1787083"/>
                </a:lnTo>
                <a:lnTo>
                  <a:pt x="8681290" y="1742334"/>
                </a:lnTo>
                <a:lnTo>
                  <a:pt x="8685096" y="1695163"/>
                </a:lnTo>
                <a:lnTo>
                  <a:pt x="8685096" y="290818"/>
                </a:lnTo>
                <a:lnTo>
                  <a:pt x="8681290" y="243646"/>
                </a:lnTo>
                <a:lnTo>
                  <a:pt x="8670270" y="198897"/>
                </a:lnTo>
                <a:lnTo>
                  <a:pt x="8652635" y="157171"/>
                </a:lnTo>
                <a:lnTo>
                  <a:pt x="8628985" y="119065"/>
                </a:lnTo>
                <a:lnTo>
                  <a:pt x="8599917" y="85179"/>
                </a:lnTo>
                <a:lnTo>
                  <a:pt x="8566031" y="56111"/>
                </a:lnTo>
                <a:lnTo>
                  <a:pt x="8527925" y="32460"/>
                </a:lnTo>
                <a:lnTo>
                  <a:pt x="8486198" y="14826"/>
                </a:lnTo>
                <a:lnTo>
                  <a:pt x="8441450" y="3806"/>
                </a:lnTo>
                <a:lnTo>
                  <a:pt x="8394278" y="0"/>
                </a:lnTo>
                <a:close/>
              </a:path>
            </a:pathLst>
          </a:custGeom>
          <a:solidFill>
            <a:srgbClr val="0A4D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50377" y="1182177"/>
            <a:ext cx="8487978" cy="2003583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marR="3081" defTabSz="554492">
              <a:spcBef>
                <a:spcPts val="64"/>
              </a:spcBef>
              <a:tabLst>
                <a:tab pos="4075517" algn="l"/>
              </a:tabLst>
            </a:pP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МЫ</a:t>
            </a:r>
            <a:r>
              <a:rPr sz="1546" b="1" kern="0" spc="-3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ОСТАВЛЯЕМ</a:t>
            </a:r>
            <a:r>
              <a:rPr sz="1546" b="1" kern="0" spc="-3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ЗА</a:t>
            </a:r>
            <a:r>
              <a:rPr sz="1546" b="1" kern="0" spc="-3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СОБОЙ ПРАВО</a:t>
            </a:r>
            <a:r>
              <a:rPr sz="1546" b="1" kern="0" spc="-3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ОСТАНАВЛИВАТЬ</a:t>
            </a:r>
            <a:r>
              <a:rPr sz="1546" b="1" kern="0" spc="-3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ПОСТАВКИ </a:t>
            </a:r>
            <a:r>
              <a:rPr sz="1546" b="1" kern="0" spc="-6" dirty="0">
                <a:solidFill>
                  <a:srgbClr val="3CAC62"/>
                </a:solidFill>
                <a:latin typeface="Verdana"/>
                <a:cs typeface="Verdana"/>
              </a:rPr>
              <a:t>ТОВАРОВ, 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А</a:t>
            </a:r>
            <a:r>
              <a:rPr sz="1546" b="1" kern="0" spc="-3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ТАКЖЕ</a:t>
            </a:r>
            <a:r>
              <a:rPr sz="1546" b="1" kern="0" spc="-3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БЛОКИРОВАТЬ</a:t>
            </a:r>
            <a:r>
              <a:rPr sz="1546" b="1" kern="0" spc="-3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ПОСТАВЩИКОВ</a:t>
            </a:r>
            <a:r>
              <a:rPr sz="1546" b="1" kern="0" spc="-3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ИЛИ </a:t>
            </a:r>
            <a:r>
              <a:rPr sz="1546" b="1" kern="0" spc="-6" dirty="0">
                <a:solidFill>
                  <a:srgbClr val="3CAC62"/>
                </a:solidFill>
                <a:latin typeface="Verdana"/>
                <a:cs typeface="Verdana"/>
              </a:rPr>
              <a:t>ОТДЕЛЬНЫЕ 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ПРОИЗВОДСТВЕННЫЕ</a:t>
            </a:r>
            <a:r>
              <a:rPr sz="1546" b="1" kern="0" spc="-52" dirty="0">
                <a:solidFill>
                  <a:srgbClr val="3CAC62"/>
                </a:solidFill>
                <a:latin typeface="Verdana"/>
                <a:cs typeface="Verdana"/>
              </a:rPr>
              <a:t> </a:t>
            </a:r>
            <a:r>
              <a:rPr sz="1546" b="1" kern="0" spc="-6" dirty="0">
                <a:solidFill>
                  <a:srgbClr val="3CAC62"/>
                </a:solidFill>
                <a:latin typeface="Verdana"/>
                <a:cs typeface="Verdana"/>
              </a:rPr>
              <a:t>ПЛОЩАДКИ</a:t>
            </a:r>
            <a:r>
              <a:rPr sz="1546" b="1" kern="0" dirty="0">
                <a:solidFill>
                  <a:srgbClr val="3CAC62"/>
                </a:solidFill>
                <a:latin typeface="Verdana"/>
                <a:cs typeface="Verdana"/>
              </a:rPr>
              <a:t>	В</a:t>
            </a:r>
            <a:r>
              <a:rPr sz="1546" b="1" kern="0" spc="-6" dirty="0">
                <a:solidFill>
                  <a:srgbClr val="3CAC62"/>
                </a:solidFill>
                <a:latin typeface="Verdana"/>
                <a:cs typeface="Verdana"/>
              </a:rPr>
              <a:t> СЛУЧАЕ:</a:t>
            </a:r>
            <a:endParaRPr sz="1546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defTabSz="554492">
              <a:spcBef>
                <a:spcPts val="1267"/>
              </a:spcBef>
            </a:pPr>
            <a:endParaRPr sz="1546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684644" marR="3147898" defTabSz="554492">
              <a:lnSpc>
                <a:spcPct val="100499"/>
              </a:lnSpc>
            </a:pP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систематических</a:t>
            </a:r>
            <a:r>
              <a:rPr sz="1425" b="1" kern="0" spc="-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и/или</a:t>
            </a:r>
            <a:r>
              <a:rPr sz="1425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грубых</a:t>
            </a:r>
            <a:r>
              <a:rPr sz="1425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spc="-6" dirty="0">
                <a:solidFill>
                  <a:srgbClr val="FFFFFF"/>
                </a:solidFill>
                <a:latin typeface="Verdana"/>
                <a:cs typeface="Verdana"/>
              </a:rPr>
              <a:t>нарушений,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особенно</a:t>
            </a:r>
            <a:r>
              <a:rPr sz="1425" b="1" kern="0" spc="-2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в</a:t>
            </a:r>
            <a:r>
              <a:rPr sz="1425" b="1" kern="0" spc="-1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части</a:t>
            </a:r>
            <a:r>
              <a:rPr sz="1425" b="1" kern="0" spc="-1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безопасности</a:t>
            </a:r>
            <a:r>
              <a:rPr sz="1425" b="1" kern="0" spc="-1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spc="-6" dirty="0">
                <a:solidFill>
                  <a:srgbClr val="FFFFFF"/>
                </a:solidFill>
                <a:latin typeface="Verdana"/>
                <a:cs typeface="Verdana"/>
              </a:rPr>
              <a:t>продукции,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а</a:t>
            </a:r>
            <a:r>
              <a:rPr sz="1425" b="1" kern="0" spc="-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так</a:t>
            </a:r>
            <a:r>
              <a:rPr sz="1425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же</a:t>
            </a:r>
            <a:r>
              <a:rPr sz="1425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в</a:t>
            </a:r>
            <a:r>
              <a:rPr sz="1425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случае</a:t>
            </a:r>
            <a:r>
              <a:rPr sz="1425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низких</a:t>
            </a:r>
            <a:r>
              <a:rPr sz="1425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spc="-6" dirty="0">
                <a:solidFill>
                  <a:srgbClr val="FFFFFF"/>
                </a:solidFill>
                <a:latin typeface="Verdana"/>
                <a:cs typeface="Verdana"/>
              </a:rPr>
              <a:t>оценок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удовлетворенности</a:t>
            </a:r>
            <a:r>
              <a:rPr sz="1425" b="1" kern="0" spc="-1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товаром</a:t>
            </a:r>
            <a:r>
              <a:rPr sz="1425" b="1" kern="0" spc="-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spc="-6" dirty="0">
                <a:solidFill>
                  <a:srgbClr val="FFFFFF"/>
                </a:solidFill>
                <a:latin typeface="Verdana"/>
                <a:cs typeface="Verdana"/>
              </a:rPr>
              <a:t>(ПИТ)</a:t>
            </a:r>
            <a:endParaRPr sz="1425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327539" y="3845207"/>
            <a:ext cx="4416306" cy="88455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algn="just" defTabSz="554492">
              <a:lnSpc>
                <a:spcPct val="100499"/>
              </a:lnSpc>
              <a:spcBef>
                <a:spcPts val="58"/>
              </a:spcBef>
            </a:pP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если</a:t>
            </a:r>
            <a:r>
              <a:rPr sz="1425" b="1" kern="0" spc="-18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предпринятые</a:t>
            </a:r>
            <a:r>
              <a:rPr sz="1425" b="1" kern="0" spc="-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меры</a:t>
            </a:r>
            <a:r>
              <a:rPr sz="1425" b="1" kern="0" spc="-12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по</a:t>
            </a:r>
            <a:r>
              <a:rPr sz="1425" b="1" kern="0" spc="-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spc="-6" dirty="0">
                <a:solidFill>
                  <a:srgbClr val="FFFFFF"/>
                </a:solidFill>
                <a:latin typeface="Verdana"/>
                <a:cs typeface="Verdana"/>
              </a:rPr>
              <a:t>устранению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несоответствий,</a:t>
            </a:r>
            <a:r>
              <a:rPr sz="1425" b="1" kern="0" spc="-21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улучшению</a:t>
            </a:r>
            <a:r>
              <a:rPr sz="1425" b="1" kern="0" spc="-18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товара</a:t>
            </a:r>
            <a:r>
              <a:rPr sz="1425" b="1" kern="0" spc="-18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spc="-12" dirty="0">
                <a:solidFill>
                  <a:srgbClr val="FFFFFF"/>
                </a:solidFill>
                <a:latin typeface="Verdana"/>
                <a:cs typeface="Verdana"/>
              </a:rPr>
              <a:t>были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недостаточны</a:t>
            </a:r>
            <a:r>
              <a:rPr sz="1425" b="1" kern="0" spc="-6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или</a:t>
            </a:r>
            <a:r>
              <a:rPr sz="1425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не</a:t>
            </a:r>
            <a:r>
              <a:rPr sz="1425" b="1" kern="0" spc="-3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spc="-6" dirty="0">
                <a:solidFill>
                  <a:srgbClr val="FFFFFF"/>
                </a:solidFill>
                <a:latin typeface="Verdana"/>
                <a:cs typeface="Verdana"/>
              </a:rPr>
              <a:t>привели</a:t>
            </a:r>
            <a:endParaRPr sz="1425" kern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algn="just" defTabSz="554492">
              <a:spcBef>
                <a:spcPts val="9"/>
              </a:spcBef>
            </a:pP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к</a:t>
            </a:r>
            <a:r>
              <a:rPr sz="1425" b="1" kern="0" spc="-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425" b="1" kern="0" dirty="0">
                <a:solidFill>
                  <a:srgbClr val="FFFFFF"/>
                </a:solidFill>
                <a:latin typeface="Verdana"/>
                <a:cs typeface="Verdana"/>
              </a:rPr>
              <a:t>необходимому </a:t>
            </a:r>
            <a:r>
              <a:rPr sz="1425" b="1" kern="0" spc="-6" dirty="0">
                <a:solidFill>
                  <a:srgbClr val="FFFFFF"/>
                </a:solidFill>
                <a:latin typeface="Verdana"/>
                <a:cs typeface="Verdana"/>
              </a:rPr>
              <a:t>результату</a:t>
            </a:r>
            <a:endParaRPr sz="1425" kern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73010" y="5350715"/>
            <a:ext cx="6977755" cy="866084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defTabSz="554492">
              <a:lnSpc>
                <a:spcPct val="100400"/>
              </a:lnSpc>
              <a:spcBef>
                <a:spcPts val="58"/>
              </a:spcBef>
            </a:pP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Мы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придерживаемся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принципа</a:t>
            </a:r>
            <a:r>
              <a:rPr sz="1395" kern="0" spc="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равного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отношения ко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всем </a:t>
            </a:r>
            <a:r>
              <a:rPr sz="1395" kern="0" spc="-6" dirty="0">
                <a:solidFill>
                  <a:srgbClr val="003B95"/>
                </a:solidFill>
                <a:latin typeface="Verdana"/>
                <a:cs typeface="Verdana"/>
              </a:rPr>
              <a:t>нашим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поставщикам,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независимо от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их размера,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оборота</a:t>
            </a:r>
            <a:r>
              <a:rPr sz="1395" kern="0" spc="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или </a:t>
            </a:r>
            <a:r>
              <a:rPr sz="1395" kern="0" spc="-6" dirty="0">
                <a:solidFill>
                  <a:srgbClr val="003B95"/>
                </a:solidFill>
                <a:latin typeface="Verdana"/>
                <a:cs typeface="Verdana"/>
              </a:rPr>
              <a:t>продолжительности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сотрудничества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с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lang="ru-RU" sz="1395" kern="0" dirty="0">
                <a:solidFill>
                  <a:srgbClr val="003B95"/>
                </a:solidFill>
                <a:latin typeface="Verdana"/>
                <a:cs typeface="Verdana"/>
              </a:rPr>
              <a:t>ТС</a:t>
            </a:r>
            <a:r>
              <a:rPr sz="139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lang="ru-RU" sz="1395" kern="0" dirty="0">
                <a:solidFill>
                  <a:srgbClr val="003B95"/>
                </a:solidFill>
                <a:latin typeface="Verdana"/>
                <a:cs typeface="Verdana"/>
              </a:rPr>
              <a:t>ЛЕНТА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.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Условия</a:t>
            </a:r>
            <a:r>
              <a:rPr sz="1395" kern="0" spc="-6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остановки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поставок</a:t>
            </a:r>
            <a:r>
              <a:rPr sz="1395" kern="0" spc="-3" dirty="0">
                <a:solidFill>
                  <a:srgbClr val="003B95"/>
                </a:solidFill>
                <a:latin typeface="Verdana"/>
                <a:cs typeface="Verdana"/>
              </a:rPr>
              <a:t> </a:t>
            </a:r>
            <a:r>
              <a:rPr sz="1395" kern="0" spc="-6" dirty="0">
                <a:solidFill>
                  <a:srgbClr val="003B95"/>
                </a:solidFill>
                <a:latin typeface="Verdana"/>
                <a:cs typeface="Verdana"/>
              </a:rPr>
              <a:t>равны</a:t>
            </a:r>
            <a:endParaRPr sz="139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  <a:p>
            <a:pPr marL="7701" defTabSz="554492">
              <a:spcBef>
                <a:spcPts val="6"/>
              </a:spcBef>
            </a:pPr>
            <a:r>
              <a:rPr sz="1395" kern="0" dirty="0">
                <a:solidFill>
                  <a:srgbClr val="003B95"/>
                </a:solidFill>
                <a:latin typeface="Verdana"/>
                <a:cs typeface="Verdana"/>
              </a:rPr>
              <a:t>для всех поставщиков и всех </a:t>
            </a:r>
            <a:r>
              <a:rPr sz="1395" kern="0" spc="-6" dirty="0">
                <a:solidFill>
                  <a:srgbClr val="003B95"/>
                </a:solidFill>
                <a:latin typeface="Verdana"/>
                <a:cs typeface="Verdana"/>
              </a:rPr>
              <a:t>товаров.</a:t>
            </a:r>
            <a:endParaRPr sz="1395" kern="0" dirty="0">
              <a:solidFill>
                <a:sysClr val="windowText" lastClr="000000"/>
              </a:solidFill>
              <a:latin typeface="Verdana"/>
              <a:cs typeface="Verdan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7253067" y="1448237"/>
            <a:ext cx="4755547" cy="4740529"/>
            <a:chOff x="11960139" y="2388250"/>
            <a:chExt cx="7842250" cy="7817484"/>
          </a:xfrm>
        </p:grpSpPr>
        <p:sp>
          <p:nvSpPr>
            <p:cNvPr id="8" name="object 8"/>
            <p:cNvSpPr/>
            <p:nvPr/>
          </p:nvSpPr>
          <p:spPr>
            <a:xfrm>
              <a:off x="14400904" y="3195658"/>
              <a:ext cx="1654175" cy="1535430"/>
            </a:xfrm>
            <a:custGeom>
              <a:avLst/>
              <a:gdLst/>
              <a:ahLst/>
              <a:cxnLst/>
              <a:rect l="l" t="t" r="r" b="b"/>
              <a:pathLst>
                <a:path w="1654175" h="1535429">
                  <a:moveTo>
                    <a:pt x="731066" y="0"/>
                  </a:moveTo>
                  <a:lnTo>
                    <a:pt x="537313" y="43129"/>
                  </a:lnTo>
                  <a:lnTo>
                    <a:pt x="533365" y="47338"/>
                  </a:lnTo>
                  <a:lnTo>
                    <a:pt x="517701" y="197292"/>
                  </a:lnTo>
                  <a:lnTo>
                    <a:pt x="468519" y="222626"/>
                  </a:lnTo>
                  <a:lnTo>
                    <a:pt x="422169" y="251360"/>
                  </a:lnTo>
                  <a:lnTo>
                    <a:pt x="378793" y="283268"/>
                  </a:lnTo>
                  <a:lnTo>
                    <a:pt x="338534" y="318126"/>
                  </a:lnTo>
                  <a:lnTo>
                    <a:pt x="179931" y="285530"/>
                  </a:lnTo>
                  <a:lnTo>
                    <a:pt x="174403" y="287708"/>
                  </a:lnTo>
                  <a:lnTo>
                    <a:pt x="70259" y="445347"/>
                  </a:lnTo>
                  <a:lnTo>
                    <a:pt x="70678" y="450918"/>
                  </a:lnTo>
                  <a:lnTo>
                    <a:pt x="173910" y="567302"/>
                  </a:lnTo>
                  <a:lnTo>
                    <a:pt x="158699" y="616414"/>
                  </a:lnTo>
                  <a:lnTo>
                    <a:pt x="147733" y="666763"/>
                  </a:lnTo>
                  <a:lnTo>
                    <a:pt x="141166" y="718131"/>
                  </a:lnTo>
                  <a:lnTo>
                    <a:pt x="139147" y="770301"/>
                  </a:lnTo>
                  <a:lnTo>
                    <a:pt x="2251" y="851272"/>
                  </a:lnTo>
                  <a:lnTo>
                    <a:pt x="0" y="856445"/>
                  </a:lnTo>
                  <a:lnTo>
                    <a:pt x="46469" y="1036251"/>
                  </a:lnTo>
                  <a:lnTo>
                    <a:pt x="51003" y="1039915"/>
                  </a:lnTo>
                  <a:lnTo>
                    <a:pt x="212579" y="1054460"/>
                  </a:lnTo>
                  <a:lnTo>
                    <a:pt x="239880" y="1100098"/>
                  </a:lnTo>
                  <a:lnTo>
                    <a:pt x="270842" y="1143111"/>
                  </a:lnTo>
                  <a:lnTo>
                    <a:pt x="305224" y="1183368"/>
                  </a:lnTo>
                  <a:lnTo>
                    <a:pt x="342785" y="1220737"/>
                  </a:lnTo>
                  <a:lnTo>
                    <a:pt x="307666" y="1367916"/>
                  </a:lnTo>
                  <a:lnTo>
                    <a:pt x="310011" y="1373047"/>
                  </a:lnTo>
                  <a:lnTo>
                    <a:pt x="479870" y="1469703"/>
                  </a:lnTo>
                  <a:lnTo>
                    <a:pt x="485870" y="1469316"/>
                  </a:lnTo>
                  <a:lnTo>
                    <a:pt x="611279" y="1373507"/>
                  </a:lnTo>
                  <a:lnTo>
                    <a:pt x="664200" y="1387626"/>
                  </a:lnTo>
                  <a:lnTo>
                    <a:pt x="718453" y="1397802"/>
                  </a:lnTo>
                  <a:lnTo>
                    <a:pt x="773803" y="1403899"/>
                  </a:lnTo>
                  <a:lnTo>
                    <a:pt x="830016" y="1405779"/>
                  </a:lnTo>
                  <a:lnTo>
                    <a:pt x="917270" y="1532811"/>
                  </a:lnTo>
                  <a:lnTo>
                    <a:pt x="922841" y="1534906"/>
                  </a:lnTo>
                  <a:lnTo>
                    <a:pt x="1116594" y="1491776"/>
                  </a:lnTo>
                  <a:lnTo>
                    <a:pt x="1120541" y="1487567"/>
                  </a:lnTo>
                  <a:lnTo>
                    <a:pt x="1136216" y="1337624"/>
                  </a:lnTo>
                  <a:lnTo>
                    <a:pt x="1185393" y="1312285"/>
                  </a:lnTo>
                  <a:lnTo>
                    <a:pt x="1231741" y="1283551"/>
                  </a:lnTo>
                  <a:lnTo>
                    <a:pt x="1275119" y="1251642"/>
                  </a:lnTo>
                  <a:lnTo>
                    <a:pt x="1315384" y="1216779"/>
                  </a:lnTo>
                  <a:lnTo>
                    <a:pt x="1473976" y="1249375"/>
                  </a:lnTo>
                  <a:lnTo>
                    <a:pt x="1479504" y="1247197"/>
                  </a:lnTo>
                  <a:lnTo>
                    <a:pt x="1580779" y="1093914"/>
                  </a:lnTo>
                  <a:lnTo>
                    <a:pt x="1583648" y="1089558"/>
                  </a:lnTo>
                  <a:lnTo>
                    <a:pt x="1583239" y="1083998"/>
                  </a:lnTo>
                  <a:lnTo>
                    <a:pt x="1479996" y="967604"/>
                  </a:lnTo>
                  <a:lnTo>
                    <a:pt x="1495208" y="918491"/>
                  </a:lnTo>
                  <a:lnTo>
                    <a:pt x="1506175" y="868143"/>
                  </a:lnTo>
                  <a:lnTo>
                    <a:pt x="1512745" y="816779"/>
                  </a:lnTo>
                  <a:lnTo>
                    <a:pt x="1514770" y="764615"/>
                  </a:lnTo>
                  <a:lnTo>
                    <a:pt x="1651666" y="683633"/>
                  </a:lnTo>
                  <a:lnTo>
                    <a:pt x="1653918" y="678461"/>
                  </a:lnTo>
                  <a:lnTo>
                    <a:pt x="1607448" y="498654"/>
                  </a:lnTo>
                  <a:lnTo>
                    <a:pt x="1602914" y="494990"/>
                  </a:lnTo>
                  <a:lnTo>
                    <a:pt x="1441327" y="480456"/>
                  </a:lnTo>
                  <a:lnTo>
                    <a:pt x="1414028" y="434812"/>
                  </a:lnTo>
                  <a:lnTo>
                    <a:pt x="1383069" y="391796"/>
                  </a:lnTo>
                  <a:lnTo>
                    <a:pt x="1348687" y="351541"/>
                  </a:lnTo>
                  <a:lnTo>
                    <a:pt x="1311122" y="314178"/>
                  </a:lnTo>
                  <a:lnTo>
                    <a:pt x="1346252" y="167000"/>
                  </a:lnTo>
                  <a:lnTo>
                    <a:pt x="1343896" y="161858"/>
                  </a:lnTo>
                  <a:lnTo>
                    <a:pt x="1174037" y="65212"/>
                  </a:lnTo>
                  <a:lnTo>
                    <a:pt x="1168037" y="65600"/>
                  </a:lnTo>
                  <a:lnTo>
                    <a:pt x="1042627" y="161408"/>
                  </a:lnTo>
                  <a:lnTo>
                    <a:pt x="989707" y="147288"/>
                  </a:lnTo>
                  <a:lnTo>
                    <a:pt x="935454" y="137109"/>
                  </a:lnTo>
                  <a:lnTo>
                    <a:pt x="880104" y="131012"/>
                  </a:lnTo>
                  <a:lnTo>
                    <a:pt x="823891" y="129137"/>
                  </a:lnTo>
                  <a:lnTo>
                    <a:pt x="736637" y="2094"/>
                  </a:lnTo>
                  <a:lnTo>
                    <a:pt x="731066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4759280" y="3529170"/>
              <a:ext cx="930910" cy="863600"/>
            </a:xfrm>
            <a:custGeom>
              <a:avLst/>
              <a:gdLst/>
              <a:ahLst/>
              <a:cxnLst/>
              <a:rect l="l" t="t" r="r" b="b"/>
              <a:pathLst>
                <a:path w="930909" h="863600">
                  <a:moveTo>
                    <a:pt x="657783" y="436041"/>
                  </a:moveTo>
                  <a:lnTo>
                    <a:pt x="651611" y="389331"/>
                  </a:lnTo>
                  <a:lnTo>
                    <a:pt x="633044" y="347192"/>
                  </a:lnTo>
                  <a:lnTo>
                    <a:pt x="613651" y="323342"/>
                  </a:lnTo>
                  <a:lnTo>
                    <a:pt x="613651" y="435546"/>
                  </a:lnTo>
                  <a:lnTo>
                    <a:pt x="605701" y="477977"/>
                  </a:lnTo>
                  <a:lnTo>
                    <a:pt x="584606" y="514705"/>
                  </a:lnTo>
                  <a:lnTo>
                    <a:pt x="552818" y="543521"/>
                  </a:lnTo>
                  <a:lnTo>
                    <a:pt x="512749" y="562216"/>
                  </a:lnTo>
                  <a:lnTo>
                    <a:pt x="466852" y="568579"/>
                  </a:lnTo>
                  <a:lnTo>
                    <a:pt x="421132" y="561200"/>
                  </a:lnTo>
                  <a:lnTo>
                    <a:pt x="381558" y="541629"/>
                  </a:lnTo>
                  <a:lnTo>
                    <a:pt x="350520" y="512114"/>
                  </a:lnTo>
                  <a:lnTo>
                    <a:pt x="330377" y="474941"/>
                  </a:lnTo>
                  <a:lnTo>
                    <a:pt x="323507" y="432346"/>
                  </a:lnTo>
                  <a:lnTo>
                    <a:pt x="326631" y="405904"/>
                  </a:lnTo>
                  <a:lnTo>
                    <a:pt x="348754" y="357962"/>
                  </a:lnTo>
                  <a:lnTo>
                    <a:pt x="385165" y="323748"/>
                  </a:lnTo>
                  <a:lnTo>
                    <a:pt x="426313" y="305092"/>
                  </a:lnTo>
                  <a:lnTo>
                    <a:pt x="461759" y="299313"/>
                  </a:lnTo>
                  <a:lnTo>
                    <a:pt x="470306" y="299313"/>
                  </a:lnTo>
                  <a:lnTo>
                    <a:pt x="516013" y="306692"/>
                  </a:lnTo>
                  <a:lnTo>
                    <a:pt x="555586" y="326275"/>
                  </a:lnTo>
                  <a:lnTo>
                    <a:pt x="586638" y="355777"/>
                  </a:lnTo>
                  <a:lnTo>
                    <a:pt x="606780" y="392963"/>
                  </a:lnTo>
                  <a:lnTo>
                    <a:pt x="613651" y="435546"/>
                  </a:lnTo>
                  <a:lnTo>
                    <a:pt x="613651" y="323342"/>
                  </a:lnTo>
                  <a:lnTo>
                    <a:pt x="565937" y="283425"/>
                  </a:lnTo>
                  <a:lnTo>
                    <a:pt x="520979" y="265201"/>
                  </a:lnTo>
                  <a:lnTo>
                    <a:pt x="470827" y="258356"/>
                  </a:lnTo>
                  <a:lnTo>
                    <a:pt x="433578" y="261315"/>
                  </a:lnTo>
                  <a:lnTo>
                    <a:pt x="365531" y="286600"/>
                  </a:lnTo>
                  <a:lnTo>
                    <a:pt x="312293" y="334848"/>
                  </a:lnTo>
                  <a:lnTo>
                    <a:pt x="283438" y="397383"/>
                  </a:lnTo>
                  <a:lnTo>
                    <a:pt x="279374" y="431863"/>
                  </a:lnTo>
                  <a:lnTo>
                    <a:pt x="285470" y="477977"/>
                  </a:lnTo>
                  <a:lnTo>
                    <a:pt x="285546" y="478561"/>
                  </a:lnTo>
                  <a:lnTo>
                    <a:pt x="304101" y="520700"/>
                  </a:lnTo>
                  <a:lnTo>
                    <a:pt x="333260" y="556577"/>
                  </a:lnTo>
                  <a:lnTo>
                    <a:pt x="371208" y="584479"/>
                  </a:lnTo>
                  <a:lnTo>
                    <a:pt x="416166" y="602703"/>
                  </a:lnTo>
                  <a:lnTo>
                    <a:pt x="466318" y="609536"/>
                  </a:lnTo>
                  <a:lnTo>
                    <a:pt x="472300" y="609536"/>
                  </a:lnTo>
                  <a:lnTo>
                    <a:pt x="537845" y="597357"/>
                  </a:lnTo>
                  <a:lnTo>
                    <a:pt x="576884" y="577862"/>
                  </a:lnTo>
                  <a:lnTo>
                    <a:pt x="588137" y="568579"/>
                  </a:lnTo>
                  <a:lnTo>
                    <a:pt x="609777" y="550735"/>
                  </a:lnTo>
                  <a:lnTo>
                    <a:pt x="635152" y="517207"/>
                  </a:lnTo>
                  <a:lnTo>
                    <a:pt x="651611" y="478561"/>
                  </a:lnTo>
                  <a:lnTo>
                    <a:pt x="657783" y="436041"/>
                  </a:lnTo>
                  <a:close/>
                </a:path>
                <a:path w="930909" h="863600">
                  <a:moveTo>
                    <a:pt x="930516" y="421284"/>
                  </a:moveTo>
                  <a:lnTo>
                    <a:pt x="926465" y="374167"/>
                  </a:lnTo>
                  <a:lnTo>
                    <a:pt x="917778" y="331050"/>
                  </a:lnTo>
                  <a:lnTo>
                    <a:pt x="903312" y="285965"/>
                  </a:lnTo>
                  <a:lnTo>
                    <a:pt x="884072" y="243420"/>
                  </a:lnTo>
                  <a:lnTo>
                    <a:pt x="860412" y="203619"/>
                  </a:lnTo>
                  <a:lnTo>
                    <a:pt x="832662" y="166776"/>
                  </a:lnTo>
                  <a:lnTo>
                    <a:pt x="801179" y="133070"/>
                  </a:lnTo>
                  <a:lnTo>
                    <a:pt x="766305" y="102692"/>
                  </a:lnTo>
                  <a:lnTo>
                    <a:pt x="728383" y="75857"/>
                  </a:lnTo>
                  <a:lnTo>
                    <a:pt x="687768" y="52743"/>
                  </a:lnTo>
                  <a:lnTo>
                    <a:pt x="644791" y="33566"/>
                  </a:lnTo>
                  <a:lnTo>
                    <a:pt x="599808" y="18503"/>
                  </a:lnTo>
                  <a:lnTo>
                    <a:pt x="553161" y="7759"/>
                  </a:lnTo>
                  <a:lnTo>
                    <a:pt x="505193" y="1524"/>
                  </a:lnTo>
                  <a:lnTo>
                    <a:pt x="456260" y="0"/>
                  </a:lnTo>
                  <a:lnTo>
                    <a:pt x="406679" y="3390"/>
                  </a:lnTo>
                  <a:lnTo>
                    <a:pt x="356831" y="11874"/>
                  </a:lnTo>
                  <a:lnTo>
                    <a:pt x="306222" y="25946"/>
                  </a:lnTo>
                  <a:lnTo>
                    <a:pt x="258216" y="44932"/>
                  </a:lnTo>
                  <a:lnTo>
                    <a:pt x="213144" y="68643"/>
                  </a:lnTo>
                  <a:lnTo>
                    <a:pt x="171323" y="96824"/>
                  </a:lnTo>
                  <a:lnTo>
                    <a:pt x="133096" y="129273"/>
                  </a:lnTo>
                  <a:lnTo>
                    <a:pt x="98780" y="165760"/>
                  </a:lnTo>
                  <a:lnTo>
                    <a:pt x="68707" y="206070"/>
                  </a:lnTo>
                  <a:lnTo>
                    <a:pt x="43294" y="249910"/>
                  </a:lnTo>
                  <a:lnTo>
                    <a:pt x="23647" y="295592"/>
                  </a:lnTo>
                  <a:lnTo>
                    <a:pt x="9842" y="342696"/>
                  </a:lnTo>
                  <a:lnTo>
                    <a:pt x="1930" y="390867"/>
                  </a:lnTo>
                  <a:lnTo>
                    <a:pt x="0" y="439686"/>
                  </a:lnTo>
                  <a:lnTo>
                    <a:pt x="4114" y="488784"/>
                  </a:lnTo>
                  <a:lnTo>
                    <a:pt x="12915" y="532447"/>
                  </a:lnTo>
                  <a:lnTo>
                    <a:pt x="28079" y="579412"/>
                  </a:lnTo>
                  <a:lnTo>
                    <a:pt x="48539" y="623963"/>
                  </a:lnTo>
                  <a:lnTo>
                    <a:pt x="74079" y="665797"/>
                  </a:lnTo>
                  <a:lnTo>
                    <a:pt x="104444" y="704608"/>
                  </a:lnTo>
                  <a:lnTo>
                    <a:pt x="139407" y="740092"/>
                  </a:lnTo>
                  <a:lnTo>
                    <a:pt x="178727" y="771944"/>
                  </a:lnTo>
                  <a:lnTo>
                    <a:pt x="222161" y="799858"/>
                  </a:lnTo>
                  <a:lnTo>
                    <a:pt x="269417" y="823442"/>
                  </a:lnTo>
                  <a:lnTo>
                    <a:pt x="318643" y="841679"/>
                  </a:lnTo>
                  <a:lnTo>
                    <a:pt x="369430" y="854481"/>
                  </a:lnTo>
                  <a:lnTo>
                    <a:pt x="421335" y="861809"/>
                  </a:lnTo>
                  <a:lnTo>
                    <a:pt x="473951" y="863600"/>
                  </a:lnTo>
                  <a:lnTo>
                    <a:pt x="526859" y="859790"/>
                  </a:lnTo>
                  <a:lnTo>
                    <a:pt x="583666" y="849363"/>
                  </a:lnTo>
                  <a:lnTo>
                    <a:pt x="624141" y="837641"/>
                  </a:lnTo>
                  <a:lnTo>
                    <a:pt x="667194" y="820877"/>
                  </a:lnTo>
                  <a:lnTo>
                    <a:pt x="657656" y="802411"/>
                  </a:lnTo>
                  <a:lnTo>
                    <a:pt x="636155" y="811339"/>
                  </a:lnTo>
                  <a:lnTo>
                    <a:pt x="591604" y="826008"/>
                  </a:lnTo>
                  <a:lnTo>
                    <a:pt x="517842" y="840181"/>
                  </a:lnTo>
                  <a:lnTo>
                    <a:pt x="467321" y="843102"/>
                  </a:lnTo>
                  <a:lnTo>
                    <a:pt x="417537" y="840689"/>
                  </a:lnTo>
                  <a:lnTo>
                    <a:pt x="368909" y="833170"/>
                  </a:lnTo>
                  <a:lnTo>
                    <a:pt x="321830" y="820775"/>
                  </a:lnTo>
                  <a:lnTo>
                    <a:pt x="276694" y="803744"/>
                  </a:lnTo>
                  <a:lnTo>
                    <a:pt x="233934" y="782307"/>
                  </a:lnTo>
                  <a:lnTo>
                    <a:pt x="193929" y="756678"/>
                  </a:lnTo>
                  <a:lnTo>
                    <a:pt x="157073" y="727100"/>
                  </a:lnTo>
                  <a:lnTo>
                    <a:pt x="123761" y="693750"/>
                  </a:lnTo>
                  <a:lnTo>
                    <a:pt x="94424" y="656920"/>
                  </a:lnTo>
                  <a:lnTo>
                    <a:pt x="69481" y="616800"/>
                  </a:lnTo>
                  <a:lnTo>
                    <a:pt x="49339" y="573646"/>
                  </a:lnTo>
                  <a:lnTo>
                    <a:pt x="34378" y="527685"/>
                  </a:lnTo>
                  <a:lnTo>
                    <a:pt x="25984" y="486067"/>
                  </a:lnTo>
                  <a:lnTo>
                    <a:pt x="22072" y="439305"/>
                  </a:lnTo>
                  <a:lnTo>
                    <a:pt x="23914" y="392811"/>
                  </a:lnTo>
                  <a:lnTo>
                    <a:pt x="31445" y="346925"/>
                  </a:lnTo>
                  <a:lnTo>
                    <a:pt x="44602" y="302056"/>
                  </a:lnTo>
                  <a:lnTo>
                    <a:pt x="63309" y="258546"/>
                  </a:lnTo>
                  <a:lnTo>
                    <a:pt x="87515" y="216776"/>
                  </a:lnTo>
                  <a:lnTo>
                    <a:pt x="116166" y="178384"/>
                  </a:lnTo>
                  <a:lnTo>
                    <a:pt x="148856" y="143624"/>
                  </a:lnTo>
                  <a:lnTo>
                    <a:pt x="185280" y="112712"/>
                  </a:lnTo>
                  <a:lnTo>
                    <a:pt x="225107" y="85864"/>
                  </a:lnTo>
                  <a:lnTo>
                    <a:pt x="268046" y="63296"/>
                  </a:lnTo>
                  <a:lnTo>
                    <a:pt x="313778" y="45199"/>
                  </a:lnTo>
                  <a:lnTo>
                    <a:pt x="361975" y="31800"/>
                  </a:lnTo>
                  <a:lnTo>
                    <a:pt x="409498" y="23710"/>
                  </a:lnTo>
                  <a:lnTo>
                    <a:pt x="456730" y="20485"/>
                  </a:lnTo>
                  <a:lnTo>
                    <a:pt x="503377" y="21932"/>
                  </a:lnTo>
                  <a:lnTo>
                    <a:pt x="549071" y="27876"/>
                  </a:lnTo>
                  <a:lnTo>
                    <a:pt x="593509" y="38112"/>
                  </a:lnTo>
                  <a:lnTo>
                    <a:pt x="636358" y="52463"/>
                  </a:lnTo>
                  <a:lnTo>
                    <a:pt x="677291" y="70739"/>
                  </a:lnTo>
                  <a:lnTo>
                    <a:pt x="715975" y="92748"/>
                  </a:lnTo>
                  <a:lnTo>
                    <a:pt x="752081" y="118313"/>
                  </a:lnTo>
                  <a:lnTo>
                    <a:pt x="785279" y="147243"/>
                  </a:lnTo>
                  <a:lnTo>
                    <a:pt x="815263" y="179349"/>
                  </a:lnTo>
                  <a:lnTo>
                    <a:pt x="841679" y="214452"/>
                  </a:lnTo>
                  <a:lnTo>
                    <a:pt x="864209" y="252361"/>
                  </a:lnTo>
                  <a:lnTo>
                    <a:pt x="882535" y="292874"/>
                  </a:lnTo>
                  <a:lnTo>
                    <a:pt x="896315" y="335826"/>
                  </a:lnTo>
                  <a:lnTo>
                    <a:pt x="904582" y="376897"/>
                  </a:lnTo>
                  <a:lnTo>
                    <a:pt x="908443" y="421779"/>
                  </a:lnTo>
                  <a:lnTo>
                    <a:pt x="907008" y="466661"/>
                  </a:lnTo>
                  <a:lnTo>
                    <a:pt x="900290" y="511136"/>
                  </a:lnTo>
                  <a:lnTo>
                    <a:pt x="887806" y="556272"/>
                  </a:lnTo>
                  <a:lnTo>
                    <a:pt x="887691" y="557784"/>
                  </a:lnTo>
                  <a:lnTo>
                    <a:pt x="888466" y="563041"/>
                  </a:lnTo>
                  <a:lnTo>
                    <a:pt x="891324" y="566394"/>
                  </a:lnTo>
                  <a:lnTo>
                    <a:pt x="901344" y="569315"/>
                  </a:lnTo>
                  <a:lnTo>
                    <a:pt x="907542" y="566343"/>
                  </a:lnTo>
                  <a:lnTo>
                    <a:pt x="909370" y="560933"/>
                  </a:lnTo>
                  <a:lnTo>
                    <a:pt x="921956" y="515099"/>
                  </a:lnTo>
                  <a:lnTo>
                    <a:pt x="929005" y="468401"/>
                  </a:lnTo>
                  <a:lnTo>
                    <a:pt x="930516" y="42128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7425073" y="4170546"/>
              <a:ext cx="1137285" cy="322580"/>
            </a:xfrm>
            <a:custGeom>
              <a:avLst/>
              <a:gdLst/>
              <a:ahLst/>
              <a:cxnLst/>
              <a:rect l="l" t="t" r="r" b="b"/>
              <a:pathLst>
                <a:path w="1137284" h="322579">
                  <a:moveTo>
                    <a:pt x="87287" y="80365"/>
                  </a:moveTo>
                  <a:lnTo>
                    <a:pt x="86448" y="74358"/>
                  </a:lnTo>
                  <a:lnTo>
                    <a:pt x="83070" y="68910"/>
                  </a:lnTo>
                  <a:lnTo>
                    <a:pt x="69240" y="53886"/>
                  </a:lnTo>
                  <a:lnTo>
                    <a:pt x="55892" y="38455"/>
                  </a:lnTo>
                  <a:lnTo>
                    <a:pt x="43065" y="22656"/>
                  </a:lnTo>
                  <a:lnTo>
                    <a:pt x="30810" y="6553"/>
                  </a:lnTo>
                  <a:lnTo>
                    <a:pt x="25958" y="2184"/>
                  </a:lnTo>
                  <a:lnTo>
                    <a:pt x="19989" y="0"/>
                  </a:lnTo>
                  <a:lnTo>
                    <a:pt x="13360" y="0"/>
                  </a:lnTo>
                  <a:lnTo>
                    <a:pt x="7137" y="2438"/>
                  </a:lnTo>
                  <a:lnTo>
                    <a:pt x="2413" y="6946"/>
                  </a:lnTo>
                  <a:lnTo>
                    <a:pt x="0" y="12573"/>
                  </a:lnTo>
                  <a:lnTo>
                    <a:pt x="50" y="18630"/>
                  </a:lnTo>
                  <a:lnTo>
                    <a:pt x="28994" y="57861"/>
                  </a:lnTo>
                  <a:lnTo>
                    <a:pt x="57492" y="89827"/>
                  </a:lnTo>
                  <a:lnTo>
                    <a:pt x="67119" y="95719"/>
                  </a:lnTo>
                  <a:lnTo>
                    <a:pt x="75793" y="94627"/>
                  </a:lnTo>
                  <a:lnTo>
                    <a:pt x="78917" y="93383"/>
                  </a:lnTo>
                  <a:lnTo>
                    <a:pt x="81546" y="91224"/>
                  </a:lnTo>
                  <a:lnTo>
                    <a:pt x="85636" y="86233"/>
                  </a:lnTo>
                  <a:lnTo>
                    <a:pt x="87287" y="80365"/>
                  </a:lnTo>
                  <a:close/>
                </a:path>
                <a:path w="1137284" h="322579">
                  <a:moveTo>
                    <a:pt x="216992" y="184048"/>
                  </a:moveTo>
                  <a:lnTo>
                    <a:pt x="214630" y="178396"/>
                  </a:lnTo>
                  <a:lnTo>
                    <a:pt x="209943" y="173863"/>
                  </a:lnTo>
                  <a:lnTo>
                    <a:pt x="192646" y="162331"/>
                  </a:lnTo>
                  <a:lnTo>
                    <a:pt x="175691" y="150317"/>
                  </a:lnTo>
                  <a:lnTo>
                    <a:pt x="159156" y="137845"/>
                  </a:lnTo>
                  <a:lnTo>
                    <a:pt x="143090" y="124968"/>
                  </a:lnTo>
                  <a:lnTo>
                    <a:pt x="137236" y="121805"/>
                  </a:lnTo>
                  <a:lnTo>
                    <a:pt x="114744" y="137693"/>
                  </a:lnTo>
                  <a:lnTo>
                    <a:pt x="116357" y="143560"/>
                  </a:lnTo>
                  <a:lnTo>
                    <a:pt x="154597" y="175158"/>
                  </a:lnTo>
                  <a:lnTo>
                    <a:pt x="190500" y="199834"/>
                  </a:lnTo>
                  <a:lnTo>
                    <a:pt x="198424" y="203034"/>
                  </a:lnTo>
                  <a:lnTo>
                    <a:pt x="207073" y="201942"/>
                  </a:lnTo>
                  <a:lnTo>
                    <a:pt x="211378" y="199656"/>
                  </a:lnTo>
                  <a:lnTo>
                    <a:pt x="214223" y="195872"/>
                  </a:lnTo>
                  <a:lnTo>
                    <a:pt x="216903" y="190106"/>
                  </a:lnTo>
                  <a:lnTo>
                    <a:pt x="216992" y="184048"/>
                  </a:lnTo>
                  <a:close/>
                </a:path>
                <a:path w="1137284" h="322579">
                  <a:moveTo>
                    <a:pt x="371068" y="261759"/>
                  </a:moveTo>
                  <a:lnTo>
                    <a:pt x="369595" y="255854"/>
                  </a:lnTo>
                  <a:lnTo>
                    <a:pt x="365848" y="250888"/>
                  </a:lnTo>
                  <a:lnTo>
                    <a:pt x="360133" y="247523"/>
                  </a:lnTo>
                  <a:lnTo>
                    <a:pt x="340398" y="240207"/>
                  </a:lnTo>
                  <a:lnTo>
                    <a:pt x="320865" y="232308"/>
                  </a:lnTo>
                  <a:lnTo>
                    <a:pt x="301599" y="223862"/>
                  </a:lnTo>
                  <a:lnTo>
                    <a:pt x="282651" y="214896"/>
                  </a:lnTo>
                  <a:lnTo>
                    <a:pt x="276161" y="213118"/>
                  </a:lnTo>
                  <a:lnTo>
                    <a:pt x="269659" y="213753"/>
                  </a:lnTo>
                  <a:lnTo>
                    <a:pt x="263906" y="216623"/>
                  </a:lnTo>
                  <a:lnTo>
                    <a:pt x="259626" y="221488"/>
                  </a:lnTo>
                  <a:lnTo>
                    <a:pt x="257708" y="227507"/>
                  </a:lnTo>
                  <a:lnTo>
                    <a:pt x="258394" y="233540"/>
                  </a:lnTo>
                  <a:lnTo>
                    <a:pt x="306781" y="261112"/>
                  </a:lnTo>
                  <a:lnTo>
                    <a:pt x="347954" y="277075"/>
                  </a:lnTo>
                  <a:lnTo>
                    <a:pt x="353580" y="278320"/>
                  </a:lnTo>
                  <a:lnTo>
                    <a:pt x="362292" y="277228"/>
                  </a:lnTo>
                  <a:lnTo>
                    <a:pt x="367652" y="273545"/>
                  </a:lnTo>
                  <a:lnTo>
                    <a:pt x="369951" y="267957"/>
                  </a:lnTo>
                  <a:lnTo>
                    <a:pt x="371068" y="261759"/>
                  </a:lnTo>
                  <a:close/>
                </a:path>
                <a:path w="1137284" h="322579">
                  <a:moveTo>
                    <a:pt x="540893" y="294589"/>
                  </a:moveTo>
                  <a:lnTo>
                    <a:pt x="534263" y="286689"/>
                  </a:lnTo>
                  <a:lnTo>
                    <a:pt x="524916" y="285623"/>
                  </a:lnTo>
                  <a:lnTo>
                    <a:pt x="503834" y="282905"/>
                  </a:lnTo>
                  <a:lnTo>
                    <a:pt x="482803" y="279590"/>
                  </a:lnTo>
                  <a:lnTo>
                    <a:pt x="461911" y="275691"/>
                  </a:lnTo>
                  <a:lnTo>
                    <a:pt x="441223" y="271233"/>
                  </a:lnTo>
                  <a:lnTo>
                    <a:pt x="434454" y="270954"/>
                  </a:lnTo>
                  <a:lnTo>
                    <a:pt x="420395" y="286689"/>
                  </a:lnTo>
                  <a:lnTo>
                    <a:pt x="420281" y="289026"/>
                  </a:lnTo>
                  <a:lnTo>
                    <a:pt x="422465" y="294589"/>
                  </a:lnTo>
                  <a:lnTo>
                    <a:pt x="422516" y="294728"/>
                  </a:lnTo>
                  <a:lnTo>
                    <a:pt x="426897" y="299237"/>
                  </a:lnTo>
                  <a:lnTo>
                    <a:pt x="476592" y="310680"/>
                  </a:lnTo>
                  <a:lnTo>
                    <a:pt x="520738" y="317004"/>
                  </a:lnTo>
                  <a:lnTo>
                    <a:pt x="522236" y="317169"/>
                  </a:lnTo>
                  <a:lnTo>
                    <a:pt x="523621" y="317169"/>
                  </a:lnTo>
                  <a:lnTo>
                    <a:pt x="532612" y="316039"/>
                  </a:lnTo>
                  <a:lnTo>
                    <a:pt x="538772" y="310527"/>
                  </a:lnTo>
                  <a:lnTo>
                    <a:pt x="540880" y="294728"/>
                  </a:lnTo>
                  <a:lnTo>
                    <a:pt x="540893" y="294589"/>
                  </a:lnTo>
                  <a:close/>
                </a:path>
                <a:path w="1137284" h="322579">
                  <a:moveTo>
                    <a:pt x="714857" y="307975"/>
                  </a:moveTo>
                  <a:lnTo>
                    <a:pt x="712584" y="290703"/>
                  </a:lnTo>
                  <a:lnTo>
                    <a:pt x="704100" y="284530"/>
                  </a:lnTo>
                  <a:lnTo>
                    <a:pt x="694753" y="285597"/>
                  </a:lnTo>
                  <a:lnTo>
                    <a:pt x="673595" y="287693"/>
                  </a:lnTo>
                  <a:lnTo>
                    <a:pt x="652335" y="289191"/>
                  </a:lnTo>
                  <a:lnTo>
                    <a:pt x="631063" y="290106"/>
                  </a:lnTo>
                  <a:lnTo>
                    <a:pt x="604812" y="290487"/>
                  </a:lnTo>
                  <a:lnTo>
                    <a:pt x="600494" y="290487"/>
                  </a:lnTo>
                  <a:lnTo>
                    <a:pt x="592797" y="297484"/>
                  </a:lnTo>
                  <a:lnTo>
                    <a:pt x="592797" y="314960"/>
                  </a:lnTo>
                  <a:lnTo>
                    <a:pt x="600456" y="322046"/>
                  </a:lnTo>
                  <a:lnTo>
                    <a:pt x="609854" y="322046"/>
                  </a:lnTo>
                  <a:lnTo>
                    <a:pt x="632104" y="321716"/>
                  </a:lnTo>
                  <a:lnTo>
                    <a:pt x="654405" y="320751"/>
                  </a:lnTo>
                  <a:lnTo>
                    <a:pt x="676694" y="319176"/>
                  </a:lnTo>
                  <a:lnTo>
                    <a:pt x="698881" y="316992"/>
                  </a:lnTo>
                  <a:lnTo>
                    <a:pt x="708329" y="315798"/>
                  </a:lnTo>
                  <a:lnTo>
                    <a:pt x="714857" y="307975"/>
                  </a:lnTo>
                  <a:close/>
                </a:path>
                <a:path w="1137284" h="322579">
                  <a:moveTo>
                    <a:pt x="882878" y="263271"/>
                  </a:moveTo>
                  <a:lnTo>
                    <a:pt x="881773" y="257073"/>
                  </a:lnTo>
                  <a:lnTo>
                    <a:pt x="878179" y="251752"/>
                  </a:lnTo>
                  <a:lnTo>
                    <a:pt x="872832" y="248246"/>
                  </a:lnTo>
                  <a:lnTo>
                    <a:pt x="866482" y="246862"/>
                  </a:lnTo>
                  <a:lnTo>
                    <a:pt x="859815" y="247853"/>
                  </a:lnTo>
                  <a:lnTo>
                    <a:pt x="839812" y="254558"/>
                  </a:lnTo>
                  <a:lnTo>
                    <a:pt x="819543" y="260718"/>
                  </a:lnTo>
                  <a:lnTo>
                    <a:pt x="799096" y="266306"/>
                  </a:lnTo>
                  <a:lnTo>
                    <a:pt x="778510" y="271322"/>
                  </a:lnTo>
                  <a:lnTo>
                    <a:pt x="772147" y="274104"/>
                  </a:lnTo>
                  <a:lnTo>
                    <a:pt x="772287" y="274104"/>
                  </a:lnTo>
                  <a:lnTo>
                    <a:pt x="768007" y="278485"/>
                  </a:lnTo>
                  <a:lnTo>
                    <a:pt x="765759" y="284175"/>
                  </a:lnTo>
                  <a:lnTo>
                    <a:pt x="766038" y="290449"/>
                  </a:lnTo>
                  <a:lnTo>
                    <a:pt x="768146" y="298386"/>
                  </a:lnTo>
                  <a:lnTo>
                    <a:pt x="776338" y="303415"/>
                  </a:lnTo>
                  <a:lnTo>
                    <a:pt x="785456" y="302272"/>
                  </a:lnTo>
                  <a:lnTo>
                    <a:pt x="785622" y="302272"/>
                  </a:lnTo>
                  <a:lnTo>
                    <a:pt x="829678" y="290918"/>
                  </a:lnTo>
                  <a:lnTo>
                    <a:pt x="871867" y="277444"/>
                  </a:lnTo>
                  <a:lnTo>
                    <a:pt x="881367" y="269163"/>
                  </a:lnTo>
                  <a:lnTo>
                    <a:pt x="882878" y="263271"/>
                  </a:lnTo>
                  <a:close/>
                </a:path>
                <a:path w="1137284" h="322579">
                  <a:moveTo>
                    <a:pt x="1036675" y="190284"/>
                  </a:moveTo>
                  <a:lnTo>
                    <a:pt x="1036586" y="184213"/>
                  </a:lnTo>
                  <a:lnTo>
                    <a:pt x="1033907" y="178447"/>
                  </a:lnTo>
                  <a:lnTo>
                    <a:pt x="1029030" y="174117"/>
                  </a:lnTo>
                  <a:lnTo>
                    <a:pt x="1023150" y="171996"/>
                  </a:lnTo>
                  <a:lnTo>
                    <a:pt x="1016406" y="171996"/>
                  </a:lnTo>
                  <a:lnTo>
                    <a:pt x="1010196" y="174472"/>
                  </a:lnTo>
                  <a:lnTo>
                    <a:pt x="992543" y="185458"/>
                  </a:lnTo>
                  <a:lnTo>
                    <a:pt x="974483" y="195973"/>
                  </a:lnTo>
                  <a:lnTo>
                    <a:pt x="956094" y="205981"/>
                  </a:lnTo>
                  <a:lnTo>
                    <a:pt x="937425" y="215442"/>
                  </a:lnTo>
                  <a:lnTo>
                    <a:pt x="932180" y="219405"/>
                  </a:lnTo>
                  <a:lnTo>
                    <a:pt x="929081" y="224751"/>
                  </a:lnTo>
                  <a:lnTo>
                    <a:pt x="928370" y="230771"/>
                  </a:lnTo>
                  <a:lnTo>
                    <a:pt x="930275" y="236804"/>
                  </a:lnTo>
                  <a:lnTo>
                    <a:pt x="933704" y="242836"/>
                  </a:lnTo>
                  <a:lnTo>
                    <a:pt x="940752" y="245973"/>
                  </a:lnTo>
                  <a:lnTo>
                    <a:pt x="949553" y="244868"/>
                  </a:lnTo>
                  <a:lnTo>
                    <a:pt x="992174" y="223024"/>
                  </a:lnTo>
                  <a:lnTo>
                    <a:pt x="1029614" y="200456"/>
                  </a:lnTo>
                  <a:lnTo>
                    <a:pt x="1034249" y="195973"/>
                  </a:lnTo>
                  <a:lnTo>
                    <a:pt x="1036675" y="190284"/>
                  </a:lnTo>
                  <a:close/>
                </a:path>
                <a:path w="1137284" h="322579">
                  <a:moveTo>
                    <a:pt x="1136929" y="109677"/>
                  </a:moveTo>
                  <a:lnTo>
                    <a:pt x="1135659" y="103733"/>
                  </a:lnTo>
                  <a:lnTo>
                    <a:pt x="1131900" y="98513"/>
                  </a:lnTo>
                  <a:lnTo>
                    <a:pt x="1126248" y="95072"/>
                  </a:lnTo>
                  <a:lnTo>
                    <a:pt x="1119835" y="93929"/>
                  </a:lnTo>
                  <a:lnTo>
                    <a:pt x="1113421" y="95097"/>
                  </a:lnTo>
                  <a:lnTo>
                    <a:pt x="1107795" y="98577"/>
                  </a:lnTo>
                  <a:lnTo>
                    <a:pt x="1100480" y="105308"/>
                  </a:lnTo>
                  <a:lnTo>
                    <a:pt x="1092987" y="111988"/>
                  </a:lnTo>
                  <a:lnTo>
                    <a:pt x="1085367" y="118605"/>
                  </a:lnTo>
                  <a:lnTo>
                    <a:pt x="1077633" y="125120"/>
                  </a:lnTo>
                  <a:lnTo>
                    <a:pt x="1073581" y="130149"/>
                  </a:lnTo>
                  <a:lnTo>
                    <a:pt x="1071981" y="136029"/>
                  </a:lnTo>
                  <a:lnTo>
                    <a:pt x="1072857" y="142024"/>
                  </a:lnTo>
                  <a:lnTo>
                    <a:pt x="1076286" y="147447"/>
                  </a:lnTo>
                  <a:lnTo>
                    <a:pt x="1080198" y="151498"/>
                  </a:lnTo>
                  <a:lnTo>
                    <a:pt x="1085875" y="153250"/>
                  </a:lnTo>
                  <a:lnTo>
                    <a:pt x="1091285" y="152577"/>
                  </a:lnTo>
                  <a:lnTo>
                    <a:pt x="1124292" y="127939"/>
                  </a:lnTo>
                  <a:lnTo>
                    <a:pt x="1135697" y="115633"/>
                  </a:lnTo>
                  <a:lnTo>
                    <a:pt x="1136929" y="109677"/>
                  </a:lnTo>
                  <a:close/>
                </a:path>
              </a:pathLst>
            </a:custGeom>
            <a:solidFill>
              <a:srgbClr val="91B3F9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5731731" y="2388250"/>
              <a:ext cx="1106805" cy="1027430"/>
            </a:xfrm>
            <a:custGeom>
              <a:avLst/>
              <a:gdLst/>
              <a:ahLst/>
              <a:cxnLst/>
              <a:rect l="l" t="t" r="r" b="b"/>
              <a:pathLst>
                <a:path w="1106805" h="1027429">
                  <a:moveTo>
                    <a:pt x="489199" y="0"/>
                  </a:moveTo>
                  <a:lnTo>
                    <a:pt x="359549" y="28857"/>
                  </a:lnTo>
                  <a:lnTo>
                    <a:pt x="356910" y="31674"/>
                  </a:lnTo>
                  <a:lnTo>
                    <a:pt x="346429" y="132016"/>
                  </a:lnTo>
                  <a:lnTo>
                    <a:pt x="313520" y="148972"/>
                  </a:lnTo>
                  <a:lnTo>
                    <a:pt x="282505" y="168200"/>
                  </a:lnTo>
                  <a:lnTo>
                    <a:pt x="253479" y="189550"/>
                  </a:lnTo>
                  <a:lnTo>
                    <a:pt x="226537" y="212873"/>
                  </a:lnTo>
                  <a:lnTo>
                    <a:pt x="120415" y="191062"/>
                  </a:lnTo>
                  <a:lnTo>
                    <a:pt x="116708" y="192528"/>
                  </a:lnTo>
                  <a:lnTo>
                    <a:pt x="47024" y="298011"/>
                  </a:lnTo>
                  <a:lnTo>
                    <a:pt x="47296" y="301729"/>
                  </a:lnTo>
                  <a:lnTo>
                    <a:pt x="116383" y="379611"/>
                  </a:lnTo>
                  <a:lnTo>
                    <a:pt x="106203" y="412476"/>
                  </a:lnTo>
                  <a:lnTo>
                    <a:pt x="98864" y="446168"/>
                  </a:lnTo>
                  <a:lnTo>
                    <a:pt x="94469" y="480541"/>
                  </a:lnTo>
                  <a:lnTo>
                    <a:pt x="93117" y="515450"/>
                  </a:lnTo>
                  <a:lnTo>
                    <a:pt x="1507" y="569626"/>
                  </a:lnTo>
                  <a:lnTo>
                    <a:pt x="0" y="573092"/>
                  </a:lnTo>
                  <a:lnTo>
                    <a:pt x="31098" y="693413"/>
                  </a:lnTo>
                  <a:lnTo>
                    <a:pt x="34135" y="695863"/>
                  </a:lnTo>
                  <a:lnTo>
                    <a:pt x="142257" y="705591"/>
                  </a:lnTo>
                  <a:lnTo>
                    <a:pt x="160522" y="736135"/>
                  </a:lnTo>
                  <a:lnTo>
                    <a:pt x="181239" y="764919"/>
                  </a:lnTo>
                  <a:lnTo>
                    <a:pt x="204246" y="791857"/>
                  </a:lnTo>
                  <a:lnTo>
                    <a:pt x="229385" y="816865"/>
                  </a:lnTo>
                  <a:lnTo>
                    <a:pt x="205878" y="915343"/>
                  </a:lnTo>
                  <a:lnTo>
                    <a:pt x="207449" y="918778"/>
                  </a:lnTo>
                  <a:lnTo>
                    <a:pt x="321110" y="983456"/>
                  </a:lnTo>
                  <a:lnTo>
                    <a:pt x="325131" y="983195"/>
                  </a:lnTo>
                  <a:lnTo>
                    <a:pt x="409045" y="919081"/>
                  </a:lnTo>
                  <a:lnTo>
                    <a:pt x="444458" y="928534"/>
                  </a:lnTo>
                  <a:lnTo>
                    <a:pt x="480762" y="935344"/>
                  </a:lnTo>
                  <a:lnTo>
                    <a:pt x="517801" y="939424"/>
                  </a:lnTo>
                  <a:lnTo>
                    <a:pt x="555417" y="940683"/>
                  </a:lnTo>
                  <a:lnTo>
                    <a:pt x="613803" y="1025686"/>
                  </a:lnTo>
                  <a:lnTo>
                    <a:pt x="617530" y="1027089"/>
                  </a:lnTo>
                  <a:lnTo>
                    <a:pt x="747181" y="998231"/>
                  </a:lnTo>
                  <a:lnTo>
                    <a:pt x="749820" y="995414"/>
                  </a:lnTo>
                  <a:lnTo>
                    <a:pt x="760301" y="895072"/>
                  </a:lnTo>
                  <a:lnTo>
                    <a:pt x="793214" y="878122"/>
                  </a:lnTo>
                  <a:lnTo>
                    <a:pt x="824230" y="858896"/>
                  </a:lnTo>
                  <a:lnTo>
                    <a:pt x="853256" y="837544"/>
                  </a:lnTo>
                  <a:lnTo>
                    <a:pt x="880203" y="814216"/>
                  </a:lnTo>
                  <a:lnTo>
                    <a:pt x="986325" y="836026"/>
                  </a:lnTo>
                  <a:lnTo>
                    <a:pt x="990022" y="834571"/>
                  </a:lnTo>
                  <a:lnTo>
                    <a:pt x="1057789" y="731998"/>
                  </a:lnTo>
                  <a:lnTo>
                    <a:pt x="1059716" y="729087"/>
                  </a:lnTo>
                  <a:lnTo>
                    <a:pt x="1059433" y="725360"/>
                  </a:lnTo>
                  <a:lnTo>
                    <a:pt x="990357" y="647477"/>
                  </a:lnTo>
                  <a:lnTo>
                    <a:pt x="1000536" y="614614"/>
                  </a:lnTo>
                  <a:lnTo>
                    <a:pt x="1007872" y="580926"/>
                  </a:lnTo>
                  <a:lnTo>
                    <a:pt x="1012267" y="546556"/>
                  </a:lnTo>
                  <a:lnTo>
                    <a:pt x="1013623" y="511649"/>
                  </a:lnTo>
                  <a:lnTo>
                    <a:pt x="1105222" y="457462"/>
                  </a:lnTo>
                  <a:lnTo>
                    <a:pt x="1106730" y="453996"/>
                  </a:lnTo>
                  <a:lnTo>
                    <a:pt x="1075632" y="333675"/>
                  </a:lnTo>
                  <a:lnTo>
                    <a:pt x="1072595" y="331225"/>
                  </a:lnTo>
                  <a:lnTo>
                    <a:pt x="964483" y="321498"/>
                  </a:lnTo>
                  <a:lnTo>
                    <a:pt x="946212" y="290958"/>
                  </a:lnTo>
                  <a:lnTo>
                    <a:pt x="925494" y="262175"/>
                  </a:lnTo>
                  <a:lnTo>
                    <a:pt x="902488" y="235237"/>
                  </a:lnTo>
                  <a:lnTo>
                    <a:pt x="877355" y="210234"/>
                  </a:lnTo>
                  <a:lnTo>
                    <a:pt x="900852" y="111745"/>
                  </a:lnTo>
                  <a:lnTo>
                    <a:pt x="899281" y="108310"/>
                  </a:lnTo>
                  <a:lnTo>
                    <a:pt x="785620" y="43632"/>
                  </a:lnTo>
                  <a:lnTo>
                    <a:pt x="781609" y="43893"/>
                  </a:lnTo>
                  <a:lnTo>
                    <a:pt x="697685" y="108007"/>
                  </a:lnTo>
                  <a:lnTo>
                    <a:pt x="662272" y="98559"/>
                  </a:lnTo>
                  <a:lnTo>
                    <a:pt x="625967" y="91749"/>
                  </a:lnTo>
                  <a:lnTo>
                    <a:pt x="588929" y="87670"/>
                  </a:lnTo>
                  <a:lnTo>
                    <a:pt x="551313" y="86416"/>
                  </a:lnTo>
                  <a:lnTo>
                    <a:pt x="492927" y="1403"/>
                  </a:lnTo>
                  <a:lnTo>
                    <a:pt x="489199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5962033" y="2603213"/>
              <a:ext cx="641985" cy="594995"/>
            </a:xfrm>
            <a:custGeom>
              <a:avLst/>
              <a:gdLst/>
              <a:ahLst/>
              <a:cxnLst/>
              <a:rect l="l" t="t" r="r" b="b"/>
              <a:pathLst>
                <a:path w="641984" h="594994">
                  <a:moveTo>
                    <a:pt x="451929" y="300012"/>
                  </a:moveTo>
                  <a:lnTo>
                    <a:pt x="442391" y="253390"/>
                  </a:lnTo>
                  <a:lnTo>
                    <a:pt x="417855" y="218782"/>
                  </a:lnTo>
                  <a:lnTo>
                    <a:pt x="417855" y="299643"/>
                  </a:lnTo>
                  <a:lnTo>
                    <a:pt x="415823" y="316915"/>
                  </a:lnTo>
                  <a:lnTo>
                    <a:pt x="389305" y="361530"/>
                  </a:lnTo>
                  <a:lnTo>
                    <a:pt x="340601" y="385076"/>
                  </a:lnTo>
                  <a:lnTo>
                    <a:pt x="321932" y="386575"/>
                  </a:lnTo>
                  <a:lnTo>
                    <a:pt x="303314" y="384670"/>
                  </a:lnTo>
                  <a:lnTo>
                    <a:pt x="255231" y="360070"/>
                  </a:lnTo>
                  <a:lnTo>
                    <a:pt x="229857" y="314858"/>
                  </a:lnTo>
                  <a:lnTo>
                    <a:pt x="228485" y="300012"/>
                  </a:lnTo>
                  <a:lnTo>
                    <a:pt x="228447" y="299643"/>
                  </a:lnTo>
                  <a:lnTo>
                    <a:pt x="252310" y="240068"/>
                  </a:lnTo>
                  <a:lnTo>
                    <a:pt x="310299" y="211391"/>
                  </a:lnTo>
                  <a:lnTo>
                    <a:pt x="318757" y="210591"/>
                  </a:lnTo>
                  <a:lnTo>
                    <a:pt x="324192" y="210591"/>
                  </a:lnTo>
                  <a:lnTo>
                    <a:pt x="360972" y="217944"/>
                  </a:lnTo>
                  <a:lnTo>
                    <a:pt x="390867" y="237147"/>
                  </a:lnTo>
                  <a:lnTo>
                    <a:pt x="410832" y="265341"/>
                  </a:lnTo>
                  <a:lnTo>
                    <a:pt x="417855" y="299643"/>
                  </a:lnTo>
                  <a:lnTo>
                    <a:pt x="417855" y="218782"/>
                  </a:lnTo>
                  <a:lnTo>
                    <a:pt x="415226" y="215061"/>
                  </a:lnTo>
                  <a:lnTo>
                    <a:pt x="408279" y="210591"/>
                  </a:lnTo>
                  <a:lnTo>
                    <a:pt x="374599" y="188950"/>
                  </a:lnTo>
                  <a:lnTo>
                    <a:pt x="324599" y="178968"/>
                  </a:lnTo>
                  <a:lnTo>
                    <a:pt x="274320" y="187896"/>
                  </a:lnTo>
                  <a:lnTo>
                    <a:pt x="233019" y="213093"/>
                  </a:lnTo>
                  <a:lnTo>
                    <a:pt x="204901" y="250786"/>
                  </a:lnTo>
                  <a:lnTo>
                    <a:pt x="194183" y="297167"/>
                  </a:lnTo>
                  <a:lnTo>
                    <a:pt x="196354" y="320713"/>
                  </a:lnTo>
                  <a:lnTo>
                    <a:pt x="214909" y="363728"/>
                  </a:lnTo>
                  <a:lnTo>
                    <a:pt x="250317" y="397383"/>
                  </a:lnTo>
                  <a:lnTo>
                    <a:pt x="296214" y="415620"/>
                  </a:lnTo>
                  <a:lnTo>
                    <a:pt x="322160" y="418249"/>
                  </a:lnTo>
                  <a:lnTo>
                    <a:pt x="327964" y="418249"/>
                  </a:lnTo>
                  <a:lnTo>
                    <a:pt x="379564" y="406158"/>
                  </a:lnTo>
                  <a:lnTo>
                    <a:pt x="413105" y="384162"/>
                  </a:lnTo>
                  <a:lnTo>
                    <a:pt x="441604" y="345694"/>
                  </a:lnTo>
                  <a:lnTo>
                    <a:pt x="449160" y="323494"/>
                  </a:lnTo>
                  <a:lnTo>
                    <a:pt x="451929" y="300012"/>
                  </a:lnTo>
                  <a:close/>
                </a:path>
                <a:path w="641984" h="594994">
                  <a:moveTo>
                    <a:pt x="641819" y="289902"/>
                  </a:moveTo>
                  <a:lnTo>
                    <a:pt x="636447" y="242468"/>
                  </a:lnTo>
                  <a:lnTo>
                    <a:pt x="617359" y="182740"/>
                  </a:lnTo>
                  <a:lnTo>
                    <a:pt x="594639" y="141262"/>
                  </a:lnTo>
                  <a:lnTo>
                    <a:pt x="565302" y="103784"/>
                  </a:lnTo>
                  <a:lnTo>
                    <a:pt x="529831" y="70891"/>
                  </a:lnTo>
                  <a:lnTo>
                    <a:pt x="488670" y="43167"/>
                  </a:lnTo>
                  <a:lnTo>
                    <a:pt x="443382" y="21691"/>
                  </a:lnTo>
                  <a:lnTo>
                    <a:pt x="395706" y="7264"/>
                  </a:lnTo>
                  <a:lnTo>
                    <a:pt x="346430" y="0"/>
                  </a:lnTo>
                  <a:lnTo>
                    <a:pt x="296278" y="25"/>
                  </a:lnTo>
                  <a:lnTo>
                    <a:pt x="246037" y="7442"/>
                  </a:lnTo>
                  <a:lnTo>
                    <a:pt x="197650" y="21996"/>
                  </a:lnTo>
                  <a:lnTo>
                    <a:pt x="152946" y="43078"/>
                  </a:lnTo>
                  <a:lnTo>
                    <a:pt x="112572" y="70294"/>
                  </a:lnTo>
                  <a:lnTo>
                    <a:pt x="77127" y="103212"/>
                  </a:lnTo>
                  <a:lnTo>
                    <a:pt x="47256" y="141427"/>
                  </a:lnTo>
                  <a:lnTo>
                    <a:pt x="22440" y="187286"/>
                  </a:lnTo>
                  <a:lnTo>
                    <a:pt x="6642" y="235686"/>
                  </a:lnTo>
                  <a:lnTo>
                    <a:pt x="0" y="285711"/>
                  </a:lnTo>
                  <a:lnTo>
                    <a:pt x="2679" y="336461"/>
                  </a:lnTo>
                  <a:lnTo>
                    <a:pt x="23761" y="409854"/>
                  </a:lnTo>
                  <a:lnTo>
                    <a:pt x="45072" y="449541"/>
                  </a:lnTo>
                  <a:lnTo>
                    <a:pt x="72059" y="485241"/>
                  </a:lnTo>
                  <a:lnTo>
                    <a:pt x="104025" y="516597"/>
                  </a:lnTo>
                  <a:lnTo>
                    <a:pt x="140335" y="543229"/>
                  </a:lnTo>
                  <a:lnTo>
                    <a:pt x="180314" y="564769"/>
                  </a:lnTo>
                  <a:lnTo>
                    <a:pt x="223291" y="580821"/>
                  </a:lnTo>
                  <a:lnTo>
                    <a:pt x="268630" y="591032"/>
                  </a:lnTo>
                  <a:lnTo>
                    <a:pt x="315645" y="594995"/>
                  </a:lnTo>
                  <a:lnTo>
                    <a:pt x="363677" y="592366"/>
                  </a:lnTo>
                  <a:lnTo>
                    <a:pt x="411607" y="582879"/>
                  </a:lnTo>
                  <a:lnTo>
                    <a:pt x="460146" y="565569"/>
                  </a:lnTo>
                  <a:lnTo>
                    <a:pt x="431457" y="542861"/>
                  </a:lnTo>
                  <a:lnTo>
                    <a:pt x="417182" y="547954"/>
                  </a:lnTo>
                  <a:lnTo>
                    <a:pt x="402628" y="552361"/>
                  </a:lnTo>
                  <a:lnTo>
                    <a:pt x="384543" y="556742"/>
                  </a:lnTo>
                  <a:lnTo>
                    <a:pt x="349097" y="562165"/>
                  </a:lnTo>
                  <a:lnTo>
                    <a:pt x="313651" y="563435"/>
                  </a:lnTo>
                  <a:lnTo>
                    <a:pt x="278523" y="560616"/>
                  </a:lnTo>
                  <a:lnTo>
                    <a:pt x="225767" y="548411"/>
                  </a:lnTo>
                  <a:lnTo>
                    <a:pt x="190246" y="534187"/>
                  </a:lnTo>
                  <a:lnTo>
                    <a:pt x="125730" y="492391"/>
                  </a:lnTo>
                  <a:lnTo>
                    <a:pt x="88620" y="453656"/>
                  </a:lnTo>
                  <a:lnTo>
                    <a:pt x="60413" y="408927"/>
                  </a:lnTo>
                  <a:lnTo>
                    <a:pt x="41910" y="359219"/>
                  </a:lnTo>
                  <a:lnTo>
                    <a:pt x="34074" y="286931"/>
                  </a:lnTo>
                  <a:lnTo>
                    <a:pt x="40005" y="242214"/>
                  </a:lnTo>
                  <a:lnTo>
                    <a:pt x="54127" y="198945"/>
                  </a:lnTo>
                  <a:lnTo>
                    <a:pt x="76301" y="157949"/>
                  </a:lnTo>
                  <a:lnTo>
                    <a:pt x="110490" y="115989"/>
                  </a:lnTo>
                  <a:lnTo>
                    <a:pt x="152222" y="81559"/>
                  </a:lnTo>
                  <a:lnTo>
                    <a:pt x="200418" y="55384"/>
                  </a:lnTo>
                  <a:lnTo>
                    <a:pt x="253987" y="38214"/>
                  </a:lnTo>
                  <a:lnTo>
                    <a:pt x="298869" y="31610"/>
                  </a:lnTo>
                  <a:lnTo>
                    <a:pt x="343687" y="31597"/>
                  </a:lnTo>
                  <a:lnTo>
                    <a:pt x="387743" y="38074"/>
                  </a:lnTo>
                  <a:lnTo>
                    <a:pt x="430377" y="50952"/>
                  </a:lnTo>
                  <a:lnTo>
                    <a:pt x="470865" y="70129"/>
                  </a:lnTo>
                  <a:lnTo>
                    <a:pt x="516077" y="101854"/>
                  </a:lnTo>
                  <a:lnTo>
                    <a:pt x="553173" y="140576"/>
                  </a:lnTo>
                  <a:lnTo>
                    <a:pt x="581380" y="185305"/>
                  </a:lnTo>
                  <a:lnTo>
                    <a:pt x="599897" y="235026"/>
                  </a:lnTo>
                  <a:lnTo>
                    <a:pt x="607758" y="290664"/>
                  </a:lnTo>
                  <a:lnTo>
                    <a:pt x="606818" y="319722"/>
                  </a:lnTo>
                  <a:lnTo>
                    <a:pt x="602475" y="348513"/>
                  </a:lnTo>
                  <a:lnTo>
                    <a:pt x="594715" y="376770"/>
                  </a:lnTo>
                  <a:lnTo>
                    <a:pt x="593940" y="379056"/>
                  </a:lnTo>
                  <a:lnTo>
                    <a:pt x="593750" y="381393"/>
                  </a:lnTo>
                  <a:lnTo>
                    <a:pt x="594944" y="389496"/>
                  </a:lnTo>
                  <a:lnTo>
                    <a:pt x="599363" y="394690"/>
                  </a:lnTo>
                  <a:lnTo>
                    <a:pt x="605866" y="396582"/>
                  </a:lnTo>
                  <a:lnTo>
                    <a:pt x="612597" y="397243"/>
                  </a:lnTo>
                  <a:lnTo>
                    <a:pt x="618858" y="395516"/>
                  </a:lnTo>
                  <a:lnTo>
                    <a:pt x="623963" y="391744"/>
                  </a:lnTo>
                  <a:lnTo>
                    <a:pt x="627227" y="386245"/>
                  </a:lnTo>
                  <a:lnTo>
                    <a:pt x="635914" y="354622"/>
                  </a:lnTo>
                  <a:lnTo>
                    <a:pt x="640778" y="322414"/>
                  </a:lnTo>
                  <a:lnTo>
                    <a:pt x="641819" y="28990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2186884" y="4969774"/>
              <a:ext cx="6768465" cy="3837304"/>
            </a:xfrm>
            <a:custGeom>
              <a:avLst/>
              <a:gdLst/>
              <a:ahLst/>
              <a:cxnLst/>
              <a:rect l="l" t="t" r="r" b="b"/>
              <a:pathLst>
                <a:path w="6768465" h="3837304">
                  <a:moveTo>
                    <a:pt x="6462818" y="0"/>
                  </a:moveTo>
                  <a:lnTo>
                    <a:pt x="216736" y="149995"/>
                  </a:lnTo>
                  <a:lnTo>
                    <a:pt x="160578" y="153412"/>
                  </a:lnTo>
                  <a:lnTo>
                    <a:pt x="112445" y="169103"/>
                  </a:lnTo>
                  <a:lnTo>
                    <a:pt x="72561" y="193851"/>
                  </a:lnTo>
                  <a:lnTo>
                    <a:pt x="41151" y="224439"/>
                  </a:lnTo>
                  <a:lnTo>
                    <a:pt x="18438" y="257649"/>
                  </a:lnTo>
                  <a:lnTo>
                    <a:pt x="0" y="319068"/>
                  </a:lnTo>
                  <a:lnTo>
                    <a:pt x="53181" y="3727561"/>
                  </a:lnTo>
                  <a:lnTo>
                    <a:pt x="62506" y="3770110"/>
                  </a:lnTo>
                  <a:lnTo>
                    <a:pt x="87897" y="3804952"/>
                  </a:lnTo>
                  <a:lnTo>
                    <a:pt x="125476" y="3828493"/>
                  </a:lnTo>
                  <a:lnTo>
                    <a:pt x="171366" y="3837139"/>
                  </a:lnTo>
                  <a:lnTo>
                    <a:pt x="6562470" y="3837139"/>
                  </a:lnTo>
                  <a:lnTo>
                    <a:pt x="6608359" y="3828493"/>
                  </a:lnTo>
                  <a:lnTo>
                    <a:pt x="6645939" y="3804952"/>
                  </a:lnTo>
                  <a:lnTo>
                    <a:pt x="6671329" y="3770110"/>
                  </a:lnTo>
                  <a:lnTo>
                    <a:pt x="6680655" y="3727561"/>
                  </a:lnTo>
                  <a:lnTo>
                    <a:pt x="6768422" y="282692"/>
                  </a:lnTo>
                  <a:lnTo>
                    <a:pt x="6765613" y="237765"/>
                  </a:lnTo>
                  <a:lnTo>
                    <a:pt x="6755112" y="194275"/>
                  </a:lnTo>
                  <a:lnTo>
                    <a:pt x="6737272" y="153039"/>
                  </a:lnTo>
                  <a:lnTo>
                    <a:pt x="6712447" y="114876"/>
                  </a:lnTo>
                  <a:lnTo>
                    <a:pt x="6680990" y="80604"/>
                  </a:lnTo>
                  <a:lnTo>
                    <a:pt x="6643951" y="51519"/>
                  </a:lnTo>
                  <a:lnTo>
                    <a:pt x="6602731" y="28589"/>
                  </a:lnTo>
                  <a:lnTo>
                    <a:pt x="6558214" y="12141"/>
                  </a:lnTo>
                  <a:lnTo>
                    <a:pt x="6511282" y="2502"/>
                  </a:lnTo>
                  <a:lnTo>
                    <a:pt x="6462818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2350382" y="5099730"/>
              <a:ext cx="6489700" cy="3596640"/>
            </a:xfrm>
            <a:custGeom>
              <a:avLst/>
              <a:gdLst/>
              <a:ahLst/>
              <a:cxnLst/>
              <a:rect l="l" t="t" r="r" b="b"/>
              <a:pathLst>
                <a:path w="6489700" h="3596640">
                  <a:moveTo>
                    <a:pt x="6274761" y="0"/>
                  </a:moveTo>
                  <a:lnTo>
                    <a:pt x="288451" y="149042"/>
                  </a:lnTo>
                  <a:lnTo>
                    <a:pt x="209725" y="157441"/>
                  </a:lnTo>
                  <a:lnTo>
                    <a:pt x="167589" y="170510"/>
                  </a:lnTo>
                  <a:lnTo>
                    <a:pt x="126229" y="190026"/>
                  </a:lnTo>
                  <a:lnTo>
                    <a:pt x="87615" y="216384"/>
                  </a:lnTo>
                  <a:lnTo>
                    <a:pt x="53716" y="249985"/>
                  </a:lnTo>
                  <a:lnTo>
                    <a:pt x="26501" y="291227"/>
                  </a:lnTo>
                  <a:lnTo>
                    <a:pt x="7939" y="340509"/>
                  </a:lnTo>
                  <a:lnTo>
                    <a:pt x="0" y="398228"/>
                  </a:lnTo>
                  <a:lnTo>
                    <a:pt x="50186" y="3492480"/>
                  </a:lnTo>
                  <a:lnTo>
                    <a:pt x="59009" y="3532768"/>
                  </a:lnTo>
                  <a:lnTo>
                    <a:pt x="83030" y="3565763"/>
                  </a:lnTo>
                  <a:lnTo>
                    <a:pt x="118581" y="3588057"/>
                  </a:lnTo>
                  <a:lnTo>
                    <a:pt x="161995" y="3596246"/>
                  </a:lnTo>
                  <a:lnTo>
                    <a:pt x="6288667" y="3596246"/>
                  </a:lnTo>
                  <a:lnTo>
                    <a:pt x="6332080" y="3588057"/>
                  </a:lnTo>
                  <a:lnTo>
                    <a:pt x="6367632" y="3565763"/>
                  </a:lnTo>
                  <a:lnTo>
                    <a:pt x="6391653" y="3532768"/>
                  </a:lnTo>
                  <a:lnTo>
                    <a:pt x="6400475" y="3492480"/>
                  </a:lnTo>
                  <a:lnTo>
                    <a:pt x="6489509" y="198789"/>
                  </a:lnTo>
                  <a:lnTo>
                    <a:pt x="6486216" y="159423"/>
                  </a:lnTo>
                  <a:lnTo>
                    <a:pt x="6474529" y="121853"/>
                  </a:lnTo>
                  <a:lnTo>
                    <a:pt x="6454963" y="87210"/>
                  </a:lnTo>
                  <a:lnTo>
                    <a:pt x="6428034" y="56626"/>
                  </a:lnTo>
                  <a:lnTo>
                    <a:pt x="6395025" y="31733"/>
                  </a:lnTo>
                  <a:lnTo>
                    <a:pt x="6357668" y="13694"/>
                  </a:lnTo>
                  <a:lnTo>
                    <a:pt x="6317176" y="2965"/>
                  </a:lnTo>
                  <a:lnTo>
                    <a:pt x="6274761" y="0"/>
                  </a:lnTo>
                  <a:close/>
                </a:path>
              </a:pathLst>
            </a:custGeom>
            <a:solidFill>
              <a:srgbClr val="B1B1B1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5" name="object 1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2446291" y="6840985"/>
              <a:ext cx="37004" cy="281237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2425453" y="5260227"/>
              <a:ext cx="2198906" cy="1247061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11960139" y="8790381"/>
              <a:ext cx="7289165" cy="299720"/>
            </a:xfrm>
            <a:custGeom>
              <a:avLst/>
              <a:gdLst/>
              <a:ahLst/>
              <a:cxnLst/>
              <a:rect l="l" t="t" r="r" b="b"/>
              <a:pathLst>
                <a:path w="7289165" h="299720">
                  <a:moveTo>
                    <a:pt x="7282584" y="0"/>
                  </a:moveTo>
                  <a:lnTo>
                    <a:pt x="6387" y="0"/>
                  </a:lnTo>
                  <a:lnTo>
                    <a:pt x="0" y="6387"/>
                  </a:lnTo>
                  <a:lnTo>
                    <a:pt x="0" y="293090"/>
                  </a:lnTo>
                  <a:lnTo>
                    <a:pt x="6387" y="299477"/>
                  </a:lnTo>
                  <a:lnTo>
                    <a:pt x="7274773" y="299477"/>
                  </a:lnTo>
                  <a:lnTo>
                    <a:pt x="7282584" y="299477"/>
                  </a:lnTo>
                  <a:lnTo>
                    <a:pt x="7288971" y="293090"/>
                  </a:lnTo>
                  <a:lnTo>
                    <a:pt x="7288971" y="6387"/>
                  </a:lnTo>
                  <a:lnTo>
                    <a:pt x="7282584" y="0"/>
                  </a:lnTo>
                  <a:close/>
                </a:path>
              </a:pathLst>
            </a:custGeom>
            <a:solidFill>
              <a:srgbClr val="0A4D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8" name="object 1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2626953" y="3525235"/>
              <a:ext cx="7175337" cy="6680170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14377223" y="6824554"/>
              <a:ext cx="1350010" cy="1976755"/>
            </a:xfrm>
            <a:custGeom>
              <a:avLst/>
              <a:gdLst/>
              <a:ahLst/>
              <a:cxnLst/>
              <a:rect l="l" t="t" r="r" b="b"/>
              <a:pathLst>
                <a:path w="1350009" h="1976754">
                  <a:moveTo>
                    <a:pt x="0" y="0"/>
                  </a:moveTo>
                  <a:lnTo>
                    <a:pt x="0" y="1976421"/>
                  </a:lnTo>
                  <a:lnTo>
                    <a:pt x="1349424" y="1881513"/>
                  </a:lnTo>
                  <a:lnTo>
                    <a:pt x="1349424" y="949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13270935" y="6824557"/>
              <a:ext cx="1106805" cy="1976755"/>
            </a:xfrm>
            <a:custGeom>
              <a:avLst/>
              <a:gdLst/>
              <a:ahLst/>
              <a:cxnLst/>
              <a:rect l="l" t="t" r="r" b="b"/>
              <a:pathLst>
                <a:path w="1106805" h="1976754">
                  <a:moveTo>
                    <a:pt x="1106290" y="0"/>
                  </a:moveTo>
                  <a:lnTo>
                    <a:pt x="0" y="126174"/>
                  </a:lnTo>
                  <a:lnTo>
                    <a:pt x="0" y="1841169"/>
                  </a:lnTo>
                  <a:lnTo>
                    <a:pt x="1106290" y="1976421"/>
                  </a:lnTo>
                  <a:lnTo>
                    <a:pt x="1106290" y="0"/>
                  </a:lnTo>
                  <a:close/>
                </a:path>
              </a:pathLst>
            </a:custGeom>
            <a:solidFill>
              <a:srgbClr val="DD9F13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14854923" y="6858156"/>
              <a:ext cx="452755" cy="802005"/>
            </a:xfrm>
            <a:custGeom>
              <a:avLst/>
              <a:gdLst/>
              <a:ahLst/>
              <a:cxnLst/>
              <a:rect l="l" t="t" r="r" b="b"/>
              <a:pathLst>
                <a:path w="452755" h="802004">
                  <a:moveTo>
                    <a:pt x="0" y="0"/>
                  </a:moveTo>
                  <a:lnTo>
                    <a:pt x="0" y="801954"/>
                  </a:lnTo>
                  <a:lnTo>
                    <a:pt x="452132" y="801954"/>
                  </a:lnTo>
                  <a:lnTo>
                    <a:pt x="452132" y="31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7500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12503171" y="7571830"/>
              <a:ext cx="744855" cy="1330325"/>
            </a:xfrm>
            <a:custGeom>
              <a:avLst/>
              <a:gdLst/>
              <a:ahLst/>
              <a:cxnLst/>
              <a:rect l="l" t="t" r="r" b="b"/>
              <a:pathLst>
                <a:path w="744855" h="1330325">
                  <a:moveTo>
                    <a:pt x="744626" y="0"/>
                  </a:moveTo>
                  <a:lnTo>
                    <a:pt x="0" y="52448"/>
                  </a:lnTo>
                  <a:lnTo>
                    <a:pt x="0" y="1239260"/>
                  </a:lnTo>
                  <a:lnTo>
                    <a:pt x="744626" y="1330294"/>
                  </a:lnTo>
                  <a:lnTo>
                    <a:pt x="744626" y="0"/>
                  </a:lnTo>
                  <a:close/>
                </a:path>
              </a:pathLst>
            </a:custGeom>
            <a:solidFill>
              <a:srgbClr val="DD9F13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13247794" y="7571834"/>
              <a:ext cx="908685" cy="1330325"/>
            </a:xfrm>
            <a:custGeom>
              <a:avLst/>
              <a:gdLst/>
              <a:ahLst/>
              <a:cxnLst/>
              <a:rect l="l" t="t" r="r" b="b"/>
              <a:pathLst>
                <a:path w="908684" h="1330325">
                  <a:moveTo>
                    <a:pt x="0" y="0"/>
                  </a:moveTo>
                  <a:lnTo>
                    <a:pt x="0" y="1330294"/>
                  </a:lnTo>
                  <a:lnTo>
                    <a:pt x="908276" y="1268914"/>
                  </a:lnTo>
                  <a:lnTo>
                    <a:pt x="908276" y="522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13577692" y="7590794"/>
              <a:ext cx="304165" cy="564515"/>
            </a:xfrm>
            <a:custGeom>
              <a:avLst/>
              <a:gdLst/>
              <a:ahLst/>
              <a:cxnLst/>
              <a:rect l="l" t="t" r="r" b="b"/>
              <a:pathLst>
                <a:path w="304165" h="564515">
                  <a:moveTo>
                    <a:pt x="0" y="0"/>
                  </a:moveTo>
                  <a:lnTo>
                    <a:pt x="0" y="554381"/>
                  </a:lnTo>
                  <a:lnTo>
                    <a:pt x="303687" y="564454"/>
                  </a:lnTo>
                  <a:lnTo>
                    <a:pt x="303687" y="174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7500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5" name="object 25"/>
          <p:cNvSpPr/>
          <p:nvPr/>
        </p:nvSpPr>
        <p:spPr>
          <a:xfrm>
            <a:off x="669185" y="2521845"/>
            <a:ext cx="461692" cy="461692"/>
          </a:xfrm>
          <a:custGeom>
            <a:avLst/>
            <a:gdLst/>
            <a:ahLst/>
            <a:cxnLst/>
            <a:rect l="l" t="t" r="r" b="b"/>
            <a:pathLst>
              <a:path w="761364" h="761364">
                <a:moveTo>
                  <a:pt x="380689" y="0"/>
                </a:moveTo>
                <a:lnTo>
                  <a:pt x="332935" y="2966"/>
                </a:lnTo>
                <a:lnTo>
                  <a:pt x="286952" y="11626"/>
                </a:lnTo>
                <a:lnTo>
                  <a:pt x="243095" y="25623"/>
                </a:lnTo>
                <a:lnTo>
                  <a:pt x="201722" y="44602"/>
                </a:lnTo>
                <a:lnTo>
                  <a:pt x="163190" y="68204"/>
                </a:lnTo>
                <a:lnTo>
                  <a:pt x="127856" y="96074"/>
                </a:lnTo>
                <a:lnTo>
                  <a:pt x="96075" y="127854"/>
                </a:lnTo>
                <a:lnTo>
                  <a:pt x="68205" y="163188"/>
                </a:lnTo>
                <a:lnTo>
                  <a:pt x="44602" y="201719"/>
                </a:lnTo>
                <a:lnTo>
                  <a:pt x="25624" y="243090"/>
                </a:lnTo>
                <a:lnTo>
                  <a:pt x="11626" y="286945"/>
                </a:lnTo>
                <a:lnTo>
                  <a:pt x="2966" y="332927"/>
                </a:lnTo>
                <a:lnTo>
                  <a:pt x="0" y="380679"/>
                </a:lnTo>
                <a:lnTo>
                  <a:pt x="2966" y="428431"/>
                </a:lnTo>
                <a:lnTo>
                  <a:pt x="11626" y="474413"/>
                </a:lnTo>
                <a:lnTo>
                  <a:pt x="25624" y="518268"/>
                </a:lnTo>
                <a:lnTo>
                  <a:pt x="44602" y="559639"/>
                </a:lnTo>
                <a:lnTo>
                  <a:pt x="68205" y="598170"/>
                </a:lnTo>
                <a:lnTo>
                  <a:pt x="96075" y="633504"/>
                </a:lnTo>
                <a:lnTo>
                  <a:pt x="127856" y="665284"/>
                </a:lnTo>
                <a:lnTo>
                  <a:pt x="163190" y="693154"/>
                </a:lnTo>
                <a:lnTo>
                  <a:pt x="201722" y="716756"/>
                </a:lnTo>
                <a:lnTo>
                  <a:pt x="243095" y="735735"/>
                </a:lnTo>
                <a:lnTo>
                  <a:pt x="286952" y="749732"/>
                </a:lnTo>
                <a:lnTo>
                  <a:pt x="332935" y="758393"/>
                </a:lnTo>
                <a:lnTo>
                  <a:pt x="380689" y="761359"/>
                </a:lnTo>
                <a:lnTo>
                  <a:pt x="428441" y="758393"/>
                </a:lnTo>
                <a:lnTo>
                  <a:pt x="474423" y="749732"/>
                </a:lnTo>
                <a:lnTo>
                  <a:pt x="518278" y="735735"/>
                </a:lnTo>
                <a:lnTo>
                  <a:pt x="559649" y="716756"/>
                </a:lnTo>
                <a:lnTo>
                  <a:pt x="598180" y="693154"/>
                </a:lnTo>
                <a:lnTo>
                  <a:pt x="633514" y="665284"/>
                </a:lnTo>
                <a:lnTo>
                  <a:pt x="665295" y="633504"/>
                </a:lnTo>
                <a:lnTo>
                  <a:pt x="693164" y="598170"/>
                </a:lnTo>
                <a:lnTo>
                  <a:pt x="716767" y="559639"/>
                </a:lnTo>
                <a:lnTo>
                  <a:pt x="735745" y="518268"/>
                </a:lnTo>
                <a:lnTo>
                  <a:pt x="749743" y="474413"/>
                </a:lnTo>
                <a:lnTo>
                  <a:pt x="758403" y="428431"/>
                </a:lnTo>
                <a:lnTo>
                  <a:pt x="761369" y="380679"/>
                </a:lnTo>
                <a:lnTo>
                  <a:pt x="758403" y="332927"/>
                </a:lnTo>
                <a:lnTo>
                  <a:pt x="749743" y="286945"/>
                </a:lnTo>
                <a:lnTo>
                  <a:pt x="735745" y="243090"/>
                </a:lnTo>
                <a:lnTo>
                  <a:pt x="716767" y="201719"/>
                </a:lnTo>
                <a:lnTo>
                  <a:pt x="693164" y="163188"/>
                </a:lnTo>
                <a:lnTo>
                  <a:pt x="665295" y="127854"/>
                </a:lnTo>
                <a:lnTo>
                  <a:pt x="633514" y="96074"/>
                </a:lnTo>
                <a:lnTo>
                  <a:pt x="598180" y="68204"/>
                </a:lnTo>
                <a:lnTo>
                  <a:pt x="559649" y="44602"/>
                </a:lnTo>
                <a:lnTo>
                  <a:pt x="518278" y="25623"/>
                </a:lnTo>
                <a:lnTo>
                  <a:pt x="474423" y="11626"/>
                </a:lnTo>
                <a:lnTo>
                  <a:pt x="428441" y="2966"/>
                </a:lnTo>
                <a:lnTo>
                  <a:pt x="380689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662835" y="4079501"/>
            <a:ext cx="461692" cy="461692"/>
          </a:xfrm>
          <a:custGeom>
            <a:avLst/>
            <a:gdLst/>
            <a:ahLst/>
            <a:cxnLst/>
            <a:rect l="l" t="t" r="r" b="b"/>
            <a:pathLst>
              <a:path w="761364" h="761365">
                <a:moveTo>
                  <a:pt x="380689" y="0"/>
                </a:moveTo>
                <a:lnTo>
                  <a:pt x="332935" y="2966"/>
                </a:lnTo>
                <a:lnTo>
                  <a:pt x="286952" y="11626"/>
                </a:lnTo>
                <a:lnTo>
                  <a:pt x="243095" y="25623"/>
                </a:lnTo>
                <a:lnTo>
                  <a:pt x="201722" y="44602"/>
                </a:lnTo>
                <a:lnTo>
                  <a:pt x="163190" y="68204"/>
                </a:lnTo>
                <a:lnTo>
                  <a:pt x="127856" y="96074"/>
                </a:lnTo>
                <a:lnTo>
                  <a:pt x="96075" y="127854"/>
                </a:lnTo>
                <a:lnTo>
                  <a:pt x="68205" y="163188"/>
                </a:lnTo>
                <a:lnTo>
                  <a:pt x="44602" y="201719"/>
                </a:lnTo>
                <a:lnTo>
                  <a:pt x="25624" y="243090"/>
                </a:lnTo>
                <a:lnTo>
                  <a:pt x="11626" y="286945"/>
                </a:lnTo>
                <a:lnTo>
                  <a:pt x="2966" y="332927"/>
                </a:lnTo>
                <a:lnTo>
                  <a:pt x="0" y="380679"/>
                </a:lnTo>
                <a:lnTo>
                  <a:pt x="2966" y="428431"/>
                </a:lnTo>
                <a:lnTo>
                  <a:pt x="11626" y="474413"/>
                </a:lnTo>
                <a:lnTo>
                  <a:pt x="25624" y="518268"/>
                </a:lnTo>
                <a:lnTo>
                  <a:pt x="44602" y="559639"/>
                </a:lnTo>
                <a:lnTo>
                  <a:pt x="68205" y="598170"/>
                </a:lnTo>
                <a:lnTo>
                  <a:pt x="96075" y="633504"/>
                </a:lnTo>
                <a:lnTo>
                  <a:pt x="127856" y="665284"/>
                </a:lnTo>
                <a:lnTo>
                  <a:pt x="163190" y="693154"/>
                </a:lnTo>
                <a:lnTo>
                  <a:pt x="201722" y="716756"/>
                </a:lnTo>
                <a:lnTo>
                  <a:pt x="243095" y="735735"/>
                </a:lnTo>
                <a:lnTo>
                  <a:pt x="286952" y="749732"/>
                </a:lnTo>
                <a:lnTo>
                  <a:pt x="332935" y="758393"/>
                </a:lnTo>
                <a:lnTo>
                  <a:pt x="380689" y="761359"/>
                </a:lnTo>
                <a:lnTo>
                  <a:pt x="428441" y="758393"/>
                </a:lnTo>
                <a:lnTo>
                  <a:pt x="474423" y="749732"/>
                </a:lnTo>
                <a:lnTo>
                  <a:pt x="518278" y="735735"/>
                </a:lnTo>
                <a:lnTo>
                  <a:pt x="559649" y="716756"/>
                </a:lnTo>
                <a:lnTo>
                  <a:pt x="598180" y="693154"/>
                </a:lnTo>
                <a:lnTo>
                  <a:pt x="633514" y="665284"/>
                </a:lnTo>
                <a:lnTo>
                  <a:pt x="665295" y="633504"/>
                </a:lnTo>
                <a:lnTo>
                  <a:pt x="693164" y="598170"/>
                </a:lnTo>
                <a:lnTo>
                  <a:pt x="716767" y="559639"/>
                </a:lnTo>
                <a:lnTo>
                  <a:pt x="735745" y="518268"/>
                </a:lnTo>
                <a:lnTo>
                  <a:pt x="749743" y="474413"/>
                </a:lnTo>
                <a:lnTo>
                  <a:pt x="758403" y="428431"/>
                </a:lnTo>
                <a:lnTo>
                  <a:pt x="761369" y="380679"/>
                </a:lnTo>
                <a:lnTo>
                  <a:pt x="758403" y="332927"/>
                </a:lnTo>
                <a:lnTo>
                  <a:pt x="749743" y="286945"/>
                </a:lnTo>
                <a:lnTo>
                  <a:pt x="735745" y="243090"/>
                </a:lnTo>
                <a:lnTo>
                  <a:pt x="716767" y="201719"/>
                </a:lnTo>
                <a:lnTo>
                  <a:pt x="693164" y="163188"/>
                </a:lnTo>
                <a:lnTo>
                  <a:pt x="665295" y="127854"/>
                </a:lnTo>
                <a:lnTo>
                  <a:pt x="633514" y="96074"/>
                </a:lnTo>
                <a:lnTo>
                  <a:pt x="598180" y="68204"/>
                </a:lnTo>
                <a:lnTo>
                  <a:pt x="559649" y="44602"/>
                </a:lnTo>
                <a:lnTo>
                  <a:pt x="518278" y="25623"/>
                </a:lnTo>
                <a:lnTo>
                  <a:pt x="474423" y="11626"/>
                </a:lnTo>
                <a:lnTo>
                  <a:pt x="428441" y="2966"/>
                </a:lnTo>
                <a:lnTo>
                  <a:pt x="380689" y="0"/>
                </a:lnTo>
                <a:close/>
              </a:path>
            </a:pathLst>
          </a:custGeom>
          <a:solidFill>
            <a:srgbClr val="F9B80E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27" name="object 27"/>
          <p:cNvSpPr txBox="1">
            <a:spLocks noGrp="1"/>
          </p:cNvSpPr>
          <p:nvPr>
            <p:ph type="title"/>
          </p:nvPr>
        </p:nvSpPr>
        <p:spPr>
          <a:xfrm>
            <a:off x="383608" y="373746"/>
            <a:ext cx="6626879" cy="684505"/>
          </a:xfrm>
          <a:prstGeom prst="rect">
            <a:avLst/>
          </a:prstGeom>
        </p:spPr>
        <p:txBody>
          <a:bodyPr vert="horz" wrap="square" lIns="0" tIns="40218" rIns="0" bIns="0" rtlCol="0">
            <a:spAutoFit/>
          </a:bodyPr>
          <a:lstStyle/>
          <a:p>
            <a:pPr marL="7701">
              <a:spcBef>
                <a:spcPts val="67"/>
              </a:spcBef>
            </a:pPr>
            <a:r>
              <a:rPr sz="2092" dirty="0"/>
              <a:t>БЛОКИРОВКА</a:t>
            </a:r>
            <a:r>
              <a:rPr sz="2092" spc="-27" dirty="0"/>
              <a:t> </a:t>
            </a:r>
            <a:r>
              <a:rPr sz="2092" dirty="0"/>
              <a:t>ТОВАРА/ПОСТАВЩИКА</a:t>
            </a:r>
            <a:r>
              <a:rPr sz="2092" spc="-27" dirty="0"/>
              <a:t> </a:t>
            </a:r>
            <a:r>
              <a:rPr sz="2092" dirty="0"/>
              <a:t>ПО</a:t>
            </a:r>
            <a:r>
              <a:rPr sz="2092" spc="-24" dirty="0"/>
              <a:t> </a:t>
            </a:r>
            <a:r>
              <a:rPr sz="2092" spc="-6" dirty="0"/>
              <a:t>КАЧЕСТВУ</a:t>
            </a:r>
            <a:endParaRPr sz="2092" dirty="0"/>
          </a:p>
        </p:txBody>
      </p:sp>
      <p:grpSp>
        <p:nvGrpSpPr>
          <p:cNvPr id="28" name="object 28"/>
          <p:cNvGrpSpPr/>
          <p:nvPr/>
        </p:nvGrpSpPr>
        <p:grpSpPr>
          <a:xfrm>
            <a:off x="9412165" y="529933"/>
            <a:ext cx="406243" cy="486722"/>
            <a:chOff x="15520651" y="873899"/>
            <a:chExt cx="669925" cy="802640"/>
          </a:xfrm>
        </p:grpSpPr>
        <p:sp>
          <p:nvSpPr>
            <p:cNvPr id="29" name="object 29"/>
            <p:cNvSpPr/>
            <p:nvPr/>
          </p:nvSpPr>
          <p:spPr>
            <a:xfrm>
              <a:off x="15520645" y="1431968"/>
              <a:ext cx="643255" cy="244475"/>
            </a:xfrm>
            <a:custGeom>
              <a:avLst/>
              <a:gdLst/>
              <a:ahLst/>
              <a:cxnLst/>
              <a:rect l="l" t="t" r="r" b="b"/>
              <a:pathLst>
                <a:path w="643255" h="244475">
                  <a:moveTo>
                    <a:pt x="369100" y="244005"/>
                  </a:moveTo>
                  <a:lnTo>
                    <a:pt x="348386" y="202311"/>
                  </a:lnTo>
                  <a:lnTo>
                    <a:pt x="323164" y="163537"/>
                  </a:lnTo>
                  <a:lnTo>
                    <a:pt x="293751" y="128041"/>
                  </a:lnTo>
                  <a:lnTo>
                    <a:pt x="260515" y="96139"/>
                  </a:lnTo>
                  <a:lnTo>
                    <a:pt x="223786" y="68211"/>
                  </a:lnTo>
                  <a:lnTo>
                    <a:pt x="183934" y="44577"/>
                  </a:lnTo>
                  <a:lnTo>
                    <a:pt x="141274" y="25590"/>
                  </a:lnTo>
                  <a:lnTo>
                    <a:pt x="96164" y="11607"/>
                  </a:lnTo>
                  <a:lnTo>
                    <a:pt x="48958" y="2959"/>
                  </a:lnTo>
                  <a:lnTo>
                    <a:pt x="0" y="0"/>
                  </a:lnTo>
                  <a:lnTo>
                    <a:pt x="20701" y="41681"/>
                  </a:lnTo>
                  <a:lnTo>
                    <a:pt x="45935" y="80454"/>
                  </a:lnTo>
                  <a:lnTo>
                    <a:pt x="75349" y="115951"/>
                  </a:lnTo>
                  <a:lnTo>
                    <a:pt x="108585" y="147840"/>
                  </a:lnTo>
                  <a:lnTo>
                    <a:pt x="145313" y="175780"/>
                  </a:lnTo>
                  <a:lnTo>
                    <a:pt x="185166" y="199415"/>
                  </a:lnTo>
                  <a:lnTo>
                    <a:pt x="227825" y="218401"/>
                  </a:lnTo>
                  <a:lnTo>
                    <a:pt x="272935" y="232384"/>
                  </a:lnTo>
                  <a:lnTo>
                    <a:pt x="320141" y="241033"/>
                  </a:lnTo>
                  <a:lnTo>
                    <a:pt x="369100" y="244005"/>
                  </a:lnTo>
                  <a:close/>
                </a:path>
                <a:path w="643255" h="244475">
                  <a:moveTo>
                    <a:pt x="643026" y="67576"/>
                  </a:moveTo>
                  <a:lnTo>
                    <a:pt x="591997" y="71894"/>
                  </a:lnTo>
                  <a:lnTo>
                    <a:pt x="543763" y="84353"/>
                  </a:lnTo>
                  <a:lnTo>
                    <a:pt x="499008" y="104254"/>
                  </a:lnTo>
                  <a:lnTo>
                    <a:pt x="458457" y="130886"/>
                  </a:lnTo>
                  <a:lnTo>
                    <a:pt x="422808" y="163525"/>
                  </a:lnTo>
                  <a:lnTo>
                    <a:pt x="392798" y="201460"/>
                  </a:lnTo>
                  <a:lnTo>
                    <a:pt x="369112" y="243992"/>
                  </a:lnTo>
                  <a:lnTo>
                    <a:pt x="420141" y="239687"/>
                  </a:lnTo>
                  <a:lnTo>
                    <a:pt x="468388" y="227228"/>
                  </a:lnTo>
                  <a:lnTo>
                    <a:pt x="513143" y="207327"/>
                  </a:lnTo>
                  <a:lnTo>
                    <a:pt x="553694" y="180708"/>
                  </a:lnTo>
                  <a:lnTo>
                    <a:pt x="589330" y="148069"/>
                  </a:lnTo>
                  <a:lnTo>
                    <a:pt x="619353" y="110121"/>
                  </a:lnTo>
                  <a:lnTo>
                    <a:pt x="643026" y="67576"/>
                  </a:lnTo>
                  <a:close/>
                </a:path>
              </a:pathLst>
            </a:custGeom>
            <a:solidFill>
              <a:srgbClr val="3CAC62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15588990" y="873899"/>
              <a:ext cx="601980" cy="601980"/>
            </a:xfrm>
            <a:custGeom>
              <a:avLst/>
              <a:gdLst/>
              <a:ahLst/>
              <a:cxnLst/>
              <a:rect l="l" t="t" r="r" b="b"/>
              <a:pathLst>
                <a:path w="601980" h="601980">
                  <a:moveTo>
                    <a:pt x="300765" y="0"/>
                  </a:moveTo>
                  <a:lnTo>
                    <a:pt x="251979" y="3936"/>
                  </a:lnTo>
                  <a:lnTo>
                    <a:pt x="205699" y="15333"/>
                  </a:lnTo>
                  <a:lnTo>
                    <a:pt x="162545" y="33570"/>
                  </a:lnTo>
                  <a:lnTo>
                    <a:pt x="123136" y="58030"/>
                  </a:lnTo>
                  <a:lnTo>
                    <a:pt x="88091" y="88092"/>
                  </a:lnTo>
                  <a:lnTo>
                    <a:pt x="58029" y="123138"/>
                  </a:lnTo>
                  <a:lnTo>
                    <a:pt x="33570" y="162549"/>
                  </a:lnTo>
                  <a:lnTo>
                    <a:pt x="15333" y="205705"/>
                  </a:lnTo>
                  <a:lnTo>
                    <a:pt x="3936" y="251987"/>
                  </a:lnTo>
                  <a:lnTo>
                    <a:pt x="0" y="300776"/>
                  </a:lnTo>
                  <a:lnTo>
                    <a:pt x="3835" y="348309"/>
                  </a:lnTo>
                  <a:lnTo>
                    <a:pt x="15333" y="395842"/>
                  </a:lnTo>
                  <a:lnTo>
                    <a:pt x="33570" y="438996"/>
                  </a:lnTo>
                  <a:lnTo>
                    <a:pt x="58029" y="478405"/>
                  </a:lnTo>
                  <a:lnTo>
                    <a:pt x="88091" y="513450"/>
                  </a:lnTo>
                  <a:lnTo>
                    <a:pt x="123136" y="543512"/>
                  </a:lnTo>
                  <a:lnTo>
                    <a:pt x="162545" y="567971"/>
                  </a:lnTo>
                  <a:lnTo>
                    <a:pt x="205699" y="586208"/>
                  </a:lnTo>
                  <a:lnTo>
                    <a:pt x="251979" y="597605"/>
                  </a:lnTo>
                  <a:lnTo>
                    <a:pt x="300765" y="601541"/>
                  </a:lnTo>
                  <a:lnTo>
                    <a:pt x="349552" y="597605"/>
                  </a:lnTo>
                  <a:lnTo>
                    <a:pt x="395832" y="586208"/>
                  </a:lnTo>
                  <a:lnTo>
                    <a:pt x="438987" y="567971"/>
                  </a:lnTo>
                  <a:lnTo>
                    <a:pt x="478398" y="543512"/>
                  </a:lnTo>
                  <a:lnTo>
                    <a:pt x="513445" y="513450"/>
                  </a:lnTo>
                  <a:lnTo>
                    <a:pt x="543508" y="478405"/>
                  </a:lnTo>
                  <a:lnTo>
                    <a:pt x="560419" y="451159"/>
                  </a:lnTo>
                  <a:lnTo>
                    <a:pt x="300765" y="451159"/>
                  </a:lnTo>
                  <a:lnTo>
                    <a:pt x="253232" y="443492"/>
                  </a:lnTo>
                  <a:lnTo>
                    <a:pt x="211951" y="422144"/>
                  </a:lnTo>
                  <a:lnTo>
                    <a:pt x="179397" y="389590"/>
                  </a:lnTo>
                  <a:lnTo>
                    <a:pt x="158049" y="348309"/>
                  </a:lnTo>
                  <a:lnTo>
                    <a:pt x="150382" y="300776"/>
                  </a:lnTo>
                  <a:lnTo>
                    <a:pt x="158049" y="253242"/>
                  </a:lnTo>
                  <a:lnTo>
                    <a:pt x="179397" y="211957"/>
                  </a:lnTo>
                  <a:lnTo>
                    <a:pt x="211951" y="179401"/>
                  </a:lnTo>
                  <a:lnTo>
                    <a:pt x="253232" y="158050"/>
                  </a:lnTo>
                  <a:lnTo>
                    <a:pt x="300765" y="150382"/>
                  </a:lnTo>
                  <a:lnTo>
                    <a:pt x="560417" y="150382"/>
                  </a:lnTo>
                  <a:lnTo>
                    <a:pt x="543508" y="123138"/>
                  </a:lnTo>
                  <a:lnTo>
                    <a:pt x="513445" y="88092"/>
                  </a:lnTo>
                  <a:lnTo>
                    <a:pt x="478398" y="58030"/>
                  </a:lnTo>
                  <a:lnTo>
                    <a:pt x="438987" y="33570"/>
                  </a:lnTo>
                  <a:lnTo>
                    <a:pt x="395832" y="15333"/>
                  </a:lnTo>
                  <a:lnTo>
                    <a:pt x="349552" y="3936"/>
                  </a:lnTo>
                  <a:lnTo>
                    <a:pt x="300765" y="0"/>
                  </a:lnTo>
                  <a:close/>
                </a:path>
                <a:path w="601980" h="601980">
                  <a:moveTo>
                    <a:pt x="560417" y="150382"/>
                  </a:moveTo>
                  <a:lnTo>
                    <a:pt x="300765" y="150382"/>
                  </a:lnTo>
                  <a:lnTo>
                    <a:pt x="348298" y="158050"/>
                  </a:lnTo>
                  <a:lnTo>
                    <a:pt x="389580" y="179401"/>
                  </a:lnTo>
                  <a:lnTo>
                    <a:pt x="422133" y="211957"/>
                  </a:lnTo>
                  <a:lnTo>
                    <a:pt x="443482" y="253242"/>
                  </a:lnTo>
                  <a:lnTo>
                    <a:pt x="451148" y="300776"/>
                  </a:lnTo>
                  <a:lnTo>
                    <a:pt x="443482" y="348309"/>
                  </a:lnTo>
                  <a:lnTo>
                    <a:pt x="422133" y="389590"/>
                  </a:lnTo>
                  <a:lnTo>
                    <a:pt x="389580" y="422144"/>
                  </a:lnTo>
                  <a:lnTo>
                    <a:pt x="348298" y="443492"/>
                  </a:lnTo>
                  <a:lnTo>
                    <a:pt x="300765" y="451159"/>
                  </a:lnTo>
                  <a:lnTo>
                    <a:pt x="560419" y="451159"/>
                  </a:lnTo>
                  <a:lnTo>
                    <a:pt x="567969" y="438996"/>
                  </a:lnTo>
                  <a:lnTo>
                    <a:pt x="586207" y="395842"/>
                  </a:lnTo>
                  <a:lnTo>
                    <a:pt x="597605" y="349562"/>
                  </a:lnTo>
                  <a:lnTo>
                    <a:pt x="601541" y="300776"/>
                  </a:lnTo>
                  <a:lnTo>
                    <a:pt x="597706" y="253242"/>
                  </a:lnTo>
                  <a:lnTo>
                    <a:pt x="597605" y="251987"/>
                  </a:lnTo>
                  <a:lnTo>
                    <a:pt x="586207" y="205705"/>
                  </a:lnTo>
                  <a:lnTo>
                    <a:pt x="567969" y="162549"/>
                  </a:lnTo>
                  <a:lnTo>
                    <a:pt x="560417" y="150382"/>
                  </a:lnTo>
                  <a:close/>
                </a:path>
              </a:pathLst>
            </a:custGeom>
            <a:solidFill>
              <a:srgbClr val="F9B80E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object 31"/>
          <p:cNvSpPr/>
          <p:nvPr/>
        </p:nvSpPr>
        <p:spPr>
          <a:xfrm>
            <a:off x="9909577" y="704040"/>
            <a:ext cx="1647306" cy="312287"/>
          </a:xfrm>
          <a:custGeom>
            <a:avLst/>
            <a:gdLst/>
            <a:ahLst/>
            <a:cxnLst/>
            <a:rect l="l" t="t" r="r" b="b"/>
            <a:pathLst>
              <a:path w="2716530" h="514985">
                <a:moveTo>
                  <a:pt x="1264275" y="13654"/>
                </a:moveTo>
                <a:lnTo>
                  <a:pt x="1138457" y="13654"/>
                </a:lnTo>
                <a:lnTo>
                  <a:pt x="1138457" y="501293"/>
                </a:lnTo>
                <a:lnTo>
                  <a:pt x="1264275" y="501293"/>
                </a:lnTo>
                <a:lnTo>
                  <a:pt x="1264275" y="311362"/>
                </a:lnTo>
                <a:lnTo>
                  <a:pt x="1609741" y="311362"/>
                </a:lnTo>
                <a:lnTo>
                  <a:pt x="1609741" y="193355"/>
                </a:lnTo>
                <a:lnTo>
                  <a:pt x="1264275" y="193355"/>
                </a:lnTo>
                <a:lnTo>
                  <a:pt x="1264275" y="13654"/>
                </a:lnTo>
                <a:close/>
              </a:path>
              <a:path w="2716530" h="514985">
                <a:moveTo>
                  <a:pt x="1609741" y="311362"/>
                </a:moveTo>
                <a:lnTo>
                  <a:pt x="1483933" y="311362"/>
                </a:lnTo>
                <a:lnTo>
                  <a:pt x="1483933" y="501293"/>
                </a:lnTo>
                <a:lnTo>
                  <a:pt x="1609741" y="501293"/>
                </a:lnTo>
                <a:lnTo>
                  <a:pt x="1609741" y="311362"/>
                </a:lnTo>
                <a:close/>
              </a:path>
              <a:path w="2716530" h="514985">
                <a:moveTo>
                  <a:pt x="1609741" y="13654"/>
                </a:moveTo>
                <a:lnTo>
                  <a:pt x="1483933" y="13654"/>
                </a:lnTo>
                <a:lnTo>
                  <a:pt x="1483933" y="193355"/>
                </a:lnTo>
                <a:lnTo>
                  <a:pt x="1609741" y="193355"/>
                </a:lnTo>
                <a:lnTo>
                  <a:pt x="1609741" y="13654"/>
                </a:lnTo>
                <a:close/>
              </a:path>
              <a:path w="2716530" h="514985">
                <a:moveTo>
                  <a:pt x="1951437" y="134592"/>
                </a:moveTo>
                <a:lnTo>
                  <a:pt x="1825630" y="134592"/>
                </a:lnTo>
                <a:lnTo>
                  <a:pt x="1825630" y="501293"/>
                </a:lnTo>
                <a:lnTo>
                  <a:pt x="1951437" y="501293"/>
                </a:lnTo>
                <a:lnTo>
                  <a:pt x="1951437" y="134592"/>
                </a:lnTo>
                <a:close/>
              </a:path>
              <a:path w="2716530" h="514985">
                <a:moveTo>
                  <a:pt x="2106145" y="13654"/>
                </a:moveTo>
                <a:lnTo>
                  <a:pt x="1668985" y="13654"/>
                </a:lnTo>
                <a:lnTo>
                  <a:pt x="1668985" y="134592"/>
                </a:lnTo>
                <a:lnTo>
                  <a:pt x="2106145" y="134592"/>
                </a:lnTo>
                <a:lnTo>
                  <a:pt x="2106145" y="13654"/>
                </a:lnTo>
                <a:close/>
              </a:path>
              <a:path w="2716530" h="514985">
                <a:moveTo>
                  <a:pt x="2364158" y="0"/>
                </a:moveTo>
                <a:lnTo>
                  <a:pt x="2316961" y="4739"/>
                </a:lnTo>
                <a:lnTo>
                  <a:pt x="2273332" y="18897"/>
                </a:lnTo>
                <a:lnTo>
                  <a:pt x="2233180" y="42380"/>
                </a:lnTo>
                <a:lnTo>
                  <a:pt x="2196414" y="75097"/>
                </a:lnTo>
                <a:lnTo>
                  <a:pt x="2166256" y="114427"/>
                </a:lnTo>
                <a:lnTo>
                  <a:pt x="2144602" y="157872"/>
                </a:lnTo>
                <a:lnTo>
                  <a:pt x="2131543" y="205522"/>
                </a:lnTo>
                <a:lnTo>
                  <a:pt x="2127170" y="257468"/>
                </a:lnTo>
                <a:lnTo>
                  <a:pt x="2131543" y="309572"/>
                </a:lnTo>
                <a:lnTo>
                  <a:pt x="2144602" y="357561"/>
                </a:lnTo>
                <a:lnTo>
                  <a:pt x="2166256" y="401342"/>
                </a:lnTo>
                <a:lnTo>
                  <a:pt x="2196310" y="440688"/>
                </a:lnTo>
                <a:lnTo>
                  <a:pt x="2196414" y="440824"/>
                </a:lnTo>
                <a:lnTo>
                  <a:pt x="2233180" y="473388"/>
                </a:lnTo>
                <a:lnTo>
                  <a:pt x="2273332" y="496537"/>
                </a:lnTo>
                <a:lnTo>
                  <a:pt x="2316961" y="510360"/>
                </a:lnTo>
                <a:lnTo>
                  <a:pt x="2364158" y="514947"/>
                </a:lnTo>
                <a:lnTo>
                  <a:pt x="2412449" y="510542"/>
                </a:lnTo>
                <a:lnTo>
                  <a:pt x="2454978" y="497267"/>
                </a:lnTo>
                <a:lnTo>
                  <a:pt x="2491840" y="475032"/>
                </a:lnTo>
                <a:lnTo>
                  <a:pt x="2523127" y="443745"/>
                </a:lnTo>
                <a:lnTo>
                  <a:pt x="2525221" y="440688"/>
                </a:lnTo>
                <a:lnTo>
                  <a:pt x="2716189" y="440688"/>
                </a:lnTo>
                <a:lnTo>
                  <a:pt x="2716189" y="403254"/>
                </a:lnTo>
                <a:lnTo>
                  <a:pt x="2684022" y="403254"/>
                </a:lnTo>
                <a:lnTo>
                  <a:pt x="2666437" y="400420"/>
                </a:lnTo>
                <a:lnTo>
                  <a:pt x="2658352" y="394982"/>
                </a:lnTo>
                <a:lnTo>
                  <a:pt x="2387560" y="394982"/>
                </a:lnTo>
                <a:lnTo>
                  <a:pt x="2359586" y="392605"/>
                </a:lnTo>
                <a:lnTo>
                  <a:pt x="2311309" y="373584"/>
                </a:lnTo>
                <a:lnTo>
                  <a:pt x="2274372" y="335917"/>
                </a:lnTo>
                <a:lnTo>
                  <a:pt x="2255355" y="286179"/>
                </a:lnTo>
                <a:lnTo>
                  <a:pt x="2252978" y="257468"/>
                </a:lnTo>
                <a:lnTo>
                  <a:pt x="2255355" y="228778"/>
                </a:lnTo>
                <a:lnTo>
                  <a:pt x="2274372" y="179436"/>
                </a:lnTo>
                <a:lnTo>
                  <a:pt x="2311309" y="141763"/>
                </a:lnTo>
                <a:lnTo>
                  <a:pt x="2359586" y="122347"/>
                </a:lnTo>
                <a:lnTo>
                  <a:pt x="2387560" y="119954"/>
                </a:lnTo>
                <a:lnTo>
                  <a:pt x="2643825" y="119954"/>
                </a:lnTo>
                <a:lnTo>
                  <a:pt x="2643825" y="65118"/>
                </a:lnTo>
                <a:lnTo>
                  <a:pt x="2518007" y="65118"/>
                </a:lnTo>
                <a:lnTo>
                  <a:pt x="2487289" y="36523"/>
                </a:lnTo>
                <a:lnTo>
                  <a:pt x="2451464" y="16185"/>
                </a:lnTo>
                <a:lnTo>
                  <a:pt x="2410449" y="4034"/>
                </a:lnTo>
                <a:lnTo>
                  <a:pt x="2364158" y="0"/>
                </a:lnTo>
                <a:close/>
              </a:path>
              <a:path w="2716530" h="514985">
                <a:moveTo>
                  <a:pt x="2716189" y="440688"/>
                </a:moveTo>
                <a:lnTo>
                  <a:pt x="2525221" y="440688"/>
                </a:lnTo>
                <a:lnTo>
                  <a:pt x="2539010" y="471604"/>
                </a:lnTo>
                <a:lnTo>
                  <a:pt x="2561385" y="494984"/>
                </a:lnTo>
                <a:lnTo>
                  <a:pt x="2593541" y="509782"/>
                </a:lnTo>
                <a:lnTo>
                  <a:pt x="2636673" y="514947"/>
                </a:lnTo>
                <a:lnTo>
                  <a:pt x="2659274" y="513940"/>
                </a:lnTo>
                <a:lnTo>
                  <a:pt x="2680118" y="510922"/>
                </a:lnTo>
                <a:lnTo>
                  <a:pt x="2699119" y="505896"/>
                </a:lnTo>
                <a:lnTo>
                  <a:pt x="2716189" y="498864"/>
                </a:lnTo>
                <a:lnTo>
                  <a:pt x="2716189" y="440688"/>
                </a:lnTo>
                <a:close/>
              </a:path>
              <a:path w="2716530" h="514985">
                <a:moveTo>
                  <a:pt x="2716189" y="395213"/>
                </a:moveTo>
                <a:lnTo>
                  <a:pt x="2709155" y="398731"/>
                </a:lnTo>
                <a:lnTo>
                  <a:pt x="2701149" y="401342"/>
                </a:lnTo>
                <a:lnTo>
                  <a:pt x="2700906" y="401342"/>
                </a:lnTo>
                <a:lnTo>
                  <a:pt x="2693071" y="402752"/>
                </a:lnTo>
                <a:lnTo>
                  <a:pt x="2684022" y="403254"/>
                </a:lnTo>
                <a:lnTo>
                  <a:pt x="2716189" y="403254"/>
                </a:lnTo>
                <a:lnTo>
                  <a:pt x="2716189" y="395213"/>
                </a:lnTo>
                <a:close/>
              </a:path>
              <a:path w="2716530" h="514985">
                <a:moveTo>
                  <a:pt x="2643825" y="119954"/>
                </a:moveTo>
                <a:lnTo>
                  <a:pt x="2387560" y="119954"/>
                </a:lnTo>
                <a:lnTo>
                  <a:pt x="2415539" y="122347"/>
                </a:lnTo>
                <a:lnTo>
                  <a:pt x="2440957" y="129586"/>
                </a:lnTo>
                <a:lnTo>
                  <a:pt x="2484112" y="158968"/>
                </a:lnTo>
                <a:lnTo>
                  <a:pt x="2513495" y="202737"/>
                </a:lnTo>
                <a:lnTo>
                  <a:pt x="2523127" y="257468"/>
                </a:lnTo>
                <a:lnTo>
                  <a:pt x="2520734" y="286179"/>
                </a:lnTo>
                <a:lnTo>
                  <a:pt x="2501318" y="335917"/>
                </a:lnTo>
                <a:lnTo>
                  <a:pt x="2463814" y="373584"/>
                </a:lnTo>
                <a:lnTo>
                  <a:pt x="2415539" y="392605"/>
                </a:lnTo>
                <a:lnTo>
                  <a:pt x="2387560" y="394982"/>
                </a:lnTo>
                <a:lnTo>
                  <a:pt x="2658352" y="394982"/>
                </a:lnTo>
                <a:lnTo>
                  <a:pt x="2653876" y="391972"/>
                </a:lnTo>
                <a:lnTo>
                  <a:pt x="2646338" y="377996"/>
                </a:lnTo>
                <a:lnTo>
                  <a:pt x="2643825" y="358575"/>
                </a:lnTo>
                <a:lnTo>
                  <a:pt x="2643825" y="119954"/>
                </a:lnTo>
                <a:close/>
              </a:path>
              <a:path w="2716530" h="514985">
                <a:moveTo>
                  <a:pt x="2643825" y="13654"/>
                </a:moveTo>
                <a:lnTo>
                  <a:pt x="2518007" y="13654"/>
                </a:lnTo>
                <a:lnTo>
                  <a:pt x="2518007" y="65118"/>
                </a:lnTo>
                <a:lnTo>
                  <a:pt x="2643825" y="65118"/>
                </a:lnTo>
                <a:lnTo>
                  <a:pt x="2643825" y="13654"/>
                </a:lnTo>
                <a:close/>
              </a:path>
              <a:path w="2716530" h="514985">
                <a:moveTo>
                  <a:pt x="0" y="397642"/>
                </a:moveTo>
                <a:lnTo>
                  <a:pt x="0" y="501293"/>
                </a:lnTo>
                <a:lnTo>
                  <a:pt x="8526" y="504811"/>
                </a:lnTo>
                <a:lnTo>
                  <a:pt x="19316" y="507324"/>
                </a:lnTo>
                <a:lnTo>
                  <a:pt x="32285" y="508832"/>
                </a:lnTo>
                <a:lnTo>
                  <a:pt x="47349" y="509335"/>
                </a:lnTo>
                <a:lnTo>
                  <a:pt x="105525" y="500089"/>
                </a:lnTo>
                <a:lnTo>
                  <a:pt x="148875" y="476734"/>
                </a:lnTo>
                <a:lnTo>
                  <a:pt x="179659" y="439808"/>
                </a:lnTo>
                <a:lnTo>
                  <a:pt x="195482" y="401212"/>
                </a:lnTo>
                <a:lnTo>
                  <a:pt x="25904" y="401212"/>
                </a:lnTo>
                <a:lnTo>
                  <a:pt x="18718" y="401031"/>
                </a:lnTo>
                <a:lnTo>
                  <a:pt x="11947" y="400432"/>
                </a:lnTo>
                <a:lnTo>
                  <a:pt x="5679" y="399331"/>
                </a:lnTo>
                <a:lnTo>
                  <a:pt x="0" y="397642"/>
                </a:lnTo>
                <a:close/>
              </a:path>
              <a:path w="2716530" h="514985">
                <a:moveTo>
                  <a:pt x="505555" y="134592"/>
                </a:moveTo>
                <a:lnTo>
                  <a:pt x="379737" y="134592"/>
                </a:lnTo>
                <a:lnTo>
                  <a:pt x="379737" y="501293"/>
                </a:lnTo>
                <a:lnTo>
                  <a:pt x="505555" y="501293"/>
                </a:lnTo>
                <a:lnTo>
                  <a:pt x="505555" y="134592"/>
                </a:lnTo>
                <a:close/>
              </a:path>
              <a:path w="2716530" h="514985">
                <a:moveTo>
                  <a:pt x="505555" y="13654"/>
                </a:moveTo>
                <a:lnTo>
                  <a:pt x="102017" y="13654"/>
                </a:lnTo>
                <a:lnTo>
                  <a:pt x="98279" y="196852"/>
                </a:lnTo>
                <a:lnTo>
                  <a:pt x="97177" y="246108"/>
                </a:lnTo>
                <a:lnTo>
                  <a:pt x="94815" y="285310"/>
                </a:lnTo>
                <a:lnTo>
                  <a:pt x="83976" y="349643"/>
                </a:lnTo>
                <a:lnTo>
                  <a:pt x="62314" y="390506"/>
                </a:lnTo>
                <a:lnTo>
                  <a:pt x="25904" y="401212"/>
                </a:lnTo>
                <a:lnTo>
                  <a:pt x="195482" y="401212"/>
                </a:lnTo>
                <a:lnTo>
                  <a:pt x="209383" y="351473"/>
                </a:lnTo>
                <a:lnTo>
                  <a:pt x="218484" y="276392"/>
                </a:lnTo>
                <a:lnTo>
                  <a:pt x="220694" y="233490"/>
                </a:lnTo>
                <a:lnTo>
                  <a:pt x="223511" y="134592"/>
                </a:lnTo>
                <a:lnTo>
                  <a:pt x="505555" y="134592"/>
                </a:lnTo>
                <a:lnTo>
                  <a:pt x="505555" y="13654"/>
                </a:lnTo>
                <a:close/>
              </a:path>
              <a:path w="2716530" h="514985">
                <a:moveTo>
                  <a:pt x="845272" y="0"/>
                </a:moveTo>
                <a:lnTo>
                  <a:pt x="804112" y="2751"/>
                </a:lnTo>
                <a:lnTo>
                  <a:pt x="762708" y="11220"/>
                </a:lnTo>
                <a:lnTo>
                  <a:pt x="722418" y="25726"/>
                </a:lnTo>
                <a:lnTo>
                  <a:pt x="684600" y="46589"/>
                </a:lnTo>
                <a:lnTo>
                  <a:pt x="650612" y="74129"/>
                </a:lnTo>
                <a:lnTo>
                  <a:pt x="621813" y="108667"/>
                </a:lnTo>
                <a:lnTo>
                  <a:pt x="599560" y="150523"/>
                </a:lnTo>
                <a:lnTo>
                  <a:pt x="585213" y="200016"/>
                </a:lnTo>
                <a:lnTo>
                  <a:pt x="580128" y="257468"/>
                </a:lnTo>
                <a:lnTo>
                  <a:pt x="585404" y="314923"/>
                </a:lnTo>
                <a:lnTo>
                  <a:pt x="600274" y="364419"/>
                </a:lnTo>
                <a:lnTo>
                  <a:pt x="623303" y="406276"/>
                </a:lnTo>
                <a:lnTo>
                  <a:pt x="653058" y="440816"/>
                </a:lnTo>
                <a:lnTo>
                  <a:pt x="688101" y="468357"/>
                </a:lnTo>
                <a:lnTo>
                  <a:pt x="727000" y="489221"/>
                </a:lnTo>
                <a:lnTo>
                  <a:pt x="768319" y="503727"/>
                </a:lnTo>
                <a:lnTo>
                  <a:pt x="810622" y="512195"/>
                </a:lnTo>
                <a:lnTo>
                  <a:pt x="852476" y="514947"/>
                </a:lnTo>
                <a:lnTo>
                  <a:pt x="914253" y="509770"/>
                </a:lnTo>
                <a:lnTo>
                  <a:pt x="967668" y="494533"/>
                </a:lnTo>
                <a:lnTo>
                  <a:pt x="1013239" y="469673"/>
                </a:lnTo>
                <a:lnTo>
                  <a:pt x="1051486" y="435630"/>
                </a:lnTo>
                <a:lnTo>
                  <a:pt x="1016887" y="400835"/>
                </a:lnTo>
                <a:lnTo>
                  <a:pt x="854424" y="400835"/>
                </a:lnTo>
                <a:lnTo>
                  <a:pt x="805192" y="395282"/>
                </a:lnTo>
                <a:lnTo>
                  <a:pt x="761145" y="376820"/>
                </a:lnTo>
                <a:lnTo>
                  <a:pt x="727113" y="342747"/>
                </a:lnTo>
                <a:lnTo>
                  <a:pt x="707926" y="290357"/>
                </a:lnTo>
                <a:lnTo>
                  <a:pt x="960990" y="290357"/>
                </a:lnTo>
                <a:lnTo>
                  <a:pt x="991786" y="275388"/>
                </a:lnTo>
                <a:lnTo>
                  <a:pt x="1021616" y="252322"/>
                </a:lnTo>
                <a:lnTo>
                  <a:pt x="1042461" y="226117"/>
                </a:lnTo>
                <a:lnTo>
                  <a:pt x="843009" y="226117"/>
                </a:lnTo>
                <a:lnTo>
                  <a:pt x="783230" y="224817"/>
                </a:lnTo>
                <a:lnTo>
                  <a:pt x="710669" y="209763"/>
                </a:lnTo>
                <a:lnTo>
                  <a:pt x="730114" y="165311"/>
                </a:lnTo>
                <a:lnTo>
                  <a:pt x="761211" y="135358"/>
                </a:lnTo>
                <a:lnTo>
                  <a:pt x="801148" y="118451"/>
                </a:lnTo>
                <a:lnTo>
                  <a:pt x="847115" y="113137"/>
                </a:lnTo>
                <a:lnTo>
                  <a:pt x="1056663" y="113137"/>
                </a:lnTo>
                <a:lnTo>
                  <a:pt x="1046834" y="87574"/>
                </a:lnTo>
                <a:lnTo>
                  <a:pt x="1025847" y="59011"/>
                </a:lnTo>
                <a:lnTo>
                  <a:pt x="995662" y="34861"/>
                </a:lnTo>
                <a:lnTo>
                  <a:pt x="955813" y="16234"/>
                </a:lnTo>
                <a:lnTo>
                  <a:pt x="905838" y="4243"/>
                </a:lnTo>
                <a:lnTo>
                  <a:pt x="845272" y="0"/>
                </a:lnTo>
                <a:close/>
              </a:path>
              <a:path w="2716530" h="514985">
                <a:moveTo>
                  <a:pt x="973876" y="357580"/>
                </a:moveTo>
                <a:lnTo>
                  <a:pt x="949374" y="375281"/>
                </a:lnTo>
                <a:lnTo>
                  <a:pt x="920047" y="388934"/>
                </a:lnTo>
                <a:lnTo>
                  <a:pt x="887772" y="397724"/>
                </a:lnTo>
                <a:lnTo>
                  <a:pt x="854424" y="400835"/>
                </a:lnTo>
                <a:lnTo>
                  <a:pt x="1016887" y="400835"/>
                </a:lnTo>
                <a:lnTo>
                  <a:pt x="973876" y="357580"/>
                </a:lnTo>
                <a:close/>
              </a:path>
              <a:path w="2716530" h="514985">
                <a:moveTo>
                  <a:pt x="960990" y="290357"/>
                </a:moveTo>
                <a:lnTo>
                  <a:pt x="707926" y="290357"/>
                </a:lnTo>
                <a:lnTo>
                  <a:pt x="763204" y="303965"/>
                </a:lnTo>
                <a:lnTo>
                  <a:pt x="816499" y="310757"/>
                </a:lnTo>
                <a:lnTo>
                  <a:pt x="866909" y="311013"/>
                </a:lnTo>
                <a:lnTo>
                  <a:pt x="913529" y="305016"/>
                </a:lnTo>
                <a:lnTo>
                  <a:pt x="955456" y="293047"/>
                </a:lnTo>
                <a:lnTo>
                  <a:pt x="960990" y="290357"/>
                </a:lnTo>
                <a:close/>
              </a:path>
              <a:path w="2716530" h="514985">
                <a:moveTo>
                  <a:pt x="1056663" y="113137"/>
                </a:moveTo>
                <a:lnTo>
                  <a:pt x="847115" y="113137"/>
                </a:lnTo>
                <a:lnTo>
                  <a:pt x="877199" y="116366"/>
                </a:lnTo>
                <a:lnTo>
                  <a:pt x="902506" y="126307"/>
                </a:lnTo>
                <a:lnTo>
                  <a:pt x="919952" y="143344"/>
                </a:lnTo>
                <a:lnTo>
                  <a:pt x="926453" y="167858"/>
                </a:lnTo>
                <a:lnTo>
                  <a:pt x="916541" y="195600"/>
                </a:lnTo>
                <a:lnTo>
                  <a:pt x="888087" y="215699"/>
                </a:lnTo>
                <a:lnTo>
                  <a:pt x="843009" y="226117"/>
                </a:lnTo>
                <a:lnTo>
                  <a:pt x="1042461" y="226117"/>
                </a:lnTo>
                <a:lnTo>
                  <a:pt x="1044042" y="224129"/>
                </a:lnTo>
                <a:lnTo>
                  <a:pt x="1058160" y="191092"/>
                </a:lnTo>
                <a:lnTo>
                  <a:pt x="1063067" y="153492"/>
                </a:lnTo>
                <a:lnTo>
                  <a:pt x="1059086" y="119438"/>
                </a:lnTo>
                <a:lnTo>
                  <a:pt x="1056663" y="113137"/>
                </a:lnTo>
                <a:close/>
              </a:path>
            </a:pathLst>
          </a:custGeom>
          <a:solidFill>
            <a:srgbClr val="18418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428" y="6755754"/>
            <a:ext cx="12191144" cy="102042"/>
          </a:xfrm>
          <a:custGeom>
            <a:avLst/>
            <a:gdLst/>
            <a:ahLst/>
            <a:cxnLst/>
            <a:rect l="l" t="t" r="r" b="b"/>
            <a:pathLst>
              <a:path w="20104100" h="168275">
                <a:moveTo>
                  <a:pt x="20104099" y="0"/>
                </a:moveTo>
                <a:lnTo>
                  <a:pt x="0" y="0"/>
                </a:lnTo>
                <a:lnTo>
                  <a:pt x="0" y="167816"/>
                </a:lnTo>
                <a:lnTo>
                  <a:pt x="20104099" y="16781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3B95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051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04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>
            <a:extLst>
              <a:ext uri="{FF2B5EF4-FFF2-40B4-BE49-F238E27FC236}">
                <a16:creationId xmlns:a16="http://schemas.microsoft.com/office/drawing/2014/main" id="{422DB3D8-C137-0BF2-8B79-26B86D8BB5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5033" y="1719027"/>
            <a:ext cx="4830161" cy="430887"/>
          </a:xfrm>
        </p:spPr>
        <p:txBody>
          <a:bodyPr/>
          <a:lstStyle/>
          <a:p>
            <a:r>
              <a:rPr lang="ru-RU" dirty="0" smtClean="0"/>
              <a:t>Спасибо за внимание!</a:t>
            </a:r>
            <a:endParaRPr lang="en-R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858408A-1BAA-26CA-396B-D9DAE43C9C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61356" y="2517991"/>
            <a:ext cx="2286000" cy="249299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Контакты:</a:t>
            </a:r>
            <a:endParaRPr lang="en-RU" dirty="0">
              <a:solidFill>
                <a:schemeClr val="tx1"/>
              </a:solidFill>
            </a:endParaRPr>
          </a:p>
        </p:txBody>
      </p:sp>
      <p:sp>
        <p:nvSpPr>
          <p:cNvPr id="33" name="Полилиния: фигура 7">
            <a:extLst>
              <a:ext uri="{FF2B5EF4-FFF2-40B4-BE49-F238E27FC236}">
                <a16:creationId xmlns:a16="http://schemas.microsoft.com/office/drawing/2014/main" id="{93EBE2B3-7AAA-C736-42AA-7322AA3F8180}"/>
              </a:ext>
            </a:extLst>
          </p:cNvPr>
          <p:cNvSpPr/>
          <p:nvPr userDrawn="1"/>
        </p:nvSpPr>
        <p:spPr>
          <a:xfrm rot="16200000">
            <a:off x="979714" y="5878310"/>
            <a:ext cx="979714" cy="979714"/>
          </a:xfrm>
          <a:custGeom>
            <a:avLst/>
            <a:gdLst>
              <a:gd name="connsiteX0" fmla="*/ -310 w 979714"/>
              <a:gd name="connsiteY0" fmla="*/ -240 h 979714"/>
              <a:gd name="connsiteX1" fmla="*/ 979404 w 979714"/>
              <a:gd name="connsiteY1" fmla="*/ -240 h 979714"/>
              <a:gd name="connsiteX2" fmla="*/ 979404 w 979714"/>
              <a:gd name="connsiteY2" fmla="*/ 979474 h 979714"/>
              <a:gd name="connsiteX3" fmla="*/ -310 w 979714"/>
              <a:gd name="connsiteY3" fmla="*/ 979474 h 979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714" h="979714">
                <a:moveTo>
                  <a:pt x="-310" y="-240"/>
                </a:moveTo>
                <a:lnTo>
                  <a:pt x="979404" y="-240"/>
                </a:lnTo>
                <a:lnTo>
                  <a:pt x="979404" y="979474"/>
                </a:lnTo>
                <a:lnTo>
                  <a:pt x="-310" y="979474"/>
                </a:ln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" name="Полилиния: фигура 8">
            <a:extLst>
              <a:ext uri="{FF2B5EF4-FFF2-40B4-BE49-F238E27FC236}">
                <a16:creationId xmlns:a16="http://schemas.microsoft.com/office/drawing/2014/main" id="{37CA9CB5-36EC-0427-97AE-90D18B102A99}"/>
              </a:ext>
            </a:extLst>
          </p:cNvPr>
          <p:cNvSpPr/>
          <p:nvPr userDrawn="1"/>
        </p:nvSpPr>
        <p:spPr>
          <a:xfrm>
            <a:off x="1224642" y="6123239"/>
            <a:ext cx="489857" cy="489857"/>
          </a:xfrm>
          <a:custGeom>
            <a:avLst/>
            <a:gdLst>
              <a:gd name="connsiteX0" fmla="*/ 489857 w 489857"/>
              <a:gd name="connsiteY0" fmla="*/ 244929 h 489857"/>
              <a:gd name="connsiteX1" fmla="*/ 244929 w 489857"/>
              <a:gd name="connsiteY1" fmla="*/ 489857 h 489857"/>
              <a:gd name="connsiteX2" fmla="*/ 0 w 489857"/>
              <a:gd name="connsiteY2" fmla="*/ 244929 h 489857"/>
              <a:gd name="connsiteX3" fmla="*/ 244929 w 489857"/>
              <a:gd name="connsiteY3" fmla="*/ 0 h 489857"/>
              <a:gd name="connsiteX4" fmla="*/ 489857 w 489857"/>
              <a:gd name="connsiteY4" fmla="*/ 24492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489857" y="244929"/>
                </a:moveTo>
                <a:cubicBezTo>
                  <a:pt x="489857" y="380199"/>
                  <a:pt x="380199" y="489857"/>
                  <a:pt x="244929" y="489857"/>
                </a:cubicBezTo>
                <a:cubicBezTo>
                  <a:pt x="109658" y="489857"/>
                  <a:pt x="0" y="380199"/>
                  <a:pt x="0" y="244929"/>
                </a:cubicBezTo>
                <a:cubicBezTo>
                  <a:pt x="0" y="109658"/>
                  <a:pt x="109658" y="0"/>
                  <a:pt x="244929" y="0"/>
                </a:cubicBezTo>
                <a:cubicBezTo>
                  <a:pt x="380199" y="0"/>
                  <a:pt x="489857" y="109658"/>
                  <a:pt x="489857" y="244929"/>
                </a:cubicBezTo>
                <a:close/>
              </a:path>
            </a:pathLst>
          </a:custGeom>
          <a:solidFill>
            <a:srgbClr val="FFFFFF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Полилиния: фигура 11">
            <a:extLst>
              <a:ext uri="{FF2B5EF4-FFF2-40B4-BE49-F238E27FC236}">
                <a16:creationId xmlns:a16="http://schemas.microsoft.com/office/drawing/2014/main" id="{26B1EB15-61E1-1F0B-544B-39CC8BEB69AB}"/>
              </a:ext>
            </a:extLst>
          </p:cNvPr>
          <p:cNvSpPr/>
          <p:nvPr userDrawn="1"/>
        </p:nvSpPr>
        <p:spPr>
          <a:xfrm rot="10800000">
            <a:off x="1" y="5878310"/>
            <a:ext cx="979714" cy="979714"/>
          </a:xfrm>
          <a:custGeom>
            <a:avLst/>
            <a:gdLst>
              <a:gd name="connsiteX0" fmla="*/ -310 w 979714"/>
              <a:gd name="connsiteY0" fmla="*/ -240 h 979714"/>
              <a:gd name="connsiteX1" fmla="*/ 979404 w 979714"/>
              <a:gd name="connsiteY1" fmla="*/ -240 h 979714"/>
              <a:gd name="connsiteX2" fmla="*/ 979404 w 979714"/>
              <a:gd name="connsiteY2" fmla="*/ 979474 h 979714"/>
              <a:gd name="connsiteX3" fmla="*/ -310 w 979714"/>
              <a:gd name="connsiteY3" fmla="*/ 979474 h 979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714" h="979714">
                <a:moveTo>
                  <a:pt x="-310" y="-240"/>
                </a:moveTo>
                <a:lnTo>
                  <a:pt x="979404" y="-240"/>
                </a:lnTo>
                <a:lnTo>
                  <a:pt x="979404" y="979474"/>
                </a:lnTo>
                <a:lnTo>
                  <a:pt x="-310" y="979474"/>
                </a:ln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Полилиния: фигура 12">
            <a:extLst>
              <a:ext uri="{FF2B5EF4-FFF2-40B4-BE49-F238E27FC236}">
                <a16:creationId xmlns:a16="http://schemas.microsoft.com/office/drawing/2014/main" id="{69CBDC6E-0A7C-7690-57A9-249628839A1B}"/>
              </a:ext>
            </a:extLst>
          </p:cNvPr>
          <p:cNvSpPr/>
          <p:nvPr userDrawn="1"/>
        </p:nvSpPr>
        <p:spPr>
          <a:xfrm>
            <a:off x="0" y="6368167"/>
            <a:ext cx="489857" cy="489857"/>
          </a:xfrm>
          <a:custGeom>
            <a:avLst/>
            <a:gdLst>
              <a:gd name="connsiteX0" fmla="*/ -310 w 489857"/>
              <a:gd name="connsiteY0" fmla="*/ -240 h 489857"/>
              <a:gd name="connsiteX1" fmla="*/ -310 w 489857"/>
              <a:gd name="connsiteY1" fmla="*/ 244689 h 489857"/>
              <a:gd name="connsiteX2" fmla="*/ 244619 w 489857"/>
              <a:gd name="connsiteY2" fmla="*/ 489617 h 489857"/>
              <a:gd name="connsiteX3" fmla="*/ 489547 w 489857"/>
              <a:gd name="connsiteY3" fmla="*/ 489617 h 489857"/>
              <a:gd name="connsiteX4" fmla="*/ -310 w 489857"/>
              <a:gd name="connsiteY4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-310" y="-240"/>
                </a:moveTo>
                <a:lnTo>
                  <a:pt x="-310" y="244689"/>
                </a:lnTo>
                <a:cubicBezTo>
                  <a:pt x="134959" y="244689"/>
                  <a:pt x="244619" y="354348"/>
                  <a:pt x="244619" y="489617"/>
                </a:cubicBezTo>
                <a:lnTo>
                  <a:pt x="489547" y="489617"/>
                </a:lnTo>
                <a:cubicBezTo>
                  <a:pt x="489547" y="219079"/>
                  <a:pt x="270228" y="-240"/>
                  <a:pt x="-310" y="-240"/>
                </a:cubicBezTo>
                <a:close/>
              </a:path>
            </a:pathLst>
          </a:custGeom>
          <a:solidFill>
            <a:schemeClr val="bg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Полилиния: фигура 13">
            <a:extLst>
              <a:ext uri="{FF2B5EF4-FFF2-40B4-BE49-F238E27FC236}">
                <a16:creationId xmlns:a16="http://schemas.microsoft.com/office/drawing/2014/main" id="{95899177-36C8-06D9-4291-D9E76D8FA7DE}"/>
              </a:ext>
            </a:extLst>
          </p:cNvPr>
          <p:cNvSpPr/>
          <p:nvPr userDrawn="1"/>
        </p:nvSpPr>
        <p:spPr>
          <a:xfrm>
            <a:off x="0" y="5878310"/>
            <a:ext cx="489857" cy="489857"/>
          </a:xfrm>
          <a:custGeom>
            <a:avLst/>
            <a:gdLst>
              <a:gd name="connsiteX0" fmla="*/ -310 w 489857"/>
              <a:gd name="connsiteY0" fmla="*/ 244689 h 489857"/>
              <a:gd name="connsiteX1" fmla="*/ -310 w 489857"/>
              <a:gd name="connsiteY1" fmla="*/ 489617 h 489857"/>
              <a:gd name="connsiteX2" fmla="*/ 489547 w 489857"/>
              <a:gd name="connsiteY2" fmla="*/ -240 h 489857"/>
              <a:gd name="connsiteX3" fmla="*/ 244619 w 489857"/>
              <a:gd name="connsiteY3" fmla="*/ -240 h 489857"/>
              <a:gd name="connsiteX4" fmla="*/ -310 w 489857"/>
              <a:gd name="connsiteY4" fmla="*/ 24468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-310" y="244689"/>
                </a:moveTo>
                <a:lnTo>
                  <a:pt x="-310" y="489617"/>
                </a:lnTo>
                <a:cubicBezTo>
                  <a:pt x="270228" y="489617"/>
                  <a:pt x="489547" y="270298"/>
                  <a:pt x="489547" y="-240"/>
                </a:cubicBezTo>
                <a:lnTo>
                  <a:pt x="244619" y="-240"/>
                </a:lnTo>
                <a:cubicBezTo>
                  <a:pt x="244619" y="135029"/>
                  <a:pt x="134959" y="244689"/>
                  <a:pt x="-310" y="244689"/>
                </a:cubicBezTo>
                <a:close/>
              </a:path>
            </a:pathLst>
          </a:custGeom>
          <a:solidFill>
            <a:schemeClr val="bg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Полилиния: фигура 14">
            <a:extLst>
              <a:ext uri="{FF2B5EF4-FFF2-40B4-BE49-F238E27FC236}">
                <a16:creationId xmlns:a16="http://schemas.microsoft.com/office/drawing/2014/main" id="{8D7942B1-0F59-74BD-1672-A09AD0B449E5}"/>
              </a:ext>
            </a:extLst>
          </p:cNvPr>
          <p:cNvSpPr/>
          <p:nvPr userDrawn="1"/>
        </p:nvSpPr>
        <p:spPr>
          <a:xfrm>
            <a:off x="489858" y="5878310"/>
            <a:ext cx="489857" cy="489857"/>
          </a:xfrm>
          <a:custGeom>
            <a:avLst/>
            <a:gdLst>
              <a:gd name="connsiteX0" fmla="*/ 244619 w 489857"/>
              <a:gd name="connsiteY0" fmla="*/ -240 h 489857"/>
              <a:gd name="connsiteX1" fmla="*/ -310 w 489857"/>
              <a:gd name="connsiteY1" fmla="*/ -240 h 489857"/>
              <a:gd name="connsiteX2" fmla="*/ 489547 w 489857"/>
              <a:gd name="connsiteY2" fmla="*/ 489617 h 489857"/>
              <a:gd name="connsiteX3" fmla="*/ 489547 w 489857"/>
              <a:gd name="connsiteY3" fmla="*/ 244689 h 489857"/>
              <a:gd name="connsiteX4" fmla="*/ 244619 w 489857"/>
              <a:gd name="connsiteY4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244619" y="-240"/>
                </a:moveTo>
                <a:lnTo>
                  <a:pt x="-310" y="-240"/>
                </a:lnTo>
                <a:cubicBezTo>
                  <a:pt x="-310" y="270298"/>
                  <a:pt x="219009" y="489617"/>
                  <a:pt x="489547" y="489617"/>
                </a:cubicBezTo>
                <a:lnTo>
                  <a:pt x="489547" y="244689"/>
                </a:lnTo>
                <a:cubicBezTo>
                  <a:pt x="354278" y="244689"/>
                  <a:pt x="244619" y="135029"/>
                  <a:pt x="244619" y="-240"/>
                </a:cubicBezTo>
                <a:close/>
              </a:path>
            </a:pathLst>
          </a:custGeom>
          <a:solidFill>
            <a:schemeClr val="bg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Полилиния: фигура 15">
            <a:extLst>
              <a:ext uri="{FF2B5EF4-FFF2-40B4-BE49-F238E27FC236}">
                <a16:creationId xmlns:a16="http://schemas.microsoft.com/office/drawing/2014/main" id="{76F5CD9B-B600-B142-7CD0-DBACE105B357}"/>
              </a:ext>
            </a:extLst>
          </p:cNvPr>
          <p:cNvSpPr/>
          <p:nvPr userDrawn="1"/>
        </p:nvSpPr>
        <p:spPr>
          <a:xfrm>
            <a:off x="489858" y="6368167"/>
            <a:ext cx="489857" cy="489857"/>
          </a:xfrm>
          <a:custGeom>
            <a:avLst/>
            <a:gdLst>
              <a:gd name="connsiteX0" fmla="*/ 489547 w 489857"/>
              <a:gd name="connsiteY0" fmla="*/ 244689 h 489857"/>
              <a:gd name="connsiteX1" fmla="*/ 489547 w 489857"/>
              <a:gd name="connsiteY1" fmla="*/ -240 h 489857"/>
              <a:gd name="connsiteX2" fmla="*/ -310 w 489857"/>
              <a:gd name="connsiteY2" fmla="*/ 489617 h 489857"/>
              <a:gd name="connsiteX3" fmla="*/ 244619 w 489857"/>
              <a:gd name="connsiteY3" fmla="*/ 489617 h 489857"/>
              <a:gd name="connsiteX4" fmla="*/ 489547 w 489857"/>
              <a:gd name="connsiteY4" fmla="*/ 24468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489547" y="244689"/>
                </a:moveTo>
                <a:lnTo>
                  <a:pt x="489547" y="-240"/>
                </a:lnTo>
                <a:cubicBezTo>
                  <a:pt x="219009" y="-240"/>
                  <a:pt x="-310" y="219079"/>
                  <a:pt x="-310" y="489617"/>
                </a:cubicBezTo>
                <a:lnTo>
                  <a:pt x="244619" y="489617"/>
                </a:lnTo>
                <a:cubicBezTo>
                  <a:pt x="244619" y="354348"/>
                  <a:pt x="354278" y="244689"/>
                  <a:pt x="489547" y="244689"/>
                </a:cubicBezTo>
                <a:close/>
              </a:path>
            </a:pathLst>
          </a:custGeom>
          <a:solidFill>
            <a:schemeClr val="bg1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Полилиния: фигура 21">
            <a:extLst>
              <a:ext uri="{FF2B5EF4-FFF2-40B4-BE49-F238E27FC236}">
                <a16:creationId xmlns:a16="http://schemas.microsoft.com/office/drawing/2014/main" id="{DD9A91A4-318F-63C8-AC7A-68D3CE4E0FC4}"/>
              </a:ext>
            </a:extLst>
          </p:cNvPr>
          <p:cNvSpPr/>
          <p:nvPr/>
        </p:nvSpPr>
        <p:spPr>
          <a:xfrm>
            <a:off x="1959428" y="6368167"/>
            <a:ext cx="489857" cy="489857"/>
          </a:xfrm>
          <a:custGeom>
            <a:avLst/>
            <a:gdLst>
              <a:gd name="connsiteX0" fmla="*/ -310 w 489857"/>
              <a:gd name="connsiteY0" fmla="*/ -240 h 489857"/>
              <a:gd name="connsiteX1" fmla="*/ -310 w 489857"/>
              <a:gd name="connsiteY1" fmla="*/ 244689 h 489857"/>
              <a:gd name="connsiteX2" fmla="*/ 244619 w 489857"/>
              <a:gd name="connsiteY2" fmla="*/ 489617 h 489857"/>
              <a:gd name="connsiteX3" fmla="*/ 489547 w 489857"/>
              <a:gd name="connsiteY3" fmla="*/ 489617 h 489857"/>
              <a:gd name="connsiteX4" fmla="*/ -310 w 489857"/>
              <a:gd name="connsiteY4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-310" y="-240"/>
                </a:moveTo>
                <a:lnTo>
                  <a:pt x="-310" y="244689"/>
                </a:lnTo>
                <a:cubicBezTo>
                  <a:pt x="134959" y="244689"/>
                  <a:pt x="244619" y="354348"/>
                  <a:pt x="244619" y="489617"/>
                </a:cubicBezTo>
                <a:lnTo>
                  <a:pt x="489547" y="489617"/>
                </a:lnTo>
                <a:cubicBezTo>
                  <a:pt x="489547" y="219079"/>
                  <a:pt x="270228" y="-240"/>
                  <a:pt x="-310" y="-240"/>
                </a:cubicBez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Полилиния: фигура 22">
            <a:extLst>
              <a:ext uri="{FF2B5EF4-FFF2-40B4-BE49-F238E27FC236}">
                <a16:creationId xmlns:a16="http://schemas.microsoft.com/office/drawing/2014/main" id="{88CAE2A1-3A88-F73B-C575-A61F48A9CFE1}"/>
              </a:ext>
            </a:extLst>
          </p:cNvPr>
          <p:cNvSpPr/>
          <p:nvPr/>
        </p:nvSpPr>
        <p:spPr>
          <a:xfrm>
            <a:off x="1959428" y="5878310"/>
            <a:ext cx="489857" cy="489857"/>
          </a:xfrm>
          <a:custGeom>
            <a:avLst/>
            <a:gdLst>
              <a:gd name="connsiteX0" fmla="*/ -310 w 489857"/>
              <a:gd name="connsiteY0" fmla="*/ 244689 h 489857"/>
              <a:gd name="connsiteX1" fmla="*/ -310 w 489857"/>
              <a:gd name="connsiteY1" fmla="*/ 489617 h 489857"/>
              <a:gd name="connsiteX2" fmla="*/ 489547 w 489857"/>
              <a:gd name="connsiteY2" fmla="*/ -240 h 489857"/>
              <a:gd name="connsiteX3" fmla="*/ 244619 w 489857"/>
              <a:gd name="connsiteY3" fmla="*/ -240 h 489857"/>
              <a:gd name="connsiteX4" fmla="*/ -310 w 489857"/>
              <a:gd name="connsiteY4" fmla="*/ 24468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-310" y="244689"/>
                </a:moveTo>
                <a:lnTo>
                  <a:pt x="-310" y="489617"/>
                </a:lnTo>
                <a:cubicBezTo>
                  <a:pt x="270228" y="489617"/>
                  <a:pt x="489547" y="270298"/>
                  <a:pt x="489547" y="-240"/>
                </a:cubicBezTo>
                <a:lnTo>
                  <a:pt x="244619" y="-240"/>
                </a:lnTo>
                <a:cubicBezTo>
                  <a:pt x="244619" y="135029"/>
                  <a:pt x="134959" y="244689"/>
                  <a:pt x="-310" y="244689"/>
                </a:cubicBez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" name="Полилиния: фигура 23">
            <a:extLst>
              <a:ext uri="{FF2B5EF4-FFF2-40B4-BE49-F238E27FC236}">
                <a16:creationId xmlns:a16="http://schemas.microsoft.com/office/drawing/2014/main" id="{5D1629CC-E85B-93CB-D9C8-A9D2C3AB916B}"/>
              </a:ext>
            </a:extLst>
          </p:cNvPr>
          <p:cNvSpPr/>
          <p:nvPr/>
        </p:nvSpPr>
        <p:spPr>
          <a:xfrm>
            <a:off x="2449285" y="5878310"/>
            <a:ext cx="489857" cy="489857"/>
          </a:xfrm>
          <a:custGeom>
            <a:avLst/>
            <a:gdLst>
              <a:gd name="connsiteX0" fmla="*/ 244619 w 489857"/>
              <a:gd name="connsiteY0" fmla="*/ -240 h 489857"/>
              <a:gd name="connsiteX1" fmla="*/ -310 w 489857"/>
              <a:gd name="connsiteY1" fmla="*/ -240 h 489857"/>
              <a:gd name="connsiteX2" fmla="*/ 489547 w 489857"/>
              <a:gd name="connsiteY2" fmla="*/ 489617 h 489857"/>
              <a:gd name="connsiteX3" fmla="*/ 489547 w 489857"/>
              <a:gd name="connsiteY3" fmla="*/ 244689 h 489857"/>
              <a:gd name="connsiteX4" fmla="*/ 244619 w 489857"/>
              <a:gd name="connsiteY4" fmla="*/ -240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244619" y="-240"/>
                </a:moveTo>
                <a:lnTo>
                  <a:pt x="-310" y="-240"/>
                </a:lnTo>
                <a:cubicBezTo>
                  <a:pt x="-310" y="270298"/>
                  <a:pt x="219009" y="489617"/>
                  <a:pt x="489547" y="489617"/>
                </a:cubicBezTo>
                <a:lnTo>
                  <a:pt x="489547" y="244689"/>
                </a:lnTo>
                <a:cubicBezTo>
                  <a:pt x="354278" y="244689"/>
                  <a:pt x="244619" y="135029"/>
                  <a:pt x="244619" y="-240"/>
                </a:cubicBez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Полилиния: фигура 24">
            <a:extLst>
              <a:ext uri="{FF2B5EF4-FFF2-40B4-BE49-F238E27FC236}">
                <a16:creationId xmlns:a16="http://schemas.microsoft.com/office/drawing/2014/main" id="{B002D514-3BEF-5B1E-FFCD-BACCA9210975}"/>
              </a:ext>
            </a:extLst>
          </p:cNvPr>
          <p:cNvSpPr/>
          <p:nvPr/>
        </p:nvSpPr>
        <p:spPr>
          <a:xfrm>
            <a:off x="2449285" y="6368167"/>
            <a:ext cx="489857" cy="489857"/>
          </a:xfrm>
          <a:custGeom>
            <a:avLst/>
            <a:gdLst>
              <a:gd name="connsiteX0" fmla="*/ 489547 w 489857"/>
              <a:gd name="connsiteY0" fmla="*/ 244689 h 489857"/>
              <a:gd name="connsiteX1" fmla="*/ 489547 w 489857"/>
              <a:gd name="connsiteY1" fmla="*/ -240 h 489857"/>
              <a:gd name="connsiteX2" fmla="*/ -310 w 489857"/>
              <a:gd name="connsiteY2" fmla="*/ 489617 h 489857"/>
              <a:gd name="connsiteX3" fmla="*/ 244619 w 489857"/>
              <a:gd name="connsiteY3" fmla="*/ 489617 h 489857"/>
              <a:gd name="connsiteX4" fmla="*/ 489547 w 489857"/>
              <a:gd name="connsiteY4" fmla="*/ 244689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857" h="489857">
                <a:moveTo>
                  <a:pt x="489547" y="244689"/>
                </a:moveTo>
                <a:lnTo>
                  <a:pt x="489547" y="-240"/>
                </a:lnTo>
                <a:cubicBezTo>
                  <a:pt x="219009" y="-240"/>
                  <a:pt x="-310" y="219079"/>
                  <a:pt x="-310" y="489617"/>
                </a:cubicBezTo>
                <a:lnTo>
                  <a:pt x="244619" y="489617"/>
                </a:lnTo>
                <a:cubicBezTo>
                  <a:pt x="244619" y="354348"/>
                  <a:pt x="354278" y="244689"/>
                  <a:pt x="489547" y="244689"/>
                </a:cubicBezTo>
                <a:close/>
              </a:path>
            </a:pathLst>
          </a:custGeom>
          <a:solidFill>
            <a:srgbClr val="949494"/>
          </a:solidFill>
          <a:ln w="97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Полилиния: фигура 26">
            <a:extLst>
              <a:ext uri="{FF2B5EF4-FFF2-40B4-BE49-F238E27FC236}">
                <a16:creationId xmlns:a16="http://schemas.microsoft.com/office/drawing/2014/main" id="{4E56C1DA-B0CC-62C4-8C54-2B12F3FF04A9}"/>
              </a:ext>
            </a:extLst>
          </p:cNvPr>
          <p:cNvSpPr/>
          <p:nvPr/>
        </p:nvSpPr>
        <p:spPr>
          <a:xfrm>
            <a:off x="3268046" y="6171445"/>
            <a:ext cx="432445" cy="432445"/>
          </a:xfrm>
          <a:custGeom>
            <a:avLst/>
            <a:gdLst>
              <a:gd name="connsiteX0" fmla="*/ 432446 w 432445"/>
              <a:gd name="connsiteY0" fmla="*/ 216223 h 432445"/>
              <a:gd name="connsiteX1" fmla="*/ 216223 w 432445"/>
              <a:gd name="connsiteY1" fmla="*/ 432446 h 432445"/>
              <a:gd name="connsiteX2" fmla="*/ 0 w 432445"/>
              <a:gd name="connsiteY2" fmla="*/ 216223 h 432445"/>
              <a:gd name="connsiteX3" fmla="*/ 216223 w 432445"/>
              <a:gd name="connsiteY3" fmla="*/ 0 h 432445"/>
              <a:gd name="connsiteX4" fmla="*/ 432446 w 432445"/>
              <a:gd name="connsiteY4" fmla="*/ 216223 h 43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2445" h="432445">
                <a:moveTo>
                  <a:pt x="432446" y="216223"/>
                </a:moveTo>
                <a:cubicBezTo>
                  <a:pt x="432446" y="335639"/>
                  <a:pt x="335640" y="432446"/>
                  <a:pt x="216223" y="432446"/>
                </a:cubicBezTo>
                <a:cubicBezTo>
                  <a:pt x="96806" y="432446"/>
                  <a:pt x="0" y="335639"/>
                  <a:pt x="0" y="216223"/>
                </a:cubicBezTo>
                <a:cubicBezTo>
                  <a:pt x="0" y="96806"/>
                  <a:pt x="96806" y="0"/>
                  <a:pt x="216223" y="0"/>
                </a:cubicBezTo>
                <a:cubicBezTo>
                  <a:pt x="335640" y="0"/>
                  <a:pt x="432446" y="96806"/>
                  <a:pt x="432446" y="216223"/>
                </a:cubicBezTo>
                <a:close/>
              </a:path>
            </a:pathLst>
          </a:custGeom>
          <a:solidFill>
            <a:srgbClr val="949494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Полилиния: фигура 27">
            <a:extLst>
              <a:ext uri="{FF2B5EF4-FFF2-40B4-BE49-F238E27FC236}">
                <a16:creationId xmlns:a16="http://schemas.microsoft.com/office/drawing/2014/main" id="{EE835106-E916-C6EF-7371-47E31FB49CDC}"/>
              </a:ext>
            </a:extLst>
          </p:cNvPr>
          <p:cNvSpPr/>
          <p:nvPr/>
        </p:nvSpPr>
        <p:spPr>
          <a:xfrm>
            <a:off x="3484268" y="6011751"/>
            <a:ext cx="159988" cy="159987"/>
          </a:xfrm>
          <a:custGeom>
            <a:avLst/>
            <a:gdLst>
              <a:gd name="connsiteX0" fmla="*/ -3207 w 159988"/>
              <a:gd name="connsiteY0" fmla="*/ 159748 h 159987"/>
              <a:gd name="connsiteX1" fmla="*/ 156781 w 159988"/>
              <a:gd name="connsiteY1" fmla="*/ -240 h 159987"/>
              <a:gd name="connsiteX2" fmla="*/ -3207 w 159988"/>
              <a:gd name="connsiteY2" fmla="*/ 159748 h 159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988" h="159987">
                <a:moveTo>
                  <a:pt x="-3207" y="159748"/>
                </a:moveTo>
                <a:cubicBezTo>
                  <a:pt x="85163" y="159748"/>
                  <a:pt x="156781" y="88121"/>
                  <a:pt x="156781" y="-240"/>
                </a:cubicBezTo>
                <a:cubicBezTo>
                  <a:pt x="68410" y="-240"/>
                  <a:pt x="-3207" y="71387"/>
                  <a:pt x="-3207" y="159748"/>
                </a:cubicBezTo>
                <a:close/>
              </a:path>
            </a:pathLst>
          </a:custGeom>
          <a:solidFill>
            <a:srgbClr val="949494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646C21D1-A8D3-7E6D-6301-BF8B78B2E29E}"/>
              </a:ext>
            </a:extLst>
          </p:cNvPr>
          <p:cNvGrpSpPr/>
          <p:nvPr/>
        </p:nvGrpSpPr>
        <p:grpSpPr>
          <a:xfrm>
            <a:off x="187126" y="5082194"/>
            <a:ext cx="605463" cy="605463"/>
            <a:chOff x="5094572" y="6068734"/>
            <a:chExt cx="605463" cy="605463"/>
          </a:xfrm>
        </p:grpSpPr>
        <p:sp>
          <p:nvSpPr>
            <p:cNvPr id="54" name="Полилиния: фигура 49">
              <a:extLst>
                <a:ext uri="{FF2B5EF4-FFF2-40B4-BE49-F238E27FC236}">
                  <a16:creationId xmlns:a16="http://schemas.microsoft.com/office/drawing/2014/main" id="{45A0E700-6C72-E377-3DA7-49BB8F35248D}"/>
                </a:ext>
              </a:extLst>
            </p:cNvPr>
            <p:cNvSpPr/>
            <p:nvPr userDrawn="1"/>
          </p:nvSpPr>
          <p:spPr>
            <a:xfrm>
              <a:off x="5226343" y="6200506"/>
              <a:ext cx="341920" cy="341920"/>
            </a:xfrm>
            <a:custGeom>
              <a:avLst/>
              <a:gdLst>
                <a:gd name="connsiteX0" fmla="*/ 341920 w 341920"/>
                <a:gd name="connsiteY0" fmla="*/ 170960 h 341920"/>
                <a:gd name="connsiteX1" fmla="*/ 170960 w 341920"/>
                <a:gd name="connsiteY1" fmla="*/ 341920 h 341920"/>
                <a:gd name="connsiteX2" fmla="*/ 0 w 341920"/>
                <a:gd name="connsiteY2" fmla="*/ 170960 h 341920"/>
                <a:gd name="connsiteX3" fmla="*/ 170960 w 341920"/>
                <a:gd name="connsiteY3" fmla="*/ 0 h 341920"/>
                <a:gd name="connsiteX4" fmla="*/ 341920 w 341920"/>
                <a:gd name="connsiteY4" fmla="*/ 170960 h 34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1920" h="341920">
                  <a:moveTo>
                    <a:pt x="341920" y="170960"/>
                  </a:moveTo>
                  <a:cubicBezTo>
                    <a:pt x="341920" y="265379"/>
                    <a:pt x="265379" y="341920"/>
                    <a:pt x="170960" y="341920"/>
                  </a:cubicBezTo>
                  <a:cubicBezTo>
                    <a:pt x="76542" y="341920"/>
                    <a:pt x="0" y="265379"/>
                    <a:pt x="0" y="170960"/>
                  </a:cubicBezTo>
                  <a:cubicBezTo>
                    <a:pt x="0" y="76541"/>
                    <a:pt x="76542" y="0"/>
                    <a:pt x="170960" y="0"/>
                  </a:cubicBezTo>
                  <a:cubicBezTo>
                    <a:pt x="265379" y="0"/>
                    <a:pt x="341920" y="76541"/>
                    <a:pt x="341920" y="17096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" name="Полилиния: фигура 50">
              <a:extLst>
                <a:ext uri="{FF2B5EF4-FFF2-40B4-BE49-F238E27FC236}">
                  <a16:creationId xmlns:a16="http://schemas.microsoft.com/office/drawing/2014/main" id="{9620E141-C6E2-08A8-523B-D37ADEA030BD}"/>
                </a:ext>
              </a:extLst>
            </p:cNvPr>
            <p:cNvSpPr/>
            <p:nvPr userDrawn="1"/>
          </p:nvSpPr>
          <p:spPr>
            <a:xfrm>
              <a:off x="5094572" y="6068734"/>
              <a:ext cx="605463" cy="605463"/>
            </a:xfrm>
            <a:custGeom>
              <a:avLst/>
              <a:gdLst>
                <a:gd name="connsiteX0" fmla="*/ 299524 w 605463"/>
                <a:gd name="connsiteY0" fmla="*/ -240 h 605463"/>
                <a:gd name="connsiteX1" fmla="*/ 270132 w 605463"/>
                <a:gd name="connsiteY1" fmla="*/ 29151 h 605463"/>
                <a:gd name="connsiteX2" fmla="*/ 270132 w 605463"/>
                <a:gd name="connsiteY2" fmla="*/ 72847 h 605463"/>
                <a:gd name="connsiteX3" fmla="*/ 299524 w 605463"/>
                <a:gd name="connsiteY3" fmla="*/ 102238 h 605463"/>
                <a:gd name="connsiteX4" fmla="*/ 328915 w 605463"/>
                <a:gd name="connsiteY4" fmla="*/ 72847 h 605463"/>
                <a:gd name="connsiteX5" fmla="*/ 328915 w 605463"/>
                <a:gd name="connsiteY5" fmla="*/ 29151 h 605463"/>
                <a:gd name="connsiteX6" fmla="*/ 299524 w 605463"/>
                <a:gd name="connsiteY6" fmla="*/ -240 h 605463"/>
                <a:gd name="connsiteX7" fmla="*/ 299524 w 605463"/>
                <a:gd name="connsiteY7" fmla="*/ 502745 h 605463"/>
                <a:gd name="connsiteX8" fmla="*/ 270132 w 605463"/>
                <a:gd name="connsiteY8" fmla="*/ 532137 h 605463"/>
                <a:gd name="connsiteX9" fmla="*/ 270132 w 605463"/>
                <a:gd name="connsiteY9" fmla="*/ 575832 h 605463"/>
                <a:gd name="connsiteX10" fmla="*/ 299524 w 605463"/>
                <a:gd name="connsiteY10" fmla="*/ 605223 h 605463"/>
                <a:gd name="connsiteX11" fmla="*/ 328915 w 605463"/>
                <a:gd name="connsiteY11" fmla="*/ 575832 h 605463"/>
                <a:gd name="connsiteX12" fmla="*/ 328915 w 605463"/>
                <a:gd name="connsiteY12" fmla="*/ 532137 h 605463"/>
                <a:gd name="connsiteX13" fmla="*/ 299524 w 605463"/>
                <a:gd name="connsiteY13" fmla="*/ 502745 h 605463"/>
                <a:gd name="connsiteX14" fmla="*/ 99271 w 605463"/>
                <a:gd name="connsiteY14" fmla="*/ 302492 h 605463"/>
                <a:gd name="connsiteX15" fmla="*/ 69879 w 605463"/>
                <a:gd name="connsiteY15" fmla="*/ 273100 h 605463"/>
                <a:gd name="connsiteX16" fmla="*/ 26184 w 605463"/>
                <a:gd name="connsiteY16" fmla="*/ 273100 h 605463"/>
                <a:gd name="connsiteX17" fmla="*/ -3207 w 605463"/>
                <a:gd name="connsiteY17" fmla="*/ 302492 h 605463"/>
                <a:gd name="connsiteX18" fmla="*/ 26184 w 605463"/>
                <a:gd name="connsiteY18" fmla="*/ 331883 h 605463"/>
                <a:gd name="connsiteX19" fmla="*/ 69879 w 605463"/>
                <a:gd name="connsiteY19" fmla="*/ 331883 h 605463"/>
                <a:gd name="connsiteX20" fmla="*/ 99271 w 605463"/>
                <a:gd name="connsiteY20" fmla="*/ 302492 h 605463"/>
                <a:gd name="connsiteX21" fmla="*/ 572865 w 605463"/>
                <a:gd name="connsiteY21" fmla="*/ 273100 h 605463"/>
                <a:gd name="connsiteX22" fmla="*/ 529168 w 605463"/>
                <a:gd name="connsiteY22" fmla="*/ 273100 h 605463"/>
                <a:gd name="connsiteX23" fmla="*/ 499777 w 605463"/>
                <a:gd name="connsiteY23" fmla="*/ 302492 h 605463"/>
                <a:gd name="connsiteX24" fmla="*/ 529168 w 605463"/>
                <a:gd name="connsiteY24" fmla="*/ 331883 h 605463"/>
                <a:gd name="connsiteX25" fmla="*/ 572865 w 605463"/>
                <a:gd name="connsiteY25" fmla="*/ 331883 h 605463"/>
                <a:gd name="connsiteX26" fmla="*/ 602257 w 605463"/>
                <a:gd name="connsiteY26" fmla="*/ 302492 h 605463"/>
                <a:gd name="connsiteX27" fmla="*/ 572865 w 605463"/>
                <a:gd name="connsiteY27" fmla="*/ 273100 h 605463"/>
                <a:gd name="connsiteX28" fmla="*/ 126997 w 605463"/>
                <a:gd name="connsiteY28" fmla="*/ 88424 h 605463"/>
                <a:gd name="connsiteX29" fmla="*/ 85457 w 605463"/>
                <a:gd name="connsiteY29" fmla="*/ 86955 h 605463"/>
                <a:gd name="connsiteX30" fmla="*/ 83986 w 605463"/>
                <a:gd name="connsiteY30" fmla="*/ 128494 h 605463"/>
                <a:gd name="connsiteX31" fmla="*/ 85457 w 605463"/>
                <a:gd name="connsiteY31" fmla="*/ 129964 h 605463"/>
                <a:gd name="connsiteX32" fmla="*/ 116317 w 605463"/>
                <a:gd name="connsiteY32" fmla="*/ 160923 h 605463"/>
                <a:gd name="connsiteX33" fmla="*/ 157955 w 605463"/>
                <a:gd name="connsiteY33" fmla="*/ 160923 h 605463"/>
                <a:gd name="connsiteX34" fmla="*/ 157955 w 605463"/>
                <a:gd name="connsiteY34" fmla="*/ 119285 h 605463"/>
                <a:gd name="connsiteX35" fmla="*/ 482730 w 605463"/>
                <a:gd name="connsiteY35" fmla="*/ 444061 h 605463"/>
                <a:gd name="connsiteX36" fmla="*/ 441092 w 605463"/>
                <a:gd name="connsiteY36" fmla="*/ 444061 h 605463"/>
                <a:gd name="connsiteX37" fmla="*/ 441092 w 605463"/>
                <a:gd name="connsiteY37" fmla="*/ 485698 h 605463"/>
                <a:gd name="connsiteX38" fmla="*/ 472052 w 605463"/>
                <a:gd name="connsiteY38" fmla="*/ 516559 h 605463"/>
                <a:gd name="connsiteX39" fmla="*/ 513592 w 605463"/>
                <a:gd name="connsiteY39" fmla="*/ 516559 h 605463"/>
                <a:gd name="connsiteX40" fmla="*/ 513592 w 605463"/>
                <a:gd name="connsiteY40" fmla="*/ 475019 h 605463"/>
                <a:gd name="connsiteX41" fmla="*/ 116317 w 605463"/>
                <a:gd name="connsiteY41" fmla="*/ 444061 h 605463"/>
                <a:gd name="connsiteX42" fmla="*/ 85457 w 605463"/>
                <a:gd name="connsiteY42" fmla="*/ 475019 h 605463"/>
                <a:gd name="connsiteX43" fmla="*/ 85457 w 605463"/>
                <a:gd name="connsiteY43" fmla="*/ 516589 h 605463"/>
                <a:gd name="connsiteX44" fmla="*/ 106226 w 605463"/>
                <a:gd name="connsiteY44" fmla="*/ 525181 h 605463"/>
                <a:gd name="connsiteX45" fmla="*/ 126997 w 605463"/>
                <a:gd name="connsiteY45" fmla="*/ 516559 h 605463"/>
                <a:gd name="connsiteX46" fmla="*/ 157955 w 605463"/>
                <a:gd name="connsiteY46" fmla="*/ 485698 h 605463"/>
                <a:gd name="connsiteX47" fmla="*/ 157955 w 605463"/>
                <a:gd name="connsiteY47" fmla="*/ 444061 h 605463"/>
                <a:gd name="connsiteX48" fmla="*/ 116317 w 605463"/>
                <a:gd name="connsiteY48" fmla="*/ 444061 h 605463"/>
                <a:gd name="connsiteX49" fmla="*/ 461961 w 605463"/>
                <a:gd name="connsiteY49" fmla="*/ 169740 h 605463"/>
                <a:gd name="connsiteX50" fmla="*/ 482730 w 605463"/>
                <a:gd name="connsiteY50" fmla="*/ 161217 h 605463"/>
                <a:gd name="connsiteX51" fmla="*/ 513592 w 605463"/>
                <a:gd name="connsiteY51" fmla="*/ 130258 h 605463"/>
                <a:gd name="connsiteX52" fmla="*/ 512121 w 605463"/>
                <a:gd name="connsiteY52" fmla="*/ 88718 h 605463"/>
                <a:gd name="connsiteX53" fmla="*/ 472052 w 605463"/>
                <a:gd name="connsiteY53" fmla="*/ 88718 h 605463"/>
                <a:gd name="connsiteX54" fmla="*/ 441092 w 605463"/>
                <a:gd name="connsiteY54" fmla="*/ 119579 h 605463"/>
                <a:gd name="connsiteX55" fmla="*/ 441092 w 605463"/>
                <a:gd name="connsiteY55" fmla="*/ 161148 h 605463"/>
                <a:gd name="connsiteX56" fmla="*/ 461961 w 605463"/>
                <a:gd name="connsiteY56" fmla="*/ 169740 h 60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605463" h="605463">
                  <a:moveTo>
                    <a:pt x="299524" y="-240"/>
                  </a:moveTo>
                  <a:cubicBezTo>
                    <a:pt x="283261" y="-240"/>
                    <a:pt x="270132" y="12917"/>
                    <a:pt x="270132" y="29151"/>
                  </a:cubicBezTo>
                  <a:lnTo>
                    <a:pt x="270132" y="72847"/>
                  </a:lnTo>
                  <a:cubicBezTo>
                    <a:pt x="270132" y="89081"/>
                    <a:pt x="283261" y="102238"/>
                    <a:pt x="299524" y="102238"/>
                  </a:cubicBezTo>
                  <a:cubicBezTo>
                    <a:pt x="315786" y="102238"/>
                    <a:pt x="328915" y="89081"/>
                    <a:pt x="328915" y="72847"/>
                  </a:cubicBezTo>
                  <a:lnTo>
                    <a:pt x="328915" y="29151"/>
                  </a:lnTo>
                  <a:cubicBezTo>
                    <a:pt x="328915" y="12917"/>
                    <a:pt x="315786" y="-240"/>
                    <a:pt x="299524" y="-240"/>
                  </a:cubicBezTo>
                  <a:close/>
                  <a:moveTo>
                    <a:pt x="299524" y="502745"/>
                  </a:moveTo>
                  <a:cubicBezTo>
                    <a:pt x="283261" y="502745"/>
                    <a:pt x="270132" y="515903"/>
                    <a:pt x="270132" y="532137"/>
                  </a:cubicBezTo>
                  <a:lnTo>
                    <a:pt x="270132" y="575832"/>
                  </a:lnTo>
                  <a:cubicBezTo>
                    <a:pt x="270132" y="592066"/>
                    <a:pt x="283261" y="605223"/>
                    <a:pt x="299524" y="605223"/>
                  </a:cubicBezTo>
                  <a:cubicBezTo>
                    <a:pt x="315786" y="605223"/>
                    <a:pt x="328915" y="592066"/>
                    <a:pt x="328915" y="575832"/>
                  </a:cubicBezTo>
                  <a:lnTo>
                    <a:pt x="328915" y="532137"/>
                  </a:lnTo>
                  <a:cubicBezTo>
                    <a:pt x="328915" y="515903"/>
                    <a:pt x="315786" y="502745"/>
                    <a:pt x="299524" y="502745"/>
                  </a:cubicBezTo>
                  <a:close/>
                  <a:moveTo>
                    <a:pt x="99271" y="302492"/>
                  </a:moveTo>
                  <a:cubicBezTo>
                    <a:pt x="99271" y="286258"/>
                    <a:pt x="86141" y="273100"/>
                    <a:pt x="69879" y="273100"/>
                  </a:cubicBezTo>
                  <a:lnTo>
                    <a:pt x="26184" y="273100"/>
                  </a:lnTo>
                  <a:cubicBezTo>
                    <a:pt x="9919" y="273100"/>
                    <a:pt x="-3207" y="286258"/>
                    <a:pt x="-3207" y="302492"/>
                  </a:cubicBezTo>
                  <a:cubicBezTo>
                    <a:pt x="-3207" y="318726"/>
                    <a:pt x="9919" y="331883"/>
                    <a:pt x="26184" y="331883"/>
                  </a:cubicBezTo>
                  <a:lnTo>
                    <a:pt x="69879" y="331883"/>
                  </a:lnTo>
                  <a:cubicBezTo>
                    <a:pt x="86141" y="331883"/>
                    <a:pt x="99271" y="318726"/>
                    <a:pt x="99271" y="302492"/>
                  </a:cubicBezTo>
                  <a:close/>
                  <a:moveTo>
                    <a:pt x="572865" y="273100"/>
                  </a:moveTo>
                  <a:lnTo>
                    <a:pt x="529168" y="273100"/>
                  </a:lnTo>
                  <a:cubicBezTo>
                    <a:pt x="512906" y="273100"/>
                    <a:pt x="499777" y="286258"/>
                    <a:pt x="499777" y="302492"/>
                  </a:cubicBezTo>
                  <a:cubicBezTo>
                    <a:pt x="499777" y="318726"/>
                    <a:pt x="512906" y="331883"/>
                    <a:pt x="529168" y="331883"/>
                  </a:cubicBezTo>
                  <a:lnTo>
                    <a:pt x="572865" y="331883"/>
                  </a:lnTo>
                  <a:cubicBezTo>
                    <a:pt x="589128" y="331883"/>
                    <a:pt x="602257" y="318726"/>
                    <a:pt x="602257" y="302492"/>
                  </a:cubicBezTo>
                  <a:cubicBezTo>
                    <a:pt x="602257" y="286258"/>
                    <a:pt x="589128" y="273100"/>
                    <a:pt x="572865" y="273100"/>
                  </a:cubicBezTo>
                  <a:close/>
                  <a:moveTo>
                    <a:pt x="126997" y="88424"/>
                  </a:moveTo>
                  <a:cubicBezTo>
                    <a:pt x="115925" y="76550"/>
                    <a:pt x="97312" y="75894"/>
                    <a:pt x="85457" y="86955"/>
                  </a:cubicBezTo>
                  <a:cubicBezTo>
                    <a:pt x="73601" y="98025"/>
                    <a:pt x="72917" y="116620"/>
                    <a:pt x="83986" y="128494"/>
                  </a:cubicBezTo>
                  <a:cubicBezTo>
                    <a:pt x="84477" y="129004"/>
                    <a:pt x="84967" y="129494"/>
                    <a:pt x="85457" y="129964"/>
                  </a:cubicBezTo>
                  <a:lnTo>
                    <a:pt x="116317" y="160923"/>
                  </a:lnTo>
                  <a:cubicBezTo>
                    <a:pt x="127779" y="172425"/>
                    <a:pt x="146493" y="172425"/>
                    <a:pt x="157955" y="160923"/>
                  </a:cubicBezTo>
                  <a:cubicBezTo>
                    <a:pt x="169417" y="149421"/>
                    <a:pt x="169417" y="130787"/>
                    <a:pt x="157955" y="119285"/>
                  </a:cubicBezTo>
                  <a:close/>
                  <a:moveTo>
                    <a:pt x="482730" y="444061"/>
                  </a:moveTo>
                  <a:cubicBezTo>
                    <a:pt x="471268" y="432559"/>
                    <a:pt x="452556" y="432559"/>
                    <a:pt x="441092" y="444061"/>
                  </a:cubicBezTo>
                  <a:cubicBezTo>
                    <a:pt x="429630" y="455562"/>
                    <a:pt x="429630" y="474196"/>
                    <a:pt x="441092" y="485698"/>
                  </a:cubicBezTo>
                  <a:lnTo>
                    <a:pt x="472052" y="516559"/>
                  </a:lnTo>
                  <a:cubicBezTo>
                    <a:pt x="483514" y="528022"/>
                    <a:pt x="502128" y="528022"/>
                    <a:pt x="513592" y="516559"/>
                  </a:cubicBezTo>
                  <a:cubicBezTo>
                    <a:pt x="525054" y="505087"/>
                    <a:pt x="525054" y="486492"/>
                    <a:pt x="513592" y="475019"/>
                  </a:cubicBezTo>
                  <a:close/>
                  <a:moveTo>
                    <a:pt x="116317" y="444061"/>
                  </a:moveTo>
                  <a:lnTo>
                    <a:pt x="85457" y="475019"/>
                  </a:lnTo>
                  <a:cubicBezTo>
                    <a:pt x="73993" y="486502"/>
                    <a:pt x="73993" y="505116"/>
                    <a:pt x="85457" y="516589"/>
                  </a:cubicBezTo>
                  <a:cubicBezTo>
                    <a:pt x="90942" y="522085"/>
                    <a:pt x="98486" y="525171"/>
                    <a:pt x="106226" y="525181"/>
                  </a:cubicBezTo>
                  <a:cubicBezTo>
                    <a:pt x="114064" y="525171"/>
                    <a:pt x="121510" y="522075"/>
                    <a:pt x="126997" y="516559"/>
                  </a:cubicBezTo>
                  <a:lnTo>
                    <a:pt x="157955" y="485698"/>
                  </a:lnTo>
                  <a:cubicBezTo>
                    <a:pt x="169417" y="474196"/>
                    <a:pt x="169417" y="455562"/>
                    <a:pt x="157955" y="444061"/>
                  </a:cubicBezTo>
                  <a:cubicBezTo>
                    <a:pt x="146493" y="432559"/>
                    <a:pt x="127779" y="432559"/>
                    <a:pt x="116317" y="444061"/>
                  </a:cubicBezTo>
                  <a:close/>
                  <a:moveTo>
                    <a:pt x="461961" y="169740"/>
                  </a:moveTo>
                  <a:cubicBezTo>
                    <a:pt x="469701" y="169760"/>
                    <a:pt x="477245" y="166694"/>
                    <a:pt x="482730" y="161217"/>
                  </a:cubicBezTo>
                  <a:lnTo>
                    <a:pt x="513592" y="130258"/>
                  </a:lnTo>
                  <a:cubicBezTo>
                    <a:pt x="524662" y="118384"/>
                    <a:pt x="523975" y="99789"/>
                    <a:pt x="512121" y="88718"/>
                  </a:cubicBezTo>
                  <a:cubicBezTo>
                    <a:pt x="500855" y="78196"/>
                    <a:pt x="483318" y="78196"/>
                    <a:pt x="472052" y="88718"/>
                  </a:cubicBezTo>
                  <a:lnTo>
                    <a:pt x="441092" y="119579"/>
                  </a:lnTo>
                  <a:cubicBezTo>
                    <a:pt x="429630" y="131061"/>
                    <a:pt x="429630" y="149676"/>
                    <a:pt x="441092" y="161148"/>
                  </a:cubicBezTo>
                  <a:cubicBezTo>
                    <a:pt x="446677" y="166664"/>
                    <a:pt x="454123" y="169760"/>
                    <a:pt x="461961" y="1697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37D41EB-EE7D-709F-B5E9-8155E29D27E8}"/>
              </a:ext>
            </a:extLst>
          </p:cNvPr>
          <p:cNvGrpSpPr/>
          <p:nvPr/>
        </p:nvGrpSpPr>
        <p:grpSpPr>
          <a:xfrm>
            <a:off x="979714" y="4895068"/>
            <a:ext cx="979714" cy="979714"/>
            <a:chOff x="979714" y="4895068"/>
            <a:chExt cx="979714" cy="979714"/>
          </a:xfrm>
        </p:grpSpPr>
        <p:sp>
          <p:nvSpPr>
            <p:cNvPr id="50" name="Полилиния: фигура 52">
              <a:extLst>
                <a:ext uri="{FF2B5EF4-FFF2-40B4-BE49-F238E27FC236}">
                  <a16:creationId xmlns:a16="http://schemas.microsoft.com/office/drawing/2014/main" id="{A080FB61-7800-AD87-DD21-AB81FB94B153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Полилиния: фигура 53">
              <a:extLst>
                <a:ext uri="{FF2B5EF4-FFF2-40B4-BE49-F238E27FC236}">
                  <a16:creationId xmlns:a16="http://schemas.microsoft.com/office/drawing/2014/main" id="{3543243B-1C9B-FE3A-16F0-C504ED4E8EF0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" name="Полилиния: фигура 54">
              <a:extLst>
                <a:ext uri="{FF2B5EF4-FFF2-40B4-BE49-F238E27FC236}">
                  <a16:creationId xmlns:a16="http://schemas.microsoft.com/office/drawing/2014/main" id="{503A0479-2C05-4D1A-BDD4-C1BC779E9D17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" name="Полилиния: фигура 55">
              <a:extLst>
                <a:ext uri="{FF2B5EF4-FFF2-40B4-BE49-F238E27FC236}">
                  <a16:creationId xmlns:a16="http://schemas.microsoft.com/office/drawing/2014/main" id="{52EDC270-9463-9024-3BC4-AB321F324777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7" name="Текст 74">
            <a:extLst>
              <a:ext uri="{FF2B5EF4-FFF2-40B4-BE49-F238E27FC236}">
                <a16:creationId xmlns:a16="http://schemas.microsoft.com/office/drawing/2014/main" id="{A276EB3C-25FF-4CB1-BAE3-228517F58257}"/>
              </a:ext>
            </a:extLst>
          </p:cNvPr>
          <p:cNvSpPr txBox="1">
            <a:spLocks/>
          </p:cNvSpPr>
          <p:nvPr/>
        </p:nvSpPr>
        <p:spPr>
          <a:xfrm>
            <a:off x="1927746" y="2933512"/>
            <a:ext cx="3730706" cy="30777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Char char="—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Иванова Екатерина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Текст 77">
            <a:extLst>
              <a:ext uri="{FF2B5EF4-FFF2-40B4-BE49-F238E27FC236}">
                <a16:creationId xmlns:a16="http://schemas.microsoft.com/office/drawing/2014/main" id="{B5CEAC9A-B39C-49C5-94A3-A5981CBA87C7}"/>
              </a:ext>
            </a:extLst>
          </p:cNvPr>
          <p:cNvSpPr txBox="1">
            <a:spLocks/>
          </p:cNvSpPr>
          <p:nvPr/>
        </p:nvSpPr>
        <p:spPr>
          <a:xfrm>
            <a:off x="1818596" y="4372074"/>
            <a:ext cx="4345856" cy="32018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Char char="—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>
                <a:solidFill>
                  <a:srgbClr val="003C96"/>
                </a:solidFill>
              </a:rPr>
              <a:t>ekaterina.v.ivanova@lenta.com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31" name="Graphic 56">
            <a:extLst>
              <a:ext uri="{FF2B5EF4-FFF2-40B4-BE49-F238E27FC236}">
                <a16:creationId xmlns:a16="http://schemas.microsoft.com/office/drawing/2014/main" id="{6FDB3F66-D77D-3B62-DF0D-1093C8DF6AE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12396" y="4400949"/>
            <a:ext cx="326584" cy="326584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917F280C-A7D5-E120-17A3-6C141398B15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69571" y="2961810"/>
            <a:ext cx="333116" cy="333116"/>
          </a:xfrm>
          <a:prstGeom prst="rect">
            <a:avLst/>
          </a:prstGeom>
        </p:spPr>
      </p:pic>
      <p:sp>
        <p:nvSpPr>
          <p:cNvPr id="57" name="Текст 74">
            <a:extLst>
              <a:ext uri="{FF2B5EF4-FFF2-40B4-BE49-F238E27FC236}">
                <a16:creationId xmlns:a16="http://schemas.microsoft.com/office/drawing/2014/main" id="{A276EB3C-25FF-4CB1-BAE3-228517F58257}"/>
              </a:ext>
            </a:extLst>
          </p:cNvPr>
          <p:cNvSpPr txBox="1">
            <a:spLocks/>
          </p:cNvSpPr>
          <p:nvPr/>
        </p:nvSpPr>
        <p:spPr>
          <a:xfrm>
            <a:off x="1479518" y="3460185"/>
            <a:ext cx="4064634" cy="85314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Char char="—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1600" dirty="0">
                <a:solidFill>
                  <a:srgbClr val="003C96"/>
                </a:solidFill>
              </a:rPr>
              <a:t>Руководитель направления оценки качества товаров СТМ </a:t>
            </a:r>
            <a:r>
              <a:rPr lang="ru-RU" sz="1600" dirty="0" smtClean="0">
                <a:solidFill>
                  <a:srgbClr val="003C96"/>
                </a:solidFill>
              </a:rPr>
              <a:t>и прямого импор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3C9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25530" y="0"/>
            <a:ext cx="5895343" cy="6870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363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9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D68EB34-ED57-0EA6-A021-937295937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67153"/>
            <a:ext cx="9974580" cy="338554"/>
          </a:xfrm>
        </p:spPr>
        <p:txBody>
          <a:bodyPr vert="horz"/>
          <a:lstStyle/>
          <a:p>
            <a:r>
              <a:rPr lang="ru-RU" dirty="0"/>
              <a:t>Реестр СГР  на сайте Росаккредитац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500" y="883123"/>
            <a:ext cx="10356643" cy="294270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41664" y="3937000"/>
            <a:ext cx="5062535" cy="276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195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2400" y="2936558"/>
            <a:ext cx="6172201" cy="984885"/>
          </a:xfrm>
        </p:spPr>
        <p:txBody>
          <a:bodyPr/>
          <a:lstStyle/>
          <a:p>
            <a:r>
              <a:rPr lang="ru-RU" dirty="0" smtClean="0"/>
              <a:t>Что </a:t>
            </a:r>
            <a:r>
              <a:rPr lang="ru-RU" dirty="0"/>
              <a:t>не так с фото и документами?</a:t>
            </a:r>
          </a:p>
        </p:txBody>
      </p:sp>
    </p:spTree>
    <p:extLst>
      <p:ext uri="{BB962C8B-B14F-4D97-AF65-F5344CB8AC3E}">
        <p14:creationId xmlns:p14="http://schemas.microsoft.com/office/powerpoint/2010/main" val="4265077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91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5E65BD3A-6B9D-471D-969C-2EE841FDA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298441"/>
            <a:ext cx="8477250" cy="677108"/>
          </a:xfrm>
        </p:spPr>
        <p:txBody>
          <a:bodyPr vert="horz"/>
          <a:lstStyle/>
          <a:p>
            <a:r>
              <a:rPr lang="ru-RU" altLang="ru-RU" dirty="0">
                <a:solidFill>
                  <a:schemeClr val="tx1"/>
                </a:solidFill>
              </a:rPr>
              <a:t>Что не так с фото?</a:t>
            </a:r>
            <a:br>
              <a:rPr lang="ru-RU" altLang="ru-RU" dirty="0">
                <a:solidFill>
                  <a:schemeClr val="tx1"/>
                </a:solidFill>
              </a:rPr>
            </a:b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ln>
            <a:solidFill>
              <a:schemeClr val="tx1"/>
            </a:solidFill>
          </a:ln>
        </p:spPr>
        <p:txBody>
          <a:bodyPr/>
          <a:lstStyle/>
          <a:p>
            <a:fld id="{766344E1-0F76-4023-B180-E4B0CE5660A5}" type="slidenum">
              <a:rPr lang="en-US" smtClean="0">
                <a:solidFill>
                  <a:schemeClr val="tx1"/>
                </a:solidFill>
              </a:rPr>
              <a:pPr/>
              <a:t>15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1" name="Рисунок 10"/>
          <p:cNvPicPr>
            <a:picLocks noGrp="1" noChangeAspect="1"/>
          </p:cNvPicPr>
          <p:nvPr>
            <p:ph type="pic" sz="quarter" idx="14"/>
          </p:nvPr>
        </p:nvPicPr>
        <p:blipFill>
          <a:blip r:embed="rId7"/>
          <a:srcRect t="10087" b="10087"/>
          <a:stretch>
            <a:fillRect/>
          </a:stretch>
        </p:blipFill>
        <p:spPr>
          <a:xfrm>
            <a:off x="551413" y="1198251"/>
            <a:ext cx="7013121" cy="219595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90901" y="2170706"/>
            <a:ext cx="2762250" cy="332600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21715" y="3394203"/>
            <a:ext cx="3272518" cy="3154140"/>
          </a:xfrm>
          <a:prstGeom prst="rect">
            <a:avLst/>
          </a:prstGeom>
        </p:spPr>
      </p:pic>
      <p:sp>
        <p:nvSpPr>
          <p:cNvPr id="19" name="Полилиния: фигура 131">
            <a:extLst>
              <a:ext uri="{FF2B5EF4-FFF2-40B4-BE49-F238E27FC236}">
                <a16:creationId xmlns:a16="http://schemas.microsoft.com/office/drawing/2014/main" id="{8B4E0209-91B3-4111-91A8-34481EDDFB0C}"/>
              </a:ext>
            </a:extLst>
          </p:cNvPr>
          <p:cNvSpPr/>
          <p:nvPr/>
        </p:nvSpPr>
        <p:spPr>
          <a:xfrm>
            <a:off x="10047959" y="3584865"/>
            <a:ext cx="33896" cy="33895"/>
          </a:xfrm>
          <a:custGeom>
            <a:avLst/>
            <a:gdLst>
              <a:gd name="connsiteX0" fmla="*/ 17112 w 33896"/>
              <a:gd name="connsiteY0" fmla="*/ 0 h 33895"/>
              <a:gd name="connsiteX1" fmla="*/ 16948 w 33896"/>
              <a:gd name="connsiteY1" fmla="*/ 0 h 33895"/>
              <a:gd name="connsiteX2" fmla="*/ 1 w 33896"/>
              <a:gd name="connsiteY2" fmla="*/ 16784 h 33895"/>
              <a:gd name="connsiteX3" fmla="*/ 16790 w 33896"/>
              <a:gd name="connsiteY3" fmla="*/ 33895 h 33895"/>
              <a:gd name="connsiteX4" fmla="*/ 16954 w 33896"/>
              <a:gd name="connsiteY4" fmla="*/ 33895 h 33895"/>
              <a:gd name="connsiteX5" fmla="*/ 28823 w 33896"/>
              <a:gd name="connsiteY5" fmla="*/ 29048 h 33895"/>
              <a:gd name="connsiteX6" fmla="*/ 33896 w 33896"/>
              <a:gd name="connsiteY6" fmla="*/ 17117 h 33895"/>
              <a:gd name="connsiteX7" fmla="*/ 17112 w 33896"/>
              <a:gd name="connsiteY7" fmla="*/ 0 h 33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896" h="33895">
                <a:moveTo>
                  <a:pt x="17112" y="0"/>
                </a:moveTo>
                <a:cubicBezTo>
                  <a:pt x="17056" y="0"/>
                  <a:pt x="16999" y="0"/>
                  <a:pt x="16948" y="0"/>
                </a:cubicBezTo>
                <a:cubicBezTo>
                  <a:pt x="7678" y="0"/>
                  <a:pt x="97" y="7497"/>
                  <a:pt x="1" y="16784"/>
                </a:cubicBezTo>
                <a:cubicBezTo>
                  <a:pt x="-90" y="26128"/>
                  <a:pt x="7441" y="33799"/>
                  <a:pt x="16790" y="33895"/>
                </a:cubicBezTo>
                <a:cubicBezTo>
                  <a:pt x="16847" y="33895"/>
                  <a:pt x="16903" y="33895"/>
                  <a:pt x="16954" y="33895"/>
                </a:cubicBezTo>
                <a:cubicBezTo>
                  <a:pt x="21417" y="33895"/>
                  <a:pt x="25626" y="32178"/>
                  <a:pt x="28823" y="29048"/>
                </a:cubicBezTo>
                <a:cubicBezTo>
                  <a:pt x="32049" y="25879"/>
                  <a:pt x="33857" y="21642"/>
                  <a:pt x="33896" y="17117"/>
                </a:cubicBezTo>
                <a:cubicBezTo>
                  <a:pt x="33987" y="7773"/>
                  <a:pt x="26456" y="96"/>
                  <a:pt x="17112" y="0"/>
                </a:cubicBezTo>
                <a:close/>
              </a:path>
            </a:pathLst>
          </a:custGeom>
          <a:solidFill>
            <a:schemeClr val="tx1"/>
          </a:solidFill>
          <a:ln w="108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3C96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591349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Объект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14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31" name="Объект 3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0" name="Таблица 5">
            <a:extLst>
              <a:ext uri="{FF2B5EF4-FFF2-40B4-BE49-F238E27FC236}">
                <a16:creationId xmlns:a16="http://schemas.microsoft.com/office/drawing/2014/main" id="{15334CA2-11EE-49E1-979E-ADA3F09E65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2851914"/>
              </p:ext>
            </p:extLst>
          </p:nvPr>
        </p:nvGraphicFramePr>
        <p:xfrm>
          <a:off x="577432" y="5194674"/>
          <a:ext cx="11044656" cy="1256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44656">
                  <a:extLst>
                    <a:ext uri="{9D8B030D-6E8A-4147-A177-3AD203B41FA5}">
                      <a16:colId xmlns:a16="http://schemas.microsoft.com/office/drawing/2014/main" val="3450824149"/>
                    </a:ext>
                  </a:extLst>
                </a:gridCol>
              </a:tblGrid>
              <a:tr h="1256640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600" dirty="0" smtClean="0"/>
                        <a:t>                                    </a:t>
                      </a:r>
                    </a:p>
                  </a:txBody>
                  <a:tcPr marL="216000" marR="216000" marT="108000" marB="10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069870"/>
                  </a:ext>
                </a:extLst>
              </a:tr>
            </a:tbl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2264B0-4980-4D78-9E65-92E1A1354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689" y="279992"/>
            <a:ext cx="10002539" cy="338554"/>
          </a:xfrm>
        </p:spPr>
        <p:txBody>
          <a:bodyPr vert="horz"/>
          <a:lstStyle/>
          <a:p>
            <a:r>
              <a:rPr lang="ru-RU" dirty="0"/>
              <a:t>Примеры нарушений оформления документов</a:t>
            </a:r>
          </a:p>
        </p:txBody>
      </p:sp>
      <p:sp>
        <p:nvSpPr>
          <p:cNvPr id="15" name="Нижний колонтитул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3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23" name="Группа 22"/>
          <p:cNvGrpSpPr/>
          <p:nvPr/>
        </p:nvGrpSpPr>
        <p:grpSpPr>
          <a:xfrm>
            <a:off x="571500" y="978889"/>
            <a:ext cx="5485567" cy="3760720"/>
            <a:chOff x="567690" y="1198563"/>
            <a:chExt cx="3524250" cy="3338710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60EA166F-E096-4E1C-8EF6-1F6149C14C3E}"/>
                </a:ext>
              </a:extLst>
            </p:cNvPr>
            <p:cNvSpPr/>
            <p:nvPr/>
          </p:nvSpPr>
          <p:spPr>
            <a:xfrm>
              <a:off x="571501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89FF7DA5-FD96-4AAB-A99C-B407016E3A8B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Группа 27"/>
          <p:cNvGrpSpPr/>
          <p:nvPr/>
        </p:nvGrpSpPr>
        <p:grpSpPr>
          <a:xfrm>
            <a:off x="6173360" y="978856"/>
            <a:ext cx="5467778" cy="3760719"/>
            <a:chOff x="8097838" y="1198563"/>
            <a:chExt cx="3524250" cy="3338710"/>
          </a:xfrm>
        </p:grpSpPr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5F8F9EBA-9210-317F-7743-2B7FAC5A456A}"/>
                </a:ext>
              </a:extLst>
            </p:cNvPr>
            <p:cNvSpPr/>
            <p:nvPr/>
          </p:nvSpPr>
          <p:spPr>
            <a:xfrm>
              <a:off x="8101649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66" name="Прямая соединительная линия 65">
              <a:extLst>
                <a:ext uri="{FF2B5EF4-FFF2-40B4-BE49-F238E27FC236}">
                  <a16:creationId xmlns:a16="http://schemas.microsoft.com/office/drawing/2014/main" id="{197C3C89-99FF-8E43-EDD8-7C5512CD0E27}"/>
                </a:ext>
              </a:extLst>
            </p:cNvPr>
            <p:cNvCxnSpPr>
              <a:cxnSpLocks/>
            </p:cNvCxnSpPr>
            <p:nvPr/>
          </p:nvCxnSpPr>
          <p:spPr>
            <a:xfrm>
              <a:off x="8097838" y="1198563"/>
              <a:ext cx="352425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Группа 42"/>
          <p:cNvGrpSpPr/>
          <p:nvPr/>
        </p:nvGrpSpPr>
        <p:grpSpPr>
          <a:xfrm rot="5400000">
            <a:off x="5933846" y="4753556"/>
            <a:ext cx="327483" cy="489098"/>
            <a:chOff x="1988287" y="4667693"/>
            <a:chExt cx="1541722" cy="1222744"/>
          </a:xfrm>
        </p:grpSpPr>
        <p:sp>
          <p:nvSpPr>
            <p:cNvPr id="44" name="Шеврон 43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5" name="Шеврон 44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72" name="Группа 71"/>
          <p:cNvGrpSpPr/>
          <p:nvPr/>
        </p:nvGrpSpPr>
        <p:grpSpPr>
          <a:xfrm rot="5400000">
            <a:off x="3069247" y="4732611"/>
            <a:ext cx="327483" cy="489098"/>
            <a:chOff x="1988287" y="4667693"/>
            <a:chExt cx="1541722" cy="1222744"/>
          </a:xfrm>
        </p:grpSpPr>
        <p:sp>
          <p:nvSpPr>
            <p:cNvPr id="73" name="Шеврон 72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74" name="Шеврон 73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75" name="Группа 74"/>
          <p:cNvGrpSpPr/>
          <p:nvPr/>
        </p:nvGrpSpPr>
        <p:grpSpPr>
          <a:xfrm rot="5400000">
            <a:off x="9217233" y="4732612"/>
            <a:ext cx="327483" cy="489098"/>
            <a:chOff x="1988287" y="4667693"/>
            <a:chExt cx="1541722" cy="1222744"/>
          </a:xfrm>
        </p:grpSpPr>
        <p:sp>
          <p:nvSpPr>
            <p:cNvPr id="76" name="Шеврон 75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7" name="Шеврон 76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1BBBCDEA-02EA-4887-8E49-49C33BDC2A6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 flipV="1">
            <a:off x="7603301" y="5272523"/>
            <a:ext cx="564923" cy="56492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430592" y="1069106"/>
            <a:ext cx="3766887" cy="3536762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342137" y="1046614"/>
            <a:ext cx="4804110" cy="355925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3015C18B-9335-C9F8-4B24-98E7E0D275A0}"/>
              </a:ext>
            </a:extLst>
          </p:cNvPr>
          <p:cNvSpPr txBox="1"/>
          <p:nvPr/>
        </p:nvSpPr>
        <p:spPr>
          <a:xfrm>
            <a:off x="3314036" y="5708071"/>
            <a:ext cx="6448523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571500">
              <a:buFont typeface="Wingdings" panose="05000000000000000000" pitchFamily="2" charset="2"/>
              <a:buChar char="Ø"/>
              <a:defRPr/>
            </a:pPr>
            <a:r>
              <a:rPr lang="ru-RU" sz="1400" b="1" dirty="0" smtClean="0">
                <a:cs typeface="Calibri" panose="020F0502020204030204" pitchFamily="34" charset="0"/>
              </a:rPr>
              <a:t>Нечитаемые в части маркировки;</a:t>
            </a:r>
          </a:p>
          <a:p>
            <a:pPr indent="-571500">
              <a:buFont typeface="Wingdings" panose="05000000000000000000" pitchFamily="2" charset="2"/>
              <a:buChar char="Ø"/>
              <a:defRPr/>
            </a:pPr>
            <a:r>
              <a:rPr lang="ru-RU" sz="1400" b="1" dirty="0" smtClean="0">
                <a:cs typeface="Calibri" panose="020F0502020204030204" pitchFamily="34" charset="0"/>
              </a:rPr>
              <a:t>Макеты </a:t>
            </a:r>
            <a:r>
              <a:rPr lang="ru-RU" sz="1400" b="1" dirty="0">
                <a:cs typeface="Calibri" panose="020F0502020204030204" pitchFamily="34" charset="0"/>
              </a:rPr>
              <a:t>(без даты изготовления </a:t>
            </a:r>
            <a:r>
              <a:rPr lang="ru-RU" sz="1400" b="1" dirty="0" smtClean="0">
                <a:cs typeface="Calibri" panose="020F0502020204030204" pitchFamily="34" charset="0"/>
              </a:rPr>
              <a:t> и </a:t>
            </a:r>
            <a:r>
              <a:rPr lang="ru-RU" sz="1400" b="1" dirty="0">
                <a:cs typeface="Calibri" panose="020F0502020204030204" pitchFamily="34" charset="0"/>
              </a:rPr>
              <a:t>срока годности);</a:t>
            </a:r>
          </a:p>
          <a:p>
            <a:pPr indent="-571500">
              <a:buFont typeface="Wingdings" panose="05000000000000000000" pitchFamily="2" charset="2"/>
              <a:buChar char="Ø"/>
              <a:defRPr/>
            </a:pPr>
            <a:r>
              <a:rPr lang="ru-RU" sz="1400" b="1" dirty="0">
                <a:cs typeface="Calibri" panose="020F0502020204030204" pitchFamily="34" charset="0"/>
              </a:rPr>
              <a:t>Не со всех сторон, где есть тест</a:t>
            </a:r>
            <a:r>
              <a:rPr lang="ru-RU" sz="1600" dirty="0"/>
              <a:t>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878044" y="5342022"/>
            <a:ext cx="238966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ru-RU" b="1" dirty="0" smtClean="0"/>
              <a:t>Неверные фото:</a:t>
            </a:r>
          </a:p>
        </p:txBody>
      </p:sp>
    </p:spTree>
    <p:extLst>
      <p:ext uri="{BB962C8B-B14F-4D97-AF65-F5344CB8AC3E}">
        <p14:creationId xmlns:p14="http://schemas.microsoft.com/office/powerpoint/2010/main" val="2990568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Объект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5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31" name="Объект 3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0" name="Таблица 5">
            <a:extLst>
              <a:ext uri="{FF2B5EF4-FFF2-40B4-BE49-F238E27FC236}">
                <a16:creationId xmlns:a16="http://schemas.microsoft.com/office/drawing/2014/main" id="{15334CA2-11EE-49E1-979E-ADA3F09E65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136045"/>
              </p:ext>
            </p:extLst>
          </p:nvPr>
        </p:nvGraphicFramePr>
        <p:xfrm>
          <a:off x="605072" y="5194674"/>
          <a:ext cx="10977849" cy="1256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977849">
                  <a:extLst>
                    <a:ext uri="{9D8B030D-6E8A-4147-A177-3AD203B41FA5}">
                      <a16:colId xmlns:a16="http://schemas.microsoft.com/office/drawing/2014/main" val="3450824149"/>
                    </a:ext>
                  </a:extLst>
                </a:gridCol>
              </a:tblGrid>
              <a:tr h="1256640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600" dirty="0" smtClean="0"/>
                        <a:t>                                    </a:t>
                      </a:r>
                    </a:p>
                  </a:txBody>
                  <a:tcPr marL="216000" marR="216000" marT="108000" marB="10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069870"/>
                  </a:ext>
                </a:extLst>
              </a:tr>
            </a:tbl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2264B0-4980-4D78-9E65-92E1A1354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50796"/>
            <a:ext cx="10002539" cy="338554"/>
          </a:xfrm>
        </p:spPr>
        <p:txBody>
          <a:bodyPr vert="horz"/>
          <a:lstStyle/>
          <a:p>
            <a:r>
              <a:rPr lang="ru-RU" altLang="ru-RU" dirty="0"/>
              <a:t>Фото товара</a:t>
            </a:r>
            <a:endParaRPr lang="ru-RU" dirty="0"/>
          </a:p>
        </p:txBody>
      </p:sp>
      <p:sp>
        <p:nvSpPr>
          <p:cNvPr id="15" name="Нижний колонтитул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3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23" name="Группа 22"/>
          <p:cNvGrpSpPr/>
          <p:nvPr/>
        </p:nvGrpSpPr>
        <p:grpSpPr>
          <a:xfrm>
            <a:off x="571500" y="978889"/>
            <a:ext cx="5485567" cy="3687725"/>
            <a:chOff x="567690" y="1198563"/>
            <a:chExt cx="3524250" cy="3273906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60EA166F-E096-4E1C-8EF6-1F6149C14C3E}"/>
                </a:ext>
              </a:extLst>
            </p:cNvPr>
            <p:cNvSpPr/>
            <p:nvPr/>
          </p:nvSpPr>
          <p:spPr>
            <a:xfrm>
              <a:off x="571501" y="1198563"/>
              <a:ext cx="3516312" cy="3273906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89FF7DA5-FD96-4AAB-A99C-B407016E3A8B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Группа 27"/>
          <p:cNvGrpSpPr/>
          <p:nvPr/>
        </p:nvGrpSpPr>
        <p:grpSpPr>
          <a:xfrm>
            <a:off x="6173360" y="978856"/>
            <a:ext cx="5467778" cy="3668085"/>
            <a:chOff x="8097838" y="1198563"/>
            <a:chExt cx="3524250" cy="3338710"/>
          </a:xfrm>
        </p:grpSpPr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5F8F9EBA-9210-317F-7743-2B7FAC5A456A}"/>
                </a:ext>
              </a:extLst>
            </p:cNvPr>
            <p:cNvSpPr/>
            <p:nvPr/>
          </p:nvSpPr>
          <p:spPr>
            <a:xfrm>
              <a:off x="8101649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66" name="Прямая соединительная линия 65">
              <a:extLst>
                <a:ext uri="{FF2B5EF4-FFF2-40B4-BE49-F238E27FC236}">
                  <a16:creationId xmlns:a16="http://schemas.microsoft.com/office/drawing/2014/main" id="{197C3C89-99FF-8E43-EDD8-7C5512CD0E27}"/>
                </a:ext>
              </a:extLst>
            </p:cNvPr>
            <p:cNvCxnSpPr>
              <a:cxnSpLocks/>
            </p:cNvCxnSpPr>
            <p:nvPr/>
          </p:nvCxnSpPr>
          <p:spPr>
            <a:xfrm>
              <a:off x="8097838" y="1198563"/>
              <a:ext cx="352425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Группа 42"/>
          <p:cNvGrpSpPr/>
          <p:nvPr/>
        </p:nvGrpSpPr>
        <p:grpSpPr>
          <a:xfrm rot="5400000">
            <a:off x="5933846" y="4633657"/>
            <a:ext cx="327483" cy="489098"/>
            <a:chOff x="1988287" y="4667693"/>
            <a:chExt cx="1541722" cy="1222744"/>
          </a:xfrm>
        </p:grpSpPr>
        <p:sp>
          <p:nvSpPr>
            <p:cNvPr id="44" name="Шеврон 43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5" name="Шеврон 44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72" name="Группа 71"/>
          <p:cNvGrpSpPr/>
          <p:nvPr/>
        </p:nvGrpSpPr>
        <p:grpSpPr>
          <a:xfrm rot="5400000">
            <a:off x="3065129" y="4639578"/>
            <a:ext cx="327483" cy="489098"/>
            <a:chOff x="1988287" y="4667693"/>
            <a:chExt cx="1541722" cy="1222744"/>
          </a:xfrm>
        </p:grpSpPr>
        <p:sp>
          <p:nvSpPr>
            <p:cNvPr id="73" name="Шеврон 72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74" name="Шеврон 73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75" name="Группа 74"/>
          <p:cNvGrpSpPr/>
          <p:nvPr/>
        </p:nvGrpSpPr>
        <p:grpSpPr>
          <a:xfrm rot="5400000">
            <a:off x="9217233" y="4626209"/>
            <a:ext cx="327483" cy="489098"/>
            <a:chOff x="1988287" y="4667693"/>
            <a:chExt cx="1541722" cy="1222744"/>
          </a:xfrm>
        </p:grpSpPr>
        <p:sp>
          <p:nvSpPr>
            <p:cNvPr id="76" name="Шеврон 75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7" name="Шеврон 76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pic>
        <p:nvPicPr>
          <p:cNvPr id="29" name="Рисунок 28"/>
          <p:cNvPicPr>
            <a:picLocks noChangeAspect="1"/>
          </p:cNvPicPr>
          <p:nvPr/>
        </p:nvPicPr>
        <p:blipFill>
          <a:blip r:embed="rId7"/>
          <a:srcRect t="1694" b="1694"/>
          <a:stretch>
            <a:fillRect/>
          </a:stretch>
        </p:blipFill>
        <p:spPr>
          <a:xfrm>
            <a:off x="605073" y="1094241"/>
            <a:ext cx="5402263" cy="3399973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8"/>
          <a:srcRect l="-352" t="11640" r="-352" b="11640"/>
          <a:stretch/>
        </p:blipFill>
        <p:spPr>
          <a:xfrm>
            <a:off x="6173361" y="1100475"/>
            <a:ext cx="5448728" cy="3373544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15FDD160-C4DE-70D1-ACD9-153E30F60DE5}"/>
              </a:ext>
            </a:extLst>
          </p:cNvPr>
          <p:cNvSpPr txBox="1"/>
          <p:nvPr/>
        </p:nvSpPr>
        <p:spPr>
          <a:xfrm>
            <a:off x="2923116" y="5532784"/>
            <a:ext cx="871161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ru-RU" sz="1400" b="1" dirty="0" smtClean="0">
                <a:cs typeface="Calibri" panose="020F0502020204030204" pitchFamily="34" charset="0"/>
              </a:rPr>
              <a:t>«Живые фото» товара с нанесенной этикеткой;</a:t>
            </a: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ru-RU" sz="1400" b="1" dirty="0" smtClean="0">
                <a:cs typeface="Calibri" panose="020F0502020204030204" pitchFamily="34" charset="0"/>
              </a:rPr>
              <a:t>Маркировка для потребителя хорошо читается;</a:t>
            </a: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ru-RU" sz="1400" b="1" dirty="0" smtClean="0">
                <a:cs typeface="Calibri" panose="020F0502020204030204" pitchFamily="34" charset="0"/>
              </a:rPr>
              <a:t>Фото </a:t>
            </a:r>
            <a:r>
              <a:rPr lang="ru-RU" sz="1400" b="1" dirty="0">
                <a:cs typeface="Calibri" panose="020F0502020204030204" pitchFamily="34" charset="0"/>
              </a:rPr>
              <a:t>со всех сторон, где есть текст;</a:t>
            </a: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ru-RU" sz="1400" b="1" dirty="0">
                <a:cs typeface="Calibri" panose="020F0502020204030204" pitchFamily="34" charset="0"/>
              </a:rPr>
              <a:t>Дата изготовления и срок годности нанесены техническим способом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CC9E6C5-0F21-4354-D8A0-12FF36F4A135}"/>
              </a:ext>
            </a:extLst>
          </p:cNvPr>
          <p:cNvSpPr txBox="1"/>
          <p:nvPr/>
        </p:nvSpPr>
        <p:spPr>
          <a:xfrm>
            <a:off x="3228871" y="5199029"/>
            <a:ext cx="4236177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defRPr/>
            </a:pPr>
            <a:r>
              <a:rPr lang="ru-RU" b="1" dirty="0"/>
              <a:t>Верные фото</a:t>
            </a:r>
            <a:r>
              <a:rPr lang="ru-RU" dirty="0"/>
              <a:t>: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812F06A2-4F53-4CD8-86D6-53F382EEC7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>
            <a:off x="8578894" y="5553366"/>
            <a:ext cx="564923" cy="564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366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89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2264B0-4980-4D78-9E65-92E1A1354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337197"/>
            <a:ext cx="9319923" cy="677108"/>
          </a:xfrm>
        </p:spPr>
        <p:txBody>
          <a:bodyPr vert="horz"/>
          <a:lstStyle/>
          <a:p>
            <a:r>
              <a:rPr lang="ru-RU" altLang="ru-RU" dirty="0">
                <a:solidFill>
                  <a:schemeClr val="tx1"/>
                </a:solidFill>
              </a:rPr>
              <a:t>Документы для продукции с отличительными признаками</a:t>
            </a:r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DF764791-913A-0162-52B2-7AE50171D5B0}"/>
              </a:ext>
            </a:extLst>
          </p:cNvPr>
          <p:cNvGrpSpPr/>
          <p:nvPr/>
        </p:nvGrpSpPr>
        <p:grpSpPr>
          <a:xfrm>
            <a:off x="501528" y="4701436"/>
            <a:ext cx="11224804" cy="1846908"/>
            <a:chOff x="575959" y="1198559"/>
            <a:chExt cx="3511853" cy="3338715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9BEACD4B-B366-28B5-6839-21C088CAB58D}"/>
                </a:ext>
              </a:extLst>
            </p:cNvPr>
            <p:cNvSpPr/>
            <p:nvPr/>
          </p:nvSpPr>
          <p:spPr>
            <a:xfrm>
              <a:off x="575959" y="1198563"/>
              <a:ext cx="3511853" cy="3338711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b="1" dirty="0">
                <a:latin typeface="+mj-lt"/>
              </a:endParaRPr>
            </a:p>
          </p:txBody>
        </p: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8C3B4C8E-67A1-6C47-EA60-C425F7FA1F30}"/>
                </a:ext>
              </a:extLst>
            </p:cNvPr>
            <p:cNvCxnSpPr>
              <a:cxnSpLocks/>
            </p:cNvCxnSpPr>
            <p:nvPr/>
          </p:nvCxnSpPr>
          <p:spPr>
            <a:xfrm>
              <a:off x="575959" y="1198559"/>
              <a:ext cx="3511853" cy="4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2AA80E8-6F48-702B-EFF5-16755664ABA1}"/>
              </a:ext>
            </a:extLst>
          </p:cNvPr>
          <p:cNvSpPr txBox="1"/>
          <p:nvPr/>
        </p:nvSpPr>
        <p:spPr>
          <a:xfrm>
            <a:off x="571500" y="4699793"/>
            <a:ext cx="11154832" cy="2123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  <a:buClr>
                <a:srgbClr val="2FCBFF"/>
              </a:buClr>
              <a:defRPr/>
            </a:pPr>
            <a:r>
              <a:rPr lang="ru-RU" altLang="ru-RU" sz="1600" b="1" dirty="0" smtClean="0"/>
              <a:t>Сертификат о соответствии</a:t>
            </a:r>
          </a:p>
          <a:p>
            <a:pPr algn="just">
              <a:spcAft>
                <a:spcPts val="300"/>
              </a:spcAft>
              <a:buClr>
                <a:srgbClr val="2FCBFF"/>
              </a:buClr>
              <a:defRPr/>
            </a:pPr>
            <a:r>
              <a:rPr lang="ru-RU" altLang="ru-RU" sz="1200" dirty="0"/>
              <a:t>Добровольное подтверждение соответствия производства органической продукции осуществляется аккредитованными органами </a:t>
            </a:r>
            <a:endParaRPr lang="ru-RU" altLang="ru-RU" sz="1200" dirty="0" smtClean="0"/>
          </a:p>
          <a:p>
            <a:pPr algn="just">
              <a:spcAft>
                <a:spcPts val="300"/>
              </a:spcAft>
              <a:buClr>
                <a:srgbClr val="2FCBFF"/>
              </a:buClr>
              <a:defRPr/>
            </a:pPr>
            <a:r>
              <a:rPr lang="ru-RU" altLang="ru-RU" sz="1200" dirty="0" smtClean="0"/>
              <a:t>по </a:t>
            </a:r>
            <a:r>
              <a:rPr lang="ru-RU" altLang="ru-RU" sz="1200" dirty="0"/>
              <a:t>сертификации, которые выдают сертификат соответствия производства органической </a:t>
            </a:r>
            <a:r>
              <a:rPr lang="ru-RU" altLang="ru-RU" sz="1200" dirty="0" smtClean="0"/>
              <a:t>продукции</a:t>
            </a:r>
          </a:p>
          <a:p>
            <a:pPr>
              <a:spcAft>
                <a:spcPts val="300"/>
              </a:spcAft>
              <a:buClr>
                <a:srgbClr val="2FCBFF"/>
              </a:buClr>
              <a:defRPr/>
            </a:pPr>
            <a:r>
              <a:rPr lang="ru-RU" altLang="ru-RU" sz="1600" b="1" dirty="0"/>
              <a:t>ФЗ от 03.08.2018 N 280-ФЗ «Об органической продукции»: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ru-RU" altLang="ru-RU" sz="1200" dirty="0"/>
              <a:t>слово «органический», его сокращения или производные; 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ru-RU" altLang="ru-RU" sz="1200" dirty="0"/>
              <a:t>указание на то, что продукция получена методом органического производства;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ru-RU" altLang="ru-RU" sz="1200" dirty="0"/>
              <a:t>слова «биодинамический», «биологический», «экологический», «экологически чистый», «зелёный» или сходные слова, их сокращения либо обозначения «эко», «био» - </a:t>
            </a:r>
            <a:r>
              <a:rPr lang="ru-RU" altLang="ru-RU" sz="1200" b="1" dirty="0"/>
              <a:t>с 1 сентября 2025г</a:t>
            </a:r>
            <a:r>
              <a:rPr lang="ru-RU" altLang="ru-RU" sz="1200" b="1" dirty="0" smtClean="0"/>
              <a:t>.??????????</a:t>
            </a:r>
          </a:p>
          <a:p>
            <a:pPr algn="just"/>
            <a:endParaRPr lang="ru-RU" altLang="ru-RU" sz="1200" b="1" dirty="0"/>
          </a:p>
          <a:p>
            <a:pPr indent="-171450" algn="just">
              <a:spcAft>
                <a:spcPts val="300"/>
              </a:spcAft>
              <a:buClr>
                <a:srgbClr val="2FCBFF"/>
              </a:buClr>
              <a:buFont typeface="Wingdings" panose="05000000000000000000" pitchFamily="2" charset="2"/>
              <a:buChar char="ü"/>
              <a:defRPr/>
            </a:pPr>
            <a:endParaRPr lang="ru-RU" altLang="ru-RU" sz="1200" dirty="0"/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CDB9BFF3-13CE-B7EF-1A83-2989BDD8701C}"/>
              </a:ext>
            </a:extLst>
          </p:cNvPr>
          <p:cNvCxnSpPr>
            <a:cxnSpLocks/>
          </p:cNvCxnSpPr>
          <p:nvPr/>
        </p:nvCxnSpPr>
        <p:spPr>
          <a:xfrm>
            <a:off x="501528" y="1317014"/>
            <a:ext cx="543306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1B7530CB-7648-C8D9-8696-57B28ECAC10F}"/>
              </a:ext>
            </a:extLst>
          </p:cNvPr>
          <p:cNvCxnSpPr>
            <a:cxnSpLocks/>
          </p:cNvCxnSpPr>
          <p:nvPr/>
        </p:nvCxnSpPr>
        <p:spPr>
          <a:xfrm flipV="1">
            <a:off x="6252828" y="1306160"/>
            <a:ext cx="5473504" cy="10854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344E1-0F76-4023-B180-E4B0CE5660A5}" type="slidenum">
              <a:rPr lang="en-US" smtClean="0">
                <a:solidFill>
                  <a:schemeClr val="tx1"/>
                </a:solidFill>
              </a:rPr>
              <a:pPr/>
              <a:t>18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4"/>
          </p:nvPr>
        </p:nvSpPr>
        <p:spPr>
          <a:xfrm>
            <a:off x="501528" y="1371102"/>
            <a:ext cx="5426294" cy="3192431"/>
          </a:xfrm>
          <a:noFill/>
        </p:spPr>
      </p:sp>
      <p:pic>
        <p:nvPicPr>
          <p:cNvPr id="20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324" y="2527181"/>
            <a:ext cx="1838130" cy="1563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534" y="1815765"/>
            <a:ext cx="1523455" cy="1215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92957" y="1829492"/>
            <a:ext cx="1413041" cy="1395378"/>
          </a:xfrm>
          <a:prstGeom prst="rect">
            <a:avLst/>
          </a:prstGeom>
        </p:spPr>
      </p:pic>
      <p:sp>
        <p:nvSpPr>
          <p:cNvPr id="25" name="Рисунок 24"/>
          <p:cNvSpPr>
            <a:spLocks noGrp="1"/>
          </p:cNvSpPr>
          <p:nvPr>
            <p:ph type="pic" sz="quarter" idx="15"/>
          </p:nvPr>
        </p:nvSpPr>
        <p:spPr>
          <a:xfrm>
            <a:off x="6252828" y="1380045"/>
            <a:ext cx="5473504" cy="3219818"/>
          </a:xfrm>
          <a:noFill/>
          <a:ln>
            <a:noFill/>
          </a:ln>
        </p:spPr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09901" y="1433251"/>
            <a:ext cx="3141271" cy="3168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55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/>
          <a:srcRect l="-920" t="-58500" r="-920" b="-58500"/>
          <a:stretch/>
        </p:blipFill>
        <p:spPr>
          <a:xfrm>
            <a:off x="384811" y="1051044"/>
            <a:ext cx="5598918" cy="3638745"/>
          </a:xfrm>
          <a:prstGeom prst="rect">
            <a:avLst/>
          </a:prstGeom>
          <a:noFill/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1" name="Слайд think-cell" r:id="rId6" imgW="395" imgH="396" progId="TCLayout.ActiveDocument.1">
                  <p:embed/>
                </p:oleObj>
              </mc:Choice>
              <mc:Fallback>
                <p:oleObj name="Слайд think-cell" r:id="rId6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2264B0-4980-4D78-9E65-92E1A1354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12380"/>
            <a:ext cx="8477250" cy="677108"/>
          </a:xfrm>
        </p:spPr>
        <p:txBody>
          <a:bodyPr vert="horz"/>
          <a:lstStyle/>
          <a:p>
            <a:r>
              <a:rPr lang="ru-RU" altLang="ru-RU" dirty="0">
                <a:solidFill>
                  <a:schemeClr val="tx1"/>
                </a:solidFill>
              </a:rPr>
              <a:t>Документы для продукции с отличительными признаками</a:t>
            </a:r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DF764791-913A-0162-52B2-7AE50171D5B0}"/>
              </a:ext>
            </a:extLst>
          </p:cNvPr>
          <p:cNvGrpSpPr/>
          <p:nvPr/>
        </p:nvGrpSpPr>
        <p:grpSpPr>
          <a:xfrm>
            <a:off x="384811" y="4768681"/>
            <a:ext cx="11377086" cy="1621234"/>
            <a:chOff x="574647" y="854971"/>
            <a:chExt cx="3513165" cy="3828007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9BEACD4B-B366-28B5-6839-21C088CAB58D}"/>
                </a:ext>
              </a:extLst>
            </p:cNvPr>
            <p:cNvSpPr/>
            <p:nvPr/>
          </p:nvSpPr>
          <p:spPr>
            <a:xfrm>
              <a:off x="575959" y="1042158"/>
              <a:ext cx="3511853" cy="364082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b="1" dirty="0">
                <a:latin typeface="+mj-lt"/>
              </a:endParaRPr>
            </a:p>
          </p:txBody>
        </p: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8C3B4C8E-67A1-6C47-EA60-C425F7FA1F30}"/>
                </a:ext>
              </a:extLst>
            </p:cNvPr>
            <p:cNvCxnSpPr>
              <a:cxnSpLocks/>
            </p:cNvCxnSpPr>
            <p:nvPr/>
          </p:nvCxnSpPr>
          <p:spPr>
            <a:xfrm>
              <a:off x="574647" y="854971"/>
              <a:ext cx="3511853" cy="4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CDB9BFF3-13CE-B7EF-1A83-2989BDD8701C}"/>
              </a:ext>
            </a:extLst>
          </p:cNvPr>
          <p:cNvCxnSpPr>
            <a:cxnSpLocks/>
          </p:cNvCxnSpPr>
          <p:nvPr/>
        </p:nvCxnSpPr>
        <p:spPr>
          <a:xfrm>
            <a:off x="384811" y="1207305"/>
            <a:ext cx="5598918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1B7530CB-7648-C8D9-8696-57B28ECAC10F}"/>
              </a:ext>
            </a:extLst>
          </p:cNvPr>
          <p:cNvCxnSpPr>
            <a:cxnSpLocks/>
          </p:cNvCxnSpPr>
          <p:nvPr/>
        </p:nvCxnSpPr>
        <p:spPr>
          <a:xfrm>
            <a:off x="6191250" y="1207305"/>
            <a:ext cx="5570647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344E1-0F76-4023-B180-E4B0CE5660A5}" type="slidenum">
              <a:rPr lang="en-US" smtClean="0">
                <a:solidFill>
                  <a:schemeClr val="tx1"/>
                </a:solidFill>
              </a:rPr>
              <a:pPr/>
              <a:t>19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68087" y="4811434"/>
            <a:ext cx="11289561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Сертификат соответствия «Халяль» </a:t>
            </a:r>
            <a:r>
              <a:rPr lang="ru-RU" sz="1400" dirty="0"/>
              <a:t>— это документ, подтверждающий, что продукция или услуга соответствуют требованиям исламских норм.</a:t>
            </a:r>
          </a:p>
          <a:p>
            <a:r>
              <a:rPr lang="ru-RU" sz="1400" dirty="0"/>
              <a:t>Может проводиться в </a:t>
            </a:r>
            <a:r>
              <a:rPr lang="ru-RU" sz="1400" dirty="0" smtClean="0"/>
              <a:t>отношении: продуктов </a:t>
            </a:r>
            <a:r>
              <a:rPr lang="ru-RU" sz="1400" dirty="0"/>
              <a:t>питания, парфюмерно-косметических товаров, чистящих и моющих средств, одежды, </a:t>
            </a:r>
            <a:r>
              <a:rPr lang="ru-RU" sz="1400" dirty="0" smtClean="0"/>
              <a:t>обуви.</a:t>
            </a:r>
          </a:p>
          <a:p>
            <a:r>
              <a:rPr lang="ru-RU" sz="1400" dirty="0" smtClean="0"/>
              <a:t>В </a:t>
            </a:r>
            <a:r>
              <a:rPr lang="ru-RU" sz="1400" dirty="0"/>
              <a:t>силу Федерального Закона от 27.12.2002 № 184-ФЗ "О техническом регулировании" добровольная сертификация проводится органом по </a:t>
            </a:r>
            <a:r>
              <a:rPr lang="ru-RU" sz="1400" dirty="0" smtClean="0"/>
              <a:t>сертификации, аккредитованными </a:t>
            </a:r>
            <a:r>
              <a:rPr lang="ru-RU" sz="1400" dirty="0"/>
              <a:t>в соответствии с законодательством РФ об аккредитации в национальной системе аккредитации</a:t>
            </a:r>
            <a:endParaRPr lang="ru-RU" altLang="ru-RU" sz="1400" dirty="0"/>
          </a:p>
        </p:txBody>
      </p:sp>
      <p:pic>
        <p:nvPicPr>
          <p:cNvPr id="23" name="Рисунок 22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/>
          <a:srcRect t="748" b="748"/>
          <a:stretch/>
        </p:blipFill>
        <p:spPr>
          <a:xfrm>
            <a:off x="6191250" y="1339248"/>
            <a:ext cx="5570647" cy="3163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000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6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126BD4-7026-48F1-B716-35B9F4737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52601"/>
            <a:ext cx="10002539" cy="419667"/>
          </a:xfrm>
        </p:spPr>
        <p:txBody>
          <a:bodyPr vert="horz"/>
          <a:lstStyle/>
          <a:p>
            <a:pPr>
              <a:lnSpc>
                <a:spcPts val="3749"/>
              </a:lnSpc>
            </a:pPr>
            <a:r>
              <a:rPr lang="ru-RU" altLang="ru-RU" dirty="0" smtClean="0"/>
              <a:t>Повестка встречи</a:t>
            </a:r>
            <a:endParaRPr lang="ru-RU" alt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46" name="Таблица 45"/>
          <p:cNvGraphicFramePr>
            <a:graphicFrameLocks noGrp="1"/>
          </p:cNvGraphicFramePr>
          <p:nvPr>
            <p:extLst/>
          </p:nvPr>
        </p:nvGraphicFramePr>
        <p:xfrm>
          <a:off x="571500" y="1081378"/>
          <a:ext cx="10819754" cy="5530887"/>
        </p:xfrm>
        <a:graphic>
          <a:graphicData uri="http://schemas.openxmlformats.org/drawingml/2006/table">
            <a:tbl>
              <a:tblPr firstRow="1" firstCol="1" bandRow="1"/>
              <a:tblGrid>
                <a:gridCol w="1604647">
                  <a:extLst>
                    <a:ext uri="{9D8B030D-6E8A-4147-A177-3AD203B41FA5}">
                      <a16:colId xmlns:a16="http://schemas.microsoft.com/office/drawing/2014/main" val="2823777263"/>
                    </a:ext>
                  </a:extLst>
                </a:gridCol>
                <a:gridCol w="5411425">
                  <a:extLst>
                    <a:ext uri="{9D8B030D-6E8A-4147-A177-3AD203B41FA5}">
                      <a16:colId xmlns:a16="http://schemas.microsoft.com/office/drawing/2014/main" val="646702942"/>
                    </a:ext>
                  </a:extLst>
                </a:gridCol>
                <a:gridCol w="3803682">
                  <a:extLst>
                    <a:ext uri="{9D8B030D-6E8A-4147-A177-3AD203B41FA5}">
                      <a16:colId xmlns:a16="http://schemas.microsoft.com/office/drawing/2014/main" val="597589295"/>
                    </a:ext>
                  </a:extLst>
                </a:gridCol>
              </a:tblGrid>
              <a:tr h="3199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Врем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Тема</a:t>
                      </a: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икер</a:t>
                      </a: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4254582"/>
                  </a:ext>
                </a:extLst>
              </a:tr>
              <a:tr h="6720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9.3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</a:rPr>
                        <a:t>Знакомство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Руководитель направления оценки качества </a:t>
                      </a:r>
                      <a:r>
                        <a:rPr lang="ru-RU" sz="1400" dirty="0" smtClean="0">
                          <a:effectLst/>
                          <a:latin typeface="+mn-lt"/>
                        </a:rPr>
                        <a:t>продукции Светлана </a:t>
                      </a:r>
                      <a:r>
                        <a:rPr lang="ru-RU" sz="1400" dirty="0">
                          <a:effectLst/>
                          <a:latin typeface="+mn-lt"/>
                        </a:rPr>
                        <a:t>Головнева 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469616"/>
                  </a:ext>
                </a:extLst>
              </a:tr>
              <a:tr h="11532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09.35 </a:t>
                      </a:r>
                      <a:r>
                        <a:rPr lang="ru-RU" sz="1400" dirty="0">
                          <a:effectLst/>
                        </a:rPr>
                        <a:t>– </a:t>
                      </a:r>
                      <a:r>
                        <a:rPr lang="ru-RU" sz="1400" dirty="0" smtClean="0">
                          <a:effectLst/>
                        </a:rPr>
                        <a:t>10.30 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«Как </a:t>
                      </a:r>
                      <a:r>
                        <a:rPr lang="ru-RU" sz="1400" b="1" dirty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пройти проверку маркировки и документов быстро и без проблем</a:t>
                      </a:r>
                      <a:r>
                        <a:rPr lang="ru-RU" sz="1400" b="1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?»</a:t>
                      </a:r>
                      <a:endParaRPr lang="ru-RU" sz="1400" b="1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Это точно не пройдёт!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Что не так с документами и фото? 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Всё бы хорошо, но есть ТОП 5 технических ошибок 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Менеджер по идентификации товаров Юлия Копчикова 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172053"/>
                  </a:ext>
                </a:extLst>
              </a:tr>
              <a:tr h="13441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0.30 – 11.3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«Как </a:t>
                      </a:r>
                      <a:r>
                        <a:rPr lang="ru-RU" sz="1400" b="1" dirty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пройти </a:t>
                      </a:r>
                      <a:r>
                        <a:rPr lang="ru-RU" sz="1400" b="1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аудит. Лайфхаки»</a:t>
                      </a:r>
                      <a:endParaRPr lang="ru-RU" sz="1400" b="1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Можно ли избежать аудита?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Аудит как возможность для развития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Что такое «критичное несоответствие»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Что делать, если аудит провален?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Лайфхаки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Ведущий эксперт-аудитор Ольга Афонина 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660369"/>
                  </a:ext>
                </a:extLst>
              </a:tr>
              <a:tr h="134412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indent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endParaRPr lang="ru-RU" sz="1400" b="1" kern="1200" dirty="0" smtClean="0">
                        <a:solidFill>
                          <a:schemeClr val="lt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0" lvl="0" indent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endParaRPr lang="ru-RU" sz="1400" b="1" kern="1200" dirty="0" smtClean="0">
                        <a:solidFill>
                          <a:schemeClr val="lt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0" lvl="0" indent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endParaRPr lang="ru-RU" sz="1400" b="1" kern="1200" dirty="0" smtClean="0">
                        <a:solidFill>
                          <a:schemeClr val="lt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0" lvl="0" indent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11.30 – 12.30</a:t>
                      </a:r>
                      <a:endParaRPr lang="ru-RU" sz="1400" b="1" kern="1200" dirty="0">
                        <a:solidFill>
                          <a:schemeClr val="lt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«Управляем </a:t>
                      </a:r>
                      <a:r>
                        <a:rPr lang="ru-RU" sz="1400" b="1" dirty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качеством вместе</a:t>
                      </a:r>
                      <a:r>
                        <a:rPr lang="ru-RU" sz="1400" b="1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?»</a:t>
                      </a:r>
                      <a:endParaRPr lang="ru-RU" sz="1400" b="1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На страже стандартов качества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Каждая жалоба покупателя важна! Путь от покупателя к производителю.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Что будет, если товар решил сыграть в игру «угадай, что внутри</a:t>
                      </a:r>
                      <a:r>
                        <a:rPr lang="ru-RU" sz="1400" dirty="0" smtClean="0">
                          <a:effectLst/>
                          <a:latin typeface="+mn-lt"/>
                        </a:rPr>
                        <a:t>»?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Менеджер по претензионной работе Юлия Ли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4063134"/>
                  </a:ext>
                </a:extLst>
              </a:tr>
              <a:tr h="6334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обенности в работе с товарами МультиМедиа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пециалист по претензионной работе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Ефимова Татьяна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3136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0416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39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5E65BD3A-6B9D-471D-969C-2EE841FDA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257185"/>
            <a:ext cx="8834893" cy="677108"/>
          </a:xfrm>
        </p:spPr>
        <p:txBody>
          <a:bodyPr vert="horz"/>
          <a:lstStyle/>
          <a:p>
            <a:r>
              <a:rPr lang="ru-RU" dirty="0">
                <a:solidFill>
                  <a:schemeClr val="tx1"/>
                </a:solidFill>
              </a:rPr>
              <a:t>Документы для подтверждения срока годности после вскрытия упаковки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5FFA8B8D-5D07-E4DF-CC97-C416C76C9FD0}"/>
              </a:ext>
            </a:extLst>
          </p:cNvPr>
          <p:cNvGrpSpPr/>
          <p:nvPr/>
        </p:nvGrpSpPr>
        <p:grpSpPr>
          <a:xfrm>
            <a:off x="433065" y="4353507"/>
            <a:ext cx="3523910" cy="1928232"/>
            <a:chOff x="567690" y="1198563"/>
            <a:chExt cx="3531864" cy="5083175"/>
          </a:xfrm>
          <a:noFill/>
        </p:grpSpPr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DF2B9CDC-F94B-FB2F-02AC-F3038E679E83}"/>
                </a:ext>
              </a:extLst>
            </p:cNvPr>
            <p:cNvSpPr/>
            <p:nvPr/>
          </p:nvSpPr>
          <p:spPr>
            <a:xfrm>
              <a:off x="571501" y="1198563"/>
              <a:ext cx="3528053" cy="5083175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DF8DA319-1AE4-BC93-DB7C-B329E9260E8C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grpFill/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92E98D2D-7006-CA57-E29A-1EEE79A6B897}"/>
              </a:ext>
            </a:extLst>
          </p:cNvPr>
          <p:cNvSpPr txBox="1"/>
          <p:nvPr/>
        </p:nvSpPr>
        <p:spPr>
          <a:xfrm>
            <a:off x="780666" y="5141964"/>
            <a:ext cx="282111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 defTabSz="685800" rtl="0" eaLnBrk="1" latinLnBrk="0" hangingPunct="1">
              <a:spcAft>
                <a:spcPts val="600"/>
              </a:spcAft>
            </a:pPr>
            <a:r>
              <a:rPr lang="ru-RU" sz="1600" b="1" dirty="0"/>
              <a:t>Экспертное Заключение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BF11C1EB-10BF-849D-D25F-9260A9807E81}"/>
              </a:ext>
            </a:extLst>
          </p:cNvPr>
          <p:cNvGrpSpPr/>
          <p:nvPr/>
        </p:nvGrpSpPr>
        <p:grpSpPr>
          <a:xfrm>
            <a:off x="4339430" y="4353507"/>
            <a:ext cx="3520115" cy="1928232"/>
            <a:chOff x="567690" y="1198563"/>
            <a:chExt cx="3528061" cy="5083175"/>
          </a:xfrm>
          <a:noFill/>
        </p:grpSpPr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B2E00E95-AF88-BE5A-6D87-A0226489CD49}"/>
                </a:ext>
              </a:extLst>
            </p:cNvPr>
            <p:cNvSpPr/>
            <p:nvPr/>
          </p:nvSpPr>
          <p:spPr>
            <a:xfrm>
              <a:off x="571501" y="1198563"/>
              <a:ext cx="3524250" cy="5083175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54A3AEAA-C42F-6570-2BFF-8BACAFB6FEDA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8061" cy="0"/>
            </a:xfrm>
            <a:prstGeom prst="line">
              <a:avLst/>
            </a:prstGeom>
            <a:grpFill/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16D540A4-2CAE-FC76-EC26-0F8ED6EB4C4D}"/>
              </a:ext>
            </a:extLst>
          </p:cNvPr>
          <p:cNvSpPr txBox="1"/>
          <p:nvPr/>
        </p:nvSpPr>
        <p:spPr>
          <a:xfrm>
            <a:off x="4686616" y="5146704"/>
            <a:ext cx="282111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spcAft>
                <a:spcPts val="600"/>
              </a:spcAft>
            </a:pPr>
            <a:r>
              <a:rPr lang="ru-RU" sz="1600" b="1" dirty="0"/>
              <a:t>Декларация о соответствии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F322942-7FF3-202D-FD7B-A87AD4E6E8E8}"/>
              </a:ext>
            </a:extLst>
          </p:cNvPr>
          <p:cNvGrpSpPr/>
          <p:nvPr/>
        </p:nvGrpSpPr>
        <p:grpSpPr>
          <a:xfrm>
            <a:off x="8101661" y="4353507"/>
            <a:ext cx="3516309" cy="1928232"/>
            <a:chOff x="563563" y="1198563"/>
            <a:chExt cx="3524250" cy="5083175"/>
          </a:xfrm>
          <a:noFill/>
        </p:grpSpPr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B5BD4C28-0B31-1897-D174-666352B59714}"/>
                </a:ext>
              </a:extLst>
            </p:cNvPr>
            <p:cNvSpPr/>
            <p:nvPr/>
          </p:nvSpPr>
          <p:spPr>
            <a:xfrm>
              <a:off x="571501" y="1198563"/>
              <a:ext cx="3516312" cy="5083175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0D1B16D0-22A3-43E8-3607-C7F67EA02978}"/>
                </a:ext>
              </a:extLst>
            </p:cNvPr>
            <p:cNvCxnSpPr>
              <a:cxnSpLocks/>
            </p:cNvCxnSpPr>
            <p:nvPr/>
          </p:nvCxnSpPr>
          <p:spPr>
            <a:xfrm>
              <a:off x="563563" y="1198563"/>
              <a:ext cx="3524250" cy="0"/>
            </a:xfrm>
            <a:prstGeom prst="line">
              <a:avLst/>
            </a:prstGeom>
            <a:grpFill/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366F1059-29A7-848F-C4BA-779E8DF3392C}"/>
              </a:ext>
            </a:extLst>
          </p:cNvPr>
          <p:cNvSpPr txBox="1"/>
          <p:nvPr/>
        </p:nvSpPr>
        <p:spPr>
          <a:xfrm>
            <a:off x="8448529" y="5238040"/>
            <a:ext cx="282111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 defTabSz="685800" rtl="0" eaLnBrk="1" latinLnBrk="0" hangingPunct="1">
              <a:spcAft>
                <a:spcPts val="600"/>
              </a:spcAft>
            </a:pPr>
            <a:r>
              <a:rPr lang="ru-RU" sz="1600" b="1" dirty="0"/>
              <a:t>Протокол испытаний с заключением</a:t>
            </a:r>
          </a:p>
        </p:txBody>
      </p:sp>
      <p:sp>
        <p:nvSpPr>
          <p:cNvPr id="64" name="Овал 63">
            <a:extLst>
              <a:ext uri="{FF2B5EF4-FFF2-40B4-BE49-F238E27FC236}">
                <a16:creationId xmlns:a16="http://schemas.microsoft.com/office/drawing/2014/main" id="{DFE881A6-FD77-42A2-8D21-62CC5EA1506C}"/>
              </a:ext>
            </a:extLst>
          </p:cNvPr>
          <p:cNvSpPr/>
          <p:nvPr/>
        </p:nvSpPr>
        <p:spPr>
          <a:xfrm>
            <a:off x="5748435" y="4215862"/>
            <a:ext cx="698934" cy="700651"/>
          </a:xfrm>
          <a:prstGeom prst="ellipse">
            <a:avLst/>
          </a:prstGeom>
          <a:solidFill>
            <a:schemeClr val="bg1">
              <a:alpha val="95000"/>
            </a:schemeClr>
          </a:solidFill>
          <a:ln w="1111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11100118" y="6538182"/>
            <a:ext cx="521970" cy="215444"/>
          </a:xfrm>
        </p:spPr>
        <p:txBody>
          <a:bodyPr/>
          <a:lstStyle/>
          <a:p>
            <a:fld id="{766344E1-0F76-4023-B180-E4B0CE5660A5}" type="slidenum">
              <a:rPr lang="en-US" smtClean="0">
                <a:solidFill>
                  <a:schemeClr val="tx1"/>
                </a:solidFill>
              </a:rPr>
              <a:pPr/>
              <a:t>20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3572A86D-59F5-49D4-90F7-BB88742A588C}"/>
              </a:ext>
            </a:extLst>
          </p:cNvPr>
          <p:cNvSpPr/>
          <p:nvPr/>
        </p:nvSpPr>
        <p:spPr>
          <a:xfrm>
            <a:off x="1841754" y="4244970"/>
            <a:ext cx="698934" cy="700651"/>
          </a:xfrm>
          <a:prstGeom prst="ellipse">
            <a:avLst/>
          </a:prstGeom>
          <a:solidFill>
            <a:schemeClr val="bg1">
              <a:alpha val="95000"/>
            </a:schemeClr>
          </a:solidFill>
          <a:ln w="1111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69" name="Овал 68">
            <a:extLst>
              <a:ext uri="{FF2B5EF4-FFF2-40B4-BE49-F238E27FC236}">
                <a16:creationId xmlns:a16="http://schemas.microsoft.com/office/drawing/2014/main" id="{CEE8E9A7-A322-472A-88A4-19809D7F90F7}"/>
              </a:ext>
            </a:extLst>
          </p:cNvPr>
          <p:cNvSpPr/>
          <p:nvPr/>
        </p:nvSpPr>
        <p:spPr>
          <a:xfrm>
            <a:off x="9541203" y="4220677"/>
            <a:ext cx="698934" cy="700651"/>
          </a:xfrm>
          <a:prstGeom prst="ellipse">
            <a:avLst/>
          </a:prstGeom>
          <a:solidFill>
            <a:schemeClr val="bg1">
              <a:alpha val="95000"/>
            </a:schemeClr>
          </a:solidFill>
          <a:ln w="1111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812F06A2-4F53-4CD8-86D6-53F382EEC7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>
            <a:off x="1908759" y="4281024"/>
            <a:ext cx="564923" cy="564923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812F06A2-4F53-4CD8-86D6-53F382EEC7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>
            <a:off x="5815126" y="4253365"/>
            <a:ext cx="564923" cy="564923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812F06A2-4F53-4CD8-86D6-53F382EEC7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>
            <a:off x="9608208" y="4253365"/>
            <a:ext cx="564923" cy="56492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250552" y="1573393"/>
            <a:ext cx="3461245" cy="242766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039048" y="2290513"/>
            <a:ext cx="3578922" cy="149517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157319" y="1914878"/>
            <a:ext cx="3089413" cy="34294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52706" y="1494069"/>
            <a:ext cx="3811822" cy="249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967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2400" y="3182779"/>
            <a:ext cx="6172201" cy="492443"/>
          </a:xfrm>
        </p:spPr>
        <p:txBody>
          <a:bodyPr/>
          <a:lstStyle/>
          <a:p>
            <a:r>
              <a:rPr lang="ru-RU" dirty="0" smtClean="0"/>
              <a:t>Вопросы </a:t>
            </a:r>
            <a:r>
              <a:rPr lang="ru-RU" dirty="0"/>
              <a:t>- ответы</a:t>
            </a:r>
          </a:p>
        </p:txBody>
      </p:sp>
    </p:spTree>
    <p:extLst>
      <p:ext uri="{BB962C8B-B14F-4D97-AF65-F5344CB8AC3E}">
        <p14:creationId xmlns:p14="http://schemas.microsoft.com/office/powerpoint/2010/main" val="253168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2400" y="2690337"/>
            <a:ext cx="7323245" cy="1477328"/>
          </a:xfrm>
        </p:spPr>
        <p:txBody>
          <a:bodyPr/>
          <a:lstStyle/>
          <a:p>
            <a:r>
              <a:rPr lang="ru-RU" dirty="0" smtClean="0"/>
              <a:t>Всё </a:t>
            </a:r>
            <a:r>
              <a:rPr lang="ru-RU" dirty="0"/>
              <a:t>бы хорошо, но есть ТОП 5 технических ошибок </a:t>
            </a:r>
          </a:p>
        </p:txBody>
      </p:sp>
    </p:spTree>
    <p:extLst>
      <p:ext uri="{BB962C8B-B14F-4D97-AF65-F5344CB8AC3E}">
        <p14:creationId xmlns:p14="http://schemas.microsoft.com/office/powerpoint/2010/main" val="1936904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78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E94498-9B8F-47F5-B838-1D9743A4D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677108"/>
          </a:xfrm>
        </p:spPr>
        <p:txBody>
          <a:bodyPr vert="horz"/>
          <a:lstStyle/>
          <a:p>
            <a:r>
              <a:rPr lang="ru-RU" dirty="0"/>
              <a:t>О</a:t>
            </a:r>
            <a:r>
              <a:rPr lang="ru-RU" dirty="0" smtClean="0"/>
              <a:t>бязательные для заполнения графы для ОК </a:t>
            </a:r>
            <a:br>
              <a:rPr lang="ru-RU" dirty="0" smtClean="0"/>
            </a:br>
            <a:r>
              <a:rPr lang="ru-RU" dirty="0" smtClean="0"/>
              <a:t>на Портале Поставщика</a:t>
            </a:r>
            <a:endParaRPr lang="ru-RU" dirty="0"/>
          </a:p>
        </p:txBody>
      </p:sp>
      <p:graphicFrame>
        <p:nvGraphicFramePr>
          <p:cNvPr id="11" name="Таблица 18">
            <a:extLst>
              <a:ext uri="{FF2B5EF4-FFF2-40B4-BE49-F238E27FC236}">
                <a16:creationId xmlns:a16="http://schemas.microsoft.com/office/drawing/2014/main" id="{BF7D597D-A2F6-4367-A36F-E86636B11D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6112705"/>
              </p:ext>
            </p:extLst>
          </p:nvPr>
        </p:nvGraphicFramePr>
        <p:xfrm>
          <a:off x="507431" y="1051769"/>
          <a:ext cx="11173035" cy="52013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62705">
                  <a:extLst>
                    <a:ext uri="{9D8B030D-6E8A-4147-A177-3AD203B41FA5}">
                      <a16:colId xmlns:a16="http://schemas.microsoft.com/office/drawing/2014/main" val="2052779202"/>
                    </a:ext>
                  </a:extLst>
                </a:gridCol>
                <a:gridCol w="2711394">
                  <a:extLst>
                    <a:ext uri="{9D8B030D-6E8A-4147-A177-3AD203B41FA5}">
                      <a16:colId xmlns:a16="http://schemas.microsoft.com/office/drawing/2014/main" val="78735721"/>
                    </a:ext>
                  </a:extLst>
                </a:gridCol>
                <a:gridCol w="2727298">
                  <a:extLst>
                    <a:ext uri="{9D8B030D-6E8A-4147-A177-3AD203B41FA5}">
                      <a16:colId xmlns:a16="http://schemas.microsoft.com/office/drawing/2014/main" val="4268556142"/>
                    </a:ext>
                  </a:extLst>
                </a:gridCol>
                <a:gridCol w="2671638">
                  <a:extLst>
                    <a:ext uri="{9D8B030D-6E8A-4147-A177-3AD203B41FA5}">
                      <a16:colId xmlns:a16="http://schemas.microsoft.com/office/drawing/2014/main" val="3417236482"/>
                    </a:ext>
                  </a:extLst>
                </a:gridCol>
              </a:tblGrid>
              <a:tr h="641859"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веде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ак выглядит?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орректное</a:t>
                      </a:r>
                      <a:r>
                        <a:rPr lang="ru-RU" sz="1200" b="1" kern="1200" baseline="0" noProof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заполнение</a:t>
                      </a:r>
                      <a:endParaRPr lang="ru-RU" sz="1200" b="1" kern="12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Некорректное</a:t>
                      </a:r>
                      <a:r>
                        <a:rPr lang="ru-RU" sz="1200" b="1" kern="1200" baseline="0" noProof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заполнение</a:t>
                      </a:r>
                      <a:endParaRPr lang="ru-RU" sz="1200" b="1" kern="12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225686"/>
                  </a:ext>
                </a:extLst>
              </a:tr>
              <a:tr h="10483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сутствует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ли товар в других сетях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ru-RU" sz="16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546792"/>
                  </a:ext>
                </a:extLst>
              </a:tr>
              <a:tr h="95415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ловия хранения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0265967"/>
                  </a:ext>
                </a:extLst>
              </a:tr>
              <a:tr h="95876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омер нормативного документа качества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8552207"/>
                  </a:ext>
                </a:extLst>
              </a:tr>
              <a:tr h="77922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смотр документов качества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324757"/>
                  </a:ext>
                </a:extLst>
              </a:tr>
              <a:tr h="81898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то и этикетка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0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0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вложить хорошо читаемые фото маркировки со всех сторон, где есть текст, описание</a:t>
                      </a:r>
                      <a:r>
                        <a:rPr lang="ru-RU" sz="1100" b="0" kern="1200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не требуется</a:t>
                      </a:r>
                      <a:endParaRPr lang="ru-RU" sz="1100" b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0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0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фото не читаемо в части информации для потребителя</a:t>
                      </a:r>
                      <a:endParaRPr lang="ru-RU" sz="1100" b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6721887"/>
                  </a:ext>
                </a:extLst>
              </a:tr>
            </a:tbl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11334293" y="6459134"/>
            <a:ext cx="521970" cy="215444"/>
          </a:xfrm>
        </p:spPr>
        <p:txBody>
          <a:bodyPr/>
          <a:lstStyle/>
          <a:p>
            <a:fld id="{766344E1-0F76-4023-B180-E4B0CE5660A5}" type="slidenum">
              <a:rPr lang="en-US" sz="1400" b="1">
                <a:latin typeface="+mj-lt"/>
              </a:rPr>
              <a:pPr/>
              <a:t>23</a:t>
            </a:fld>
            <a:endParaRPr lang="en-US" sz="1400" b="1" dirty="0">
              <a:latin typeface="+mj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82352" y="2835946"/>
            <a:ext cx="1812897" cy="74838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0572" y="3832782"/>
            <a:ext cx="1812897" cy="70524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11447" y="4785293"/>
            <a:ext cx="1871145" cy="58973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53227" y="5581010"/>
            <a:ext cx="1842022" cy="63100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86402" y="1710043"/>
            <a:ext cx="2077154" cy="97705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16763" y="1716443"/>
            <a:ext cx="1810495" cy="92275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15337" y="2893081"/>
            <a:ext cx="1981242" cy="75938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172430" y="2770566"/>
            <a:ext cx="2066139" cy="79898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76708" y="4767872"/>
            <a:ext cx="2257585" cy="586552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86402" y="4767872"/>
            <a:ext cx="2131355" cy="59497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152400" y="3832273"/>
            <a:ext cx="1585931" cy="771787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415337" y="3858441"/>
            <a:ext cx="1617208" cy="687764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053227" y="1909136"/>
            <a:ext cx="1850716" cy="8001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759645" y="4989436"/>
            <a:ext cx="1315320" cy="183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4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0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D68EB34-ED57-0EA6-A021-937295937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638" y="417278"/>
            <a:ext cx="9974580" cy="338554"/>
          </a:xfrm>
        </p:spPr>
        <p:txBody>
          <a:bodyPr vert="horz"/>
          <a:lstStyle/>
          <a:p>
            <a:r>
              <a:rPr lang="ru-RU" dirty="0"/>
              <a:t>Портал поставщи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2055" y="5210002"/>
            <a:ext cx="2077154" cy="97705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500" y="1232210"/>
            <a:ext cx="10465712" cy="4024200"/>
          </a:xfrm>
          <a:prstGeom prst="rect">
            <a:avLst/>
          </a:prstGeom>
        </p:spPr>
      </p:pic>
      <p:grpSp>
        <p:nvGrpSpPr>
          <p:cNvPr id="33" name="Рисунок 57">
            <a:extLst>
              <a:ext uri="{FF2B5EF4-FFF2-40B4-BE49-F238E27FC236}">
                <a16:creationId xmlns:a16="http://schemas.microsoft.com/office/drawing/2014/main" id="{E53408C5-6B78-40D9-8B63-CB6A78DD3C54}"/>
              </a:ext>
            </a:extLst>
          </p:cNvPr>
          <p:cNvGrpSpPr/>
          <p:nvPr/>
        </p:nvGrpSpPr>
        <p:grpSpPr>
          <a:xfrm>
            <a:off x="5823519" y="5470214"/>
            <a:ext cx="548137" cy="525148"/>
            <a:chOff x="5256546" y="3389267"/>
            <a:chExt cx="548137" cy="525148"/>
          </a:xfrm>
          <a:solidFill>
            <a:schemeClr val="tx1"/>
          </a:solidFill>
        </p:grpSpPr>
        <p:sp>
          <p:nvSpPr>
            <p:cNvPr id="34" name="Полилиния: фигура 198">
              <a:extLst>
                <a:ext uri="{FF2B5EF4-FFF2-40B4-BE49-F238E27FC236}">
                  <a16:creationId xmlns:a16="http://schemas.microsoft.com/office/drawing/2014/main" id="{4A5FCFAF-3ACE-41F6-AB4A-07A291843941}"/>
                </a:ext>
              </a:extLst>
            </p:cNvPr>
            <p:cNvSpPr/>
            <p:nvPr/>
          </p:nvSpPr>
          <p:spPr>
            <a:xfrm>
              <a:off x="5399584" y="3518847"/>
              <a:ext cx="271123" cy="395568"/>
            </a:xfrm>
            <a:custGeom>
              <a:avLst/>
              <a:gdLst>
                <a:gd name="connsiteX0" fmla="*/ 135542 w 271123"/>
                <a:gd name="connsiteY0" fmla="*/ 0 h 395568"/>
                <a:gd name="connsiteX1" fmla="*/ 0 w 271123"/>
                <a:gd name="connsiteY1" fmla="*/ 135598 h 395568"/>
                <a:gd name="connsiteX2" fmla="*/ 54742 w 271123"/>
                <a:gd name="connsiteY2" fmla="*/ 244371 h 395568"/>
                <a:gd name="connsiteX3" fmla="*/ 54742 w 271123"/>
                <a:gd name="connsiteY3" fmla="*/ 335961 h 395568"/>
                <a:gd name="connsiteX4" fmla="*/ 63132 w 271123"/>
                <a:gd name="connsiteY4" fmla="*/ 344351 h 395568"/>
                <a:gd name="connsiteX5" fmla="*/ 76611 w 271123"/>
                <a:gd name="connsiteY5" fmla="*/ 344351 h 395568"/>
                <a:gd name="connsiteX6" fmla="*/ 135542 w 271123"/>
                <a:gd name="connsiteY6" fmla="*/ 395569 h 395568"/>
                <a:gd name="connsiteX7" fmla="*/ 194507 w 271123"/>
                <a:gd name="connsiteY7" fmla="*/ 344351 h 395568"/>
                <a:gd name="connsiteX8" fmla="*/ 206387 w 271123"/>
                <a:gd name="connsiteY8" fmla="*/ 344351 h 395568"/>
                <a:gd name="connsiteX9" fmla="*/ 214777 w 271123"/>
                <a:gd name="connsiteY9" fmla="*/ 335961 h 395568"/>
                <a:gd name="connsiteX10" fmla="*/ 214777 w 271123"/>
                <a:gd name="connsiteY10" fmla="*/ 245545 h 395568"/>
                <a:gd name="connsiteX11" fmla="*/ 271124 w 271123"/>
                <a:gd name="connsiteY11" fmla="*/ 135598 h 395568"/>
                <a:gd name="connsiteX12" fmla="*/ 135542 w 271123"/>
                <a:gd name="connsiteY12" fmla="*/ 0 h 395568"/>
                <a:gd name="connsiteX13" fmla="*/ 135542 w 271123"/>
                <a:gd name="connsiteY13" fmla="*/ 378794 h 395568"/>
                <a:gd name="connsiteX14" fmla="*/ 93570 w 271123"/>
                <a:gd name="connsiteY14" fmla="*/ 344357 h 395568"/>
                <a:gd name="connsiteX15" fmla="*/ 177554 w 271123"/>
                <a:gd name="connsiteY15" fmla="*/ 344357 h 395568"/>
                <a:gd name="connsiteX16" fmla="*/ 135542 w 271123"/>
                <a:gd name="connsiteY16" fmla="*/ 378794 h 395568"/>
                <a:gd name="connsiteX17" fmla="*/ 197997 w 271123"/>
                <a:gd name="connsiteY17" fmla="*/ 327571 h 395568"/>
                <a:gd name="connsiteX18" fmla="*/ 71521 w 271123"/>
                <a:gd name="connsiteY18" fmla="*/ 327571 h 395568"/>
                <a:gd name="connsiteX19" fmla="*/ 71521 w 271123"/>
                <a:gd name="connsiteY19" fmla="*/ 248437 h 395568"/>
                <a:gd name="connsiteX20" fmla="*/ 197997 w 271123"/>
                <a:gd name="connsiteY20" fmla="*/ 248437 h 395568"/>
                <a:gd name="connsiteX21" fmla="*/ 197997 w 271123"/>
                <a:gd name="connsiteY21" fmla="*/ 327571 h 395568"/>
                <a:gd name="connsiteX22" fmla="*/ 159761 w 271123"/>
                <a:gd name="connsiteY22" fmla="*/ 142981 h 395568"/>
                <a:gd name="connsiteX23" fmla="*/ 159761 w 271123"/>
                <a:gd name="connsiteY23" fmla="*/ 231657 h 395568"/>
                <a:gd name="connsiteX24" fmla="*/ 109718 w 271123"/>
                <a:gd name="connsiteY24" fmla="*/ 231657 h 395568"/>
                <a:gd name="connsiteX25" fmla="*/ 109718 w 271123"/>
                <a:gd name="connsiteY25" fmla="*/ 142981 h 395568"/>
                <a:gd name="connsiteX26" fmla="*/ 159761 w 271123"/>
                <a:gd name="connsiteY26" fmla="*/ 142981 h 395568"/>
                <a:gd name="connsiteX27" fmla="*/ 205358 w 271123"/>
                <a:gd name="connsiteY27" fmla="*/ 231657 h 395568"/>
                <a:gd name="connsiteX28" fmla="*/ 176541 w 271123"/>
                <a:gd name="connsiteY28" fmla="*/ 231657 h 395568"/>
                <a:gd name="connsiteX29" fmla="*/ 176541 w 271123"/>
                <a:gd name="connsiteY29" fmla="*/ 142981 h 395568"/>
                <a:gd name="connsiteX30" fmla="*/ 203026 w 271123"/>
                <a:gd name="connsiteY30" fmla="*/ 142981 h 395568"/>
                <a:gd name="connsiteX31" fmla="*/ 211415 w 271123"/>
                <a:gd name="connsiteY31" fmla="*/ 134591 h 395568"/>
                <a:gd name="connsiteX32" fmla="*/ 203026 w 271123"/>
                <a:gd name="connsiteY32" fmla="*/ 126201 h 395568"/>
                <a:gd name="connsiteX33" fmla="*/ 66488 w 271123"/>
                <a:gd name="connsiteY33" fmla="*/ 126201 h 395568"/>
                <a:gd name="connsiteX34" fmla="*/ 58098 w 271123"/>
                <a:gd name="connsiteY34" fmla="*/ 134591 h 395568"/>
                <a:gd name="connsiteX35" fmla="*/ 66488 w 271123"/>
                <a:gd name="connsiteY35" fmla="*/ 142981 h 395568"/>
                <a:gd name="connsiteX36" fmla="*/ 92933 w 271123"/>
                <a:gd name="connsiteY36" fmla="*/ 142981 h 395568"/>
                <a:gd name="connsiteX37" fmla="*/ 92933 w 271123"/>
                <a:gd name="connsiteY37" fmla="*/ 231657 h 395568"/>
                <a:gd name="connsiteX38" fmla="*/ 65772 w 271123"/>
                <a:gd name="connsiteY38" fmla="*/ 231657 h 395568"/>
                <a:gd name="connsiteX39" fmla="*/ 16774 w 271123"/>
                <a:gd name="connsiteY39" fmla="*/ 135598 h 395568"/>
                <a:gd name="connsiteX40" fmla="*/ 135537 w 271123"/>
                <a:gd name="connsiteY40" fmla="*/ 16780 h 395568"/>
                <a:gd name="connsiteX41" fmla="*/ 254338 w 271123"/>
                <a:gd name="connsiteY41" fmla="*/ 135598 h 395568"/>
                <a:gd name="connsiteX42" fmla="*/ 205358 w 271123"/>
                <a:gd name="connsiteY42" fmla="*/ 231657 h 39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71123" h="395568">
                  <a:moveTo>
                    <a:pt x="135542" y="0"/>
                  </a:moveTo>
                  <a:cubicBezTo>
                    <a:pt x="60805" y="0"/>
                    <a:pt x="0" y="60827"/>
                    <a:pt x="0" y="135598"/>
                  </a:cubicBezTo>
                  <a:cubicBezTo>
                    <a:pt x="0" y="178644"/>
                    <a:pt x="20371" y="218826"/>
                    <a:pt x="54742" y="244371"/>
                  </a:cubicBezTo>
                  <a:lnTo>
                    <a:pt x="54742" y="335961"/>
                  </a:lnTo>
                  <a:cubicBezTo>
                    <a:pt x="54742" y="340592"/>
                    <a:pt x="58495" y="344351"/>
                    <a:pt x="63132" y="344351"/>
                  </a:cubicBezTo>
                  <a:lnTo>
                    <a:pt x="76611" y="344351"/>
                  </a:lnTo>
                  <a:cubicBezTo>
                    <a:pt x="80706" y="373251"/>
                    <a:pt x="105534" y="395569"/>
                    <a:pt x="135542" y="395569"/>
                  </a:cubicBezTo>
                  <a:cubicBezTo>
                    <a:pt x="165562" y="395569"/>
                    <a:pt x="190407" y="373251"/>
                    <a:pt x="194507" y="344351"/>
                  </a:cubicBezTo>
                  <a:lnTo>
                    <a:pt x="206387" y="344351"/>
                  </a:lnTo>
                  <a:cubicBezTo>
                    <a:pt x="211018" y="344351"/>
                    <a:pt x="214777" y="340592"/>
                    <a:pt x="214777" y="335961"/>
                  </a:cubicBezTo>
                  <a:lnTo>
                    <a:pt x="214777" y="245545"/>
                  </a:lnTo>
                  <a:cubicBezTo>
                    <a:pt x="250104" y="220029"/>
                    <a:pt x="271124" y="179243"/>
                    <a:pt x="271124" y="135598"/>
                  </a:cubicBezTo>
                  <a:cubicBezTo>
                    <a:pt x="271124" y="60827"/>
                    <a:pt x="210302" y="0"/>
                    <a:pt x="135542" y="0"/>
                  </a:cubicBezTo>
                  <a:close/>
                  <a:moveTo>
                    <a:pt x="135542" y="378794"/>
                  </a:moveTo>
                  <a:cubicBezTo>
                    <a:pt x="114808" y="378794"/>
                    <a:pt x="97474" y="363967"/>
                    <a:pt x="93570" y="344357"/>
                  </a:cubicBezTo>
                  <a:lnTo>
                    <a:pt x="177554" y="344357"/>
                  </a:lnTo>
                  <a:cubicBezTo>
                    <a:pt x="173638" y="363961"/>
                    <a:pt x="156294" y="378794"/>
                    <a:pt x="135542" y="378794"/>
                  </a:cubicBezTo>
                  <a:close/>
                  <a:moveTo>
                    <a:pt x="197997" y="327571"/>
                  </a:moveTo>
                  <a:lnTo>
                    <a:pt x="71521" y="327571"/>
                  </a:lnTo>
                  <a:lnTo>
                    <a:pt x="71521" y="248437"/>
                  </a:lnTo>
                  <a:lnTo>
                    <a:pt x="197997" y="248437"/>
                  </a:lnTo>
                  <a:lnTo>
                    <a:pt x="197997" y="327571"/>
                  </a:lnTo>
                  <a:close/>
                  <a:moveTo>
                    <a:pt x="159761" y="142981"/>
                  </a:moveTo>
                  <a:lnTo>
                    <a:pt x="159761" y="231657"/>
                  </a:lnTo>
                  <a:lnTo>
                    <a:pt x="109718" y="231657"/>
                  </a:lnTo>
                  <a:lnTo>
                    <a:pt x="109718" y="142981"/>
                  </a:lnTo>
                  <a:lnTo>
                    <a:pt x="159761" y="142981"/>
                  </a:lnTo>
                  <a:close/>
                  <a:moveTo>
                    <a:pt x="205358" y="231657"/>
                  </a:moveTo>
                  <a:lnTo>
                    <a:pt x="176541" y="231657"/>
                  </a:lnTo>
                  <a:lnTo>
                    <a:pt x="176541" y="142981"/>
                  </a:lnTo>
                  <a:lnTo>
                    <a:pt x="203026" y="142981"/>
                  </a:lnTo>
                  <a:cubicBezTo>
                    <a:pt x="207657" y="142981"/>
                    <a:pt x="211415" y="139223"/>
                    <a:pt x="211415" y="134591"/>
                  </a:cubicBezTo>
                  <a:cubicBezTo>
                    <a:pt x="211415" y="129955"/>
                    <a:pt x="207657" y="126201"/>
                    <a:pt x="203026" y="126201"/>
                  </a:cubicBezTo>
                  <a:lnTo>
                    <a:pt x="66488" y="126201"/>
                  </a:lnTo>
                  <a:cubicBezTo>
                    <a:pt x="61851" y="126201"/>
                    <a:pt x="58098" y="129955"/>
                    <a:pt x="58098" y="134591"/>
                  </a:cubicBezTo>
                  <a:cubicBezTo>
                    <a:pt x="58098" y="139223"/>
                    <a:pt x="61851" y="142981"/>
                    <a:pt x="66488" y="142981"/>
                  </a:cubicBezTo>
                  <a:lnTo>
                    <a:pt x="92933" y="142981"/>
                  </a:lnTo>
                  <a:lnTo>
                    <a:pt x="92933" y="231657"/>
                  </a:lnTo>
                  <a:lnTo>
                    <a:pt x="65772" y="231657"/>
                  </a:lnTo>
                  <a:cubicBezTo>
                    <a:pt x="35036" y="209312"/>
                    <a:pt x="16774" y="173739"/>
                    <a:pt x="16774" y="135598"/>
                  </a:cubicBezTo>
                  <a:cubicBezTo>
                    <a:pt x="16774" y="70084"/>
                    <a:pt x="70050" y="16780"/>
                    <a:pt x="135537" y="16780"/>
                  </a:cubicBezTo>
                  <a:cubicBezTo>
                    <a:pt x="201040" y="16780"/>
                    <a:pt x="254338" y="70078"/>
                    <a:pt x="254338" y="135598"/>
                  </a:cubicBezTo>
                  <a:cubicBezTo>
                    <a:pt x="254344" y="173677"/>
                    <a:pt x="236082" y="209273"/>
                    <a:pt x="205358" y="23165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Полилиния: фигура 199">
              <a:extLst>
                <a:ext uri="{FF2B5EF4-FFF2-40B4-BE49-F238E27FC236}">
                  <a16:creationId xmlns:a16="http://schemas.microsoft.com/office/drawing/2014/main" id="{77A17A47-0497-4364-9920-0F3F507CE0A8}"/>
                </a:ext>
              </a:extLst>
            </p:cNvPr>
            <p:cNvSpPr/>
            <p:nvPr/>
          </p:nvSpPr>
          <p:spPr>
            <a:xfrm>
              <a:off x="5525931" y="3389267"/>
              <a:ext cx="16779" cy="101389"/>
            </a:xfrm>
            <a:custGeom>
              <a:avLst/>
              <a:gdLst>
                <a:gd name="connsiteX0" fmla="*/ 8390 w 16779"/>
                <a:gd name="connsiteY0" fmla="*/ 101390 h 101389"/>
                <a:gd name="connsiteX1" fmla="*/ 16780 w 16779"/>
                <a:gd name="connsiteY1" fmla="*/ 93000 h 101389"/>
                <a:gd name="connsiteX2" fmla="*/ 16780 w 16779"/>
                <a:gd name="connsiteY2" fmla="*/ 8390 h 101389"/>
                <a:gd name="connsiteX3" fmla="*/ 8390 w 16779"/>
                <a:gd name="connsiteY3" fmla="*/ 0 h 101389"/>
                <a:gd name="connsiteX4" fmla="*/ 0 w 16779"/>
                <a:gd name="connsiteY4" fmla="*/ 8390 h 101389"/>
                <a:gd name="connsiteX5" fmla="*/ 0 w 16779"/>
                <a:gd name="connsiteY5" fmla="*/ 93000 h 101389"/>
                <a:gd name="connsiteX6" fmla="*/ 8390 w 16779"/>
                <a:gd name="connsiteY6" fmla="*/ 101390 h 101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79" h="101389">
                  <a:moveTo>
                    <a:pt x="8390" y="101390"/>
                  </a:moveTo>
                  <a:cubicBezTo>
                    <a:pt x="13021" y="101390"/>
                    <a:pt x="16780" y="97636"/>
                    <a:pt x="16780" y="93000"/>
                  </a:cubicBezTo>
                  <a:lnTo>
                    <a:pt x="16780" y="8390"/>
                  </a:lnTo>
                  <a:cubicBezTo>
                    <a:pt x="16780" y="3753"/>
                    <a:pt x="13021" y="0"/>
                    <a:pt x="8390" y="0"/>
                  </a:cubicBezTo>
                  <a:cubicBezTo>
                    <a:pt x="3753" y="0"/>
                    <a:pt x="0" y="3753"/>
                    <a:pt x="0" y="8390"/>
                  </a:cubicBezTo>
                  <a:lnTo>
                    <a:pt x="0" y="93000"/>
                  </a:lnTo>
                  <a:cubicBezTo>
                    <a:pt x="0" y="97636"/>
                    <a:pt x="3753" y="101390"/>
                    <a:pt x="8390" y="10139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Полилиния: фигура 200">
              <a:extLst>
                <a:ext uri="{FF2B5EF4-FFF2-40B4-BE49-F238E27FC236}">
                  <a16:creationId xmlns:a16="http://schemas.microsoft.com/office/drawing/2014/main" id="{42FB51F3-1198-4E19-A69B-71C1F01F6DAD}"/>
                </a:ext>
              </a:extLst>
            </p:cNvPr>
            <p:cNvSpPr/>
            <p:nvPr/>
          </p:nvSpPr>
          <p:spPr>
            <a:xfrm>
              <a:off x="5256546" y="3645048"/>
              <a:ext cx="101389" cy="16779"/>
            </a:xfrm>
            <a:custGeom>
              <a:avLst/>
              <a:gdLst>
                <a:gd name="connsiteX0" fmla="*/ 93000 w 101389"/>
                <a:gd name="connsiteY0" fmla="*/ 0 h 16779"/>
                <a:gd name="connsiteX1" fmla="*/ 8390 w 101389"/>
                <a:gd name="connsiteY1" fmla="*/ 0 h 16779"/>
                <a:gd name="connsiteX2" fmla="*/ 0 w 101389"/>
                <a:gd name="connsiteY2" fmla="*/ 8390 h 16779"/>
                <a:gd name="connsiteX3" fmla="*/ 8390 w 101389"/>
                <a:gd name="connsiteY3" fmla="*/ 16780 h 16779"/>
                <a:gd name="connsiteX4" fmla="*/ 93000 w 101389"/>
                <a:gd name="connsiteY4" fmla="*/ 16780 h 16779"/>
                <a:gd name="connsiteX5" fmla="*/ 101390 w 101389"/>
                <a:gd name="connsiteY5" fmla="*/ 8390 h 16779"/>
                <a:gd name="connsiteX6" fmla="*/ 93000 w 101389"/>
                <a:gd name="connsiteY6" fmla="*/ 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389" h="16779">
                  <a:moveTo>
                    <a:pt x="93000" y="0"/>
                  </a:moveTo>
                  <a:lnTo>
                    <a:pt x="8390" y="0"/>
                  </a:lnTo>
                  <a:cubicBezTo>
                    <a:pt x="3753" y="0"/>
                    <a:pt x="0" y="3753"/>
                    <a:pt x="0" y="8390"/>
                  </a:cubicBezTo>
                  <a:cubicBezTo>
                    <a:pt x="0" y="13021"/>
                    <a:pt x="3753" y="16780"/>
                    <a:pt x="8390" y="16780"/>
                  </a:cubicBezTo>
                  <a:lnTo>
                    <a:pt x="93000" y="16780"/>
                  </a:lnTo>
                  <a:cubicBezTo>
                    <a:pt x="97637" y="16780"/>
                    <a:pt x="101390" y="13021"/>
                    <a:pt x="101390" y="8390"/>
                  </a:cubicBezTo>
                  <a:cubicBezTo>
                    <a:pt x="101390" y="3759"/>
                    <a:pt x="97637" y="0"/>
                    <a:pt x="93000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Полилиния: фигура 201">
              <a:extLst>
                <a:ext uri="{FF2B5EF4-FFF2-40B4-BE49-F238E27FC236}">
                  <a16:creationId xmlns:a16="http://schemas.microsoft.com/office/drawing/2014/main" id="{E52DCF7C-F478-4604-BA07-3C8F128F3E94}"/>
                </a:ext>
              </a:extLst>
            </p:cNvPr>
            <p:cNvSpPr/>
            <p:nvPr/>
          </p:nvSpPr>
          <p:spPr>
            <a:xfrm>
              <a:off x="5703333" y="3645048"/>
              <a:ext cx="101350" cy="16779"/>
            </a:xfrm>
            <a:custGeom>
              <a:avLst/>
              <a:gdLst>
                <a:gd name="connsiteX0" fmla="*/ 92961 w 101350"/>
                <a:gd name="connsiteY0" fmla="*/ 0 h 16779"/>
                <a:gd name="connsiteX1" fmla="*/ 8390 w 101350"/>
                <a:gd name="connsiteY1" fmla="*/ 0 h 16779"/>
                <a:gd name="connsiteX2" fmla="*/ 0 w 101350"/>
                <a:gd name="connsiteY2" fmla="*/ 8390 h 16779"/>
                <a:gd name="connsiteX3" fmla="*/ 8390 w 101350"/>
                <a:gd name="connsiteY3" fmla="*/ 16780 h 16779"/>
                <a:gd name="connsiteX4" fmla="*/ 92961 w 101350"/>
                <a:gd name="connsiteY4" fmla="*/ 16780 h 16779"/>
                <a:gd name="connsiteX5" fmla="*/ 101351 w 101350"/>
                <a:gd name="connsiteY5" fmla="*/ 8390 h 16779"/>
                <a:gd name="connsiteX6" fmla="*/ 92961 w 101350"/>
                <a:gd name="connsiteY6" fmla="*/ 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350" h="16779">
                  <a:moveTo>
                    <a:pt x="92961" y="0"/>
                  </a:moveTo>
                  <a:lnTo>
                    <a:pt x="8390" y="0"/>
                  </a:lnTo>
                  <a:cubicBezTo>
                    <a:pt x="3759" y="0"/>
                    <a:pt x="0" y="3753"/>
                    <a:pt x="0" y="8390"/>
                  </a:cubicBezTo>
                  <a:cubicBezTo>
                    <a:pt x="0" y="13021"/>
                    <a:pt x="3759" y="16780"/>
                    <a:pt x="8390" y="16780"/>
                  </a:cubicBezTo>
                  <a:lnTo>
                    <a:pt x="92961" y="16780"/>
                  </a:lnTo>
                  <a:cubicBezTo>
                    <a:pt x="97592" y="16780"/>
                    <a:pt x="101351" y="13021"/>
                    <a:pt x="101351" y="8390"/>
                  </a:cubicBezTo>
                  <a:cubicBezTo>
                    <a:pt x="101351" y="3759"/>
                    <a:pt x="97592" y="0"/>
                    <a:pt x="92961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Полилиния: фигура 202">
              <a:extLst>
                <a:ext uri="{FF2B5EF4-FFF2-40B4-BE49-F238E27FC236}">
                  <a16:creationId xmlns:a16="http://schemas.microsoft.com/office/drawing/2014/main" id="{FB2C64D9-8F5B-41D0-93C6-56A2CE9DCAAE}"/>
                </a:ext>
              </a:extLst>
            </p:cNvPr>
            <p:cNvSpPr/>
            <p:nvPr/>
          </p:nvSpPr>
          <p:spPr>
            <a:xfrm>
              <a:off x="5334176" y="3463211"/>
              <a:ext cx="80502" cy="72410"/>
            </a:xfrm>
            <a:custGeom>
              <a:avLst/>
              <a:gdLst>
                <a:gd name="connsiteX0" fmla="*/ 66599 w 80502"/>
                <a:gd name="connsiteY0" fmla="*/ 70341 h 72410"/>
                <a:gd name="connsiteX1" fmla="*/ 72114 w 80502"/>
                <a:gd name="connsiteY1" fmla="*/ 72410 h 72410"/>
                <a:gd name="connsiteX2" fmla="*/ 78434 w 80502"/>
                <a:gd name="connsiteY2" fmla="*/ 69535 h 72410"/>
                <a:gd name="connsiteX3" fmla="*/ 77629 w 80502"/>
                <a:gd name="connsiteY3" fmla="*/ 57700 h 72410"/>
                <a:gd name="connsiteX4" fmla="*/ 13904 w 80502"/>
                <a:gd name="connsiteY4" fmla="*/ 2069 h 72410"/>
                <a:gd name="connsiteX5" fmla="*/ 2069 w 80502"/>
                <a:gd name="connsiteY5" fmla="*/ 2874 h 72410"/>
                <a:gd name="connsiteX6" fmla="*/ 2874 w 80502"/>
                <a:gd name="connsiteY6" fmla="*/ 14710 h 72410"/>
                <a:gd name="connsiteX7" fmla="*/ 66599 w 80502"/>
                <a:gd name="connsiteY7" fmla="*/ 70341 h 72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502" h="72410">
                  <a:moveTo>
                    <a:pt x="66599" y="70341"/>
                  </a:moveTo>
                  <a:cubicBezTo>
                    <a:pt x="68187" y="71733"/>
                    <a:pt x="70156" y="72410"/>
                    <a:pt x="72114" y="72410"/>
                  </a:cubicBezTo>
                  <a:cubicBezTo>
                    <a:pt x="74452" y="72410"/>
                    <a:pt x="76778" y="71437"/>
                    <a:pt x="78434" y="69535"/>
                  </a:cubicBezTo>
                  <a:cubicBezTo>
                    <a:pt x="81482" y="66045"/>
                    <a:pt x="81119" y="60748"/>
                    <a:pt x="77629" y="57700"/>
                  </a:cubicBezTo>
                  <a:lnTo>
                    <a:pt x="13904" y="2069"/>
                  </a:lnTo>
                  <a:cubicBezTo>
                    <a:pt x="10420" y="-980"/>
                    <a:pt x="5112" y="-616"/>
                    <a:pt x="2069" y="2874"/>
                  </a:cubicBezTo>
                  <a:cubicBezTo>
                    <a:pt x="-980" y="6364"/>
                    <a:pt x="-616" y="11661"/>
                    <a:pt x="2874" y="14710"/>
                  </a:cubicBezTo>
                  <a:lnTo>
                    <a:pt x="66599" y="7034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Полилиния: фигура 203">
              <a:extLst>
                <a:ext uri="{FF2B5EF4-FFF2-40B4-BE49-F238E27FC236}">
                  <a16:creationId xmlns:a16="http://schemas.microsoft.com/office/drawing/2014/main" id="{2E52A1AB-59FB-4658-A02D-6E754F9571F9}"/>
                </a:ext>
              </a:extLst>
            </p:cNvPr>
            <p:cNvSpPr/>
            <p:nvPr/>
          </p:nvSpPr>
          <p:spPr>
            <a:xfrm>
              <a:off x="5639573" y="3463203"/>
              <a:ext cx="80531" cy="72417"/>
            </a:xfrm>
            <a:custGeom>
              <a:avLst/>
              <a:gdLst>
                <a:gd name="connsiteX0" fmla="*/ 8393 w 80531"/>
                <a:gd name="connsiteY0" fmla="*/ 72418 h 72417"/>
                <a:gd name="connsiteX1" fmla="*/ 13902 w 80531"/>
                <a:gd name="connsiteY1" fmla="*/ 70348 h 72417"/>
                <a:gd name="connsiteX2" fmla="*/ 77660 w 80531"/>
                <a:gd name="connsiteY2" fmla="*/ 14718 h 72417"/>
                <a:gd name="connsiteX3" fmla="*/ 78465 w 80531"/>
                <a:gd name="connsiteY3" fmla="*/ 2877 h 72417"/>
                <a:gd name="connsiteX4" fmla="*/ 66630 w 80531"/>
                <a:gd name="connsiteY4" fmla="*/ 2071 h 72417"/>
                <a:gd name="connsiteX5" fmla="*/ 2872 w 80531"/>
                <a:gd name="connsiteY5" fmla="*/ 57702 h 72417"/>
                <a:gd name="connsiteX6" fmla="*/ 2067 w 80531"/>
                <a:gd name="connsiteY6" fmla="*/ 69543 h 72417"/>
                <a:gd name="connsiteX7" fmla="*/ 8393 w 80531"/>
                <a:gd name="connsiteY7" fmla="*/ 72418 h 7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531" h="72417">
                  <a:moveTo>
                    <a:pt x="8393" y="72418"/>
                  </a:moveTo>
                  <a:cubicBezTo>
                    <a:pt x="10350" y="72418"/>
                    <a:pt x="12313" y="71736"/>
                    <a:pt x="13902" y="70348"/>
                  </a:cubicBezTo>
                  <a:lnTo>
                    <a:pt x="77660" y="14718"/>
                  </a:lnTo>
                  <a:cubicBezTo>
                    <a:pt x="81150" y="11669"/>
                    <a:pt x="81508" y="6372"/>
                    <a:pt x="78465" y="2877"/>
                  </a:cubicBezTo>
                  <a:cubicBezTo>
                    <a:pt x="75428" y="-614"/>
                    <a:pt x="70120" y="-983"/>
                    <a:pt x="66630" y="2071"/>
                  </a:cubicBezTo>
                  <a:lnTo>
                    <a:pt x="2872" y="57702"/>
                  </a:lnTo>
                  <a:cubicBezTo>
                    <a:pt x="-618" y="60750"/>
                    <a:pt x="-976" y="66047"/>
                    <a:pt x="2067" y="69543"/>
                  </a:cubicBezTo>
                  <a:cubicBezTo>
                    <a:pt x="3722" y="71450"/>
                    <a:pt x="6049" y="72418"/>
                    <a:pt x="8393" y="7241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2" name="Рисунок 12">
            <a:extLst>
              <a:ext uri="{FF2B5EF4-FFF2-40B4-BE49-F238E27FC236}">
                <a16:creationId xmlns:a16="http://schemas.microsoft.com/office/drawing/2014/main" id="{9182804A-3DBC-46AA-8935-1DC11FE3424D}"/>
              </a:ext>
            </a:extLst>
          </p:cNvPr>
          <p:cNvGrpSpPr/>
          <p:nvPr/>
        </p:nvGrpSpPr>
        <p:grpSpPr>
          <a:xfrm>
            <a:off x="8589557" y="5525403"/>
            <a:ext cx="449260" cy="496002"/>
            <a:chOff x="659078" y="3404973"/>
            <a:chExt cx="449260" cy="496002"/>
          </a:xfrm>
          <a:solidFill>
            <a:schemeClr val="tx1"/>
          </a:solidFill>
        </p:grpSpPr>
        <p:sp>
          <p:nvSpPr>
            <p:cNvPr id="43" name="Полилиния: фигура 29">
              <a:extLst>
                <a:ext uri="{FF2B5EF4-FFF2-40B4-BE49-F238E27FC236}">
                  <a16:creationId xmlns:a16="http://schemas.microsoft.com/office/drawing/2014/main" id="{9D68BCC1-90C8-4B93-9A1D-9B052AEEDB50}"/>
                </a:ext>
              </a:extLst>
            </p:cNvPr>
            <p:cNvSpPr/>
            <p:nvPr/>
          </p:nvSpPr>
          <p:spPr>
            <a:xfrm>
              <a:off x="659078" y="3404973"/>
              <a:ext cx="449260" cy="496002"/>
            </a:xfrm>
            <a:custGeom>
              <a:avLst/>
              <a:gdLst>
                <a:gd name="connsiteX0" fmla="*/ 446854 w 449260"/>
                <a:gd name="connsiteY0" fmla="*/ 50843 h 496002"/>
                <a:gd name="connsiteX1" fmla="*/ 440640 w 449260"/>
                <a:gd name="connsiteY1" fmla="*/ 48018 h 496002"/>
                <a:gd name="connsiteX2" fmla="*/ 354772 w 449260"/>
                <a:gd name="connsiteY2" fmla="*/ 48018 h 496002"/>
                <a:gd name="connsiteX3" fmla="*/ 354772 w 449260"/>
                <a:gd name="connsiteY3" fmla="*/ 8474 h 496002"/>
                <a:gd name="connsiteX4" fmla="*/ 346298 w 449260"/>
                <a:gd name="connsiteY4" fmla="*/ 0 h 496002"/>
                <a:gd name="connsiteX5" fmla="*/ 105076 w 449260"/>
                <a:gd name="connsiteY5" fmla="*/ 0 h 496002"/>
                <a:gd name="connsiteX6" fmla="*/ 96602 w 449260"/>
                <a:gd name="connsiteY6" fmla="*/ 8474 h 496002"/>
                <a:gd name="connsiteX7" fmla="*/ 96602 w 449260"/>
                <a:gd name="connsiteY7" fmla="*/ 48018 h 496002"/>
                <a:gd name="connsiteX8" fmla="*/ 8474 w 449260"/>
                <a:gd name="connsiteY8" fmla="*/ 48018 h 496002"/>
                <a:gd name="connsiteX9" fmla="*/ 2260 w 449260"/>
                <a:gd name="connsiteY9" fmla="*/ 50843 h 496002"/>
                <a:gd name="connsiteX10" fmla="*/ 0 w 449260"/>
                <a:gd name="connsiteY10" fmla="*/ 57057 h 496002"/>
                <a:gd name="connsiteX11" fmla="*/ 14688 w 449260"/>
                <a:gd name="connsiteY11" fmla="*/ 136711 h 496002"/>
                <a:gd name="connsiteX12" fmla="*/ 103946 w 449260"/>
                <a:gd name="connsiteY12" fmla="*/ 250261 h 496002"/>
                <a:gd name="connsiteX13" fmla="*/ 187554 w 449260"/>
                <a:gd name="connsiteY13" fmla="*/ 345168 h 496002"/>
                <a:gd name="connsiteX14" fmla="*/ 187554 w 449260"/>
                <a:gd name="connsiteY14" fmla="*/ 346863 h 496002"/>
                <a:gd name="connsiteX15" fmla="*/ 106206 w 449260"/>
                <a:gd name="connsiteY15" fmla="*/ 431036 h 496002"/>
                <a:gd name="connsiteX16" fmla="*/ 97732 w 449260"/>
                <a:gd name="connsiteY16" fmla="*/ 439510 h 496002"/>
                <a:gd name="connsiteX17" fmla="*/ 97732 w 449260"/>
                <a:gd name="connsiteY17" fmla="*/ 487529 h 496002"/>
                <a:gd name="connsiteX18" fmla="*/ 106206 w 449260"/>
                <a:gd name="connsiteY18" fmla="*/ 496002 h 496002"/>
                <a:gd name="connsiteX19" fmla="*/ 346298 w 449260"/>
                <a:gd name="connsiteY19" fmla="*/ 496002 h 496002"/>
                <a:gd name="connsiteX20" fmla="*/ 354772 w 449260"/>
                <a:gd name="connsiteY20" fmla="*/ 487529 h 496002"/>
                <a:gd name="connsiteX21" fmla="*/ 354772 w 449260"/>
                <a:gd name="connsiteY21" fmla="*/ 439510 h 496002"/>
                <a:gd name="connsiteX22" fmla="*/ 346298 w 449260"/>
                <a:gd name="connsiteY22" fmla="*/ 431036 h 496002"/>
                <a:gd name="connsiteX23" fmla="*/ 262124 w 449260"/>
                <a:gd name="connsiteY23" fmla="*/ 346863 h 496002"/>
                <a:gd name="connsiteX24" fmla="*/ 262124 w 449260"/>
                <a:gd name="connsiteY24" fmla="*/ 345733 h 496002"/>
                <a:gd name="connsiteX25" fmla="*/ 347993 w 449260"/>
                <a:gd name="connsiteY25" fmla="*/ 249131 h 496002"/>
                <a:gd name="connsiteX26" fmla="*/ 434426 w 449260"/>
                <a:gd name="connsiteY26" fmla="*/ 136711 h 496002"/>
                <a:gd name="connsiteX27" fmla="*/ 449114 w 449260"/>
                <a:gd name="connsiteY27" fmla="*/ 57057 h 496002"/>
                <a:gd name="connsiteX28" fmla="*/ 446854 w 449260"/>
                <a:gd name="connsiteY28" fmla="*/ 50843 h 496002"/>
                <a:gd name="connsiteX29" fmla="*/ 17513 w 449260"/>
                <a:gd name="connsiteY29" fmla="*/ 64966 h 496002"/>
                <a:gd name="connsiteX30" fmla="*/ 96602 w 449260"/>
                <a:gd name="connsiteY30" fmla="*/ 64966 h 496002"/>
                <a:gd name="connsiteX31" fmla="*/ 96602 w 449260"/>
                <a:gd name="connsiteY31" fmla="*/ 200548 h 496002"/>
                <a:gd name="connsiteX32" fmla="*/ 98862 w 449260"/>
                <a:gd name="connsiteY32" fmla="*/ 228229 h 496002"/>
                <a:gd name="connsiteX33" fmla="*/ 17513 w 449260"/>
                <a:gd name="connsiteY33" fmla="*/ 64966 h 496002"/>
                <a:gd name="connsiteX34" fmla="*/ 337824 w 449260"/>
                <a:gd name="connsiteY34" fmla="*/ 447419 h 496002"/>
                <a:gd name="connsiteX35" fmla="*/ 337824 w 449260"/>
                <a:gd name="connsiteY35" fmla="*/ 478490 h 496002"/>
                <a:gd name="connsiteX36" fmla="*/ 114679 w 449260"/>
                <a:gd name="connsiteY36" fmla="*/ 478490 h 496002"/>
                <a:gd name="connsiteX37" fmla="*/ 114679 w 449260"/>
                <a:gd name="connsiteY37" fmla="*/ 447419 h 496002"/>
                <a:gd name="connsiteX38" fmla="*/ 203937 w 449260"/>
                <a:gd name="connsiteY38" fmla="*/ 349687 h 496002"/>
                <a:gd name="connsiteX39" fmla="*/ 225404 w 449260"/>
                <a:gd name="connsiteY39" fmla="*/ 351947 h 496002"/>
                <a:gd name="connsiteX40" fmla="*/ 245177 w 449260"/>
                <a:gd name="connsiteY40" fmla="*/ 350252 h 496002"/>
                <a:gd name="connsiteX41" fmla="*/ 337824 w 449260"/>
                <a:gd name="connsiteY41" fmla="*/ 447419 h 496002"/>
                <a:gd name="connsiteX42" fmla="*/ 248001 w 449260"/>
                <a:gd name="connsiteY42" fmla="*/ 332740 h 496002"/>
                <a:gd name="connsiteX43" fmla="*/ 225969 w 449260"/>
                <a:gd name="connsiteY43" fmla="*/ 335564 h 496002"/>
                <a:gd name="connsiteX44" fmla="*/ 201113 w 449260"/>
                <a:gd name="connsiteY44" fmla="*/ 332175 h 496002"/>
                <a:gd name="connsiteX45" fmla="*/ 195463 w 449260"/>
                <a:gd name="connsiteY45" fmla="*/ 330480 h 496002"/>
                <a:gd name="connsiteX46" fmla="*/ 113550 w 449260"/>
                <a:gd name="connsiteY46" fmla="*/ 201113 h 496002"/>
                <a:gd name="connsiteX47" fmla="*/ 113550 w 449260"/>
                <a:gd name="connsiteY47" fmla="*/ 17513 h 496002"/>
                <a:gd name="connsiteX48" fmla="*/ 337824 w 449260"/>
                <a:gd name="connsiteY48" fmla="*/ 17513 h 496002"/>
                <a:gd name="connsiteX49" fmla="*/ 337824 w 449260"/>
                <a:gd name="connsiteY49" fmla="*/ 51408 h 496002"/>
                <a:gd name="connsiteX50" fmla="*/ 337824 w 449260"/>
                <a:gd name="connsiteY50" fmla="*/ 62142 h 496002"/>
                <a:gd name="connsiteX51" fmla="*/ 337824 w 449260"/>
                <a:gd name="connsiteY51" fmla="*/ 201113 h 496002"/>
                <a:gd name="connsiteX52" fmla="*/ 255345 w 449260"/>
                <a:gd name="connsiteY52" fmla="*/ 330480 h 496002"/>
                <a:gd name="connsiteX53" fmla="*/ 353077 w 449260"/>
                <a:gd name="connsiteY53" fmla="*/ 227099 h 496002"/>
                <a:gd name="connsiteX54" fmla="*/ 355337 w 449260"/>
                <a:gd name="connsiteY54" fmla="*/ 200548 h 496002"/>
                <a:gd name="connsiteX55" fmla="*/ 355337 w 449260"/>
                <a:gd name="connsiteY55" fmla="*/ 64966 h 496002"/>
                <a:gd name="connsiteX56" fmla="*/ 432166 w 449260"/>
                <a:gd name="connsiteY56" fmla="*/ 64966 h 496002"/>
                <a:gd name="connsiteX57" fmla="*/ 353077 w 449260"/>
                <a:gd name="connsiteY57" fmla="*/ 227099 h 49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49260" h="496002">
                  <a:moveTo>
                    <a:pt x="446854" y="50843"/>
                  </a:moveTo>
                  <a:cubicBezTo>
                    <a:pt x="445159" y="49148"/>
                    <a:pt x="442900" y="48018"/>
                    <a:pt x="440640" y="48018"/>
                  </a:cubicBezTo>
                  <a:lnTo>
                    <a:pt x="354772" y="48018"/>
                  </a:lnTo>
                  <a:lnTo>
                    <a:pt x="354772" y="8474"/>
                  </a:lnTo>
                  <a:cubicBezTo>
                    <a:pt x="354772" y="3954"/>
                    <a:pt x="350817" y="0"/>
                    <a:pt x="346298" y="0"/>
                  </a:cubicBezTo>
                  <a:lnTo>
                    <a:pt x="105076" y="0"/>
                  </a:lnTo>
                  <a:cubicBezTo>
                    <a:pt x="100556" y="0"/>
                    <a:pt x="96602" y="3954"/>
                    <a:pt x="96602" y="8474"/>
                  </a:cubicBezTo>
                  <a:lnTo>
                    <a:pt x="96602" y="48018"/>
                  </a:lnTo>
                  <a:lnTo>
                    <a:pt x="8474" y="48018"/>
                  </a:lnTo>
                  <a:cubicBezTo>
                    <a:pt x="6214" y="48018"/>
                    <a:pt x="3954" y="49148"/>
                    <a:pt x="2260" y="50843"/>
                  </a:cubicBezTo>
                  <a:cubicBezTo>
                    <a:pt x="565" y="52538"/>
                    <a:pt x="0" y="54798"/>
                    <a:pt x="0" y="57057"/>
                  </a:cubicBezTo>
                  <a:cubicBezTo>
                    <a:pt x="0" y="58752"/>
                    <a:pt x="1695" y="94907"/>
                    <a:pt x="14688" y="136711"/>
                  </a:cubicBezTo>
                  <a:cubicBezTo>
                    <a:pt x="32766" y="192639"/>
                    <a:pt x="63271" y="232183"/>
                    <a:pt x="103946" y="250261"/>
                  </a:cubicBezTo>
                  <a:cubicBezTo>
                    <a:pt x="117504" y="295455"/>
                    <a:pt x="148575" y="331045"/>
                    <a:pt x="187554" y="345168"/>
                  </a:cubicBezTo>
                  <a:lnTo>
                    <a:pt x="187554" y="346863"/>
                  </a:lnTo>
                  <a:cubicBezTo>
                    <a:pt x="187554" y="393751"/>
                    <a:pt x="151964" y="431036"/>
                    <a:pt x="106206" y="431036"/>
                  </a:cubicBezTo>
                  <a:cubicBezTo>
                    <a:pt x="101686" y="431036"/>
                    <a:pt x="97732" y="434991"/>
                    <a:pt x="97732" y="439510"/>
                  </a:cubicBezTo>
                  <a:lnTo>
                    <a:pt x="97732" y="487529"/>
                  </a:lnTo>
                  <a:cubicBezTo>
                    <a:pt x="97732" y="492048"/>
                    <a:pt x="101686" y="496002"/>
                    <a:pt x="106206" y="496002"/>
                  </a:cubicBezTo>
                  <a:lnTo>
                    <a:pt x="346298" y="496002"/>
                  </a:lnTo>
                  <a:cubicBezTo>
                    <a:pt x="350817" y="496002"/>
                    <a:pt x="354772" y="492048"/>
                    <a:pt x="354772" y="487529"/>
                  </a:cubicBezTo>
                  <a:lnTo>
                    <a:pt x="354772" y="439510"/>
                  </a:lnTo>
                  <a:cubicBezTo>
                    <a:pt x="354772" y="434991"/>
                    <a:pt x="350817" y="431036"/>
                    <a:pt x="346298" y="431036"/>
                  </a:cubicBezTo>
                  <a:cubicBezTo>
                    <a:pt x="299974" y="431036"/>
                    <a:pt x="262124" y="393186"/>
                    <a:pt x="262124" y="346863"/>
                  </a:cubicBezTo>
                  <a:lnTo>
                    <a:pt x="262124" y="345733"/>
                  </a:lnTo>
                  <a:cubicBezTo>
                    <a:pt x="302799" y="331610"/>
                    <a:pt x="334434" y="295455"/>
                    <a:pt x="347993" y="249131"/>
                  </a:cubicBezTo>
                  <a:cubicBezTo>
                    <a:pt x="386972" y="230489"/>
                    <a:pt x="416913" y="191509"/>
                    <a:pt x="434426" y="136711"/>
                  </a:cubicBezTo>
                  <a:cubicBezTo>
                    <a:pt x="447984" y="94907"/>
                    <a:pt x="449114" y="58187"/>
                    <a:pt x="449114" y="57057"/>
                  </a:cubicBezTo>
                  <a:cubicBezTo>
                    <a:pt x="449679" y="54798"/>
                    <a:pt x="448549" y="52538"/>
                    <a:pt x="446854" y="50843"/>
                  </a:cubicBezTo>
                  <a:close/>
                  <a:moveTo>
                    <a:pt x="17513" y="64966"/>
                  </a:moveTo>
                  <a:lnTo>
                    <a:pt x="96602" y="64966"/>
                  </a:lnTo>
                  <a:lnTo>
                    <a:pt x="96602" y="200548"/>
                  </a:lnTo>
                  <a:cubicBezTo>
                    <a:pt x="96602" y="210151"/>
                    <a:pt x="97167" y="219190"/>
                    <a:pt x="98862" y="228229"/>
                  </a:cubicBezTo>
                  <a:cubicBezTo>
                    <a:pt x="34460" y="189814"/>
                    <a:pt x="20337" y="94342"/>
                    <a:pt x="17513" y="64966"/>
                  </a:cubicBezTo>
                  <a:close/>
                  <a:moveTo>
                    <a:pt x="337824" y="447419"/>
                  </a:moveTo>
                  <a:lnTo>
                    <a:pt x="337824" y="478490"/>
                  </a:lnTo>
                  <a:lnTo>
                    <a:pt x="114679" y="478490"/>
                  </a:lnTo>
                  <a:lnTo>
                    <a:pt x="114679" y="447419"/>
                  </a:lnTo>
                  <a:cubicBezTo>
                    <a:pt x="164393" y="443465"/>
                    <a:pt x="202807" y="402225"/>
                    <a:pt x="203937" y="349687"/>
                  </a:cubicBezTo>
                  <a:cubicBezTo>
                    <a:pt x="210716" y="350817"/>
                    <a:pt x="218060" y="351947"/>
                    <a:pt x="225404" y="351947"/>
                  </a:cubicBezTo>
                  <a:cubicBezTo>
                    <a:pt x="232183" y="351947"/>
                    <a:pt x="238962" y="351382"/>
                    <a:pt x="245177" y="350252"/>
                  </a:cubicBezTo>
                  <a:cubicBezTo>
                    <a:pt x="247436" y="401660"/>
                    <a:pt x="287546" y="443465"/>
                    <a:pt x="337824" y="447419"/>
                  </a:cubicBezTo>
                  <a:close/>
                  <a:moveTo>
                    <a:pt x="248001" y="332740"/>
                  </a:moveTo>
                  <a:cubicBezTo>
                    <a:pt x="240657" y="334434"/>
                    <a:pt x="233313" y="335564"/>
                    <a:pt x="225969" y="335564"/>
                  </a:cubicBezTo>
                  <a:cubicBezTo>
                    <a:pt x="217495" y="335564"/>
                    <a:pt x="209022" y="334434"/>
                    <a:pt x="201113" y="332175"/>
                  </a:cubicBezTo>
                  <a:cubicBezTo>
                    <a:pt x="199418" y="331610"/>
                    <a:pt x="196593" y="330480"/>
                    <a:pt x="195463" y="330480"/>
                  </a:cubicBezTo>
                  <a:cubicBezTo>
                    <a:pt x="148575" y="314662"/>
                    <a:pt x="113550" y="262689"/>
                    <a:pt x="113550" y="201113"/>
                  </a:cubicBezTo>
                  <a:lnTo>
                    <a:pt x="113550" y="17513"/>
                  </a:lnTo>
                  <a:lnTo>
                    <a:pt x="337824" y="17513"/>
                  </a:lnTo>
                  <a:lnTo>
                    <a:pt x="337824" y="51408"/>
                  </a:lnTo>
                  <a:lnTo>
                    <a:pt x="337824" y="62142"/>
                  </a:lnTo>
                  <a:lnTo>
                    <a:pt x="337824" y="201113"/>
                  </a:lnTo>
                  <a:cubicBezTo>
                    <a:pt x="337824" y="262689"/>
                    <a:pt x="302799" y="314662"/>
                    <a:pt x="255345" y="330480"/>
                  </a:cubicBezTo>
                  <a:moveTo>
                    <a:pt x="353077" y="227099"/>
                  </a:moveTo>
                  <a:cubicBezTo>
                    <a:pt x="354207" y="218625"/>
                    <a:pt x="355337" y="209586"/>
                    <a:pt x="355337" y="200548"/>
                  </a:cubicBezTo>
                  <a:lnTo>
                    <a:pt x="355337" y="64966"/>
                  </a:lnTo>
                  <a:lnTo>
                    <a:pt x="432166" y="64966"/>
                  </a:lnTo>
                  <a:cubicBezTo>
                    <a:pt x="429342" y="94342"/>
                    <a:pt x="415783" y="186990"/>
                    <a:pt x="353077" y="22709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Полилиния: фигура 34">
              <a:extLst>
                <a:ext uri="{FF2B5EF4-FFF2-40B4-BE49-F238E27FC236}">
                  <a16:creationId xmlns:a16="http://schemas.microsoft.com/office/drawing/2014/main" id="{C5E27EBC-9394-40A3-966D-C4C1FC0F48D9}"/>
                </a:ext>
              </a:extLst>
            </p:cNvPr>
            <p:cNvSpPr/>
            <p:nvPr/>
          </p:nvSpPr>
          <p:spPr>
            <a:xfrm>
              <a:off x="795027" y="3466549"/>
              <a:ext cx="184560" cy="176255"/>
            </a:xfrm>
            <a:custGeom>
              <a:avLst/>
              <a:gdLst>
                <a:gd name="connsiteX0" fmla="*/ 171369 w 184560"/>
                <a:gd name="connsiteY0" fmla="*/ 57057 h 176255"/>
                <a:gd name="connsiteX1" fmla="*/ 125046 w 184560"/>
                <a:gd name="connsiteY1" fmla="*/ 50278 h 176255"/>
                <a:gd name="connsiteX2" fmla="*/ 104144 w 184560"/>
                <a:gd name="connsiteY2" fmla="*/ 7909 h 176255"/>
                <a:gd name="connsiteX3" fmla="*/ 91715 w 184560"/>
                <a:gd name="connsiteY3" fmla="*/ 0 h 176255"/>
                <a:gd name="connsiteX4" fmla="*/ 91715 w 184560"/>
                <a:gd name="connsiteY4" fmla="*/ 0 h 176255"/>
                <a:gd name="connsiteX5" fmla="*/ 79287 w 184560"/>
                <a:gd name="connsiteY5" fmla="*/ 7909 h 176255"/>
                <a:gd name="connsiteX6" fmla="*/ 58385 w 184560"/>
                <a:gd name="connsiteY6" fmla="*/ 50278 h 176255"/>
                <a:gd name="connsiteX7" fmla="*/ 12061 w 184560"/>
                <a:gd name="connsiteY7" fmla="*/ 57057 h 176255"/>
                <a:gd name="connsiteX8" fmla="*/ 763 w 184560"/>
                <a:gd name="connsiteY8" fmla="*/ 66661 h 176255"/>
                <a:gd name="connsiteX9" fmla="*/ 4152 w 184560"/>
                <a:gd name="connsiteY9" fmla="*/ 80784 h 176255"/>
                <a:gd name="connsiteX10" fmla="*/ 38048 w 184560"/>
                <a:gd name="connsiteY10" fmla="*/ 113550 h 176255"/>
                <a:gd name="connsiteX11" fmla="*/ 30139 w 184560"/>
                <a:gd name="connsiteY11" fmla="*/ 159873 h 176255"/>
                <a:gd name="connsiteX12" fmla="*/ 35788 w 184560"/>
                <a:gd name="connsiteY12" fmla="*/ 173431 h 176255"/>
                <a:gd name="connsiteX13" fmla="*/ 44262 w 184560"/>
                <a:gd name="connsiteY13" fmla="*/ 176256 h 176255"/>
                <a:gd name="connsiteX14" fmla="*/ 50476 w 184560"/>
                <a:gd name="connsiteY14" fmla="*/ 174561 h 176255"/>
                <a:gd name="connsiteX15" fmla="*/ 93410 w 184560"/>
                <a:gd name="connsiteY15" fmla="*/ 153094 h 176255"/>
                <a:gd name="connsiteX16" fmla="*/ 134084 w 184560"/>
                <a:gd name="connsiteY16" fmla="*/ 174561 h 176255"/>
                <a:gd name="connsiteX17" fmla="*/ 148772 w 184560"/>
                <a:gd name="connsiteY17" fmla="*/ 173431 h 176255"/>
                <a:gd name="connsiteX18" fmla="*/ 154422 w 184560"/>
                <a:gd name="connsiteY18" fmla="*/ 159873 h 176255"/>
                <a:gd name="connsiteX19" fmla="*/ 146513 w 184560"/>
                <a:gd name="connsiteY19" fmla="*/ 113550 h 176255"/>
                <a:gd name="connsiteX20" fmla="*/ 180408 w 184560"/>
                <a:gd name="connsiteY20" fmla="*/ 80784 h 176255"/>
                <a:gd name="connsiteX21" fmla="*/ 183798 w 184560"/>
                <a:gd name="connsiteY21" fmla="*/ 66661 h 176255"/>
                <a:gd name="connsiteX22" fmla="*/ 171369 w 184560"/>
                <a:gd name="connsiteY22" fmla="*/ 57057 h 176255"/>
                <a:gd name="connsiteX23" fmla="*/ 130695 w 184560"/>
                <a:gd name="connsiteY23" fmla="*/ 104511 h 176255"/>
                <a:gd name="connsiteX24" fmla="*/ 128435 w 184560"/>
                <a:gd name="connsiteY24" fmla="*/ 111855 h 176255"/>
                <a:gd name="connsiteX25" fmla="*/ 136344 w 184560"/>
                <a:gd name="connsiteY25" fmla="*/ 156484 h 176255"/>
                <a:gd name="connsiteX26" fmla="*/ 97364 w 184560"/>
                <a:gd name="connsiteY26" fmla="*/ 136146 h 176255"/>
                <a:gd name="connsiteX27" fmla="*/ 89456 w 184560"/>
                <a:gd name="connsiteY27" fmla="*/ 136146 h 176255"/>
                <a:gd name="connsiteX28" fmla="*/ 47651 w 184560"/>
                <a:gd name="connsiteY28" fmla="*/ 157049 h 176255"/>
                <a:gd name="connsiteX29" fmla="*/ 55560 w 184560"/>
                <a:gd name="connsiteY29" fmla="*/ 111855 h 176255"/>
                <a:gd name="connsiteX30" fmla="*/ 53301 w 184560"/>
                <a:gd name="connsiteY30" fmla="*/ 104511 h 176255"/>
                <a:gd name="connsiteX31" fmla="*/ 21100 w 184560"/>
                <a:gd name="connsiteY31" fmla="*/ 72875 h 176255"/>
                <a:gd name="connsiteX32" fmla="*/ 65729 w 184560"/>
                <a:gd name="connsiteY32" fmla="*/ 66096 h 176255"/>
                <a:gd name="connsiteX33" fmla="*/ 71943 w 184560"/>
                <a:gd name="connsiteY33" fmla="*/ 61577 h 176255"/>
                <a:gd name="connsiteX34" fmla="*/ 91715 w 184560"/>
                <a:gd name="connsiteY34" fmla="*/ 20902 h 176255"/>
                <a:gd name="connsiteX35" fmla="*/ 111488 w 184560"/>
                <a:gd name="connsiteY35" fmla="*/ 61577 h 176255"/>
                <a:gd name="connsiteX36" fmla="*/ 117702 w 184560"/>
                <a:gd name="connsiteY36" fmla="*/ 66096 h 176255"/>
                <a:gd name="connsiteX37" fmla="*/ 162331 w 184560"/>
                <a:gd name="connsiteY37" fmla="*/ 72875 h 176255"/>
                <a:gd name="connsiteX38" fmla="*/ 130695 w 184560"/>
                <a:gd name="connsiteY38" fmla="*/ 104511 h 176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84560" h="176255">
                  <a:moveTo>
                    <a:pt x="171369" y="57057"/>
                  </a:moveTo>
                  <a:lnTo>
                    <a:pt x="125046" y="50278"/>
                  </a:lnTo>
                  <a:lnTo>
                    <a:pt x="104144" y="7909"/>
                  </a:lnTo>
                  <a:cubicBezTo>
                    <a:pt x="101884" y="3390"/>
                    <a:pt x="96800" y="0"/>
                    <a:pt x="91715" y="0"/>
                  </a:cubicBezTo>
                  <a:cubicBezTo>
                    <a:pt x="91715" y="0"/>
                    <a:pt x="91715" y="0"/>
                    <a:pt x="91715" y="0"/>
                  </a:cubicBezTo>
                  <a:cubicBezTo>
                    <a:pt x="86631" y="0"/>
                    <a:pt x="81547" y="2825"/>
                    <a:pt x="79287" y="7909"/>
                  </a:cubicBezTo>
                  <a:lnTo>
                    <a:pt x="58385" y="50278"/>
                  </a:lnTo>
                  <a:lnTo>
                    <a:pt x="12061" y="57057"/>
                  </a:lnTo>
                  <a:cubicBezTo>
                    <a:pt x="6977" y="57622"/>
                    <a:pt x="2457" y="61577"/>
                    <a:pt x="763" y="66661"/>
                  </a:cubicBezTo>
                  <a:cubicBezTo>
                    <a:pt x="-932" y="71745"/>
                    <a:pt x="198" y="77394"/>
                    <a:pt x="4152" y="80784"/>
                  </a:cubicBezTo>
                  <a:lnTo>
                    <a:pt x="38048" y="113550"/>
                  </a:lnTo>
                  <a:lnTo>
                    <a:pt x="30139" y="159873"/>
                  </a:lnTo>
                  <a:cubicBezTo>
                    <a:pt x="29009" y="164958"/>
                    <a:pt x="31268" y="170042"/>
                    <a:pt x="35788" y="173431"/>
                  </a:cubicBezTo>
                  <a:cubicBezTo>
                    <a:pt x="38048" y="175126"/>
                    <a:pt x="40872" y="176256"/>
                    <a:pt x="44262" y="176256"/>
                  </a:cubicBezTo>
                  <a:cubicBezTo>
                    <a:pt x="46521" y="176256"/>
                    <a:pt x="48781" y="175691"/>
                    <a:pt x="50476" y="174561"/>
                  </a:cubicBezTo>
                  <a:lnTo>
                    <a:pt x="93410" y="153094"/>
                  </a:lnTo>
                  <a:lnTo>
                    <a:pt x="134084" y="174561"/>
                  </a:lnTo>
                  <a:cubicBezTo>
                    <a:pt x="138604" y="176821"/>
                    <a:pt x="144253" y="176821"/>
                    <a:pt x="148772" y="173431"/>
                  </a:cubicBezTo>
                  <a:cubicBezTo>
                    <a:pt x="153292" y="170042"/>
                    <a:pt x="154987" y="164958"/>
                    <a:pt x="154422" y="159873"/>
                  </a:cubicBezTo>
                  <a:lnTo>
                    <a:pt x="146513" y="113550"/>
                  </a:lnTo>
                  <a:lnTo>
                    <a:pt x="180408" y="80784"/>
                  </a:lnTo>
                  <a:cubicBezTo>
                    <a:pt x="184363" y="76830"/>
                    <a:pt x="185492" y="71745"/>
                    <a:pt x="183798" y="66661"/>
                  </a:cubicBezTo>
                  <a:cubicBezTo>
                    <a:pt x="180973" y="61577"/>
                    <a:pt x="177019" y="57622"/>
                    <a:pt x="171369" y="57057"/>
                  </a:cubicBezTo>
                  <a:close/>
                  <a:moveTo>
                    <a:pt x="130695" y="104511"/>
                  </a:moveTo>
                  <a:cubicBezTo>
                    <a:pt x="128435" y="106206"/>
                    <a:pt x="127870" y="109030"/>
                    <a:pt x="128435" y="111855"/>
                  </a:cubicBezTo>
                  <a:lnTo>
                    <a:pt x="136344" y="156484"/>
                  </a:lnTo>
                  <a:lnTo>
                    <a:pt x="97364" y="136146"/>
                  </a:lnTo>
                  <a:cubicBezTo>
                    <a:pt x="95105" y="135017"/>
                    <a:pt x="92280" y="135017"/>
                    <a:pt x="89456" y="136146"/>
                  </a:cubicBezTo>
                  <a:lnTo>
                    <a:pt x="47651" y="157049"/>
                  </a:lnTo>
                  <a:lnTo>
                    <a:pt x="55560" y="111855"/>
                  </a:lnTo>
                  <a:cubicBezTo>
                    <a:pt x="56125" y="109030"/>
                    <a:pt x="54995" y="106206"/>
                    <a:pt x="53301" y="104511"/>
                  </a:cubicBezTo>
                  <a:lnTo>
                    <a:pt x="21100" y="72875"/>
                  </a:lnTo>
                  <a:lnTo>
                    <a:pt x="65729" y="66096"/>
                  </a:lnTo>
                  <a:cubicBezTo>
                    <a:pt x="68553" y="65531"/>
                    <a:pt x="70813" y="63836"/>
                    <a:pt x="71943" y="61577"/>
                  </a:cubicBezTo>
                  <a:lnTo>
                    <a:pt x="91715" y="20902"/>
                  </a:lnTo>
                  <a:lnTo>
                    <a:pt x="111488" y="61577"/>
                  </a:lnTo>
                  <a:cubicBezTo>
                    <a:pt x="112617" y="63836"/>
                    <a:pt x="114877" y="66096"/>
                    <a:pt x="117702" y="66096"/>
                  </a:cubicBezTo>
                  <a:lnTo>
                    <a:pt x="162331" y="72875"/>
                  </a:lnTo>
                  <a:lnTo>
                    <a:pt x="130695" y="10451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C5DFD868-2B84-43F0-AF34-FE20EB871A35}"/>
              </a:ext>
            </a:extLst>
          </p:cNvPr>
          <p:cNvGrpSpPr/>
          <p:nvPr/>
        </p:nvGrpSpPr>
        <p:grpSpPr>
          <a:xfrm>
            <a:off x="7131047" y="3775441"/>
            <a:ext cx="410295" cy="422934"/>
            <a:chOff x="5282583" y="5577098"/>
            <a:chExt cx="503911" cy="503911"/>
          </a:xfrm>
          <a:solidFill>
            <a:schemeClr val="tx1"/>
          </a:solidFill>
        </p:grpSpPr>
        <p:sp>
          <p:nvSpPr>
            <p:cNvPr id="46" name="Полилиния: фигура 297">
              <a:extLst>
                <a:ext uri="{FF2B5EF4-FFF2-40B4-BE49-F238E27FC236}">
                  <a16:creationId xmlns:a16="http://schemas.microsoft.com/office/drawing/2014/main" id="{F479CDEB-5F4C-4385-B4C3-1490C7C0D7DE}"/>
                </a:ext>
              </a:extLst>
            </p:cNvPr>
            <p:cNvSpPr/>
            <p:nvPr/>
          </p:nvSpPr>
          <p:spPr>
            <a:xfrm>
              <a:off x="5282583" y="5577098"/>
              <a:ext cx="503911" cy="503911"/>
            </a:xfrm>
            <a:custGeom>
              <a:avLst/>
              <a:gdLst>
                <a:gd name="connsiteX0" fmla="*/ 251956 w 503911"/>
                <a:gd name="connsiteY0" fmla="*/ 0 h 503911"/>
                <a:gd name="connsiteX1" fmla="*/ 0 w 503911"/>
                <a:gd name="connsiteY1" fmla="*/ 251956 h 503911"/>
                <a:gd name="connsiteX2" fmla="*/ 251956 w 503911"/>
                <a:gd name="connsiteY2" fmla="*/ 503911 h 503911"/>
                <a:gd name="connsiteX3" fmla="*/ 503911 w 503911"/>
                <a:gd name="connsiteY3" fmla="*/ 251956 h 503911"/>
                <a:gd name="connsiteX4" fmla="*/ 251956 w 503911"/>
                <a:gd name="connsiteY4" fmla="*/ 0 h 503911"/>
                <a:gd name="connsiteX5" fmla="*/ 251956 w 503911"/>
                <a:gd name="connsiteY5" fmla="*/ 486964 h 503911"/>
                <a:gd name="connsiteX6" fmla="*/ 16948 w 503911"/>
                <a:gd name="connsiteY6" fmla="*/ 251956 h 503911"/>
                <a:gd name="connsiteX7" fmla="*/ 251956 w 503911"/>
                <a:gd name="connsiteY7" fmla="*/ 16948 h 503911"/>
                <a:gd name="connsiteX8" fmla="*/ 486964 w 503911"/>
                <a:gd name="connsiteY8" fmla="*/ 251956 h 503911"/>
                <a:gd name="connsiteX9" fmla="*/ 251956 w 503911"/>
                <a:gd name="connsiteY9" fmla="*/ 486964 h 50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3911" h="503911">
                  <a:moveTo>
                    <a:pt x="251956" y="0"/>
                  </a:moveTo>
                  <a:cubicBezTo>
                    <a:pt x="112985" y="0"/>
                    <a:pt x="0" y="112985"/>
                    <a:pt x="0" y="251956"/>
                  </a:cubicBezTo>
                  <a:cubicBezTo>
                    <a:pt x="0" y="390927"/>
                    <a:pt x="112985" y="503911"/>
                    <a:pt x="251956" y="503911"/>
                  </a:cubicBezTo>
                  <a:cubicBezTo>
                    <a:pt x="390927" y="503911"/>
                    <a:pt x="503911" y="390927"/>
                    <a:pt x="503911" y="251956"/>
                  </a:cubicBezTo>
                  <a:cubicBezTo>
                    <a:pt x="503911" y="112985"/>
                    <a:pt x="390927" y="0"/>
                    <a:pt x="251956" y="0"/>
                  </a:cubicBezTo>
                  <a:close/>
                  <a:moveTo>
                    <a:pt x="251956" y="486964"/>
                  </a:moveTo>
                  <a:cubicBezTo>
                    <a:pt x="122588" y="486964"/>
                    <a:pt x="16948" y="381323"/>
                    <a:pt x="16948" y="251956"/>
                  </a:cubicBezTo>
                  <a:cubicBezTo>
                    <a:pt x="16948" y="122588"/>
                    <a:pt x="122588" y="16948"/>
                    <a:pt x="251956" y="16948"/>
                  </a:cubicBezTo>
                  <a:cubicBezTo>
                    <a:pt x="381323" y="16948"/>
                    <a:pt x="486964" y="122588"/>
                    <a:pt x="486964" y="251956"/>
                  </a:cubicBezTo>
                  <a:cubicBezTo>
                    <a:pt x="486964" y="381323"/>
                    <a:pt x="381323" y="486964"/>
                    <a:pt x="251956" y="486964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Полилиния: фигура 298">
              <a:extLst>
                <a:ext uri="{FF2B5EF4-FFF2-40B4-BE49-F238E27FC236}">
                  <a16:creationId xmlns:a16="http://schemas.microsoft.com/office/drawing/2014/main" id="{3D6EDD4A-00C1-438B-835E-A1C03AE8BA48}"/>
                </a:ext>
              </a:extLst>
            </p:cNvPr>
            <p:cNvSpPr/>
            <p:nvPr/>
          </p:nvSpPr>
          <p:spPr>
            <a:xfrm>
              <a:off x="5391048" y="5712115"/>
              <a:ext cx="82478" cy="82491"/>
            </a:xfrm>
            <a:custGeom>
              <a:avLst/>
              <a:gdLst>
                <a:gd name="connsiteX0" fmla="*/ 82479 w 82478"/>
                <a:gd name="connsiteY0" fmla="*/ 41239 h 82491"/>
                <a:gd name="connsiteX1" fmla="*/ 41239 w 82478"/>
                <a:gd name="connsiteY1" fmla="*/ 0 h 82491"/>
                <a:gd name="connsiteX2" fmla="*/ 0 w 82478"/>
                <a:gd name="connsiteY2" fmla="*/ 41239 h 82491"/>
                <a:gd name="connsiteX3" fmla="*/ 41239 w 82478"/>
                <a:gd name="connsiteY3" fmla="*/ 82479 h 82491"/>
                <a:gd name="connsiteX4" fmla="*/ 82479 w 82478"/>
                <a:gd name="connsiteY4" fmla="*/ 41239 h 82491"/>
                <a:gd name="connsiteX5" fmla="*/ 16383 w 82478"/>
                <a:gd name="connsiteY5" fmla="*/ 41239 h 82491"/>
                <a:gd name="connsiteX6" fmla="*/ 40674 w 82478"/>
                <a:gd name="connsiteY6" fmla="*/ 16948 h 82491"/>
                <a:gd name="connsiteX7" fmla="*/ 64966 w 82478"/>
                <a:gd name="connsiteY7" fmla="*/ 41239 h 82491"/>
                <a:gd name="connsiteX8" fmla="*/ 40674 w 82478"/>
                <a:gd name="connsiteY8" fmla="*/ 65531 h 82491"/>
                <a:gd name="connsiteX9" fmla="*/ 16383 w 82478"/>
                <a:gd name="connsiteY9" fmla="*/ 41239 h 82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478" h="82491">
                  <a:moveTo>
                    <a:pt x="82479" y="41239"/>
                  </a:moveTo>
                  <a:cubicBezTo>
                    <a:pt x="82479" y="18642"/>
                    <a:pt x="63836" y="0"/>
                    <a:pt x="41239" y="0"/>
                  </a:cubicBezTo>
                  <a:cubicBezTo>
                    <a:pt x="18642" y="0"/>
                    <a:pt x="0" y="18642"/>
                    <a:pt x="0" y="41239"/>
                  </a:cubicBezTo>
                  <a:cubicBezTo>
                    <a:pt x="0" y="63836"/>
                    <a:pt x="18642" y="82479"/>
                    <a:pt x="41239" y="82479"/>
                  </a:cubicBezTo>
                  <a:cubicBezTo>
                    <a:pt x="63836" y="83044"/>
                    <a:pt x="82479" y="64401"/>
                    <a:pt x="82479" y="41239"/>
                  </a:cubicBezTo>
                  <a:close/>
                  <a:moveTo>
                    <a:pt x="16383" y="41239"/>
                  </a:moveTo>
                  <a:cubicBezTo>
                    <a:pt x="16383" y="27681"/>
                    <a:pt x="27116" y="16948"/>
                    <a:pt x="40674" y="16948"/>
                  </a:cubicBezTo>
                  <a:cubicBezTo>
                    <a:pt x="54233" y="16948"/>
                    <a:pt x="64966" y="27681"/>
                    <a:pt x="64966" y="41239"/>
                  </a:cubicBezTo>
                  <a:cubicBezTo>
                    <a:pt x="64966" y="54798"/>
                    <a:pt x="54233" y="65531"/>
                    <a:pt x="40674" y="65531"/>
                  </a:cubicBezTo>
                  <a:cubicBezTo>
                    <a:pt x="27116" y="65531"/>
                    <a:pt x="16383" y="54798"/>
                    <a:pt x="16383" y="4123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Полилиния: фигура 299">
              <a:extLst>
                <a:ext uri="{FF2B5EF4-FFF2-40B4-BE49-F238E27FC236}">
                  <a16:creationId xmlns:a16="http://schemas.microsoft.com/office/drawing/2014/main" id="{F7151D42-6EF6-4CF7-BB16-5E8003D9D6C9}"/>
                </a:ext>
              </a:extLst>
            </p:cNvPr>
            <p:cNvSpPr/>
            <p:nvPr/>
          </p:nvSpPr>
          <p:spPr>
            <a:xfrm>
              <a:off x="5591031" y="5712115"/>
              <a:ext cx="82478" cy="82478"/>
            </a:xfrm>
            <a:custGeom>
              <a:avLst/>
              <a:gdLst>
                <a:gd name="connsiteX0" fmla="*/ 41239 w 82478"/>
                <a:gd name="connsiteY0" fmla="*/ 0 h 82478"/>
                <a:gd name="connsiteX1" fmla="*/ 0 w 82478"/>
                <a:gd name="connsiteY1" fmla="*/ 41239 h 82478"/>
                <a:gd name="connsiteX2" fmla="*/ 41239 w 82478"/>
                <a:gd name="connsiteY2" fmla="*/ 82479 h 82478"/>
                <a:gd name="connsiteX3" fmla="*/ 82479 w 82478"/>
                <a:gd name="connsiteY3" fmla="*/ 41239 h 82478"/>
                <a:gd name="connsiteX4" fmla="*/ 41239 w 82478"/>
                <a:gd name="connsiteY4" fmla="*/ 0 h 82478"/>
                <a:gd name="connsiteX5" fmla="*/ 41239 w 82478"/>
                <a:gd name="connsiteY5" fmla="*/ 66096 h 82478"/>
                <a:gd name="connsiteX6" fmla="*/ 16948 w 82478"/>
                <a:gd name="connsiteY6" fmla="*/ 41804 h 82478"/>
                <a:gd name="connsiteX7" fmla="*/ 41239 w 82478"/>
                <a:gd name="connsiteY7" fmla="*/ 17513 h 82478"/>
                <a:gd name="connsiteX8" fmla="*/ 65531 w 82478"/>
                <a:gd name="connsiteY8" fmla="*/ 41804 h 82478"/>
                <a:gd name="connsiteX9" fmla="*/ 41239 w 82478"/>
                <a:gd name="connsiteY9" fmla="*/ 66096 h 8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478" h="82478">
                  <a:moveTo>
                    <a:pt x="41239" y="0"/>
                  </a:moveTo>
                  <a:cubicBezTo>
                    <a:pt x="18642" y="0"/>
                    <a:pt x="0" y="18642"/>
                    <a:pt x="0" y="41239"/>
                  </a:cubicBezTo>
                  <a:cubicBezTo>
                    <a:pt x="0" y="63836"/>
                    <a:pt x="18642" y="82479"/>
                    <a:pt x="41239" y="82479"/>
                  </a:cubicBezTo>
                  <a:cubicBezTo>
                    <a:pt x="63836" y="82479"/>
                    <a:pt x="82479" y="63836"/>
                    <a:pt x="82479" y="41239"/>
                  </a:cubicBezTo>
                  <a:cubicBezTo>
                    <a:pt x="82479" y="18642"/>
                    <a:pt x="64401" y="0"/>
                    <a:pt x="41239" y="0"/>
                  </a:cubicBezTo>
                  <a:close/>
                  <a:moveTo>
                    <a:pt x="41239" y="66096"/>
                  </a:moveTo>
                  <a:cubicBezTo>
                    <a:pt x="27681" y="66096"/>
                    <a:pt x="16948" y="55362"/>
                    <a:pt x="16948" y="41804"/>
                  </a:cubicBezTo>
                  <a:cubicBezTo>
                    <a:pt x="16948" y="28246"/>
                    <a:pt x="27681" y="17513"/>
                    <a:pt x="41239" y="17513"/>
                  </a:cubicBezTo>
                  <a:cubicBezTo>
                    <a:pt x="54798" y="17513"/>
                    <a:pt x="65531" y="28246"/>
                    <a:pt x="65531" y="41804"/>
                  </a:cubicBezTo>
                  <a:cubicBezTo>
                    <a:pt x="65531" y="55362"/>
                    <a:pt x="54798" y="66096"/>
                    <a:pt x="41239" y="66096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Полилиния: фигура 300">
              <a:extLst>
                <a:ext uri="{FF2B5EF4-FFF2-40B4-BE49-F238E27FC236}">
                  <a16:creationId xmlns:a16="http://schemas.microsoft.com/office/drawing/2014/main" id="{9FC07660-B6DF-4E0C-A1AD-33C80993C271}"/>
                </a:ext>
              </a:extLst>
            </p:cNvPr>
            <p:cNvSpPr/>
            <p:nvPr/>
          </p:nvSpPr>
          <p:spPr>
            <a:xfrm>
              <a:off x="5425511" y="5886676"/>
              <a:ext cx="214605" cy="87563"/>
            </a:xfrm>
            <a:custGeom>
              <a:avLst/>
              <a:gdLst>
                <a:gd name="connsiteX0" fmla="*/ 205065 w 214605"/>
                <a:gd name="connsiteY0" fmla="*/ 87563 h 87563"/>
                <a:gd name="connsiteX1" fmla="*/ 197156 w 214605"/>
                <a:gd name="connsiteY1" fmla="*/ 81914 h 87563"/>
                <a:gd name="connsiteX2" fmla="*/ 106768 w 214605"/>
                <a:gd name="connsiteY2" fmla="*/ 16948 h 87563"/>
                <a:gd name="connsiteX3" fmla="*/ 16381 w 214605"/>
                <a:gd name="connsiteY3" fmla="*/ 81914 h 87563"/>
                <a:gd name="connsiteX4" fmla="*/ 5647 w 214605"/>
                <a:gd name="connsiteY4" fmla="*/ 86998 h 87563"/>
                <a:gd name="connsiteX5" fmla="*/ 563 w 214605"/>
                <a:gd name="connsiteY5" fmla="*/ 76265 h 87563"/>
                <a:gd name="connsiteX6" fmla="*/ 107333 w 214605"/>
                <a:gd name="connsiteY6" fmla="*/ 0 h 87563"/>
                <a:gd name="connsiteX7" fmla="*/ 214104 w 214605"/>
                <a:gd name="connsiteY7" fmla="*/ 76265 h 87563"/>
                <a:gd name="connsiteX8" fmla="*/ 209019 w 214605"/>
                <a:gd name="connsiteY8" fmla="*/ 86998 h 87563"/>
                <a:gd name="connsiteX9" fmla="*/ 205065 w 214605"/>
                <a:gd name="connsiteY9" fmla="*/ 87563 h 8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4605" h="87563">
                  <a:moveTo>
                    <a:pt x="205065" y="87563"/>
                  </a:moveTo>
                  <a:cubicBezTo>
                    <a:pt x="201675" y="87563"/>
                    <a:pt x="198286" y="85303"/>
                    <a:pt x="197156" y="81914"/>
                  </a:cubicBezTo>
                  <a:cubicBezTo>
                    <a:pt x="184163" y="42934"/>
                    <a:pt x="147443" y="16948"/>
                    <a:pt x="106768" y="16948"/>
                  </a:cubicBezTo>
                  <a:cubicBezTo>
                    <a:pt x="65529" y="16948"/>
                    <a:pt x="29374" y="42934"/>
                    <a:pt x="16381" y="81914"/>
                  </a:cubicBezTo>
                  <a:cubicBezTo>
                    <a:pt x="14686" y="86433"/>
                    <a:pt x="10166" y="88693"/>
                    <a:pt x="5647" y="86998"/>
                  </a:cubicBezTo>
                  <a:cubicBezTo>
                    <a:pt x="1128" y="85303"/>
                    <a:pt x="-1132" y="80784"/>
                    <a:pt x="563" y="76265"/>
                  </a:cubicBezTo>
                  <a:cubicBezTo>
                    <a:pt x="16381" y="30506"/>
                    <a:pt x="58750" y="0"/>
                    <a:pt x="107333" y="0"/>
                  </a:cubicBezTo>
                  <a:cubicBezTo>
                    <a:pt x="155352" y="0"/>
                    <a:pt x="198286" y="30506"/>
                    <a:pt x="214104" y="76265"/>
                  </a:cubicBezTo>
                  <a:cubicBezTo>
                    <a:pt x="215798" y="80784"/>
                    <a:pt x="212974" y="85303"/>
                    <a:pt x="209019" y="86998"/>
                  </a:cubicBezTo>
                  <a:cubicBezTo>
                    <a:pt x="207325" y="86998"/>
                    <a:pt x="206195" y="87563"/>
                    <a:pt x="205065" y="8756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0264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26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D68EB34-ED57-0EA6-A021-937295937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93856"/>
            <a:ext cx="9974580" cy="338554"/>
          </a:xfrm>
        </p:spPr>
        <p:txBody>
          <a:bodyPr vert="horz"/>
          <a:lstStyle/>
          <a:p>
            <a:r>
              <a:rPr lang="ru-RU" dirty="0" smtClean="0"/>
              <a:t>Портал поставщик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26590" y="5366052"/>
            <a:ext cx="3847696" cy="118229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3344" y="1128538"/>
            <a:ext cx="9974580" cy="4237514"/>
          </a:xfrm>
          <a:prstGeom prst="rect">
            <a:avLst/>
          </a:prstGeom>
        </p:spPr>
      </p:pic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C5DFD868-2B84-43F0-AF34-FE20EB871A35}"/>
              </a:ext>
            </a:extLst>
          </p:cNvPr>
          <p:cNvGrpSpPr/>
          <p:nvPr/>
        </p:nvGrpSpPr>
        <p:grpSpPr>
          <a:xfrm>
            <a:off x="7465344" y="3539467"/>
            <a:ext cx="410295" cy="422934"/>
            <a:chOff x="5282583" y="5577098"/>
            <a:chExt cx="503911" cy="503911"/>
          </a:xfrm>
          <a:solidFill>
            <a:schemeClr val="tx1"/>
          </a:solidFill>
        </p:grpSpPr>
        <p:sp>
          <p:nvSpPr>
            <p:cNvPr id="13" name="Полилиния: фигура 297">
              <a:extLst>
                <a:ext uri="{FF2B5EF4-FFF2-40B4-BE49-F238E27FC236}">
                  <a16:creationId xmlns:a16="http://schemas.microsoft.com/office/drawing/2014/main" id="{F479CDEB-5F4C-4385-B4C3-1490C7C0D7DE}"/>
                </a:ext>
              </a:extLst>
            </p:cNvPr>
            <p:cNvSpPr/>
            <p:nvPr/>
          </p:nvSpPr>
          <p:spPr>
            <a:xfrm>
              <a:off x="5282583" y="5577098"/>
              <a:ext cx="503911" cy="503911"/>
            </a:xfrm>
            <a:custGeom>
              <a:avLst/>
              <a:gdLst>
                <a:gd name="connsiteX0" fmla="*/ 251956 w 503911"/>
                <a:gd name="connsiteY0" fmla="*/ 0 h 503911"/>
                <a:gd name="connsiteX1" fmla="*/ 0 w 503911"/>
                <a:gd name="connsiteY1" fmla="*/ 251956 h 503911"/>
                <a:gd name="connsiteX2" fmla="*/ 251956 w 503911"/>
                <a:gd name="connsiteY2" fmla="*/ 503911 h 503911"/>
                <a:gd name="connsiteX3" fmla="*/ 503911 w 503911"/>
                <a:gd name="connsiteY3" fmla="*/ 251956 h 503911"/>
                <a:gd name="connsiteX4" fmla="*/ 251956 w 503911"/>
                <a:gd name="connsiteY4" fmla="*/ 0 h 503911"/>
                <a:gd name="connsiteX5" fmla="*/ 251956 w 503911"/>
                <a:gd name="connsiteY5" fmla="*/ 486964 h 503911"/>
                <a:gd name="connsiteX6" fmla="*/ 16948 w 503911"/>
                <a:gd name="connsiteY6" fmla="*/ 251956 h 503911"/>
                <a:gd name="connsiteX7" fmla="*/ 251956 w 503911"/>
                <a:gd name="connsiteY7" fmla="*/ 16948 h 503911"/>
                <a:gd name="connsiteX8" fmla="*/ 486964 w 503911"/>
                <a:gd name="connsiteY8" fmla="*/ 251956 h 503911"/>
                <a:gd name="connsiteX9" fmla="*/ 251956 w 503911"/>
                <a:gd name="connsiteY9" fmla="*/ 486964 h 50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3911" h="503911">
                  <a:moveTo>
                    <a:pt x="251956" y="0"/>
                  </a:moveTo>
                  <a:cubicBezTo>
                    <a:pt x="112985" y="0"/>
                    <a:pt x="0" y="112985"/>
                    <a:pt x="0" y="251956"/>
                  </a:cubicBezTo>
                  <a:cubicBezTo>
                    <a:pt x="0" y="390927"/>
                    <a:pt x="112985" y="503911"/>
                    <a:pt x="251956" y="503911"/>
                  </a:cubicBezTo>
                  <a:cubicBezTo>
                    <a:pt x="390927" y="503911"/>
                    <a:pt x="503911" y="390927"/>
                    <a:pt x="503911" y="251956"/>
                  </a:cubicBezTo>
                  <a:cubicBezTo>
                    <a:pt x="503911" y="112985"/>
                    <a:pt x="390927" y="0"/>
                    <a:pt x="251956" y="0"/>
                  </a:cubicBezTo>
                  <a:close/>
                  <a:moveTo>
                    <a:pt x="251956" y="486964"/>
                  </a:moveTo>
                  <a:cubicBezTo>
                    <a:pt x="122588" y="486964"/>
                    <a:pt x="16948" y="381323"/>
                    <a:pt x="16948" y="251956"/>
                  </a:cubicBezTo>
                  <a:cubicBezTo>
                    <a:pt x="16948" y="122588"/>
                    <a:pt x="122588" y="16948"/>
                    <a:pt x="251956" y="16948"/>
                  </a:cubicBezTo>
                  <a:cubicBezTo>
                    <a:pt x="381323" y="16948"/>
                    <a:pt x="486964" y="122588"/>
                    <a:pt x="486964" y="251956"/>
                  </a:cubicBezTo>
                  <a:cubicBezTo>
                    <a:pt x="486964" y="381323"/>
                    <a:pt x="381323" y="486964"/>
                    <a:pt x="251956" y="486964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: фигура 298">
              <a:extLst>
                <a:ext uri="{FF2B5EF4-FFF2-40B4-BE49-F238E27FC236}">
                  <a16:creationId xmlns:a16="http://schemas.microsoft.com/office/drawing/2014/main" id="{3D6EDD4A-00C1-438B-835E-A1C03AE8BA48}"/>
                </a:ext>
              </a:extLst>
            </p:cNvPr>
            <p:cNvSpPr/>
            <p:nvPr/>
          </p:nvSpPr>
          <p:spPr>
            <a:xfrm>
              <a:off x="5391048" y="5712115"/>
              <a:ext cx="82478" cy="82491"/>
            </a:xfrm>
            <a:custGeom>
              <a:avLst/>
              <a:gdLst>
                <a:gd name="connsiteX0" fmla="*/ 82479 w 82478"/>
                <a:gd name="connsiteY0" fmla="*/ 41239 h 82491"/>
                <a:gd name="connsiteX1" fmla="*/ 41239 w 82478"/>
                <a:gd name="connsiteY1" fmla="*/ 0 h 82491"/>
                <a:gd name="connsiteX2" fmla="*/ 0 w 82478"/>
                <a:gd name="connsiteY2" fmla="*/ 41239 h 82491"/>
                <a:gd name="connsiteX3" fmla="*/ 41239 w 82478"/>
                <a:gd name="connsiteY3" fmla="*/ 82479 h 82491"/>
                <a:gd name="connsiteX4" fmla="*/ 82479 w 82478"/>
                <a:gd name="connsiteY4" fmla="*/ 41239 h 82491"/>
                <a:gd name="connsiteX5" fmla="*/ 16383 w 82478"/>
                <a:gd name="connsiteY5" fmla="*/ 41239 h 82491"/>
                <a:gd name="connsiteX6" fmla="*/ 40674 w 82478"/>
                <a:gd name="connsiteY6" fmla="*/ 16948 h 82491"/>
                <a:gd name="connsiteX7" fmla="*/ 64966 w 82478"/>
                <a:gd name="connsiteY7" fmla="*/ 41239 h 82491"/>
                <a:gd name="connsiteX8" fmla="*/ 40674 w 82478"/>
                <a:gd name="connsiteY8" fmla="*/ 65531 h 82491"/>
                <a:gd name="connsiteX9" fmla="*/ 16383 w 82478"/>
                <a:gd name="connsiteY9" fmla="*/ 41239 h 82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478" h="82491">
                  <a:moveTo>
                    <a:pt x="82479" y="41239"/>
                  </a:moveTo>
                  <a:cubicBezTo>
                    <a:pt x="82479" y="18642"/>
                    <a:pt x="63836" y="0"/>
                    <a:pt x="41239" y="0"/>
                  </a:cubicBezTo>
                  <a:cubicBezTo>
                    <a:pt x="18642" y="0"/>
                    <a:pt x="0" y="18642"/>
                    <a:pt x="0" y="41239"/>
                  </a:cubicBezTo>
                  <a:cubicBezTo>
                    <a:pt x="0" y="63836"/>
                    <a:pt x="18642" y="82479"/>
                    <a:pt x="41239" y="82479"/>
                  </a:cubicBezTo>
                  <a:cubicBezTo>
                    <a:pt x="63836" y="83044"/>
                    <a:pt x="82479" y="64401"/>
                    <a:pt x="82479" y="41239"/>
                  </a:cubicBezTo>
                  <a:close/>
                  <a:moveTo>
                    <a:pt x="16383" y="41239"/>
                  </a:moveTo>
                  <a:cubicBezTo>
                    <a:pt x="16383" y="27681"/>
                    <a:pt x="27116" y="16948"/>
                    <a:pt x="40674" y="16948"/>
                  </a:cubicBezTo>
                  <a:cubicBezTo>
                    <a:pt x="54233" y="16948"/>
                    <a:pt x="64966" y="27681"/>
                    <a:pt x="64966" y="41239"/>
                  </a:cubicBezTo>
                  <a:cubicBezTo>
                    <a:pt x="64966" y="54798"/>
                    <a:pt x="54233" y="65531"/>
                    <a:pt x="40674" y="65531"/>
                  </a:cubicBezTo>
                  <a:cubicBezTo>
                    <a:pt x="27116" y="65531"/>
                    <a:pt x="16383" y="54798"/>
                    <a:pt x="16383" y="4123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Полилиния: фигура 299">
              <a:extLst>
                <a:ext uri="{FF2B5EF4-FFF2-40B4-BE49-F238E27FC236}">
                  <a16:creationId xmlns:a16="http://schemas.microsoft.com/office/drawing/2014/main" id="{F7151D42-6EF6-4CF7-BB16-5E8003D9D6C9}"/>
                </a:ext>
              </a:extLst>
            </p:cNvPr>
            <p:cNvSpPr/>
            <p:nvPr/>
          </p:nvSpPr>
          <p:spPr>
            <a:xfrm>
              <a:off x="5591031" y="5712115"/>
              <a:ext cx="82478" cy="82478"/>
            </a:xfrm>
            <a:custGeom>
              <a:avLst/>
              <a:gdLst>
                <a:gd name="connsiteX0" fmla="*/ 41239 w 82478"/>
                <a:gd name="connsiteY0" fmla="*/ 0 h 82478"/>
                <a:gd name="connsiteX1" fmla="*/ 0 w 82478"/>
                <a:gd name="connsiteY1" fmla="*/ 41239 h 82478"/>
                <a:gd name="connsiteX2" fmla="*/ 41239 w 82478"/>
                <a:gd name="connsiteY2" fmla="*/ 82479 h 82478"/>
                <a:gd name="connsiteX3" fmla="*/ 82479 w 82478"/>
                <a:gd name="connsiteY3" fmla="*/ 41239 h 82478"/>
                <a:gd name="connsiteX4" fmla="*/ 41239 w 82478"/>
                <a:gd name="connsiteY4" fmla="*/ 0 h 82478"/>
                <a:gd name="connsiteX5" fmla="*/ 41239 w 82478"/>
                <a:gd name="connsiteY5" fmla="*/ 66096 h 82478"/>
                <a:gd name="connsiteX6" fmla="*/ 16948 w 82478"/>
                <a:gd name="connsiteY6" fmla="*/ 41804 h 82478"/>
                <a:gd name="connsiteX7" fmla="*/ 41239 w 82478"/>
                <a:gd name="connsiteY7" fmla="*/ 17513 h 82478"/>
                <a:gd name="connsiteX8" fmla="*/ 65531 w 82478"/>
                <a:gd name="connsiteY8" fmla="*/ 41804 h 82478"/>
                <a:gd name="connsiteX9" fmla="*/ 41239 w 82478"/>
                <a:gd name="connsiteY9" fmla="*/ 66096 h 8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478" h="82478">
                  <a:moveTo>
                    <a:pt x="41239" y="0"/>
                  </a:moveTo>
                  <a:cubicBezTo>
                    <a:pt x="18642" y="0"/>
                    <a:pt x="0" y="18642"/>
                    <a:pt x="0" y="41239"/>
                  </a:cubicBezTo>
                  <a:cubicBezTo>
                    <a:pt x="0" y="63836"/>
                    <a:pt x="18642" y="82479"/>
                    <a:pt x="41239" y="82479"/>
                  </a:cubicBezTo>
                  <a:cubicBezTo>
                    <a:pt x="63836" y="82479"/>
                    <a:pt x="82479" y="63836"/>
                    <a:pt x="82479" y="41239"/>
                  </a:cubicBezTo>
                  <a:cubicBezTo>
                    <a:pt x="82479" y="18642"/>
                    <a:pt x="64401" y="0"/>
                    <a:pt x="41239" y="0"/>
                  </a:cubicBezTo>
                  <a:close/>
                  <a:moveTo>
                    <a:pt x="41239" y="66096"/>
                  </a:moveTo>
                  <a:cubicBezTo>
                    <a:pt x="27681" y="66096"/>
                    <a:pt x="16948" y="55362"/>
                    <a:pt x="16948" y="41804"/>
                  </a:cubicBezTo>
                  <a:cubicBezTo>
                    <a:pt x="16948" y="28246"/>
                    <a:pt x="27681" y="17513"/>
                    <a:pt x="41239" y="17513"/>
                  </a:cubicBezTo>
                  <a:cubicBezTo>
                    <a:pt x="54798" y="17513"/>
                    <a:pt x="65531" y="28246"/>
                    <a:pt x="65531" y="41804"/>
                  </a:cubicBezTo>
                  <a:cubicBezTo>
                    <a:pt x="65531" y="55362"/>
                    <a:pt x="54798" y="66096"/>
                    <a:pt x="41239" y="66096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Полилиния: фигура 300">
              <a:extLst>
                <a:ext uri="{FF2B5EF4-FFF2-40B4-BE49-F238E27FC236}">
                  <a16:creationId xmlns:a16="http://schemas.microsoft.com/office/drawing/2014/main" id="{9FC07660-B6DF-4E0C-A1AD-33C80993C271}"/>
                </a:ext>
              </a:extLst>
            </p:cNvPr>
            <p:cNvSpPr/>
            <p:nvPr/>
          </p:nvSpPr>
          <p:spPr>
            <a:xfrm>
              <a:off x="5425511" y="5886676"/>
              <a:ext cx="214605" cy="87563"/>
            </a:xfrm>
            <a:custGeom>
              <a:avLst/>
              <a:gdLst>
                <a:gd name="connsiteX0" fmla="*/ 205065 w 214605"/>
                <a:gd name="connsiteY0" fmla="*/ 87563 h 87563"/>
                <a:gd name="connsiteX1" fmla="*/ 197156 w 214605"/>
                <a:gd name="connsiteY1" fmla="*/ 81914 h 87563"/>
                <a:gd name="connsiteX2" fmla="*/ 106768 w 214605"/>
                <a:gd name="connsiteY2" fmla="*/ 16948 h 87563"/>
                <a:gd name="connsiteX3" fmla="*/ 16381 w 214605"/>
                <a:gd name="connsiteY3" fmla="*/ 81914 h 87563"/>
                <a:gd name="connsiteX4" fmla="*/ 5647 w 214605"/>
                <a:gd name="connsiteY4" fmla="*/ 86998 h 87563"/>
                <a:gd name="connsiteX5" fmla="*/ 563 w 214605"/>
                <a:gd name="connsiteY5" fmla="*/ 76265 h 87563"/>
                <a:gd name="connsiteX6" fmla="*/ 107333 w 214605"/>
                <a:gd name="connsiteY6" fmla="*/ 0 h 87563"/>
                <a:gd name="connsiteX7" fmla="*/ 214104 w 214605"/>
                <a:gd name="connsiteY7" fmla="*/ 76265 h 87563"/>
                <a:gd name="connsiteX8" fmla="*/ 209019 w 214605"/>
                <a:gd name="connsiteY8" fmla="*/ 86998 h 87563"/>
                <a:gd name="connsiteX9" fmla="*/ 205065 w 214605"/>
                <a:gd name="connsiteY9" fmla="*/ 87563 h 8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4605" h="87563">
                  <a:moveTo>
                    <a:pt x="205065" y="87563"/>
                  </a:moveTo>
                  <a:cubicBezTo>
                    <a:pt x="201675" y="87563"/>
                    <a:pt x="198286" y="85303"/>
                    <a:pt x="197156" y="81914"/>
                  </a:cubicBezTo>
                  <a:cubicBezTo>
                    <a:pt x="184163" y="42934"/>
                    <a:pt x="147443" y="16948"/>
                    <a:pt x="106768" y="16948"/>
                  </a:cubicBezTo>
                  <a:cubicBezTo>
                    <a:pt x="65529" y="16948"/>
                    <a:pt x="29374" y="42934"/>
                    <a:pt x="16381" y="81914"/>
                  </a:cubicBezTo>
                  <a:cubicBezTo>
                    <a:pt x="14686" y="86433"/>
                    <a:pt x="10166" y="88693"/>
                    <a:pt x="5647" y="86998"/>
                  </a:cubicBezTo>
                  <a:cubicBezTo>
                    <a:pt x="1128" y="85303"/>
                    <a:pt x="-1132" y="80784"/>
                    <a:pt x="563" y="76265"/>
                  </a:cubicBezTo>
                  <a:cubicBezTo>
                    <a:pt x="16381" y="30506"/>
                    <a:pt x="58750" y="0"/>
                    <a:pt x="107333" y="0"/>
                  </a:cubicBezTo>
                  <a:cubicBezTo>
                    <a:pt x="155352" y="0"/>
                    <a:pt x="198286" y="30506"/>
                    <a:pt x="214104" y="76265"/>
                  </a:cubicBezTo>
                  <a:cubicBezTo>
                    <a:pt x="215798" y="80784"/>
                    <a:pt x="212974" y="85303"/>
                    <a:pt x="209019" y="86998"/>
                  </a:cubicBezTo>
                  <a:cubicBezTo>
                    <a:pt x="207325" y="86998"/>
                    <a:pt x="206195" y="87563"/>
                    <a:pt x="205065" y="8756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" name="Рисунок 12">
            <a:extLst>
              <a:ext uri="{FF2B5EF4-FFF2-40B4-BE49-F238E27FC236}">
                <a16:creationId xmlns:a16="http://schemas.microsoft.com/office/drawing/2014/main" id="{9182804A-3DBC-46AA-8935-1DC11FE3424D}"/>
              </a:ext>
            </a:extLst>
          </p:cNvPr>
          <p:cNvGrpSpPr/>
          <p:nvPr/>
        </p:nvGrpSpPr>
        <p:grpSpPr>
          <a:xfrm>
            <a:off x="8038951" y="5640732"/>
            <a:ext cx="449260" cy="496002"/>
            <a:chOff x="659078" y="3404973"/>
            <a:chExt cx="449260" cy="496002"/>
          </a:xfrm>
          <a:solidFill>
            <a:schemeClr val="tx1"/>
          </a:solidFill>
        </p:grpSpPr>
        <p:sp>
          <p:nvSpPr>
            <p:cNvPr id="19" name="Полилиния: фигура 29">
              <a:extLst>
                <a:ext uri="{FF2B5EF4-FFF2-40B4-BE49-F238E27FC236}">
                  <a16:creationId xmlns:a16="http://schemas.microsoft.com/office/drawing/2014/main" id="{9D68BCC1-90C8-4B93-9A1D-9B052AEEDB50}"/>
                </a:ext>
              </a:extLst>
            </p:cNvPr>
            <p:cNvSpPr/>
            <p:nvPr/>
          </p:nvSpPr>
          <p:spPr>
            <a:xfrm>
              <a:off x="659078" y="3404973"/>
              <a:ext cx="449260" cy="496002"/>
            </a:xfrm>
            <a:custGeom>
              <a:avLst/>
              <a:gdLst>
                <a:gd name="connsiteX0" fmla="*/ 446854 w 449260"/>
                <a:gd name="connsiteY0" fmla="*/ 50843 h 496002"/>
                <a:gd name="connsiteX1" fmla="*/ 440640 w 449260"/>
                <a:gd name="connsiteY1" fmla="*/ 48018 h 496002"/>
                <a:gd name="connsiteX2" fmla="*/ 354772 w 449260"/>
                <a:gd name="connsiteY2" fmla="*/ 48018 h 496002"/>
                <a:gd name="connsiteX3" fmla="*/ 354772 w 449260"/>
                <a:gd name="connsiteY3" fmla="*/ 8474 h 496002"/>
                <a:gd name="connsiteX4" fmla="*/ 346298 w 449260"/>
                <a:gd name="connsiteY4" fmla="*/ 0 h 496002"/>
                <a:gd name="connsiteX5" fmla="*/ 105076 w 449260"/>
                <a:gd name="connsiteY5" fmla="*/ 0 h 496002"/>
                <a:gd name="connsiteX6" fmla="*/ 96602 w 449260"/>
                <a:gd name="connsiteY6" fmla="*/ 8474 h 496002"/>
                <a:gd name="connsiteX7" fmla="*/ 96602 w 449260"/>
                <a:gd name="connsiteY7" fmla="*/ 48018 h 496002"/>
                <a:gd name="connsiteX8" fmla="*/ 8474 w 449260"/>
                <a:gd name="connsiteY8" fmla="*/ 48018 h 496002"/>
                <a:gd name="connsiteX9" fmla="*/ 2260 w 449260"/>
                <a:gd name="connsiteY9" fmla="*/ 50843 h 496002"/>
                <a:gd name="connsiteX10" fmla="*/ 0 w 449260"/>
                <a:gd name="connsiteY10" fmla="*/ 57057 h 496002"/>
                <a:gd name="connsiteX11" fmla="*/ 14688 w 449260"/>
                <a:gd name="connsiteY11" fmla="*/ 136711 h 496002"/>
                <a:gd name="connsiteX12" fmla="*/ 103946 w 449260"/>
                <a:gd name="connsiteY12" fmla="*/ 250261 h 496002"/>
                <a:gd name="connsiteX13" fmla="*/ 187554 w 449260"/>
                <a:gd name="connsiteY13" fmla="*/ 345168 h 496002"/>
                <a:gd name="connsiteX14" fmla="*/ 187554 w 449260"/>
                <a:gd name="connsiteY14" fmla="*/ 346863 h 496002"/>
                <a:gd name="connsiteX15" fmla="*/ 106206 w 449260"/>
                <a:gd name="connsiteY15" fmla="*/ 431036 h 496002"/>
                <a:gd name="connsiteX16" fmla="*/ 97732 w 449260"/>
                <a:gd name="connsiteY16" fmla="*/ 439510 h 496002"/>
                <a:gd name="connsiteX17" fmla="*/ 97732 w 449260"/>
                <a:gd name="connsiteY17" fmla="*/ 487529 h 496002"/>
                <a:gd name="connsiteX18" fmla="*/ 106206 w 449260"/>
                <a:gd name="connsiteY18" fmla="*/ 496002 h 496002"/>
                <a:gd name="connsiteX19" fmla="*/ 346298 w 449260"/>
                <a:gd name="connsiteY19" fmla="*/ 496002 h 496002"/>
                <a:gd name="connsiteX20" fmla="*/ 354772 w 449260"/>
                <a:gd name="connsiteY20" fmla="*/ 487529 h 496002"/>
                <a:gd name="connsiteX21" fmla="*/ 354772 w 449260"/>
                <a:gd name="connsiteY21" fmla="*/ 439510 h 496002"/>
                <a:gd name="connsiteX22" fmla="*/ 346298 w 449260"/>
                <a:gd name="connsiteY22" fmla="*/ 431036 h 496002"/>
                <a:gd name="connsiteX23" fmla="*/ 262124 w 449260"/>
                <a:gd name="connsiteY23" fmla="*/ 346863 h 496002"/>
                <a:gd name="connsiteX24" fmla="*/ 262124 w 449260"/>
                <a:gd name="connsiteY24" fmla="*/ 345733 h 496002"/>
                <a:gd name="connsiteX25" fmla="*/ 347993 w 449260"/>
                <a:gd name="connsiteY25" fmla="*/ 249131 h 496002"/>
                <a:gd name="connsiteX26" fmla="*/ 434426 w 449260"/>
                <a:gd name="connsiteY26" fmla="*/ 136711 h 496002"/>
                <a:gd name="connsiteX27" fmla="*/ 449114 w 449260"/>
                <a:gd name="connsiteY27" fmla="*/ 57057 h 496002"/>
                <a:gd name="connsiteX28" fmla="*/ 446854 w 449260"/>
                <a:gd name="connsiteY28" fmla="*/ 50843 h 496002"/>
                <a:gd name="connsiteX29" fmla="*/ 17513 w 449260"/>
                <a:gd name="connsiteY29" fmla="*/ 64966 h 496002"/>
                <a:gd name="connsiteX30" fmla="*/ 96602 w 449260"/>
                <a:gd name="connsiteY30" fmla="*/ 64966 h 496002"/>
                <a:gd name="connsiteX31" fmla="*/ 96602 w 449260"/>
                <a:gd name="connsiteY31" fmla="*/ 200548 h 496002"/>
                <a:gd name="connsiteX32" fmla="*/ 98862 w 449260"/>
                <a:gd name="connsiteY32" fmla="*/ 228229 h 496002"/>
                <a:gd name="connsiteX33" fmla="*/ 17513 w 449260"/>
                <a:gd name="connsiteY33" fmla="*/ 64966 h 496002"/>
                <a:gd name="connsiteX34" fmla="*/ 337824 w 449260"/>
                <a:gd name="connsiteY34" fmla="*/ 447419 h 496002"/>
                <a:gd name="connsiteX35" fmla="*/ 337824 w 449260"/>
                <a:gd name="connsiteY35" fmla="*/ 478490 h 496002"/>
                <a:gd name="connsiteX36" fmla="*/ 114679 w 449260"/>
                <a:gd name="connsiteY36" fmla="*/ 478490 h 496002"/>
                <a:gd name="connsiteX37" fmla="*/ 114679 w 449260"/>
                <a:gd name="connsiteY37" fmla="*/ 447419 h 496002"/>
                <a:gd name="connsiteX38" fmla="*/ 203937 w 449260"/>
                <a:gd name="connsiteY38" fmla="*/ 349687 h 496002"/>
                <a:gd name="connsiteX39" fmla="*/ 225404 w 449260"/>
                <a:gd name="connsiteY39" fmla="*/ 351947 h 496002"/>
                <a:gd name="connsiteX40" fmla="*/ 245177 w 449260"/>
                <a:gd name="connsiteY40" fmla="*/ 350252 h 496002"/>
                <a:gd name="connsiteX41" fmla="*/ 337824 w 449260"/>
                <a:gd name="connsiteY41" fmla="*/ 447419 h 496002"/>
                <a:gd name="connsiteX42" fmla="*/ 248001 w 449260"/>
                <a:gd name="connsiteY42" fmla="*/ 332740 h 496002"/>
                <a:gd name="connsiteX43" fmla="*/ 225969 w 449260"/>
                <a:gd name="connsiteY43" fmla="*/ 335564 h 496002"/>
                <a:gd name="connsiteX44" fmla="*/ 201113 w 449260"/>
                <a:gd name="connsiteY44" fmla="*/ 332175 h 496002"/>
                <a:gd name="connsiteX45" fmla="*/ 195463 w 449260"/>
                <a:gd name="connsiteY45" fmla="*/ 330480 h 496002"/>
                <a:gd name="connsiteX46" fmla="*/ 113550 w 449260"/>
                <a:gd name="connsiteY46" fmla="*/ 201113 h 496002"/>
                <a:gd name="connsiteX47" fmla="*/ 113550 w 449260"/>
                <a:gd name="connsiteY47" fmla="*/ 17513 h 496002"/>
                <a:gd name="connsiteX48" fmla="*/ 337824 w 449260"/>
                <a:gd name="connsiteY48" fmla="*/ 17513 h 496002"/>
                <a:gd name="connsiteX49" fmla="*/ 337824 w 449260"/>
                <a:gd name="connsiteY49" fmla="*/ 51408 h 496002"/>
                <a:gd name="connsiteX50" fmla="*/ 337824 w 449260"/>
                <a:gd name="connsiteY50" fmla="*/ 62142 h 496002"/>
                <a:gd name="connsiteX51" fmla="*/ 337824 w 449260"/>
                <a:gd name="connsiteY51" fmla="*/ 201113 h 496002"/>
                <a:gd name="connsiteX52" fmla="*/ 255345 w 449260"/>
                <a:gd name="connsiteY52" fmla="*/ 330480 h 496002"/>
                <a:gd name="connsiteX53" fmla="*/ 353077 w 449260"/>
                <a:gd name="connsiteY53" fmla="*/ 227099 h 496002"/>
                <a:gd name="connsiteX54" fmla="*/ 355337 w 449260"/>
                <a:gd name="connsiteY54" fmla="*/ 200548 h 496002"/>
                <a:gd name="connsiteX55" fmla="*/ 355337 w 449260"/>
                <a:gd name="connsiteY55" fmla="*/ 64966 h 496002"/>
                <a:gd name="connsiteX56" fmla="*/ 432166 w 449260"/>
                <a:gd name="connsiteY56" fmla="*/ 64966 h 496002"/>
                <a:gd name="connsiteX57" fmla="*/ 353077 w 449260"/>
                <a:gd name="connsiteY57" fmla="*/ 227099 h 49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49260" h="496002">
                  <a:moveTo>
                    <a:pt x="446854" y="50843"/>
                  </a:moveTo>
                  <a:cubicBezTo>
                    <a:pt x="445159" y="49148"/>
                    <a:pt x="442900" y="48018"/>
                    <a:pt x="440640" y="48018"/>
                  </a:cubicBezTo>
                  <a:lnTo>
                    <a:pt x="354772" y="48018"/>
                  </a:lnTo>
                  <a:lnTo>
                    <a:pt x="354772" y="8474"/>
                  </a:lnTo>
                  <a:cubicBezTo>
                    <a:pt x="354772" y="3954"/>
                    <a:pt x="350817" y="0"/>
                    <a:pt x="346298" y="0"/>
                  </a:cubicBezTo>
                  <a:lnTo>
                    <a:pt x="105076" y="0"/>
                  </a:lnTo>
                  <a:cubicBezTo>
                    <a:pt x="100556" y="0"/>
                    <a:pt x="96602" y="3954"/>
                    <a:pt x="96602" y="8474"/>
                  </a:cubicBezTo>
                  <a:lnTo>
                    <a:pt x="96602" y="48018"/>
                  </a:lnTo>
                  <a:lnTo>
                    <a:pt x="8474" y="48018"/>
                  </a:lnTo>
                  <a:cubicBezTo>
                    <a:pt x="6214" y="48018"/>
                    <a:pt x="3954" y="49148"/>
                    <a:pt x="2260" y="50843"/>
                  </a:cubicBezTo>
                  <a:cubicBezTo>
                    <a:pt x="565" y="52538"/>
                    <a:pt x="0" y="54798"/>
                    <a:pt x="0" y="57057"/>
                  </a:cubicBezTo>
                  <a:cubicBezTo>
                    <a:pt x="0" y="58752"/>
                    <a:pt x="1695" y="94907"/>
                    <a:pt x="14688" y="136711"/>
                  </a:cubicBezTo>
                  <a:cubicBezTo>
                    <a:pt x="32766" y="192639"/>
                    <a:pt x="63271" y="232183"/>
                    <a:pt x="103946" y="250261"/>
                  </a:cubicBezTo>
                  <a:cubicBezTo>
                    <a:pt x="117504" y="295455"/>
                    <a:pt x="148575" y="331045"/>
                    <a:pt x="187554" y="345168"/>
                  </a:cubicBezTo>
                  <a:lnTo>
                    <a:pt x="187554" y="346863"/>
                  </a:lnTo>
                  <a:cubicBezTo>
                    <a:pt x="187554" y="393751"/>
                    <a:pt x="151964" y="431036"/>
                    <a:pt x="106206" y="431036"/>
                  </a:cubicBezTo>
                  <a:cubicBezTo>
                    <a:pt x="101686" y="431036"/>
                    <a:pt x="97732" y="434991"/>
                    <a:pt x="97732" y="439510"/>
                  </a:cubicBezTo>
                  <a:lnTo>
                    <a:pt x="97732" y="487529"/>
                  </a:lnTo>
                  <a:cubicBezTo>
                    <a:pt x="97732" y="492048"/>
                    <a:pt x="101686" y="496002"/>
                    <a:pt x="106206" y="496002"/>
                  </a:cubicBezTo>
                  <a:lnTo>
                    <a:pt x="346298" y="496002"/>
                  </a:lnTo>
                  <a:cubicBezTo>
                    <a:pt x="350817" y="496002"/>
                    <a:pt x="354772" y="492048"/>
                    <a:pt x="354772" y="487529"/>
                  </a:cubicBezTo>
                  <a:lnTo>
                    <a:pt x="354772" y="439510"/>
                  </a:lnTo>
                  <a:cubicBezTo>
                    <a:pt x="354772" y="434991"/>
                    <a:pt x="350817" y="431036"/>
                    <a:pt x="346298" y="431036"/>
                  </a:cubicBezTo>
                  <a:cubicBezTo>
                    <a:pt x="299974" y="431036"/>
                    <a:pt x="262124" y="393186"/>
                    <a:pt x="262124" y="346863"/>
                  </a:cubicBezTo>
                  <a:lnTo>
                    <a:pt x="262124" y="345733"/>
                  </a:lnTo>
                  <a:cubicBezTo>
                    <a:pt x="302799" y="331610"/>
                    <a:pt x="334434" y="295455"/>
                    <a:pt x="347993" y="249131"/>
                  </a:cubicBezTo>
                  <a:cubicBezTo>
                    <a:pt x="386972" y="230489"/>
                    <a:pt x="416913" y="191509"/>
                    <a:pt x="434426" y="136711"/>
                  </a:cubicBezTo>
                  <a:cubicBezTo>
                    <a:pt x="447984" y="94907"/>
                    <a:pt x="449114" y="58187"/>
                    <a:pt x="449114" y="57057"/>
                  </a:cubicBezTo>
                  <a:cubicBezTo>
                    <a:pt x="449679" y="54798"/>
                    <a:pt x="448549" y="52538"/>
                    <a:pt x="446854" y="50843"/>
                  </a:cubicBezTo>
                  <a:close/>
                  <a:moveTo>
                    <a:pt x="17513" y="64966"/>
                  </a:moveTo>
                  <a:lnTo>
                    <a:pt x="96602" y="64966"/>
                  </a:lnTo>
                  <a:lnTo>
                    <a:pt x="96602" y="200548"/>
                  </a:lnTo>
                  <a:cubicBezTo>
                    <a:pt x="96602" y="210151"/>
                    <a:pt x="97167" y="219190"/>
                    <a:pt x="98862" y="228229"/>
                  </a:cubicBezTo>
                  <a:cubicBezTo>
                    <a:pt x="34460" y="189814"/>
                    <a:pt x="20337" y="94342"/>
                    <a:pt x="17513" y="64966"/>
                  </a:cubicBezTo>
                  <a:close/>
                  <a:moveTo>
                    <a:pt x="337824" y="447419"/>
                  </a:moveTo>
                  <a:lnTo>
                    <a:pt x="337824" y="478490"/>
                  </a:lnTo>
                  <a:lnTo>
                    <a:pt x="114679" y="478490"/>
                  </a:lnTo>
                  <a:lnTo>
                    <a:pt x="114679" y="447419"/>
                  </a:lnTo>
                  <a:cubicBezTo>
                    <a:pt x="164393" y="443465"/>
                    <a:pt x="202807" y="402225"/>
                    <a:pt x="203937" y="349687"/>
                  </a:cubicBezTo>
                  <a:cubicBezTo>
                    <a:pt x="210716" y="350817"/>
                    <a:pt x="218060" y="351947"/>
                    <a:pt x="225404" y="351947"/>
                  </a:cubicBezTo>
                  <a:cubicBezTo>
                    <a:pt x="232183" y="351947"/>
                    <a:pt x="238962" y="351382"/>
                    <a:pt x="245177" y="350252"/>
                  </a:cubicBezTo>
                  <a:cubicBezTo>
                    <a:pt x="247436" y="401660"/>
                    <a:pt x="287546" y="443465"/>
                    <a:pt x="337824" y="447419"/>
                  </a:cubicBezTo>
                  <a:close/>
                  <a:moveTo>
                    <a:pt x="248001" y="332740"/>
                  </a:moveTo>
                  <a:cubicBezTo>
                    <a:pt x="240657" y="334434"/>
                    <a:pt x="233313" y="335564"/>
                    <a:pt x="225969" y="335564"/>
                  </a:cubicBezTo>
                  <a:cubicBezTo>
                    <a:pt x="217495" y="335564"/>
                    <a:pt x="209022" y="334434"/>
                    <a:pt x="201113" y="332175"/>
                  </a:cubicBezTo>
                  <a:cubicBezTo>
                    <a:pt x="199418" y="331610"/>
                    <a:pt x="196593" y="330480"/>
                    <a:pt x="195463" y="330480"/>
                  </a:cubicBezTo>
                  <a:cubicBezTo>
                    <a:pt x="148575" y="314662"/>
                    <a:pt x="113550" y="262689"/>
                    <a:pt x="113550" y="201113"/>
                  </a:cubicBezTo>
                  <a:lnTo>
                    <a:pt x="113550" y="17513"/>
                  </a:lnTo>
                  <a:lnTo>
                    <a:pt x="337824" y="17513"/>
                  </a:lnTo>
                  <a:lnTo>
                    <a:pt x="337824" y="51408"/>
                  </a:lnTo>
                  <a:lnTo>
                    <a:pt x="337824" y="62142"/>
                  </a:lnTo>
                  <a:lnTo>
                    <a:pt x="337824" y="201113"/>
                  </a:lnTo>
                  <a:cubicBezTo>
                    <a:pt x="337824" y="262689"/>
                    <a:pt x="302799" y="314662"/>
                    <a:pt x="255345" y="330480"/>
                  </a:cubicBezTo>
                  <a:moveTo>
                    <a:pt x="353077" y="227099"/>
                  </a:moveTo>
                  <a:cubicBezTo>
                    <a:pt x="354207" y="218625"/>
                    <a:pt x="355337" y="209586"/>
                    <a:pt x="355337" y="200548"/>
                  </a:cubicBezTo>
                  <a:lnTo>
                    <a:pt x="355337" y="64966"/>
                  </a:lnTo>
                  <a:lnTo>
                    <a:pt x="432166" y="64966"/>
                  </a:lnTo>
                  <a:cubicBezTo>
                    <a:pt x="429342" y="94342"/>
                    <a:pt x="415783" y="186990"/>
                    <a:pt x="353077" y="22709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Полилиния: фигура 34">
              <a:extLst>
                <a:ext uri="{FF2B5EF4-FFF2-40B4-BE49-F238E27FC236}">
                  <a16:creationId xmlns:a16="http://schemas.microsoft.com/office/drawing/2014/main" id="{C5E27EBC-9394-40A3-966D-C4C1FC0F48D9}"/>
                </a:ext>
              </a:extLst>
            </p:cNvPr>
            <p:cNvSpPr/>
            <p:nvPr/>
          </p:nvSpPr>
          <p:spPr>
            <a:xfrm>
              <a:off x="795027" y="3466549"/>
              <a:ext cx="184560" cy="176255"/>
            </a:xfrm>
            <a:custGeom>
              <a:avLst/>
              <a:gdLst>
                <a:gd name="connsiteX0" fmla="*/ 171369 w 184560"/>
                <a:gd name="connsiteY0" fmla="*/ 57057 h 176255"/>
                <a:gd name="connsiteX1" fmla="*/ 125046 w 184560"/>
                <a:gd name="connsiteY1" fmla="*/ 50278 h 176255"/>
                <a:gd name="connsiteX2" fmla="*/ 104144 w 184560"/>
                <a:gd name="connsiteY2" fmla="*/ 7909 h 176255"/>
                <a:gd name="connsiteX3" fmla="*/ 91715 w 184560"/>
                <a:gd name="connsiteY3" fmla="*/ 0 h 176255"/>
                <a:gd name="connsiteX4" fmla="*/ 91715 w 184560"/>
                <a:gd name="connsiteY4" fmla="*/ 0 h 176255"/>
                <a:gd name="connsiteX5" fmla="*/ 79287 w 184560"/>
                <a:gd name="connsiteY5" fmla="*/ 7909 h 176255"/>
                <a:gd name="connsiteX6" fmla="*/ 58385 w 184560"/>
                <a:gd name="connsiteY6" fmla="*/ 50278 h 176255"/>
                <a:gd name="connsiteX7" fmla="*/ 12061 w 184560"/>
                <a:gd name="connsiteY7" fmla="*/ 57057 h 176255"/>
                <a:gd name="connsiteX8" fmla="*/ 763 w 184560"/>
                <a:gd name="connsiteY8" fmla="*/ 66661 h 176255"/>
                <a:gd name="connsiteX9" fmla="*/ 4152 w 184560"/>
                <a:gd name="connsiteY9" fmla="*/ 80784 h 176255"/>
                <a:gd name="connsiteX10" fmla="*/ 38048 w 184560"/>
                <a:gd name="connsiteY10" fmla="*/ 113550 h 176255"/>
                <a:gd name="connsiteX11" fmla="*/ 30139 w 184560"/>
                <a:gd name="connsiteY11" fmla="*/ 159873 h 176255"/>
                <a:gd name="connsiteX12" fmla="*/ 35788 w 184560"/>
                <a:gd name="connsiteY12" fmla="*/ 173431 h 176255"/>
                <a:gd name="connsiteX13" fmla="*/ 44262 w 184560"/>
                <a:gd name="connsiteY13" fmla="*/ 176256 h 176255"/>
                <a:gd name="connsiteX14" fmla="*/ 50476 w 184560"/>
                <a:gd name="connsiteY14" fmla="*/ 174561 h 176255"/>
                <a:gd name="connsiteX15" fmla="*/ 93410 w 184560"/>
                <a:gd name="connsiteY15" fmla="*/ 153094 h 176255"/>
                <a:gd name="connsiteX16" fmla="*/ 134084 w 184560"/>
                <a:gd name="connsiteY16" fmla="*/ 174561 h 176255"/>
                <a:gd name="connsiteX17" fmla="*/ 148772 w 184560"/>
                <a:gd name="connsiteY17" fmla="*/ 173431 h 176255"/>
                <a:gd name="connsiteX18" fmla="*/ 154422 w 184560"/>
                <a:gd name="connsiteY18" fmla="*/ 159873 h 176255"/>
                <a:gd name="connsiteX19" fmla="*/ 146513 w 184560"/>
                <a:gd name="connsiteY19" fmla="*/ 113550 h 176255"/>
                <a:gd name="connsiteX20" fmla="*/ 180408 w 184560"/>
                <a:gd name="connsiteY20" fmla="*/ 80784 h 176255"/>
                <a:gd name="connsiteX21" fmla="*/ 183798 w 184560"/>
                <a:gd name="connsiteY21" fmla="*/ 66661 h 176255"/>
                <a:gd name="connsiteX22" fmla="*/ 171369 w 184560"/>
                <a:gd name="connsiteY22" fmla="*/ 57057 h 176255"/>
                <a:gd name="connsiteX23" fmla="*/ 130695 w 184560"/>
                <a:gd name="connsiteY23" fmla="*/ 104511 h 176255"/>
                <a:gd name="connsiteX24" fmla="*/ 128435 w 184560"/>
                <a:gd name="connsiteY24" fmla="*/ 111855 h 176255"/>
                <a:gd name="connsiteX25" fmla="*/ 136344 w 184560"/>
                <a:gd name="connsiteY25" fmla="*/ 156484 h 176255"/>
                <a:gd name="connsiteX26" fmla="*/ 97364 w 184560"/>
                <a:gd name="connsiteY26" fmla="*/ 136146 h 176255"/>
                <a:gd name="connsiteX27" fmla="*/ 89456 w 184560"/>
                <a:gd name="connsiteY27" fmla="*/ 136146 h 176255"/>
                <a:gd name="connsiteX28" fmla="*/ 47651 w 184560"/>
                <a:gd name="connsiteY28" fmla="*/ 157049 h 176255"/>
                <a:gd name="connsiteX29" fmla="*/ 55560 w 184560"/>
                <a:gd name="connsiteY29" fmla="*/ 111855 h 176255"/>
                <a:gd name="connsiteX30" fmla="*/ 53301 w 184560"/>
                <a:gd name="connsiteY30" fmla="*/ 104511 h 176255"/>
                <a:gd name="connsiteX31" fmla="*/ 21100 w 184560"/>
                <a:gd name="connsiteY31" fmla="*/ 72875 h 176255"/>
                <a:gd name="connsiteX32" fmla="*/ 65729 w 184560"/>
                <a:gd name="connsiteY32" fmla="*/ 66096 h 176255"/>
                <a:gd name="connsiteX33" fmla="*/ 71943 w 184560"/>
                <a:gd name="connsiteY33" fmla="*/ 61577 h 176255"/>
                <a:gd name="connsiteX34" fmla="*/ 91715 w 184560"/>
                <a:gd name="connsiteY34" fmla="*/ 20902 h 176255"/>
                <a:gd name="connsiteX35" fmla="*/ 111488 w 184560"/>
                <a:gd name="connsiteY35" fmla="*/ 61577 h 176255"/>
                <a:gd name="connsiteX36" fmla="*/ 117702 w 184560"/>
                <a:gd name="connsiteY36" fmla="*/ 66096 h 176255"/>
                <a:gd name="connsiteX37" fmla="*/ 162331 w 184560"/>
                <a:gd name="connsiteY37" fmla="*/ 72875 h 176255"/>
                <a:gd name="connsiteX38" fmla="*/ 130695 w 184560"/>
                <a:gd name="connsiteY38" fmla="*/ 104511 h 176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84560" h="176255">
                  <a:moveTo>
                    <a:pt x="171369" y="57057"/>
                  </a:moveTo>
                  <a:lnTo>
                    <a:pt x="125046" y="50278"/>
                  </a:lnTo>
                  <a:lnTo>
                    <a:pt x="104144" y="7909"/>
                  </a:lnTo>
                  <a:cubicBezTo>
                    <a:pt x="101884" y="3390"/>
                    <a:pt x="96800" y="0"/>
                    <a:pt x="91715" y="0"/>
                  </a:cubicBezTo>
                  <a:cubicBezTo>
                    <a:pt x="91715" y="0"/>
                    <a:pt x="91715" y="0"/>
                    <a:pt x="91715" y="0"/>
                  </a:cubicBezTo>
                  <a:cubicBezTo>
                    <a:pt x="86631" y="0"/>
                    <a:pt x="81547" y="2825"/>
                    <a:pt x="79287" y="7909"/>
                  </a:cubicBezTo>
                  <a:lnTo>
                    <a:pt x="58385" y="50278"/>
                  </a:lnTo>
                  <a:lnTo>
                    <a:pt x="12061" y="57057"/>
                  </a:lnTo>
                  <a:cubicBezTo>
                    <a:pt x="6977" y="57622"/>
                    <a:pt x="2457" y="61577"/>
                    <a:pt x="763" y="66661"/>
                  </a:cubicBezTo>
                  <a:cubicBezTo>
                    <a:pt x="-932" y="71745"/>
                    <a:pt x="198" y="77394"/>
                    <a:pt x="4152" y="80784"/>
                  </a:cubicBezTo>
                  <a:lnTo>
                    <a:pt x="38048" y="113550"/>
                  </a:lnTo>
                  <a:lnTo>
                    <a:pt x="30139" y="159873"/>
                  </a:lnTo>
                  <a:cubicBezTo>
                    <a:pt x="29009" y="164958"/>
                    <a:pt x="31268" y="170042"/>
                    <a:pt x="35788" y="173431"/>
                  </a:cubicBezTo>
                  <a:cubicBezTo>
                    <a:pt x="38048" y="175126"/>
                    <a:pt x="40872" y="176256"/>
                    <a:pt x="44262" y="176256"/>
                  </a:cubicBezTo>
                  <a:cubicBezTo>
                    <a:pt x="46521" y="176256"/>
                    <a:pt x="48781" y="175691"/>
                    <a:pt x="50476" y="174561"/>
                  </a:cubicBezTo>
                  <a:lnTo>
                    <a:pt x="93410" y="153094"/>
                  </a:lnTo>
                  <a:lnTo>
                    <a:pt x="134084" y="174561"/>
                  </a:lnTo>
                  <a:cubicBezTo>
                    <a:pt x="138604" y="176821"/>
                    <a:pt x="144253" y="176821"/>
                    <a:pt x="148772" y="173431"/>
                  </a:cubicBezTo>
                  <a:cubicBezTo>
                    <a:pt x="153292" y="170042"/>
                    <a:pt x="154987" y="164958"/>
                    <a:pt x="154422" y="159873"/>
                  </a:cubicBezTo>
                  <a:lnTo>
                    <a:pt x="146513" y="113550"/>
                  </a:lnTo>
                  <a:lnTo>
                    <a:pt x="180408" y="80784"/>
                  </a:lnTo>
                  <a:cubicBezTo>
                    <a:pt x="184363" y="76830"/>
                    <a:pt x="185492" y="71745"/>
                    <a:pt x="183798" y="66661"/>
                  </a:cubicBezTo>
                  <a:cubicBezTo>
                    <a:pt x="180973" y="61577"/>
                    <a:pt x="177019" y="57622"/>
                    <a:pt x="171369" y="57057"/>
                  </a:cubicBezTo>
                  <a:close/>
                  <a:moveTo>
                    <a:pt x="130695" y="104511"/>
                  </a:moveTo>
                  <a:cubicBezTo>
                    <a:pt x="128435" y="106206"/>
                    <a:pt x="127870" y="109030"/>
                    <a:pt x="128435" y="111855"/>
                  </a:cubicBezTo>
                  <a:lnTo>
                    <a:pt x="136344" y="156484"/>
                  </a:lnTo>
                  <a:lnTo>
                    <a:pt x="97364" y="136146"/>
                  </a:lnTo>
                  <a:cubicBezTo>
                    <a:pt x="95105" y="135017"/>
                    <a:pt x="92280" y="135017"/>
                    <a:pt x="89456" y="136146"/>
                  </a:cubicBezTo>
                  <a:lnTo>
                    <a:pt x="47651" y="157049"/>
                  </a:lnTo>
                  <a:lnTo>
                    <a:pt x="55560" y="111855"/>
                  </a:lnTo>
                  <a:cubicBezTo>
                    <a:pt x="56125" y="109030"/>
                    <a:pt x="54995" y="106206"/>
                    <a:pt x="53301" y="104511"/>
                  </a:cubicBezTo>
                  <a:lnTo>
                    <a:pt x="21100" y="72875"/>
                  </a:lnTo>
                  <a:lnTo>
                    <a:pt x="65729" y="66096"/>
                  </a:lnTo>
                  <a:cubicBezTo>
                    <a:pt x="68553" y="65531"/>
                    <a:pt x="70813" y="63836"/>
                    <a:pt x="71943" y="61577"/>
                  </a:cubicBezTo>
                  <a:lnTo>
                    <a:pt x="91715" y="20902"/>
                  </a:lnTo>
                  <a:lnTo>
                    <a:pt x="111488" y="61577"/>
                  </a:lnTo>
                  <a:cubicBezTo>
                    <a:pt x="112617" y="63836"/>
                    <a:pt x="114877" y="66096"/>
                    <a:pt x="117702" y="66096"/>
                  </a:cubicBezTo>
                  <a:lnTo>
                    <a:pt x="162331" y="72875"/>
                  </a:lnTo>
                  <a:lnTo>
                    <a:pt x="130695" y="10451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" name="Рисунок 57">
            <a:extLst>
              <a:ext uri="{FF2B5EF4-FFF2-40B4-BE49-F238E27FC236}">
                <a16:creationId xmlns:a16="http://schemas.microsoft.com/office/drawing/2014/main" id="{E53408C5-6B78-40D9-8B63-CB6A78DD3C54}"/>
              </a:ext>
            </a:extLst>
          </p:cNvPr>
          <p:cNvGrpSpPr/>
          <p:nvPr/>
        </p:nvGrpSpPr>
        <p:grpSpPr>
          <a:xfrm>
            <a:off x="5987258" y="5527861"/>
            <a:ext cx="548137" cy="525148"/>
            <a:chOff x="5256546" y="3389267"/>
            <a:chExt cx="548137" cy="525148"/>
          </a:xfrm>
          <a:solidFill>
            <a:schemeClr val="tx1"/>
          </a:solidFill>
        </p:grpSpPr>
        <p:sp>
          <p:nvSpPr>
            <p:cNvPr id="22" name="Полилиния: фигура 198">
              <a:extLst>
                <a:ext uri="{FF2B5EF4-FFF2-40B4-BE49-F238E27FC236}">
                  <a16:creationId xmlns:a16="http://schemas.microsoft.com/office/drawing/2014/main" id="{4A5FCFAF-3ACE-41F6-AB4A-07A291843941}"/>
                </a:ext>
              </a:extLst>
            </p:cNvPr>
            <p:cNvSpPr/>
            <p:nvPr/>
          </p:nvSpPr>
          <p:spPr>
            <a:xfrm>
              <a:off x="5399584" y="3518847"/>
              <a:ext cx="271123" cy="395568"/>
            </a:xfrm>
            <a:custGeom>
              <a:avLst/>
              <a:gdLst>
                <a:gd name="connsiteX0" fmla="*/ 135542 w 271123"/>
                <a:gd name="connsiteY0" fmla="*/ 0 h 395568"/>
                <a:gd name="connsiteX1" fmla="*/ 0 w 271123"/>
                <a:gd name="connsiteY1" fmla="*/ 135598 h 395568"/>
                <a:gd name="connsiteX2" fmla="*/ 54742 w 271123"/>
                <a:gd name="connsiteY2" fmla="*/ 244371 h 395568"/>
                <a:gd name="connsiteX3" fmla="*/ 54742 w 271123"/>
                <a:gd name="connsiteY3" fmla="*/ 335961 h 395568"/>
                <a:gd name="connsiteX4" fmla="*/ 63132 w 271123"/>
                <a:gd name="connsiteY4" fmla="*/ 344351 h 395568"/>
                <a:gd name="connsiteX5" fmla="*/ 76611 w 271123"/>
                <a:gd name="connsiteY5" fmla="*/ 344351 h 395568"/>
                <a:gd name="connsiteX6" fmla="*/ 135542 w 271123"/>
                <a:gd name="connsiteY6" fmla="*/ 395569 h 395568"/>
                <a:gd name="connsiteX7" fmla="*/ 194507 w 271123"/>
                <a:gd name="connsiteY7" fmla="*/ 344351 h 395568"/>
                <a:gd name="connsiteX8" fmla="*/ 206387 w 271123"/>
                <a:gd name="connsiteY8" fmla="*/ 344351 h 395568"/>
                <a:gd name="connsiteX9" fmla="*/ 214777 w 271123"/>
                <a:gd name="connsiteY9" fmla="*/ 335961 h 395568"/>
                <a:gd name="connsiteX10" fmla="*/ 214777 w 271123"/>
                <a:gd name="connsiteY10" fmla="*/ 245545 h 395568"/>
                <a:gd name="connsiteX11" fmla="*/ 271124 w 271123"/>
                <a:gd name="connsiteY11" fmla="*/ 135598 h 395568"/>
                <a:gd name="connsiteX12" fmla="*/ 135542 w 271123"/>
                <a:gd name="connsiteY12" fmla="*/ 0 h 395568"/>
                <a:gd name="connsiteX13" fmla="*/ 135542 w 271123"/>
                <a:gd name="connsiteY13" fmla="*/ 378794 h 395568"/>
                <a:gd name="connsiteX14" fmla="*/ 93570 w 271123"/>
                <a:gd name="connsiteY14" fmla="*/ 344357 h 395568"/>
                <a:gd name="connsiteX15" fmla="*/ 177554 w 271123"/>
                <a:gd name="connsiteY15" fmla="*/ 344357 h 395568"/>
                <a:gd name="connsiteX16" fmla="*/ 135542 w 271123"/>
                <a:gd name="connsiteY16" fmla="*/ 378794 h 395568"/>
                <a:gd name="connsiteX17" fmla="*/ 197997 w 271123"/>
                <a:gd name="connsiteY17" fmla="*/ 327571 h 395568"/>
                <a:gd name="connsiteX18" fmla="*/ 71521 w 271123"/>
                <a:gd name="connsiteY18" fmla="*/ 327571 h 395568"/>
                <a:gd name="connsiteX19" fmla="*/ 71521 w 271123"/>
                <a:gd name="connsiteY19" fmla="*/ 248437 h 395568"/>
                <a:gd name="connsiteX20" fmla="*/ 197997 w 271123"/>
                <a:gd name="connsiteY20" fmla="*/ 248437 h 395568"/>
                <a:gd name="connsiteX21" fmla="*/ 197997 w 271123"/>
                <a:gd name="connsiteY21" fmla="*/ 327571 h 395568"/>
                <a:gd name="connsiteX22" fmla="*/ 159761 w 271123"/>
                <a:gd name="connsiteY22" fmla="*/ 142981 h 395568"/>
                <a:gd name="connsiteX23" fmla="*/ 159761 w 271123"/>
                <a:gd name="connsiteY23" fmla="*/ 231657 h 395568"/>
                <a:gd name="connsiteX24" fmla="*/ 109718 w 271123"/>
                <a:gd name="connsiteY24" fmla="*/ 231657 h 395568"/>
                <a:gd name="connsiteX25" fmla="*/ 109718 w 271123"/>
                <a:gd name="connsiteY25" fmla="*/ 142981 h 395568"/>
                <a:gd name="connsiteX26" fmla="*/ 159761 w 271123"/>
                <a:gd name="connsiteY26" fmla="*/ 142981 h 395568"/>
                <a:gd name="connsiteX27" fmla="*/ 205358 w 271123"/>
                <a:gd name="connsiteY27" fmla="*/ 231657 h 395568"/>
                <a:gd name="connsiteX28" fmla="*/ 176541 w 271123"/>
                <a:gd name="connsiteY28" fmla="*/ 231657 h 395568"/>
                <a:gd name="connsiteX29" fmla="*/ 176541 w 271123"/>
                <a:gd name="connsiteY29" fmla="*/ 142981 h 395568"/>
                <a:gd name="connsiteX30" fmla="*/ 203026 w 271123"/>
                <a:gd name="connsiteY30" fmla="*/ 142981 h 395568"/>
                <a:gd name="connsiteX31" fmla="*/ 211415 w 271123"/>
                <a:gd name="connsiteY31" fmla="*/ 134591 h 395568"/>
                <a:gd name="connsiteX32" fmla="*/ 203026 w 271123"/>
                <a:gd name="connsiteY32" fmla="*/ 126201 h 395568"/>
                <a:gd name="connsiteX33" fmla="*/ 66488 w 271123"/>
                <a:gd name="connsiteY33" fmla="*/ 126201 h 395568"/>
                <a:gd name="connsiteX34" fmla="*/ 58098 w 271123"/>
                <a:gd name="connsiteY34" fmla="*/ 134591 h 395568"/>
                <a:gd name="connsiteX35" fmla="*/ 66488 w 271123"/>
                <a:gd name="connsiteY35" fmla="*/ 142981 h 395568"/>
                <a:gd name="connsiteX36" fmla="*/ 92933 w 271123"/>
                <a:gd name="connsiteY36" fmla="*/ 142981 h 395568"/>
                <a:gd name="connsiteX37" fmla="*/ 92933 w 271123"/>
                <a:gd name="connsiteY37" fmla="*/ 231657 h 395568"/>
                <a:gd name="connsiteX38" fmla="*/ 65772 w 271123"/>
                <a:gd name="connsiteY38" fmla="*/ 231657 h 395568"/>
                <a:gd name="connsiteX39" fmla="*/ 16774 w 271123"/>
                <a:gd name="connsiteY39" fmla="*/ 135598 h 395568"/>
                <a:gd name="connsiteX40" fmla="*/ 135537 w 271123"/>
                <a:gd name="connsiteY40" fmla="*/ 16780 h 395568"/>
                <a:gd name="connsiteX41" fmla="*/ 254338 w 271123"/>
                <a:gd name="connsiteY41" fmla="*/ 135598 h 395568"/>
                <a:gd name="connsiteX42" fmla="*/ 205358 w 271123"/>
                <a:gd name="connsiteY42" fmla="*/ 231657 h 39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71123" h="395568">
                  <a:moveTo>
                    <a:pt x="135542" y="0"/>
                  </a:moveTo>
                  <a:cubicBezTo>
                    <a:pt x="60805" y="0"/>
                    <a:pt x="0" y="60827"/>
                    <a:pt x="0" y="135598"/>
                  </a:cubicBezTo>
                  <a:cubicBezTo>
                    <a:pt x="0" y="178644"/>
                    <a:pt x="20371" y="218826"/>
                    <a:pt x="54742" y="244371"/>
                  </a:cubicBezTo>
                  <a:lnTo>
                    <a:pt x="54742" y="335961"/>
                  </a:lnTo>
                  <a:cubicBezTo>
                    <a:pt x="54742" y="340592"/>
                    <a:pt x="58495" y="344351"/>
                    <a:pt x="63132" y="344351"/>
                  </a:cubicBezTo>
                  <a:lnTo>
                    <a:pt x="76611" y="344351"/>
                  </a:lnTo>
                  <a:cubicBezTo>
                    <a:pt x="80706" y="373251"/>
                    <a:pt x="105534" y="395569"/>
                    <a:pt x="135542" y="395569"/>
                  </a:cubicBezTo>
                  <a:cubicBezTo>
                    <a:pt x="165562" y="395569"/>
                    <a:pt x="190407" y="373251"/>
                    <a:pt x="194507" y="344351"/>
                  </a:cubicBezTo>
                  <a:lnTo>
                    <a:pt x="206387" y="344351"/>
                  </a:lnTo>
                  <a:cubicBezTo>
                    <a:pt x="211018" y="344351"/>
                    <a:pt x="214777" y="340592"/>
                    <a:pt x="214777" y="335961"/>
                  </a:cubicBezTo>
                  <a:lnTo>
                    <a:pt x="214777" y="245545"/>
                  </a:lnTo>
                  <a:cubicBezTo>
                    <a:pt x="250104" y="220029"/>
                    <a:pt x="271124" y="179243"/>
                    <a:pt x="271124" y="135598"/>
                  </a:cubicBezTo>
                  <a:cubicBezTo>
                    <a:pt x="271124" y="60827"/>
                    <a:pt x="210302" y="0"/>
                    <a:pt x="135542" y="0"/>
                  </a:cubicBezTo>
                  <a:close/>
                  <a:moveTo>
                    <a:pt x="135542" y="378794"/>
                  </a:moveTo>
                  <a:cubicBezTo>
                    <a:pt x="114808" y="378794"/>
                    <a:pt x="97474" y="363967"/>
                    <a:pt x="93570" y="344357"/>
                  </a:cubicBezTo>
                  <a:lnTo>
                    <a:pt x="177554" y="344357"/>
                  </a:lnTo>
                  <a:cubicBezTo>
                    <a:pt x="173638" y="363961"/>
                    <a:pt x="156294" y="378794"/>
                    <a:pt x="135542" y="378794"/>
                  </a:cubicBezTo>
                  <a:close/>
                  <a:moveTo>
                    <a:pt x="197997" y="327571"/>
                  </a:moveTo>
                  <a:lnTo>
                    <a:pt x="71521" y="327571"/>
                  </a:lnTo>
                  <a:lnTo>
                    <a:pt x="71521" y="248437"/>
                  </a:lnTo>
                  <a:lnTo>
                    <a:pt x="197997" y="248437"/>
                  </a:lnTo>
                  <a:lnTo>
                    <a:pt x="197997" y="327571"/>
                  </a:lnTo>
                  <a:close/>
                  <a:moveTo>
                    <a:pt x="159761" y="142981"/>
                  </a:moveTo>
                  <a:lnTo>
                    <a:pt x="159761" y="231657"/>
                  </a:lnTo>
                  <a:lnTo>
                    <a:pt x="109718" y="231657"/>
                  </a:lnTo>
                  <a:lnTo>
                    <a:pt x="109718" y="142981"/>
                  </a:lnTo>
                  <a:lnTo>
                    <a:pt x="159761" y="142981"/>
                  </a:lnTo>
                  <a:close/>
                  <a:moveTo>
                    <a:pt x="205358" y="231657"/>
                  </a:moveTo>
                  <a:lnTo>
                    <a:pt x="176541" y="231657"/>
                  </a:lnTo>
                  <a:lnTo>
                    <a:pt x="176541" y="142981"/>
                  </a:lnTo>
                  <a:lnTo>
                    <a:pt x="203026" y="142981"/>
                  </a:lnTo>
                  <a:cubicBezTo>
                    <a:pt x="207657" y="142981"/>
                    <a:pt x="211415" y="139223"/>
                    <a:pt x="211415" y="134591"/>
                  </a:cubicBezTo>
                  <a:cubicBezTo>
                    <a:pt x="211415" y="129955"/>
                    <a:pt x="207657" y="126201"/>
                    <a:pt x="203026" y="126201"/>
                  </a:cubicBezTo>
                  <a:lnTo>
                    <a:pt x="66488" y="126201"/>
                  </a:lnTo>
                  <a:cubicBezTo>
                    <a:pt x="61851" y="126201"/>
                    <a:pt x="58098" y="129955"/>
                    <a:pt x="58098" y="134591"/>
                  </a:cubicBezTo>
                  <a:cubicBezTo>
                    <a:pt x="58098" y="139223"/>
                    <a:pt x="61851" y="142981"/>
                    <a:pt x="66488" y="142981"/>
                  </a:cubicBezTo>
                  <a:lnTo>
                    <a:pt x="92933" y="142981"/>
                  </a:lnTo>
                  <a:lnTo>
                    <a:pt x="92933" y="231657"/>
                  </a:lnTo>
                  <a:lnTo>
                    <a:pt x="65772" y="231657"/>
                  </a:lnTo>
                  <a:cubicBezTo>
                    <a:pt x="35036" y="209312"/>
                    <a:pt x="16774" y="173739"/>
                    <a:pt x="16774" y="135598"/>
                  </a:cubicBezTo>
                  <a:cubicBezTo>
                    <a:pt x="16774" y="70084"/>
                    <a:pt x="70050" y="16780"/>
                    <a:pt x="135537" y="16780"/>
                  </a:cubicBezTo>
                  <a:cubicBezTo>
                    <a:pt x="201040" y="16780"/>
                    <a:pt x="254338" y="70078"/>
                    <a:pt x="254338" y="135598"/>
                  </a:cubicBezTo>
                  <a:cubicBezTo>
                    <a:pt x="254344" y="173677"/>
                    <a:pt x="236082" y="209273"/>
                    <a:pt x="205358" y="23165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Полилиния: фигура 199">
              <a:extLst>
                <a:ext uri="{FF2B5EF4-FFF2-40B4-BE49-F238E27FC236}">
                  <a16:creationId xmlns:a16="http://schemas.microsoft.com/office/drawing/2014/main" id="{77A17A47-0497-4364-9920-0F3F507CE0A8}"/>
                </a:ext>
              </a:extLst>
            </p:cNvPr>
            <p:cNvSpPr/>
            <p:nvPr/>
          </p:nvSpPr>
          <p:spPr>
            <a:xfrm>
              <a:off x="5525931" y="3389267"/>
              <a:ext cx="16779" cy="101389"/>
            </a:xfrm>
            <a:custGeom>
              <a:avLst/>
              <a:gdLst>
                <a:gd name="connsiteX0" fmla="*/ 8390 w 16779"/>
                <a:gd name="connsiteY0" fmla="*/ 101390 h 101389"/>
                <a:gd name="connsiteX1" fmla="*/ 16780 w 16779"/>
                <a:gd name="connsiteY1" fmla="*/ 93000 h 101389"/>
                <a:gd name="connsiteX2" fmla="*/ 16780 w 16779"/>
                <a:gd name="connsiteY2" fmla="*/ 8390 h 101389"/>
                <a:gd name="connsiteX3" fmla="*/ 8390 w 16779"/>
                <a:gd name="connsiteY3" fmla="*/ 0 h 101389"/>
                <a:gd name="connsiteX4" fmla="*/ 0 w 16779"/>
                <a:gd name="connsiteY4" fmla="*/ 8390 h 101389"/>
                <a:gd name="connsiteX5" fmla="*/ 0 w 16779"/>
                <a:gd name="connsiteY5" fmla="*/ 93000 h 101389"/>
                <a:gd name="connsiteX6" fmla="*/ 8390 w 16779"/>
                <a:gd name="connsiteY6" fmla="*/ 101390 h 101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79" h="101389">
                  <a:moveTo>
                    <a:pt x="8390" y="101390"/>
                  </a:moveTo>
                  <a:cubicBezTo>
                    <a:pt x="13021" y="101390"/>
                    <a:pt x="16780" y="97636"/>
                    <a:pt x="16780" y="93000"/>
                  </a:cubicBezTo>
                  <a:lnTo>
                    <a:pt x="16780" y="8390"/>
                  </a:lnTo>
                  <a:cubicBezTo>
                    <a:pt x="16780" y="3753"/>
                    <a:pt x="13021" y="0"/>
                    <a:pt x="8390" y="0"/>
                  </a:cubicBezTo>
                  <a:cubicBezTo>
                    <a:pt x="3753" y="0"/>
                    <a:pt x="0" y="3753"/>
                    <a:pt x="0" y="8390"/>
                  </a:cubicBezTo>
                  <a:lnTo>
                    <a:pt x="0" y="93000"/>
                  </a:lnTo>
                  <a:cubicBezTo>
                    <a:pt x="0" y="97636"/>
                    <a:pt x="3753" y="101390"/>
                    <a:pt x="8390" y="10139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Полилиния: фигура 200">
              <a:extLst>
                <a:ext uri="{FF2B5EF4-FFF2-40B4-BE49-F238E27FC236}">
                  <a16:creationId xmlns:a16="http://schemas.microsoft.com/office/drawing/2014/main" id="{42FB51F3-1198-4E19-A69B-71C1F01F6DAD}"/>
                </a:ext>
              </a:extLst>
            </p:cNvPr>
            <p:cNvSpPr/>
            <p:nvPr/>
          </p:nvSpPr>
          <p:spPr>
            <a:xfrm>
              <a:off x="5256546" y="3645048"/>
              <a:ext cx="101389" cy="16779"/>
            </a:xfrm>
            <a:custGeom>
              <a:avLst/>
              <a:gdLst>
                <a:gd name="connsiteX0" fmla="*/ 93000 w 101389"/>
                <a:gd name="connsiteY0" fmla="*/ 0 h 16779"/>
                <a:gd name="connsiteX1" fmla="*/ 8390 w 101389"/>
                <a:gd name="connsiteY1" fmla="*/ 0 h 16779"/>
                <a:gd name="connsiteX2" fmla="*/ 0 w 101389"/>
                <a:gd name="connsiteY2" fmla="*/ 8390 h 16779"/>
                <a:gd name="connsiteX3" fmla="*/ 8390 w 101389"/>
                <a:gd name="connsiteY3" fmla="*/ 16780 h 16779"/>
                <a:gd name="connsiteX4" fmla="*/ 93000 w 101389"/>
                <a:gd name="connsiteY4" fmla="*/ 16780 h 16779"/>
                <a:gd name="connsiteX5" fmla="*/ 101390 w 101389"/>
                <a:gd name="connsiteY5" fmla="*/ 8390 h 16779"/>
                <a:gd name="connsiteX6" fmla="*/ 93000 w 101389"/>
                <a:gd name="connsiteY6" fmla="*/ 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389" h="16779">
                  <a:moveTo>
                    <a:pt x="93000" y="0"/>
                  </a:moveTo>
                  <a:lnTo>
                    <a:pt x="8390" y="0"/>
                  </a:lnTo>
                  <a:cubicBezTo>
                    <a:pt x="3753" y="0"/>
                    <a:pt x="0" y="3753"/>
                    <a:pt x="0" y="8390"/>
                  </a:cubicBezTo>
                  <a:cubicBezTo>
                    <a:pt x="0" y="13021"/>
                    <a:pt x="3753" y="16780"/>
                    <a:pt x="8390" y="16780"/>
                  </a:cubicBezTo>
                  <a:lnTo>
                    <a:pt x="93000" y="16780"/>
                  </a:lnTo>
                  <a:cubicBezTo>
                    <a:pt x="97637" y="16780"/>
                    <a:pt x="101390" y="13021"/>
                    <a:pt x="101390" y="8390"/>
                  </a:cubicBezTo>
                  <a:cubicBezTo>
                    <a:pt x="101390" y="3759"/>
                    <a:pt x="97637" y="0"/>
                    <a:pt x="93000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Полилиния: фигура 201">
              <a:extLst>
                <a:ext uri="{FF2B5EF4-FFF2-40B4-BE49-F238E27FC236}">
                  <a16:creationId xmlns:a16="http://schemas.microsoft.com/office/drawing/2014/main" id="{E52DCF7C-F478-4604-BA07-3C8F128F3E94}"/>
                </a:ext>
              </a:extLst>
            </p:cNvPr>
            <p:cNvSpPr/>
            <p:nvPr/>
          </p:nvSpPr>
          <p:spPr>
            <a:xfrm>
              <a:off x="5703333" y="3645048"/>
              <a:ext cx="101350" cy="16779"/>
            </a:xfrm>
            <a:custGeom>
              <a:avLst/>
              <a:gdLst>
                <a:gd name="connsiteX0" fmla="*/ 92961 w 101350"/>
                <a:gd name="connsiteY0" fmla="*/ 0 h 16779"/>
                <a:gd name="connsiteX1" fmla="*/ 8390 w 101350"/>
                <a:gd name="connsiteY1" fmla="*/ 0 h 16779"/>
                <a:gd name="connsiteX2" fmla="*/ 0 w 101350"/>
                <a:gd name="connsiteY2" fmla="*/ 8390 h 16779"/>
                <a:gd name="connsiteX3" fmla="*/ 8390 w 101350"/>
                <a:gd name="connsiteY3" fmla="*/ 16780 h 16779"/>
                <a:gd name="connsiteX4" fmla="*/ 92961 w 101350"/>
                <a:gd name="connsiteY4" fmla="*/ 16780 h 16779"/>
                <a:gd name="connsiteX5" fmla="*/ 101351 w 101350"/>
                <a:gd name="connsiteY5" fmla="*/ 8390 h 16779"/>
                <a:gd name="connsiteX6" fmla="*/ 92961 w 101350"/>
                <a:gd name="connsiteY6" fmla="*/ 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350" h="16779">
                  <a:moveTo>
                    <a:pt x="92961" y="0"/>
                  </a:moveTo>
                  <a:lnTo>
                    <a:pt x="8390" y="0"/>
                  </a:lnTo>
                  <a:cubicBezTo>
                    <a:pt x="3759" y="0"/>
                    <a:pt x="0" y="3753"/>
                    <a:pt x="0" y="8390"/>
                  </a:cubicBezTo>
                  <a:cubicBezTo>
                    <a:pt x="0" y="13021"/>
                    <a:pt x="3759" y="16780"/>
                    <a:pt x="8390" y="16780"/>
                  </a:cubicBezTo>
                  <a:lnTo>
                    <a:pt x="92961" y="16780"/>
                  </a:lnTo>
                  <a:cubicBezTo>
                    <a:pt x="97592" y="16780"/>
                    <a:pt x="101351" y="13021"/>
                    <a:pt x="101351" y="8390"/>
                  </a:cubicBezTo>
                  <a:cubicBezTo>
                    <a:pt x="101351" y="3759"/>
                    <a:pt x="97592" y="0"/>
                    <a:pt x="92961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Полилиния: фигура 202">
              <a:extLst>
                <a:ext uri="{FF2B5EF4-FFF2-40B4-BE49-F238E27FC236}">
                  <a16:creationId xmlns:a16="http://schemas.microsoft.com/office/drawing/2014/main" id="{FB2C64D9-8F5B-41D0-93C6-56A2CE9DCAAE}"/>
                </a:ext>
              </a:extLst>
            </p:cNvPr>
            <p:cNvSpPr/>
            <p:nvPr/>
          </p:nvSpPr>
          <p:spPr>
            <a:xfrm>
              <a:off x="5334176" y="3463211"/>
              <a:ext cx="80502" cy="72410"/>
            </a:xfrm>
            <a:custGeom>
              <a:avLst/>
              <a:gdLst>
                <a:gd name="connsiteX0" fmla="*/ 66599 w 80502"/>
                <a:gd name="connsiteY0" fmla="*/ 70341 h 72410"/>
                <a:gd name="connsiteX1" fmla="*/ 72114 w 80502"/>
                <a:gd name="connsiteY1" fmla="*/ 72410 h 72410"/>
                <a:gd name="connsiteX2" fmla="*/ 78434 w 80502"/>
                <a:gd name="connsiteY2" fmla="*/ 69535 h 72410"/>
                <a:gd name="connsiteX3" fmla="*/ 77629 w 80502"/>
                <a:gd name="connsiteY3" fmla="*/ 57700 h 72410"/>
                <a:gd name="connsiteX4" fmla="*/ 13904 w 80502"/>
                <a:gd name="connsiteY4" fmla="*/ 2069 h 72410"/>
                <a:gd name="connsiteX5" fmla="*/ 2069 w 80502"/>
                <a:gd name="connsiteY5" fmla="*/ 2874 h 72410"/>
                <a:gd name="connsiteX6" fmla="*/ 2874 w 80502"/>
                <a:gd name="connsiteY6" fmla="*/ 14710 h 72410"/>
                <a:gd name="connsiteX7" fmla="*/ 66599 w 80502"/>
                <a:gd name="connsiteY7" fmla="*/ 70341 h 72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502" h="72410">
                  <a:moveTo>
                    <a:pt x="66599" y="70341"/>
                  </a:moveTo>
                  <a:cubicBezTo>
                    <a:pt x="68187" y="71733"/>
                    <a:pt x="70156" y="72410"/>
                    <a:pt x="72114" y="72410"/>
                  </a:cubicBezTo>
                  <a:cubicBezTo>
                    <a:pt x="74452" y="72410"/>
                    <a:pt x="76778" y="71437"/>
                    <a:pt x="78434" y="69535"/>
                  </a:cubicBezTo>
                  <a:cubicBezTo>
                    <a:pt x="81482" y="66045"/>
                    <a:pt x="81119" y="60748"/>
                    <a:pt x="77629" y="57700"/>
                  </a:cubicBezTo>
                  <a:lnTo>
                    <a:pt x="13904" y="2069"/>
                  </a:lnTo>
                  <a:cubicBezTo>
                    <a:pt x="10420" y="-980"/>
                    <a:pt x="5112" y="-616"/>
                    <a:pt x="2069" y="2874"/>
                  </a:cubicBezTo>
                  <a:cubicBezTo>
                    <a:pt x="-980" y="6364"/>
                    <a:pt x="-616" y="11661"/>
                    <a:pt x="2874" y="14710"/>
                  </a:cubicBezTo>
                  <a:lnTo>
                    <a:pt x="66599" y="7034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Полилиния: фигура 203">
              <a:extLst>
                <a:ext uri="{FF2B5EF4-FFF2-40B4-BE49-F238E27FC236}">
                  <a16:creationId xmlns:a16="http://schemas.microsoft.com/office/drawing/2014/main" id="{2E52A1AB-59FB-4658-A02D-6E754F9571F9}"/>
                </a:ext>
              </a:extLst>
            </p:cNvPr>
            <p:cNvSpPr/>
            <p:nvPr/>
          </p:nvSpPr>
          <p:spPr>
            <a:xfrm>
              <a:off x="5639573" y="3463203"/>
              <a:ext cx="80531" cy="72417"/>
            </a:xfrm>
            <a:custGeom>
              <a:avLst/>
              <a:gdLst>
                <a:gd name="connsiteX0" fmla="*/ 8393 w 80531"/>
                <a:gd name="connsiteY0" fmla="*/ 72418 h 72417"/>
                <a:gd name="connsiteX1" fmla="*/ 13902 w 80531"/>
                <a:gd name="connsiteY1" fmla="*/ 70348 h 72417"/>
                <a:gd name="connsiteX2" fmla="*/ 77660 w 80531"/>
                <a:gd name="connsiteY2" fmla="*/ 14718 h 72417"/>
                <a:gd name="connsiteX3" fmla="*/ 78465 w 80531"/>
                <a:gd name="connsiteY3" fmla="*/ 2877 h 72417"/>
                <a:gd name="connsiteX4" fmla="*/ 66630 w 80531"/>
                <a:gd name="connsiteY4" fmla="*/ 2071 h 72417"/>
                <a:gd name="connsiteX5" fmla="*/ 2872 w 80531"/>
                <a:gd name="connsiteY5" fmla="*/ 57702 h 72417"/>
                <a:gd name="connsiteX6" fmla="*/ 2067 w 80531"/>
                <a:gd name="connsiteY6" fmla="*/ 69543 h 72417"/>
                <a:gd name="connsiteX7" fmla="*/ 8393 w 80531"/>
                <a:gd name="connsiteY7" fmla="*/ 72418 h 7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531" h="72417">
                  <a:moveTo>
                    <a:pt x="8393" y="72418"/>
                  </a:moveTo>
                  <a:cubicBezTo>
                    <a:pt x="10350" y="72418"/>
                    <a:pt x="12313" y="71736"/>
                    <a:pt x="13902" y="70348"/>
                  </a:cubicBezTo>
                  <a:lnTo>
                    <a:pt x="77660" y="14718"/>
                  </a:lnTo>
                  <a:cubicBezTo>
                    <a:pt x="81150" y="11669"/>
                    <a:pt x="81508" y="6372"/>
                    <a:pt x="78465" y="2877"/>
                  </a:cubicBezTo>
                  <a:cubicBezTo>
                    <a:pt x="75428" y="-614"/>
                    <a:pt x="70120" y="-983"/>
                    <a:pt x="66630" y="2071"/>
                  </a:cubicBezTo>
                  <a:lnTo>
                    <a:pt x="2872" y="57702"/>
                  </a:lnTo>
                  <a:cubicBezTo>
                    <a:pt x="-618" y="60750"/>
                    <a:pt x="-976" y="66047"/>
                    <a:pt x="2067" y="69543"/>
                  </a:cubicBezTo>
                  <a:cubicBezTo>
                    <a:pt x="3722" y="71450"/>
                    <a:pt x="6049" y="72418"/>
                    <a:pt x="8393" y="7241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571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D68EB34-ED57-0EA6-A021-937295937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65364"/>
            <a:ext cx="9974580" cy="338554"/>
          </a:xfrm>
        </p:spPr>
        <p:txBody>
          <a:bodyPr vert="horz"/>
          <a:lstStyle/>
          <a:p>
            <a:r>
              <a:rPr lang="ru-RU" dirty="0" smtClean="0"/>
              <a:t>Портал поставщик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CE7F547-2370-48BD-8950-BAB9E552D5A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2"/>
              </a:ext>
            </a:extLst>
          </a:blip>
          <a:srcRect/>
          <a:stretch/>
        </p:blipFill>
        <p:spPr>
          <a:xfrm>
            <a:off x="5874476" y="3606294"/>
            <a:ext cx="312614" cy="31406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3"/>
          <a:stretch>
            <a:fillRect/>
          </a:stretch>
        </p:blipFill>
        <p:spPr>
          <a:xfrm>
            <a:off x="6943028" y="5283566"/>
            <a:ext cx="1776641" cy="116014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04"/>
          <a:stretch>
            <a:fillRect/>
          </a:stretch>
        </p:blipFill>
        <p:spPr>
          <a:xfrm>
            <a:off x="571500" y="1092446"/>
            <a:ext cx="9974580" cy="4336133"/>
          </a:xfrm>
          <a:prstGeom prst="rect">
            <a:avLst/>
          </a:prstGeom>
        </p:spPr>
      </p:pic>
      <p:grpSp>
        <p:nvGrpSpPr>
          <p:cNvPr id="10" name="Рисунок 57">
            <a:extLst>
              <a:ext uri="{FF2B5EF4-FFF2-40B4-BE49-F238E27FC236}">
                <a16:creationId xmlns:a16="http://schemas.microsoft.com/office/drawing/2014/main" id="{E53408C5-6B78-40D9-8B63-CB6A78DD3C54}"/>
              </a:ext>
            </a:extLst>
          </p:cNvPr>
          <p:cNvGrpSpPr/>
          <p:nvPr/>
        </p:nvGrpSpPr>
        <p:grpSpPr>
          <a:xfrm>
            <a:off x="6252321" y="5594315"/>
            <a:ext cx="527885" cy="538642"/>
            <a:chOff x="5256546" y="3389267"/>
            <a:chExt cx="548137" cy="525148"/>
          </a:xfrm>
          <a:solidFill>
            <a:schemeClr val="tx1"/>
          </a:solidFill>
        </p:grpSpPr>
        <p:sp>
          <p:nvSpPr>
            <p:cNvPr id="12" name="Полилиния: фигура 198">
              <a:extLst>
                <a:ext uri="{FF2B5EF4-FFF2-40B4-BE49-F238E27FC236}">
                  <a16:creationId xmlns:a16="http://schemas.microsoft.com/office/drawing/2014/main" id="{4A5FCFAF-3ACE-41F6-AB4A-07A291843941}"/>
                </a:ext>
              </a:extLst>
            </p:cNvPr>
            <p:cNvSpPr/>
            <p:nvPr/>
          </p:nvSpPr>
          <p:spPr>
            <a:xfrm>
              <a:off x="5399584" y="3518847"/>
              <a:ext cx="271123" cy="395568"/>
            </a:xfrm>
            <a:custGeom>
              <a:avLst/>
              <a:gdLst>
                <a:gd name="connsiteX0" fmla="*/ 135542 w 271123"/>
                <a:gd name="connsiteY0" fmla="*/ 0 h 395568"/>
                <a:gd name="connsiteX1" fmla="*/ 0 w 271123"/>
                <a:gd name="connsiteY1" fmla="*/ 135598 h 395568"/>
                <a:gd name="connsiteX2" fmla="*/ 54742 w 271123"/>
                <a:gd name="connsiteY2" fmla="*/ 244371 h 395568"/>
                <a:gd name="connsiteX3" fmla="*/ 54742 w 271123"/>
                <a:gd name="connsiteY3" fmla="*/ 335961 h 395568"/>
                <a:gd name="connsiteX4" fmla="*/ 63132 w 271123"/>
                <a:gd name="connsiteY4" fmla="*/ 344351 h 395568"/>
                <a:gd name="connsiteX5" fmla="*/ 76611 w 271123"/>
                <a:gd name="connsiteY5" fmla="*/ 344351 h 395568"/>
                <a:gd name="connsiteX6" fmla="*/ 135542 w 271123"/>
                <a:gd name="connsiteY6" fmla="*/ 395569 h 395568"/>
                <a:gd name="connsiteX7" fmla="*/ 194507 w 271123"/>
                <a:gd name="connsiteY7" fmla="*/ 344351 h 395568"/>
                <a:gd name="connsiteX8" fmla="*/ 206387 w 271123"/>
                <a:gd name="connsiteY8" fmla="*/ 344351 h 395568"/>
                <a:gd name="connsiteX9" fmla="*/ 214777 w 271123"/>
                <a:gd name="connsiteY9" fmla="*/ 335961 h 395568"/>
                <a:gd name="connsiteX10" fmla="*/ 214777 w 271123"/>
                <a:gd name="connsiteY10" fmla="*/ 245545 h 395568"/>
                <a:gd name="connsiteX11" fmla="*/ 271124 w 271123"/>
                <a:gd name="connsiteY11" fmla="*/ 135598 h 395568"/>
                <a:gd name="connsiteX12" fmla="*/ 135542 w 271123"/>
                <a:gd name="connsiteY12" fmla="*/ 0 h 395568"/>
                <a:gd name="connsiteX13" fmla="*/ 135542 w 271123"/>
                <a:gd name="connsiteY13" fmla="*/ 378794 h 395568"/>
                <a:gd name="connsiteX14" fmla="*/ 93570 w 271123"/>
                <a:gd name="connsiteY14" fmla="*/ 344357 h 395568"/>
                <a:gd name="connsiteX15" fmla="*/ 177554 w 271123"/>
                <a:gd name="connsiteY15" fmla="*/ 344357 h 395568"/>
                <a:gd name="connsiteX16" fmla="*/ 135542 w 271123"/>
                <a:gd name="connsiteY16" fmla="*/ 378794 h 395568"/>
                <a:gd name="connsiteX17" fmla="*/ 197997 w 271123"/>
                <a:gd name="connsiteY17" fmla="*/ 327571 h 395568"/>
                <a:gd name="connsiteX18" fmla="*/ 71521 w 271123"/>
                <a:gd name="connsiteY18" fmla="*/ 327571 h 395568"/>
                <a:gd name="connsiteX19" fmla="*/ 71521 w 271123"/>
                <a:gd name="connsiteY19" fmla="*/ 248437 h 395568"/>
                <a:gd name="connsiteX20" fmla="*/ 197997 w 271123"/>
                <a:gd name="connsiteY20" fmla="*/ 248437 h 395568"/>
                <a:gd name="connsiteX21" fmla="*/ 197997 w 271123"/>
                <a:gd name="connsiteY21" fmla="*/ 327571 h 395568"/>
                <a:gd name="connsiteX22" fmla="*/ 159761 w 271123"/>
                <a:gd name="connsiteY22" fmla="*/ 142981 h 395568"/>
                <a:gd name="connsiteX23" fmla="*/ 159761 w 271123"/>
                <a:gd name="connsiteY23" fmla="*/ 231657 h 395568"/>
                <a:gd name="connsiteX24" fmla="*/ 109718 w 271123"/>
                <a:gd name="connsiteY24" fmla="*/ 231657 h 395568"/>
                <a:gd name="connsiteX25" fmla="*/ 109718 w 271123"/>
                <a:gd name="connsiteY25" fmla="*/ 142981 h 395568"/>
                <a:gd name="connsiteX26" fmla="*/ 159761 w 271123"/>
                <a:gd name="connsiteY26" fmla="*/ 142981 h 395568"/>
                <a:gd name="connsiteX27" fmla="*/ 205358 w 271123"/>
                <a:gd name="connsiteY27" fmla="*/ 231657 h 395568"/>
                <a:gd name="connsiteX28" fmla="*/ 176541 w 271123"/>
                <a:gd name="connsiteY28" fmla="*/ 231657 h 395568"/>
                <a:gd name="connsiteX29" fmla="*/ 176541 w 271123"/>
                <a:gd name="connsiteY29" fmla="*/ 142981 h 395568"/>
                <a:gd name="connsiteX30" fmla="*/ 203026 w 271123"/>
                <a:gd name="connsiteY30" fmla="*/ 142981 h 395568"/>
                <a:gd name="connsiteX31" fmla="*/ 211415 w 271123"/>
                <a:gd name="connsiteY31" fmla="*/ 134591 h 395568"/>
                <a:gd name="connsiteX32" fmla="*/ 203026 w 271123"/>
                <a:gd name="connsiteY32" fmla="*/ 126201 h 395568"/>
                <a:gd name="connsiteX33" fmla="*/ 66488 w 271123"/>
                <a:gd name="connsiteY33" fmla="*/ 126201 h 395568"/>
                <a:gd name="connsiteX34" fmla="*/ 58098 w 271123"/>
                <a:gd name="connsiteY34" fmla="*/ 134591 h 395568"/>
                <a:gd name="connsiteX35" fmla="*/ 66488 w 271123"/>
                <a:gd name="connsiteY35" fmla="*/ 142981 h 395568"/>
                <a:gd name="connsiteX36" fmla="*/ 92933 w 271123"/>
                <a:gd name="connsiteY36" fmla="*/ 142981 h 395568"/>
                <a:gd name="connsiteX37" fmla="*/ 92933 w 271123"/>
                <a:gd name="connsiteY37" fmla="*/ 231657 h 395568"/>
                <a:gd name="connsiteX38" fmla="*/ 65772 w 271123"/>
                <a:gd name="connsiteY38" fmla="*/ 231657 h 395568"/>
                <a:gd name="connsiteX39" fmla="*/ 16774 w 271123"/>
                <a:gd name="connsiteY39" fmla="*/ 135598 h 395568"/>
                <a:gd name="connsiteX40" fmla="*/ 135537 w 271123"/>
                <a:gd name="connsiteY40" fmla="*/ 16780 h 395568"/>
                <a:gd name="connsiteX41" fmla="*/ 254338 w 271123"/>
                <a:gd name="connsiteY41" fmla="*/ 135598 h 395568"/>
                <a:gd name="connsiteX42" fmla="*/ 205358 w 271123"/>
                <a:gd name="connsiteY42" fmla="*/ 231657 h 39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71123" h="395568">
                  <a:moveTo>
                    <a:pt x="135542" y="0"/>
                  </a:moveTo>
                  <a:cubicBezTo>
                    <a:pt x="60805" y="0"/>
                    <a:pt x="0" y="60827"/>
                    <a:pt x="0" y="135598"/>
                  </a:cubicBezTo>
                  <a:cubicBezTo>
                    <a:pt x="0" y="178644"/>
                    <a:pt x="20371" y="218826"/>
                    <a:pt x="54742" y="244371"/>
                  </a:cubicBezTo>
                  <a:lnTo>
                    <a:pt x="54742" y="335961"/>
                  </a:lnTo>
                  <a:cubicBezTo>
                    <a:pt x="54742" y="340592"/>
                    <a:pt x="58495" y="344351"/>
                    <a:pt x="63132" y="344351"/>
                  </a:cubicBezTo>
                  <a:lnTo>
                    <a:pt x="76611" y="344351"/>
                  </a:lnTo>
                  <a:cubicBezTo>
                    <a:pt x="80706" y="373251"/>
                    <a:pt x="105534" y="395569"/>
                    <a:pt x="135542" y="395569"/>
                  </a:cubicBezTo>
                  <a:cubicBezTo>
                    <a:pt x="165562" y="395569"/>
                    <a:pt x="190407" y="373251"/>
                    <a:pt x="194507" y="344351"/>
                  </a:cubicBezTo>
                  <a:lnTo>
                    <a:pt x="206387" y="344351"/>
                  </a:lnTo>
                  <a:cubicBezTo>
                    <a:pt x="211018" y="344351"/>
                    <a:pt x="214777" y="340592"/>
                    <a:pt x="214777" y="335961"/>
                  </a:cubicBezTo>
                  <a:lnTo>
                    <a:pt x="214777" y="245545"/>
                  </a:lnTo>
                  <a:cubicBezTo>
                    <a:pt x="250104" y="220029"/>
                    <a:pt x="271124" y="179243"/>
                    <a:pt x="271124" y="135598"/>
                  </a:cubicBezTo>
                  <a:cubicBezTo>
                    <a:pt x="271124" y="60827"/>
                    <a:pt x="210302" y="0"/>
                    <a:pt x="135542" y="0"/>
                  </a:cubicBezTo>
                  <a:close/>
                  <a:moveTo>
                    <a:pt x="135542" y="378794"/>
                  </a:moveTo>
                  <a:cubicBezTo>
                    <a:pt x="114808" y="378794"/>
                    <a:pt x="97474" y="363967"/>
                    <a:pt x="93570" y="344357"/>
                  </a:cubicBezTo>
                  <a:lnTo>
                    <a:pt x="177554" y="344357"/>
                  </a:lnTo>
                  <a:cubicBezTo>
                    <a:pt x="173638" y="363961"/>
                    <a:pt x="156294" y="378794"/>
                    <a:pt x="135542" y="378794"/>
                  </a:cubicBezTo>
                  <a:close/>
                  <a:moveTo>
                    <a:pt x="197997" y="327571"/>
                  </a:moveTo>
                  <a:lnTo>
                    <a:pt x="71521" y="327571"/>
                  </a:lnTo>
                  <a:lnTo>
                    <a:pt x="71521" y="248437"/>
                  </a:lnTo>
                  <a:lnTo>
                    <a:pt x="197997" y="248437"/>
                  </a:lnTo>
                  <a:lnTo>
                    <a:pt x="197997" y="327571"/>
                  </a:lnTo>
                  <a:close/>
                  <a:moveTo>
                    <a:pt x="159761" y="142981"/>
                  </a:moveTo>
                  <a:lnTo>
                    <a:pt x="159761" y="231657"/>
                  </a:lnTo>
                  <a:lnTo>
                    <a:pt x="109718" y="231657"/>
                  </a:lnTo>
                  <a:lnTo>
                    <a:pt x="109718" y="142981"/>
                  </a:lnTo>
                  <a:lnTo>
                    <a:pt x="159761" y="142981"/>
                  </a:lnTo>
                  <a:close/>
                  <a:moveTo>
                    <a:pt x="205358" y="231657"/>
                  </a:moveTo>
                  <a:lnTo>
                    <a:pt x="176541" y="231657"/>
                  </a:lnTo>
                  <a:lnTo>
                    <a:pt x="176541" y="142981"/>
                  </a:lnTo>
                  <a:lnTo>
                    <a:pt x="203026" y="142981"/>
                  </a:lnTo>
                  <a:cubicBezTo>
                    <a:pt x="207657" y="142981"/>
                    <a:pt x="211415" y="139223"/>
                    <a:pt x="211415" y="134591"/>
                  </a:cubicBezTo>
                  <a:cubicBezTo>
                    <a:pt x="211415" y="129955"/>
                    <a:pt x="207657" y="126201"/>
                    <a:pt x="203026" y="126201"/>
                  </a:cubicBezTo>
                  <a:lnTo>
                    <a:pt x="66488" y="126201"/>
                  </a:lnTo>
                  <a:cubicBezTo>
                    <a:pt x="61851" y="126201"/>
                    <a:pt x="58098" y="129955"/>
                    <a:pt x="58098" y="134591"/>
                  </a:cubicBezTo>
                  <a:cubicBezTo>
                    <a:pt x="58098" y="139223"/>
                    <a:pt x="61851" y="142981"/>
                    <a:pt x="66488" y="142981"/>
                  </a:cubicBezTo>
                  <a:lnTo>
                    <a:pt x="92933" y="142981"/>
                  </a:lnTo>
                  <a:lnTo>
                    <a:pt x="92933" y="231657"/>
                  </a:lnTo>
                  <a:lnTo>
                    <a:pt x="65772" y="231657"/>
                  </a:lnTo>
                  <a:cubicBezTo>
                    <a:pt x="35036" y="209312"/>
                    <a:pt x="16774" y="173739"/>
                    <a:pt x="16774" y="135598"/>
                  </a:cubicBezTo>
                  <a:cubicBezTo>
                    <a:pt x="16774" y="70084"/>
                    <a:pt x="70050" y="16780"/>
                    <a:pt x="135537" y="16780"/>
                  </a:cubicBezTo>
                  <a:cubicBezTo>
                    <a:pt x="201040" y="16780"/>
                    <a:pt x="254338" y="70078"/>
                    <a:pt x="254338" y="135598"/>
                  </a:cubicBezTo>
                  <a:cubicBezTo>
                    <a:pt x="254344" y="173677"/>
                    <a:pt x="236082" y="209273"/>
                    <a:pt x="205358" y="23165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: фигура 199">
              <a:extLst>
                <a:ext uri="{FF2B5EF4-FFF2-40B4-BE49-F238E27FC236}">
                  <a16:creationId xmlns:a16="http://schemas.microsoft.com/office/drawing/2014/main" id="{77A17A47-0497-4364-9920-0F3F507CE0A8}"/>
                </a:ext>
              </a:extLst>
            </p:cNvPr>
            <p:cNvSpPr/>
            <p:nvPr/>
          </p:nvSpPr>
          <p:spPr>
            <a:xfrm>
              <a:off x="5525931" y="3389267"/>
              <a:ext cx="16779" cy="101389"/>
            </a:xfrm>
            <a:custGeom>
              <a:avLst/>
              <a:gdLst>
                <a:gd name="connsiteX0" fmla="*/ 8390 w 16779"/>
                <a:gd name="connsiteY0" fmla="*/ 101390 h 101389"/>
                <a:gd name="connsiteX1" fmla="*/ 16780 w 16779"/>
                <a:gd name="connsiteY1" fmla="*/ 93000 h 101389"/>
                <a:gd name="connsiteX2" fmla="*/ 16780 w 16779"/>
                <a:gd name="connsiteY2" fmla="*/ 8390 h 101389"/>
                <a:gd name="connsiteX3" fmla="*/ 8390 w 16779"/>
                <a:gd name="connsiteY3" fmla="*/ 0 h 101389"/>
                <a:gd name="connsiteX4" fmla="*/ 0 w 16779"/>
                <a:gd name="connsiteY4" fmla="*/ 8390 h 101389"/>
                <a:gd name="connsiteX5" fmla="*/ 0 w 16779"/>
                <a:gd name="connsiteY5" fmla="*/ 93000 h 101389"/>
                <a:gd name="connsiteX6" fmla="*/ 8390 w 16779"/>
                <a:gd name="connsiteY6" fmla="*/ 101390 h 101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79" h="101389">
                  <a:moveTo>
                    <a:pt x="8390" y="101390"/>
                  </a:moveTo>
                  <a:cubicBezTo>
                    <a:pt x="13021" y="101390"/>
                    <a:pt x="16780" y="97636"/>
                    <a:pt x="16780" y="93000"/>
                  </a:cubicBezTo>
                  <a:lnTo>
                    <a:pt x="16780" y="8390"/>
                  </a:lnTo>
                  <a:cubicBezTo>
                    <a:pt x="16780" y="3753"/>
                    <a:pt x="13021" y="0"/>
                    <a:pt x="8390" y="0"/>
                  </a:cubicBezTo>
                  <a:cubicBezTo>
                    <a:pt x="3753" y="0"/>
                    <a:pt x="0" y="3753"/>
                    <a:pt x="0" y="8390"/>
                  </a:cubicBezTo>
                  <a:lnTo>
                    <a:pt x="0" y="93000"/>
                  </a:lnTo>
                  <a:cubicBezTo>
                    <a:pt x="0" y="97636"/>
                    <a:pt x="3753" y="101390"/>
                    <a:pt x="8390" y="10139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: фигура 200">
              <a:extLst>
                <a:ext uri="{FF2B5EF4-FFF2-40B4-BE49-F238E27FC236}">
                  <a16:creationId xmlns:a16="http://schemas.microsoft.com/office/drawing/2014/main" id="{42FB51F3-1198-4E19-A69B-71C1F01F6DAD}"/>
                </a:ext>
              </a:extLst>
            </p:cNvPr>
            <p:cNvSpPr/>
            <p:nvPr/>
          </p:nvSpPr>
          <p:spPr>
            <a:xfrm>
              <a:off x="5256546" y="3645048"/>
              <a:ext cx="101389" cy="16779"/>
            </a:xfrm>
            <a:custGeom>
              <a:avLst/>
              <a:gdLst>
                <a:gd name="connsiteX0" fmla="*/ 93000 w 101389"/>
                <a:gd name="connsiteY0" fmla="*/ 0 h 16779"/>
                <a:gd name="connsiteX1" fmla="*/ 8390 w 101389"/>
                <a:gd name="connsiteY1" fmla="*/ 0 h 16779"/>
                <a:gd name="connsiteX2" fmla="*/ 0 w 101389"/>
                <a:gd name="connsiteY2" fmla="*/ 8390 h 16779"/>
                <a:gd name="connsiteX3" fmla="*/ 8390 w 101389"/>
                <a:gd name="connsiteY3" fmla="*/ 16780 h 16779"/>
                <a:gd name="connsiteX4" fmla="*/ 93000 w 101389"/>
                <a:gd name="connsiteY4" fmla="*/ 16780 h 16779"/>
                <a:gd name="connsiteX5" fmla="*/ 101390 w 101389"/>
                <a:gd name="connsiteY5" fmla="*/ 8390 h 16779"/>
                <a:gd name="connsiteX6" fmla="*/ 93000 w 101389"/>
                <a:gd name="connsiteY6" fmla="*/ 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389" h="16779">
                  <a:moveTo>
                    <a:pt x="93000" y="0"/>
                  </a:moveTo>
                  <a:lnTo>
                    <a:pt x="8390" y="0"/>
                  </a:lnTo>
                  <a:cubicBezTo>
                    <a:pt x="3753" y="0"/>
                    <a:pt x="0" y="3753"/>
                    <a:pt x="0" y="8390"/>
                  </a:cubicBezTo>
                  <a:cubicBezTo>
                    <a:pt x="0" y="13021"/>
                    <a:pt x="3753" y="16780"/>
                    <a:pt x="8390" y="16780"/>
                  </a:cubicBezTo>
                  <a:lnTo>
                    <a:pt x="93000" y="16780"/>
                  </a:lnTo>
                  <a:cubicBezTo>
                    <a:pt x="97637" y="16780"/>
                    <a:pt x="101390" y="13021"/>
                    <a:pt x="101390" y="8390"/>
                  </a:cubicBezTo>
                  <a:cubicBezTo>
                    <a:pt x="101390" y="3759"/>
                    <a:pt x="97637" y="0"/>
                    <a:pt x="93000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Полилиния: фигура 201">
              <a:extLst>
                <a:ext uri="{FF2B5EF4-FFF2-40B4-BE49-F238E27FC236}">
                  <a16:creationId xmlns:a16="http://schemas.microsoft.com/office/drawing/2014/main" id="{E52DCF7C-F478-4604-BA07-3C8F128F3E94}"/>
                </a:ext>
              </a:extLst>
            </p:cNvPr>
            <p:cNvSpPr/>
            <p:nvPr/>
          </p:nvSpPr>
          <p:spPr>
            <a:xfrm>
              <a:off x="5703333" y="3645048"/>
              <a:ext cx="101350" cy="16779"/>
            </a:xfrm>
            <a:custGeom>
              <a:avLst/>
              <a:gdLst>
                <a:gd name="connsiteX0" fmla="*/ 92961 w 101350"/>
                <a:gd name="connsiteY0" fmla="*/ 0 h 16779"/>
                <a:gd name="connsiteX1" fmla="*/ 8390 w 101350"/>
                <a:gd name="connsiteY1" fmla="*/ 0 h 16779"/>
                <a:gd name="connsiteX2" fmla="*/ 0 w 101350"/>
                <a:gd name="connsiteY2" fmla="*/ 8390 h 16779"/>
                <a:gd name="connsiteX3" fmla="*/ 8390 w 101350"/>
                <a:gd name="connsiteY3" fmla="*/ 16780 h 16779"/>
                <a:gd name="connsiteX4" fmla="*/ 92961 w 101350"/>
                <a:gd name="connsiteY4" fmla="*/ 16780 h 16779"/>
                <a:gd name="connsiteX5" fmla="*/ 101351 w 101350"/>
                <a:gd name="connsiteY5" fmla="*/ 8390 h 16779"/>
                <a:gd name="connsiteX6" fmla="*/ 92961 w 101350"/>
                <a:gd name="connsiteY6" fmla="*/ 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350" h="16779">
                  <a:moveTo>
                    <a:pt x="92961" y="0"/>
                  </a:moveTo>
                  <a:lnTo>
                    <a:pt x="8390" y="0"/>
                  </a:lnTo>
                  <a:cubicBezTo>
                    <a:pt x="3759" y="0"/>
                    <a:pt x="0" y="3753"/>
                    <a:pt x="0" y="8390"/>
                  </a:cubicBezTo>
                  <a:cubicBezTo>
                    <a:pt x="0" y="13021"/>
                    <a:pt x="3759" y="16780"/>
                    <a:pt x="8390" y="16780"/>
                  </a:cubicBezTo>
                  <a:lnTo>
                    <a:pt x="92961" y="16780"/>
                  </a:lnTo>
                  <a:cubicBezTo>
                    <a:pt x="97592" y="16780"/>
                    <a:pt x="101351" y="13021"/>
                    <a:pt x="101351" y="8390"/>
                  </a:cubicBezTo>
                  <a:cubicBezTo>
                    <a:pt x="101351" y="3759"/>
                    <a:pt x="97592" y="0"/>
                    <a:pt x="92961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Полилиния: фигура 202">
              <a:extLst>
                <a:ext uri="{FF2B5EF4-FFF2-40B4-BE49-F238E27FC236}">
                  <a16:creationId xmlns:a16="http://schemas.microsoft.com/office/drawing/2014/main" id="{FB2C64D9-8F5B-41D0-93C6-56A2CE9DCAAE}"/>
                </a:ext>
              </a:extLst>
            </p:cNvPr>
            <p:cNvSpPr/>
            <p:nvPr/>
          </p:nvSpPr>
          <p:spPr>
            <a:xfrm>
              <a:off x="5334176" y="3463211"/>
              <a:ext cx="80502" cy="72410"/>
            </a:xfrm>
            <a:custGeom>
              <a:avLst/>
              <a:gdLst>
                <a:gd name="connsiteX0" fmla="*/ 66599 w 80502"/>
                <a:gd name="connsiteY0" fmla="*/ 70341 h 72410"/>
                <a:gd name="connsiteX1" fmla="*/ 72114 w 80502"/>
                <a:gd name="connsiteY1" fmla="*/ 72410 h 72410"/>
                <a:gd name="connsiteX2" fmla="*/ 78434 w 80502"/>
                <a:gd name="connsiteY2" fmla="*/ 69535 h 72410"/>
                <a:gd name="connsiteX3" fmla="*/ 77629 w 80502"/>
                <a:gd name="connsiteY3" fmla="*/ 57700 h 72410"/>
                <a:gd name="connsiteX4" fmla="*/ 13904 w 80502"/>
                <a:gd name="connsiteY4" fmla="*/ 2069 h 72410"/>
                <a:gd name="connsiteX5" fmla="*/ 2069 w 80502"/>
                <a:gd name="connsiteY5" fmla="*/ 2874 h 72410"/>
                <a:gd name="connsiteX6" fmla="*/ 2874 w 80502"/>
                <a:gd name="connsiteY6" fmla="*/ 14710 h 72410"/>
                <a:gd name="connsiteX7" fmla="*/ 66599 w 80502"/>
                <a:gd name="connsiteY7" fmla="*/ 70341 h 72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502" h="72410">
                  <a:moveTo>
                    <a:pt x="66599" y="70341"/>
                  </a:moveTo>
                  <a:cubicBezTo>
                    <a:pt x="68187" y="71733"/>
                    <a:pt x="70156" y="72410"/>
                    <a:pt x="72114" y="72410"/>
                  </a:cubicBezTo>
                  <a:cubicBezTo>
                    <a:pt x="74452" y="72410"/>
                    <a:pt x="76778" y="71437"/>
                    <a:pt x="78434" y="69535"/>
                  </a:cubicBezTo>
                  <a:cubicBezTo>
                    <a:pt x="81482" y="66045"/>
                    <a:pt x="81119" y="60748"/>
                    <a:pt x="77629" y="57700"/>
                  </a:cubicBezTo>
                  <a:lnTo>
                    <a:pt x="13904" y="2069"/>
                  </a:lnTo>
                  <a:cubicBezTo>
                    <a:pt x="10420" y="-980"/>
                    <a:pt x="5112" y="-616"/>
                    <a:pt x="2069" y="2874"/>
                  </a:cubicBezTo>
                  <a:cubicBezTo>
                    <a:pt x="-980" y="6364"/>
                    <a:pt x="-616" y="11661"/>
                    <a:pt x="2874" y="14710"/>
                  </a:cubicBezTo>
                  <a:lnTo>
                    <a:pt x="66599" y="7034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Полилиния: фигура 203">
              <a:extLst>
                <a:ext uri="{FF2B5EF4-FFF2-40B4-BE49-F238E27FC236}">
                  <a16:creationId xmlns:a16="http://schemas.microsoft.com/office/drawing/2014/main" id="{2E52A1AB-59FB-4658-A02D-6E754F9571F9}"/>
                </a:ext>
              </a:extLst>
            </p:cNvPr>
            <p:cNvSpPr/>
            <p:nvPr/>
          </p:nvSpPr>
          <p:spPr>
            <a:xfrm>
              <a:off x="5639573" y="3463203"/>
              <a:ext cx="80531" cy="72417"/>
            </a:xfrm>
            <a:custGeom>
              <a:avLst/>
              <a:gdLst>
                <a:gd name="connsiteX0" fmla="*/ 8393 w 80531"/>
                <a:gd name="connsiteY0" fmla="*/ 72418 h 72417"/>
                <a:gd name="connsiteX1" fmla="*/ 13902 w 80531"/>
                <a:gd name="connsiteY1" fmla="*/ 70348 h 72417"/>
                <a:gd name="connsiteX2" fmla="*/ 77660 w 80531"/>
                <a:gd name="connsiteY2" fmla="*/ 14718 h 72417"/>
                <a:gd name="connsiteX3" fmla="*/ 78465 w 80531"/>
                <a:gd name="connsiteY3" fmla="*/ 2877 h 72417"/>
                <a:gd name="connsiteX4" fmla="*/ 66630 w 80531"/>
                <a:gd name="connsiteY4" fmla="*/ 2071 h 72417"/>
                <a:gd name="connsiteX5" fmla="*/ 2872 w 80531"/>
                <a:gd name="connsiteY5" fmla="*/ 57702 h 72417"/>
                <a:gd name="connsiteX6" fmla="*/ 2067 w 80531"/>
                <a:gd name="connsiteY6" fmla="*/ 69543 h 72417"/>
                <a:gd name="connsiteX7" fmla="*/ 8393 w 80531"/>
                <a:gd name="connsiteY7" fmla="*/ 72418 h 7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531" h="72417">
                  <a:moveTo>
                    <a:pt x="8393" y="72418"/>
                  </a:moveTo>
                  <a:cubicBezTo>
                    <a:pt x="10350" y="72418"/>
                    <a:pt x="12313" y="71736"/>
                    <a:pt x="13902" y="70348"/>
                  </a:cubicBezTo>
                  <a:lnTo>
                    <a:pt x="77660" y="14718"/>
                  </a:lnTo>
                  <a:cubicBezTo>
                    <a:pt x="81150" y="11669"/>
                    <a:pt x="81508" y="6372"/>
                    <a:pt x="78465" y="2877"/>
                  </a:cubicBezTo>
                  <a:cubicBezTo>
                    <a:pt x="75428" y="-614"/>
                    <a:pt x="70120" y="-983"/>
                    <a:pt x="66630" y="2071"/>
                  </a:cubicBezTo>
                  <a:lnTo>
                    <a:pt x="2872" y="57702"/>
                  </a:lnTo>
                  <a:cubicBezTo>
                    <a:pt x="-618" y="60750"/>
                    <a:pt x="-976" y="66047"/>
                    <a:pt x="2067" y="69543"/>
                  </a:cubicBezTo>
                  <a:cubicBezTo>
                    <a:pt x="3722" y="71450"/>
                    <a:pt x="6049" y="72418"/>
                    <a:pt x="8393" y="7241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" name="Рисунок 12">
            <a:extLst>
              <a:ext uri="{FF2B5EF4-FFF2-40B4-BE49-F238E27FC236}">
                <a16:creationId xmlns:a16="http://schemas.microsoft.com/office/drawing/2014/main" id="{9182804A-3DBC-46AA-8935-1DC11FE3424D}"/>
              </a:ext>
            </a:extLst>
          </p:cNvPr>
          <p:cNvGrpSpPr/>
          <p:nvPr/>
        </p:nvGrpSpPr>
        <p:grpSpPr>
          <a:xfrm>
            <a:off x="8664263" y="5748449"/>
            <a:ext cx="436455" cy="425771"/>
            <a:chOff x="659078" y="3404973"/>
            <a:chExt cx="449260" cy="496002"/>
          </a:xfrm>
          <a:solidFill>
            <a:schemeClr val="tx1"/>
          </a:solidFill>
        </p:grpSpPr>
        <p:sp>
          <p:nvSpPr>
            <p:cNvPr id="19" name="Полилиния: фигура 29">
              <a:extLst>
                <a:ext uri="{FF2B5EF4-FFF2-40B4-BE49-F238E27FC236}">
                  <a16:creationId xmlns:a16="http://schemas.microsoft.com/office/drawing/2014/main" id="{9D68BCC1-90C8-4B93-9A1D-9B052AEEDB50}"/>
                </a:ext>
              </a:extLst>
            </p:cNvPr>
            <p:cNvSpPr/>
            <p:nvPr/>
          </p:nvSpPr>
          <p:spPr>
            <a:xfrm>
              <a:off x="659078" y="3404973"/>
              <a:ext cx="449260" cy="496002"/>
            </a:xfrm>
            <a:custGeom>
              <a:avLst/>
              <a:gdLst>
                <a:gd name="connsiteX0" fmla="*/ 446854 w 449260"/>
                <a:gd name="connsiteY0" fmla="*/ 50843 h 496002"/>
                <a:gd name="connsiteX1" fmla="*/ 440640 w 449260"/>
                <a:gd name="connsiteY1" fmla="*/ 48018 h 496002"/>
                <a:gd name="connsiteX2" fmla="*/ 354772 w 449260"/>
                <a:gd name="connsiteY2" fmla="*/ 48018 h 496002"/>
                <a:gd name="connsiteX3" fmla="*/ 354772 w 449260"/>
                <a:gd name="connsiteY3" fmla="*/ 8474 h 496002"/>
                <a:gd name="connsiteX4" fmla="*/ 346298 w 449260"/>
                <a:gd name="connsiteY4" fmla="*/ 0 h 496002"/>
                <a:gd name="connsiteX5" fmla="*/ 105076 w 449260"/>
                <a:gd name="connsiteY5" fmla="*/ 0 h 496002"/>
                <a:gd name="connsiteX6" fmla="*/ 96602 w 449260"/>
                <a:gd name="connsiteY6" fmla="*/ 8474 h 496002"/>
                <a:gd name="connsiteX7" fmla="*/ 96602 w 449260"/>
                <a:gd name="connsiteY7" fmla="*/ 48018 h 496002"/>
                <a:gd name="connsiteX8" fmla="*/ 8474 w 449260"/>
                <a:gd name="connsiteY8" fmla="*/ 48018 h 496002"/>
                <a:gd name="connsiteX9" fmla="*/ 2260 w 449260"/>
                <a:gd name="connsiteY9" fmla="*/ 50843 h 496002"/>
                <a:gd name="connsiteX10" fmla="*/ 0 w 449260"/>
                <a:gd name="connsiteY10" fmla="*/ 57057 h 496002"/>
                <a:gd name="connsiteX11" fmla="*/ 14688 w 449260"/>
                <a:gd name="connsiteY11" fmla="*/ 136711 h 496002"/>
                <a:gd name="connsiteX12" fmla="*/ 103946 w 449260"/>
                <a:gd name="connsiteY12" fmla="*/ 250261 h 496002"/>
                <a:gd name="connsiteX13" fmla="*/ 187554 w 449260"/>
                <a:gd name="connsiteY13" fmla="*/ 345168 h 496002"/>
                <a:gd name="connsiteX14" fmla="*/ 187554 w 449260"/>
                <a:gd name="connsiteY14" fmla="*/ 346863 h 496002"/>
                <a:gd name="connsiteX15" fmla="*/ 106206 w 449260"/>
                <a:gd name="connsiteY15" fmla="*/ 431036 h 496002"/>
                <a:gd name="connsiteX16" fmla="*/ 97732 w 449260"/>
                <a:gd name="connsiteY16" fmla="*/ 439510 h 496002"/>
                <a:gd name="connsiteX17" fmla="*/ 97732 w 449260"/>
                <a:gd name="connsiteY17" fmla="*/ 487529 h 496002"/>
                <a:gd name="connsiteX18" fmla="*/ 106206 w 449260"/>
                <a:gd name="connsiteY18" fmla="*/ 496002 h 496002"/>
                <a:gd name="connsiteX19" fmla="*/ 346298 w 449260"/>
                <a:gd name="connsiteY19" fmla="*/ 496002 h 496002"/>
                <a:gd name="connsiteX20" fmla="*/ 354772 w 449260"/>
                <a:gd name="connsiteY20" fmla="*/ 487529 h 496002"/>
                <a:gd name="connsiteX21" fmla="*/ 354772 w 449260"/>
                <a:gd name="connsiteY21" fmla="*/ 439510 h 496002"/>
                <a:gd name="connsiteX22" fmla="*/ 346298 w 449260"/>
                <a:gd name="connsiteY22" fmla="*/ 431036 h 496002"/>
                <a:gd name="connsiteX23" fmla="*/ 262124 w 449260"/>
                <a:gd name="connsiteY23" fmla="*/ 346863 h 496002"/>
                <a:gd name="connsiteX24" fmla="*/ 262124 w 449260"/>
                <a:gd name="connsiteY24" fmla="*/ 345733 h 496002"/>
                <a:gd name="connsiteX25" fmla="*/ 347993 w 449260"/>
                <a:gd name="connsiteY25" fmla="*/ 249131 h 496002"/>
                <a:gd name="connsiteX26" fmla="*/ 434426 w 449260"/>
                <a:gd name="connsiteY26" fmla="*/ 136711 h 496002"/>
                <a:gd name="connsiteX27" fmla="*/ 449114 w 449260"/>
                <a:gd name="connsiteY27" fmla="*/ 57057 h 496002"/>
                <a:gd name="connsiteX28" fmla="*/ 446854 w 449260"/>
                <a:gd name="connsiteY28" fmla="*/ 50843 h 496002"/>
                <a:gd name="connsiteX29" fmla="*/ 17513 w 449260"/>
                <a:gd name="connsiteY29" fmla="*/ 64966 h 496002"/>
                <a:gd name="connsiteX30" fmla="*/ 96602 w 449260"/>
                <a:gd name="connsiteY30" fmla="*/ 64966 h 496002"/>
                <a:gd name="connsiteX31" fmla="*/ 96602 w 449260"/>
                <a:gd name="connsiteY31" fmla="*/ 200548 h 496002"/>
                <a:gd name="connsiteX32" fmla="*/ 98862 w 449260"/>
                <a:gd name="connsiteY32" fmla="*/ 228229 h 496002"/>
                <a:gd name="connsiteX33" fmla="*/ 17513 w 449260"/>
                <a:gd name="connsiteY33" fmla="*/ 64966 h 496002"/>
                <a:gd name="connsiteX34" fmla="*/ 337824 w 449260"/>
                <a:gd name="connsiteY34" fmla="*/ 447419 h 496002"/>
                <a:gd name="connsiteX35" fmla="*/ 337824 w 449260"/>
                <a:gd name="connsiteY35" fmla="*/ 478490 h 496002"/>
                <a:gd name="connsiteX36" fmla="*/ 114679 w 449260"/>
                <a:gd name="connsiteY36" fmla="*/ 478490 h 496002"/>
                <a:gd name="connsiteX37" fmla="*/ 114679 w 449260"/>
                <a:gd name="connsiteY37" fmla="*/ 447419 h 496002"/>
                <a:gd name="connsiteX38" fmla="*/ 203937 w 449260"/>
                <a:gd name="connsiteY38" fmla="*/ 349687 h 496002"/>
                <a:gd name="connsiteX39" fmla="*/ 225404 w 449260"/>
                <a:gd name="connsiteY39" fmla="*/ 351947 h 496002"/>
                <a:gd name="connsiteX40" fmla="*/ 245177 w 449260"/>
                <a:gd name="connsiteY40" fmla="*/ 350252 h 496002"/>
                <a:gd name="connsiteX41" fmla="*/ 337824 w 449260"/>
                <a:gd name="connsiteY41" fmla="*/ 447419 h 496002"/>
                <a:gd name="connsiteX42" fmla="*/ 248001 w 449260"/>
                <a:gd name="connsiteY42" fmla="*/ 332740 h 496002"/>
                <a:gd name="connsiteX43" fmla="*/ 225969 w 449260"/>
                <a:gd name="connsiteY43" fmla="*/ 335564 h 496002"/>
                <a:gd name="connsiteX44" fmla="*/ 201113 w 449260"/>
                <a:gd name="connsiteY44" fmla="*/ 332175 h 496002"/>
                <a:gd name="connsiteX45" fmla="*/ 195463 w 449260"/>
                <a:gd name="connsiteY45" fmla="*/ 330480 h 496002"/>
                <a:gd name="connsiteX46" fmla="*/ 113550 w 449260"/>
                <a:gd name="connsiteY46" fmla="*/ 201113 h 496002"/>
                <a:gd name="connsiteX47" fmla="*/ 113550 w 449260"/>
                <a:gd name="connsiteY47" fmla="*/ 17513 h 496002"/>
                <a:gd name="connsiteX48" fmla="*/ 337824 w 449260"/>
                <a:gd name="connsiteY48" fmla="*/ 17513 h 496002"/>
                <a:gd name="connsiteX49" fmla="*/ 337824 w 449260"/>
                <a:gd name="connsiteY49" fmla="*/ 51408 h 496002"/>
                <a:gd name="connsiteX50" fmla="*/ 337824 w 449260"/>
                <a:gd name="connsiteY50" fmla="*/ 62142 h 496002"/>
                <a:gd name="connsiteX51" fmla="*/ 337824 w 449260"/>
                <a:gd name="connsiteY51" fmla="*/ 201113 h 496002"/>
                <a:gd name="connsiteX52" fmla="*/ 255345 w 449260"/>
                <a:gd name="connsiteY52" fmla="*/ 330480 h 496002"/>
                <a:gd name="connsiteX53" fmla="*/ 353077 w 449260"/>
                <a:gd name="connsiteY53" fmla="*/ 227099 h 496002"/>
                <a:gd name="connsiteX54" fmla="*/ 355337 w 449260"/>
                <a:gd name="connsiteY54" fmla="*/ 200548 h 496002"/>
                <a:gd name="connsiteX55" fmla="*/ 355337 w 449260"/>
                <a:gd name="connsiteY55" fmla="*/ 64966 h 496002"/>
                <a:gd name="connsiteX56" fmla="*/ 432166 w 449260"/>
                <a:gd name="connsiteY56" fmla="*/ 64966 h 496002"/>
                <a:gd name="connsiteX57" fmla="*/ 353077 w 449260"/>
                <a:gd name="connsiteY57" fmla="*/ 227099 h 49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49260" h="496002">
                  <a:moveTo>
                    <a:pt x="446854" y="50843"/>
                  </a:moveTo>
                  <a:cubicBezTo>
                    <a:pt x="445159" y="49148"/>
                    <a:pt x="442900" y="48018"/>
                    <a:pt x="440640" y="48018"/>
                  </a:cubicBezTo>
                  <a:lnTo>
                    <a:pt x="354772" y="48018"/>
                  </a:lnTo>
                  <a:lnTo>
                    <a:pt x="354772" y="8474"/>
                  </a:lnTo>
                  <a:cubicBezTo>
                    <a:pt x="354772" y="3954"/>
                    <a:pt x="350817" y="0"/>
                    <a:pt x="346298" y="0"/>
                  </a:cubicBezTo>
                  <a:lnTo>
                    <a:pt x="105076" y="0"/>
                  </a:lnTo>
                  <a:cubicBezTo>
                    <a:pt x="100556" y="0"/>
                    <a:pt x="96602" y="3954"/>
                    <a:pt x="96602" y="8474"/>
                  </a:cubicBezTo>
                  <a:lnTo>
                    <a:pt x="96602" y="48018"/>
                  </a:lnTo>
                  <a:lnTo>
                    <a:pt x="8474" y="48018"/>
                  </a:lnTo>
                  <a:cubicBezTo>
                    <a:pt x="6214" y="48018"/>
                    <a:pt x="3954" y="49148"/>
                    <a:pt x="2260" y="50843"/>
                  </a:cubicBezTo>
                  <a:cubicBezTo>
                    <a:pt x="565" y="52538"/>
                    <a:pt x="0" y="54798"/>
                    <a:pt x="0" y="57057"/>
                  </a:cubicBezTo>
                  <a:cubicBezTo>
                    <a:pt x="0" y="58752"/>
                    <a:pt x="1695" y="94907"/>
                    <a:pt x="14688" y="136711"/>
                  </a:cubicBezTo>
                  <a:cubicBezTo>
                    <a:pt x="32766" y="192639"/>
                    <a:pt x="63271" y="232183"/>
                    <a:pt x="103946" y="250261"/>
                  </a:cubicBezTo>
                  <a:cubicBezTo>
                    <a:pt x="117504" y="295455"/>
                    <a:pt x="148575" y="331045"/>
                    <a:pt x="187554" y="345168"/>
                  </a:cubicBezTo>
                  <a:lnTo>
                    <a:pt x="187554" y="346863"/>
                  </a:lnTo>
                  <a:cubicBezTo>
                    <a:pt x="187554" y="393751"/>
                    <a:pt x="151964" y="431036"/>
                    <a:pt x="106206" y="431036"/>
                  </a:cubicBezTo>
                  <a:cubicBezTo>
                    <a:pt x="101686" y="431036"/>
                    <a:pt x="97732" y="434991"/>
                    <a:pt x="97732" y="439510"/>
                  </a:cubicBezTo>
                  <a:lnTo>
                    <a:pt x="97732" y="487529"/>
                  </a:lnTo>
                  <a:cubicBezTo>
                    <a:pt x="97732" y="492048"/>
                    <a:pt x="101686" y="496002"/>
                    <a:pt x="106206" y="496002"/>
                  </a:cubicBezTo>
                  <a:lnTo>
                    <a:pt x="346298" y="496002"/>
                  </a:lnTo>
                  <a:cubicBezTo>
                    <a:pt x="350817" y="496002"/>
                    <a:pt x="354772" y="492048"/>
                    <a:pt x="354772" y="487529"/>
                  </a:cubicBezTo>
                  <a:lnTo>
                    <a:pt x="354772" y="439510"/>
                  </a:lnTo>
                  <a:cubicBezTo>
                    <a:pt x="354772" y="434991"/>
                    <a:pt x="350817" y="431036"/>
                    <a:pt x="346298" y="431036"/>
                  </a:cubicBezTo>
                  <a:cubicBezTo>
                    <a:pt x="299974" y="431036"/>
                    <a:pt x="262124" y="393186"/>
                    <a:pt x="262124" y="346863"/>
                  </a:cubicBezTo>
                  <a:lnTo>
                    <a:pt x="262124" y="345733"/>
                  </a:lnTo>
                  <a:cubicBezTo>
                    <a:pt x="302799" y="331610"/>
                    <a:pt x="334434" y="295455"/>
                    <a:pt x="347993" y="249131"/>
                  </a:cubicBezTo>
                  <a:cubicBezTo>
                    <a:pt x="386972" y="230489"/>
                    <a:pt x="416913" y="191509"/>
                    <a:pt x="434426" y="136711"/>
                  </a:cubicBezTo>
                  <a:cubicBezTo>
                    <a:pt x="447984" y="94907"/>
                    <a:pt x="449114" y="58187"/>
                    <a:pt x="449114" y="57057"/>
                  </a:cubicBezTo>
                  <a:cubicBezTo>
                    <a:pt x="449679" y="54798"/>
                    <a:pt x="448549" y="52538"/>
                    <a:pt x="446854" y="50843"/>
                  </a:cubicBezTo>
                  <a:close/>
                  <a:moveTo>
                    <a:pt x="17513" y="64966"/>
                  </a:moveTo>
                  <a:lnTo>
                    <a:pt x="96602" y="64966"/>
                  </a:lnTo>
                  <a:lnTo>
                    <a:pt x="96602" y="200548"/>
                  </a:lnTo>
                  <a:cubicBezTo>
                    <a:pt x="96602" y="210151"/>
                    <a:pt x="97167" y="219190"/>
                    <a:pt x="98862" y="228229"/>
                  </a:cubicBezTo>
                  <a:cubicBezTo>
                    <a:pt x="34460" y="189814"/>
                    <a:pt x="20337" y="94342"/>
                    <a:pt x="17513" y="64966"/>
                  </a:cubicBezTo>
                  <a:close/>
                  <a:moveTo>
                    <a:pt x="337824" y="447419"/>
                  </a:moveTo>
                  <a:lnTo>
                    <a:pt x="337824" y="478490"/>
                  </a:lnTo>
                  <a:lnTo>
                    <a:pt x="114679" y="478490"/>
                  </a:lnTo>
                  <a:lnTo>
                    <a:pt x="114679" y="447419"/>
                  </a:lnTo>
                  <a:cubicBezTo>
                    <a:pt x="164393" y="443465"/>
                    <a:pt x="202807" y="402225"/>
                    <a:pt x="203937" y="349687"/>
                  </a:cubicBezTo>
                  <a:cubicBezTo>
                    <a:pt x="210716" y="350817"/>
                    <a:pt x="218060" y="351947"/>
                    <a:pt x="225404" y="351947"/>
                  </a:cubicBezTo>
                  <a:cubicBezTo>
                    <a:pt x="232183" y="351947"/>
                    <a:pt x="238962" y="351382"/>
                    <a:pt x="245177" y="350252"/>
                  </a:cubicBezTo>
                  <a:cubicBezTo>
                    <a:pt x="247436" y="401660"/>
                    <a:pt x="287546" y="443465"/>
                    <a:pt x="337824" y="447419"/>
                  </a:cubicBezTo>
                  <a:close/>
                  <a:moveTo>
                    <a:pt x="248001" y="332740"/>
                  </a:moveTo>
                  <a:cubicBezTo>
                    <a:pt x="240657" y="334434"/>
                    <a:pt x="233313" y="335564"/>
                    <a:pt x="225969" y="335564"/>
                  </a:cubicBezTo>
                  <a:cubicBezTo>
                    <a:pt x="217495" y="335564"/>
                    <a:pt x="209022" y="334434"/>
                    <a:pt x="201113" y="332175"/>
                  </a:cubicBezTo>
                  <a:cubicBezTo>
                    <a:pt x="199418" y="331610"/>
                    <a:pt x="196593" y="330480"/>
                    <a:pt x="195463" y="330480"/>
                  </a:cubicBezTo>
                  <a:cubicBezTo>
                    <a:pt x="148575" y="314662"/>
                    <a:pt x="113550" y="262689"/>
                    <a:pt x="113550" y="201113"/>
                  </a:cubicBezTo>
                  <a:lnTo>
                    <a:pt x="113550" y="17513"/>
                  </a:lnTo>
                  <a:lnTo>
                    <a:pt x="337824" y="17513"/>
                  </a:lnTo>
                  <a:lnTo>
                    <a:pt x="337824" y="51408"/>
                  </a:lnTo>
                  <a:lnTo>
                    <a:pt x="337824" y="62142"/>
                  </a:lnTo>
                  <a:lnTo>
                    <a:pt x="337824" y="201113"/>
                  </a:lnTo>
                  <a:cubicBezTo>
                    <a:pt x="337824" y="262689"/>
                    <a:pt x="302799" y="314662"/>
                    <a:pt x="255345" y="330480"/>
                  </a:cubicBezTo>
                  <a:moveTo>
                    <a:pt x="353077" y="227099"/>
                  </a:moveTo>
                  <a:cubicBezTo>
                    <a:pt x="354207" y="218625"/>
                    <a:pt x="355337" y="209586"/>
                    <a:pt x="355337" y="200548"/>
                  </a:cubicBezTo>
                  <a:lnTo>
                    <a:pt x="355337" y="64966"/>
                  </a:lnTo>
                  <a:lnTo>
                    <a:pt x="432166" y="64966"/>
                  </a:lnTo>
                  <a:cubicBezTo>
                    <a:pt x="429342" y="94342"/>
                    <a:pt x="415783" y="186990"/>
                    <a:pt x="353077" y="22709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Полилиния: фигура 34">
              <a:extLst>
                <a:ext uri="{FF2B5EF4-FFF2-40B4-BE49-F238E27FC236}">
                  <a16:creationId xmlns:a16="http://schemas.microsoft.com/office/drawing/2014/main" id="{C5E27EBC-9394-40A3-966D-C4C1FC0F48D9}"/>
                </a:ext>
              </a:extLst>
            </p:cNvPr>
            <p:cNvSpPr/>
            <p:nvPr/>
          </p:nvSpPr>
          <p:spPr>
            <a:xfrm>
              <a:off x="795027" y="3466549"/>
              <a:ext cx="184560" cy="176255"/>
            </a:xfrm>
            <a:custGeom>
              <a:avLst/>
              <a:gdLst>
                <a:gd name="connsiteX0" fmla="*/ 171369 w 184560"/>
                <a:gd name="connsiteY0" fmla="*/ 57057 h 176255"/>
                <a:gd name="connsiteX1" fmla="*/ 125046 w 184560"/>
                <a:gd name="connsiteY1" fmla="*/ 50278 h 176255"/>
                <a:gd name="connsiteX2" fmla="*/ 104144 w 184560"/>
                <a:gd name="connsiteY2" fmla="*/ 7909 h 176255"/>
                <a:gd name="connsiteX3" fmla="*/ 91715 w 184560"/>
                <a:gd name="connsiteY3" fmla="*/ 0 h 176255"/>
                <a:gd name="connsiteX4" fmla="*/ 91715 w 184560"/>
                <a:gd name="connsiteY4" fmla="*/ 0 h 176255"/>
                <a:gd name="connsiteX5" fmla="*/ 79287 w 184560"/>
                <a:gd name="connsiteY5" fmla="*/ 7909 h 176255"/>
                <a:gd name="connsiteX6" fmla="*/ 58385 w 184560"/>
                <a:gd name="connsiteY6" fmla="*/ 50278 h 176255"/>
                <a:gd name="connsiteX7" fmla="*/ 12061 w 184560"/>
                <a:gd name="connsiteY7" fmla="*/ 57057 h 176255"/>
                <a:gd name="connsiteX8" fmla="*/ 763 w 184560"/>
                <a:gd name="connsiteY8" fmla="*/ 66661 h 176255"/>
                <a:gd name="connsiteX9" fmla="*/ 4152 w 184560"/>
                <a:gd name="connsiteY9" fmla="*/ 80784 h 176255"/>
                <a:gd name="connsiteX10" fmla="*/ 38048 w 184560"/>
                <a:gd name="connsiteY10" fmla="*/ 113550 h 176255"/>
                <a:gd name="connsiteX11" fmla="*/ 30139 w 184560"/>
                <a:gd name="connsiteY11" fmla="*/ 159873 h 176255"/>
                <a:gd name="connsiteX12" fmla="*/ 35788 w 184560"/>
                <a:gd name="connsiteY12" fmla="*/ 173431 h 176255"/>
                <a:gd name="connsiteX13" fmla="*/ 44262 w 184560"/>
                <a:gd name="connsiteY13" fmla="*/ 176256 h 176255"/>
                <a:gd name="connsiteX14" fmla="*/ 50476 w 184560"/>
                <a:gd name="connsiteY14" fmla="*/ 174561 h 176255"/>
                <a:gd name="connsiteX15" fmla="*/ 93410 w 184560"/>
                <a:gd name="connsiteY15" fmla="*/ 153094 h 176255"/>
                <a:gd name="connsiteX16" fmla="*/ 134084 w 184560"/>
                <a:gd name="connsiteY16" fmla="*/ 174561 h 176255"/>
                <a:gd name="connsiteX17" fmla="*/ 148772 w 184560"/>
                <a:gd name="connsiteY17" fmla="*/ 173431 h 176255"/>
                <a:gd name="connsiteX18" fmla="*/ 154422 w 184560"/>
                <a:gd name="connsiteY18" fmla="*/ 159873 h 176255"/>
                <a:gd name="connsiteX19" fmla="*/ 146513 w 184560"/>
                <a:gd name="connsiteY19" fmla="*/ 113550 h 176255"/>
                <a:gd name="connsiteX20" fmla="*/ 180408 w 184560"/>
                <a:gd name="connsiteY20" fmla="*/ 80784 h 176255"/>
                <a:gd name="connsiteX21" fmla="*/ 183798 w 184560"/>
                <a:gd name="connsiteY21" fmla="*/ 66661 h 176255"/>
                <a:gd name="connsiteX22" fmla="*/ 171369 w 184560"/>
                <a:gd name="connsiteY22" fmla="*/ 57057 h 176255"/>
                <a:gd name="connsiteX23" fmla="*/ 130695 w 184560"/>
                <a:gd name="connsiteY23" fmla="*/ 104511 h 176255"/>
                <a:gd name="connsiteX24" fmla="*/ 128435 w 184560"/>
                <a:gd name="connsiteY24" fmla="*/ 111855 h 176255"/>
                <a:gd name="connsiteX25" fmla="*/ 136344 w 184560"/>
                <a:gd name="connsiteY25" fmla="*/ 156484 h 176255"/>
                <a:gd name="connsiteX26" fmla="*/ 97364 w 184560"/>
                <a:gd name="connsiteY26" fmla="*/ 136146 h 176255"/>
                <a:gd name="connsiteX27" fmla="*/ 89456 w 184560"/>
                <a:gd name="connsiteY27" fmla="*/ 136146 h 176255"/>
                <a:gd name="connsiteX28" fmla="*/ 47651 w 184560"/>
                <a:gd name="connsiteY28" fmla="*/ 157049 h 176255"/>
                <a:gd name="connsiteX29" fmla="*/ 55560 w 184560"/>
                <a:gd name="connsiteY29" fmla="*/ 111855 h 176255"/>
                <a:gd name="connsiteX30" fmla="*/ 53301 w 184560"/>
                <a:gd name="connsiteY30" fmla="*/ 104511 h 176255"/>
                <a:gd name="connsiteX31" fmla="*/ 21100 w 184560"/>
                <a:gd name="connsiteY31" fmla="*/ 72875 h 176255"/>
                <a:gd name="connsiteX32" fmla="*/ 65729 w 184560"/>
                <a:gd name="connsiteY32" fmla="*/ 66096 h 176255"/>
                <a:gd name="connsiteX33" fmla="*/ 71943 w 184560"/>
                <a:gd name="connsiteY33" fmla="*/ 61577 h 176255"/>
                <a:gd name="connsiteX34" fmla="*/ 91715 w 184560"/>
                <a:gd name="connsiteY34" fmla="*/ 20902 h 176255"/>
                <a:gd name="connsiteX35" fmla="*/ 111488 w 184560"/>
                <a:gd name="connsiteY35" fmla="*/ 61577 h 176255"/>
                <a:gd name="connsiteX36" fmla="*/ 117702 w 184560"/>
                <a:gd name="connsiteY36" fmla="*/ 66096 h 176255"/>
                <a:gd name="connsiteX37" fmla="*/ 162331 w 184560"/>
                <a:gd name="connsiteY37" fmla="*/ 72875 h 176255"/>
                <a:gd name="connsiteX38" fmla="*/ 130695 w 184560"/>
                <a:gd name="connsiteY38" fmla="*/ 104511 h 176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84560" h="176255">
                  <a:moveTo>
                    <a:pt x="171369" y="57057"/>
                  </a:moveTo>
                  <a:lnTo>
                    <a:pt x="125046" y="50278"/>
                  </a:lnTo>
                  <a:lnTo>
                    <a:pt x="104144" y="7909"/>
                  </a:lnTo>
                  <a:cubicBezTo>
                    <a:pt x="101884" y="3390"/>
                    <a:pt x="96800" y="0"/>
                    <a:pt x="91715" y="0"/>
                  </a:cubicBezTo>
                  <a:cubicBezTo>
                    <a:pt x="91715" y="0"/>
                    <a:pt x="91715" y="0"/>
                    <a:pt x="91715" y="0"/>
                  </a:cubicBezTo>
                  <a:cubicBezTo>
                    <a:pt x="86631" y="0"/>
                    <a:pt x="81547" y="2825"/>
                    <a:pt x="79287" y="7909"/>
                  </a:cubicBezTo>
                  <a:lnTo>
                    <a:pt x="58385" y="50278"/>
                  </a:lnTo>
                  <a:lnTo>
                    <a:pt x="12061" y="57057"/>
                  </a:lnTo>
                  <a:cubicBezTo>
                    <a:pt x="6977" y="57622"/>
                    <a:pt x="2457" y="61577"/>
                    <a:pt x="763" y="66661"/>
                  </a:cubicBezTo>
                  <a:cubicBezTo>
                    <a:pt x="-932" y="71745"/>
                    <a:pt x="198" y="77394"/>
                    <a:pt x="4152" y="80784"/>
                  </a:cubicBezTo>
                  <a:lnTo>
                    <a:pt x="38048" y="113550"/>
                  </a:lnTo>
                  <a:lnTo>
                    <a:pt x="30139" y="159873"/>
                  </a:lnTo>
                  <a:cubicBezTo>
                    <a:pt x="29009" y="164958"/>
                    <a:pt x="31268" y="170042"/>
                    <a:pt x="35788" y="173431"/>
                  </a:cubicBezTo>
                  <a:cubicBezTo>
                    <a:pt x="38048" y="175126"/>
                    <a:pt x="40872" y="176256"/>
                    <a:pt x="44262" y="176256"/>
                  </a:cubicBezTo>
                  <a:cubicBezTo>
                    <a:pt x="46521" y="176256"/>
                    <a:pt x="48781" y="175691"/>
                    <a:pt x="50476" y="174561"/>
                  </a:cubicBezTo>
                  <a:lnTo>
                    <a:pt x="93410" y="153094"/>
                  </a:lnTo>
                  <a:lnTo>
                    <a:pt x="134084" y="174561"/>
                  </a:lnTo>
                  <a:cubicBezTo>
                    <a:pt x="138604" y="176821"/>
                    <a:pt x="144253" y="176821"/>
                    <a:pt x="148772" y="173431"/>
                  </a:cubicBezTo>
                  <a:cubicBezTo>
                    <a:pt x="153292" y="170042"/>
                    <a:pt x="154987" y="164958"/>
                    <a:pt x="154422" y="159873"/>
                  </a:cubicBezTo>
                  <a:lnTo>
                    <a:pt x="146513" y="113550"/>
                  </a:lnTo>
                  <a:lnTo>
                    <a:pt x="180408" y="80784"/>
                  </a:lnTo>
                  <a:cubicBezTo>
                    <a:pt x="184363" y="76830"/>
                    <a:pt x="185492" y="71745"/>
                    <a:pt x="183798" y="66661"/>
                  </a:cubicBezTo>
                  <a:cubicBezTo>
                    <a:pt x="180973" y="61577"/>
                    <a:pt x="177019" y="57622"/>
                    <a:pt x="171369" y="57057"/>
                  </a:cubicBezTo>
                  <a:close/>
                  <a:moveTo>
                    <a:pt x="130695" y="104511"/>
                  </a:moveTo>
                  <a:cubicBezTo>
                    <a:pt x="128435" y="106206"/>
                    <a:pt x="127870" y="109030"/>
                    <a:pt x="128435" y="111855"/>
                  </a:cubicBezTo>
                  <a:lnTo>
                    <a:pt x="136344" y="156484"/>
                  </a:lnTo>
                  <a:lnTo>
                    <a:pt x="97364" y="136146"/>
                  </a:lnTo>
                  <a:cubicBezTo>
                    <a:pt x="95105" y="135017"/>
                    <a:pt x="92280" y="135017"/>
                    <a:pt x="89456" y="136146"/>
                  </a:cubicBezTo>
                  <a:lnTo>
                    <a:pt x="47651" y="157049"/>
                  </a:lnTo>
                  <a:lnTo>
                    <a:pt x="55560" y="111855"/>
                  </a:lnTo>
                  <a:cubicBezTo>
                    <a:pt x="56125" y="109030"/>
                    <a:pt x="54995" y="106206"/>
                    <a:pt x="53301" y="104511"/>
                  </a:cubicBezTo>
                  <a:lnTo>
                    <a:pt x="21100" y="72875"/>
                  </a:lnTo>
                  <a:lnTo>
                    <a:pt x="65729" y="66096"/>
                  </a:lnTo>
                  <a:cubicBezTo>
                    <a:pt x="68553" y="65531"/>
                    <a:pt x="70813" y="63836"/>
                    <a:pt x="71943" y="61577"/>
                  </a:cubicBezTo>
                  <a:lnTo>
                    <a:pt x="91715" y="20902"/>
                  </a:lnTo>
                  <a:lnTo>
                    <a:pt x="111488" y="61577"/>
                  </a:lnTo>
                  <a:cubicBezTo>
                    <a:pt x="112617" y="63836"/>
                    <a:pt x="114877" y="66096"/>
                    <a:pt x="117702" y="66096"/>
                  </a:cubicBezTo>
                  <a:lnTo>
                    <a:pt x="162331" y="72875"/>
                  </a:lnTo>
                  <a:lnTo>
                    <a:pt x="130695" y="10451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9839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7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D68EB34-ED57-0EA6-A021-937295937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89249"/>
            <a:ext cx="9974580" cy="338554"/>
          </a:xfrm>
        </p:spPr>
        <p:txBody>
          <a:bodyPr vert="horz"/>
          <a:lstStyle/>
          <a:p>
            <a:r>
              <a:rPr lang="ru-RU" dirty="0" smtClean="0"/>
              <a:t>Портал поставщик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93028" y="3531445"/>
            <a:ext cx="1794416" cy="81424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500" y="3734913"/>
            <a:ext cx="5890660" cy="281343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CE7F547-2370-48BD-8950-BAB9E552D5A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2"/>
              </a:ext>
            </a:extLst>
          </a:blip>
          <a:srcRect/>
          <a:stretch/>
        </p:blipFill>
        <p:spPr>
          <a:xfrm>
            <a:off x="7116175" y="2559144"/>
            <a:ext cx="298176" cy="29956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03"/>
          <a:stretch>
            <a:fillRect/>
          </a:stretch>
        </p:blipFill>
        <p:spPr>
          <a:xfrm>
            <a:off x="571500" y="971251"/>
            <a:ext cx="10528618" cy="2520214"/>
          </a:xfrm>
          <a:prstGeom prst="rect">
            <a:avLst/>
          </a:prstGeom>
        </p:spPr>
      </p:pic>
      <p:grpSp>
        <p:nvGrpSpPr>
          <p:cNvPr id="12" name="Рисунок 12">
            <a:extLst>
              <a:ext uri="{FF2B5EF4-FFF2-40B4-BE49-F238E27FC236}">
                <a16:creationId xmlns:a16="http://schemas.microsoft.com/office/drawing/2014/main" id="{9182804A-3DBC-46AA-8935-1DC11FE3424D}"/>
              </a:ext>
            </a:extLst>
          </p:cNvPr>
          <p:cNvGrpSpPr/>
          <p:nvPr/>
        </p:nvGrpSpPr>
        <p:grpSpPr>
          <a:xfrm>
            <a:off x="8562911" y="3734913"/>
            <a:ext cx="436455" cy="425771"/>
            <a:chOff x="659078" y="3404973"/>
            <a:chExt cx="449260" cy="496002"/>
          </a:xfrm>
          <a:solidFill>
            <a:schemeClr val="tx1"/>
          </a:solidFill>
        </p:grpSpPr>
        <p:sp>
          <p:nvSpPr>
            <p:cNvPr id="13" name="Полилиния: фигура 29">
              <a:extLst>
                <a:ext uri="{FF2B5EF4-FFF2-40B4-BE49-F238E27FC236}">
                  <a16:creationId xmlns:a16="http://schemas.microsoft.com/office/drawing/2014/main" id="{9D68BCC1-90C8-4B93-9A1D-9B052AEEDB50}"/>
                </a:ext>
              </a:extLst>
            </p:cNvPr>
            <p:cNvSpPr/>
            <p:nvPr/>
          </p:nvSpPr>
          <p:spPr>
            <a:xfrm>
              <a:off x="659078" y="3404973"/>
              <a:ext cx="449260" cy="496002"/>
            </a:xfrm>
            <a:custGeom>
              <a:avLst/>
              <a:gdLst>
                <a:gd name="connsiteX0" fmla="*/ 446854 w 449260"/>
                <a:gd name="connsiteY0" fmla="*/ 50843 h 496002"/>
                <a:gd name="connsiteX1" fmla="*/ 440640 w 449260"/>
                <a:gd name="connsiteY1" fmla="*/ 48018 h 496002"/>
                <a:gd name="connsiteX2" fmla="*/ 354772 w 449260"/>
                <a:gd name="connsiteY2" fmla="*/ 48018 h 496002"/>
                <a:gd name="connsiteX3" fmla="*/ 354772 w 449260"/>
                <a:gd name="connsiteY3" fmla="*/ 8474 h 496002"/>
                <a:gd name="connsiteX4" fmla="*/ 346298 w 449260"/>
                <a:gd name="connsiteY4" fmla="*/ 0 h 496002"/>
                <a:gd name="connsiteX5" fmla="*/ 105076 w 449260"/>
                <a:gd name="connsiteY5" fmla="*/ 0 h 496002"/>
                <a:gd name="connsiteX6" fmla="*/ 96602 w 449260"/>
                <a:gd name="connsiteY6" fmla="*/ 8474 h 496002"/>
                <a:gd name="connsiteX7" fmla="*/ 96602 w 449260"/>
                <a:gd name="connsiteY7" fmla="*/ 48018 h 496002"/>
                <a:gd name="connsiteX8" fmla="*/ 8474 w 449260"/>
                <a:gd name="connsiteY8" fmla="*/ 48018 h 496002"/>
                <a:gd name="connsiteX9" fmla="*/ 2260 w 449260"/>
                <a:gd name="connsiteY9" fmla="*/ 50843 h 496002"/>
                <a:gd name="connsiteX10" fmla="*/ 0 w 449260"/>
                <a:gd name="connsiteY10" fmla="*/ 57057 h 496002"/>
                <a:gd name="connsiteX11" fmla="*/ 14688 w 449260"/>
                <a:gd name="connsiteY11" fmla="*/ 136711 h 496002"/>
                <a:gd name="connsiteX12" fmla="*/ 103946 w 449260"/>
                <a:gd name="connsiteY12" fmla="*/ 250261 h 496002"/>
                <a:gd name="connsiteX13" fmla="*/ 187554 w 449260"/>
                <a:gd name="connsiteY13" fmla="*/ 345168 h 496002"/>
                <a:gd name="connsiteX14" fmla="*/ 187554 w 449260"/>
                <a:gd name="connsiteY14" fmla="*/ 346863 h 496002"/>
                <a:gd name="connsiteX15" fmla="*/ 106206 w 449260"/>
                <a:gd name="connsiteY15" fmla="*/ 431036 h 496002"/>
                <a:gd name="connsiteX16" fmla="*/ 97732 w 449260"/>
                <a:gd name="connsiteY16" fmla="*/ 439510 h 496002"/>
                <a:gd name="connsiteX17" fmla="*/ 97732 w 449260"/>
                <a:gd name="connsiteY17" fmla="*/ 487529 h 496002"/>
                <a:gd name="connsiteX18" fmla="*/ 106206 w 449260"/>
                <a:gd name="connsiteY18" fmla="*/ 496002 h 496002"/>
                <a:gd name="connsiteX19" fmla="*/ 346298 w 449260"/>
                <a:gd name="connsiteY19" fmla="*/ 496002 h 496002"/>
                <a:gd name="connsiteX20" fmla="*/ 354772 w 449260"/>
                <a:gd name="connsiteY20" fmla="*/ 487529 h 496002"/>
                <a:gd name="connsiteX21" fmla="*/ 354772 w 449260"/>
                <a:gd name="connsiteY21" fmla="*/ 439510 h 496002"/>
                <a:gd name="connsiteX22" fmla="*/ 346298 w 449260"/>
                <a:gd name="connsiteY22" fmla="*/ 431036 h 496002"/>
                <a:gd name="connsiteX23" fmla="*/ 262124 w 449260"/>
                <a:gd name="connsiteY23" fmla="*/ 346863 h 496002"/>
                <a:gd name="connsiteX24" fmla="*/ 262124 w 449260"/>
                <a:gd name="connsiteY24" fmla="*/ 345733 h 496002"/>
                <a:gd name="connsiteX25" fmla="*/ 347993 w 449260"/>
                <a:gd name="connsiteY25" fmla="*/ 249131 h 496002"/>
                <a:gd name="connsiteX26" fmla="*/ 434426 w 449260"/>
                <a:gd name="connsiteY26" fmla="*/ 136711 h 496002"/>
                <a:gd name="connsiteX27" fmla="*/ 449114 w 449260"/>
                <a:gd name="connsiteY27" fmla="*/ 57057 h 496002"/>
                <a:gd name="connsiteX28" fmla="*/ 446854 w 449260"/>
                <a:gd name="connsiteY28" fmla="*/ 50843 h 496002"/>
                <a:gd name="connsiteX29" fmla="*/ 17513 w 449260"/>
                <a:gd name="connsiteY29" fmla="*/ 64966 h 496002"/>
                <a:gd name="connsiteX30" fmla="*/ 96602 w 449260"/>
                <a:gd name="connsiteY30" fmla="*/ 64966 h 496002"/>
                <a:gd name="connsiteX31" fmla="*/ 96602 w 449260"/>
                <a:gd name="connsiteY31" fmla="*/ 200548 h 496002"/>
                <a:gd name="connsiteX32" fmla="*/ 98862 w 449260"/>
                <a:gd name="connsiteY32" fmla="*/ 228229 h 496002"/>
                <a:gd name="connsiteX33" fmla="*/ 17513 w 449260"/>
                <a:gd name="connsiteY33" fmla="*/ 64966 h 496002"/>
                <a:gd name="connsiteX34" fmla="*/ 337824 w 449260"/>
                <a:gd name="connsiteY34" fmla="*/ 447419 h 496002"/>
                <a:gd name="connsiteX35" fmla="*/ 337824 w 449260"/>
                <a:gd name="connsiteY35" fmla="*/ 478490 h 496002"/>
                <a:gd name="connsiteX36" fmla="*/ 114679 w 449260"/>
                <a:gd name="connsiteY36" fmla="*/ 478490 h 496002"/>
                <a:gd name="connsiteX37" fmla="*/ 114679 w 449260"/>
                <a:gd name="connsiteY37" fmla="*/ 447419 h 496002"/>
                <a:gd name="connsiteX38" fmla="*/ 203937 w 449260"/>
                <a:gd name="connsiteY38" fmla="*/ 349687 h 496002"/>
                <a:gd name="connsiteX39" fmla="*/ 225404 w 449260"/>
                <a:gd name="connsiteY39" fmla="*/ 351947 h 496002"/>
                <a:gd name="connsiteX40" fmla="*/ 245177 w 449260"/>
                <a:gd name="connsiteY40" fmla="*/ 350252 h 496002"/>
                <a:gd name="connsiteX41" fmla="*/ 337824 w 449260"/>
                <a:gd name="connsiteY41" fmla="*/ 447419 h 496002"/>
                <a:gd name="connsiteX42" fmla="*/ 248001 w 449260"/>
                <a:gd name="connsiteY42" fmla="*/ 332740 h 496002"/>
                <a:gd name="connsiteX43" fmla="*/ 225969 w 449260"/>
                <a:gd name="connsiteY43" fmla="*/ 335564 h 496002"/>
                <a:gd name="connsiteX44" fmla="*/ 201113 w 449260"/>
                <a:gd name="connsiteY44" fmla="*/ 332175 h 496002"/>
                <a:gd name="connsiteX45" fmla="*/ 195463 w 449260"/>
                <a:gd name="connsiteY45" fmla="*/ 330480 h 496002"/>
                <a:gd name="connsiteX46" fmla="*/ 113550 w 449260"/>
                <a:gd name="connsiteY46" fmla="*/ 201113 h 496002"/>
                <a:gd name="connsiteX47" fmla="*/ 113550 w 449260"/>
                <a:gd name="connsiteY47" fmla="*/ 17513 h 496002"/>
                <a:gd name="connsiteX48" fmla="*/ 337824 w 449260"/>
                <a:gd name="connsiteY48" fmla="*/ 17513 h 496002"/>
                <a:gd name="connsiteX49" fmla="*/ 337824 w 449260"/>
                <a:gd name="connsiteY49" fmla="*/ 51408 h 496002"/>
                <a:gd name="connsiteX50" fmla="*/ 337824 w 449260"/>
                <a:gd name="connsiteY50" fmla="*/ 62142 h 496002"/>
                <a:gd name="connsiteX51" fmla="*/ 337824 w 449260"/>
                <a:gd name="connsiteY51" fmla="*/ 201113 h 496002"/>
                <a:gd name="connsiteX52" fmla="*/ 255345 w 449260"/>
                <a:gd name="connsiteY52" fmla="*/ 330480 h 496002"/>
                <a:gd name="connsiteX53" fmla="*/ 353077 w 449260"/>
                <a:gd name="connsiteY53" fmla="*/ 227099 h 496002"/>
                <a:gd name="connsiteX54" fmla="*/ 355337 w 449260"/>
                <a:gd name="connsiteY54" fmla="*/ 200548 h 496002"/>
                <a:gd name="connsiteX55" fmla="*/ 355337 w 449260"/>
                <a:gd name="connsiteY55" fmla="*/ 64966 h 496002"/>
                <a:gd name="connsiteX56" fmla="*/ 432166 w 449260"/>
                <a:gd name="connsiteY56" fmla="*/ 64966 h 496002"/>
                <a:gd name="connsiteX57" fmla="*/ 353077 w 449260"/>
                <a:gd name="connsiteY57" fmla="*/ 227099 h 49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49260" h="496002">
                  <a:moveTo>
                    <a:pt x="446854" y="50843"/>
                  </a:moveTo>
                  <a:cubicBezTo>
                    <a:pt x="445159" y="49148"/>
                    <a:pt x="442900" y="48018"/>
                    <a:pt x="440640" y="48018"/>
                  </a:cubicBezTo>
                  <a:lnTo>
                    <a:pt x="354772" y="48018"/>
                  </a:lnTo>
                  <a:lnTo>
                    <a:pt x="354772" y="8474"/>
                  </a:lnTo>
                  <a:cubicBezTo>
                    <a:pt x="354772" y="3954"/>
                    <a:pt x="350817" y="0"/>
                    <a:pt x="346298" y="0"/>
                  </a:cubicBezTo>
                  <a:lnTo>
                    <a:pt x="105076" y="0"/>
                  </a:lnTo>
                  <a:cubicBezTo>
                    <a:pt x="100556" y="0"/>
                    <a:pt x="96602" y="3954"/>
                    <a:pt x="96602" y="8474"/>
                  </a:cubicBezTo>
                  <a:lnTo>
                    <a:pt x="96602" y="48018"/>
                  </a:lnTo>
                  <a:lnTo>
                    <a:pt x="8474" y="48018"/>
                  </a:lnTo>
                  <a:cubicBezTo>
                    <a:pt x="6214" y="48018"/>
                    <a:pt x="3954" y="49148"/>
                    <a:pt x="2260" y="50843"/>
                  </a:cubicBezTo>
                  <a:cubicBezTo>
                    <a:pt x="565" y="52538"/>
                    <a:pt x="0" y="54798"/>
                    <a:pt x="0" y="57057"/>
                  </a:cubicBezTo>
                  <a:cubicBezTo>
                    <a:pt x="0" y="58752"/>
                    <a:pt x="1695" y="94907"/>
                    <a:pt x="14688" y="136711"/>
                  </a:cubicBezTo>
                  <a:cubicBezTo>
                    <a:pt x="32766" y="192639"/>
                    <a:pt x="63271" y="232183"/>
                    <a:pt x="103946" y="250261"/>
                  </a:cubicBezTo>
                  <a:cubicBezTo>
                    <a:pt x="117504" y="295455"/>
                    <a:pt x="148575" y="331045"/>
                    <a:pt x="187554" y="345168"/>
                  </a:cubicBezTo>
                  <a:lnTo>
                    <a:pt x="187554" y="346863"/>
                  </a:lnTo>
                  <a:cubicBezTo>
                    <a:pt x="187554" y="393751"/>
                    <a:pt x="151964" y="431036"/>
                    <a:pt x="106206" y="431036"/>
                  </a:cubicBezTo>
                  <a:cubicBezTo>
                    <a:pt x="101686" y="431036"/>
                    <a:pt x="97732" y="434991"/>
                    <a:pt x="97732" y="439510"/>
                  </a:cubicBezTo>
                  <a:lnTo>
                    <a:pt x="97732" y="487529"/>
                  </a:lnTo>
                  <a:cubicBezTo>
                    <a:pt x="97732" y="492048"/>
                    <a:pt x="101686" y="496002"/>
                    <a:pt x="106206" y="496002"/>
                  </a:cubicBezTo>
                  <a:lnTo>
                    <a:pt x="346298" y="496002"/>
                  </a:lnTo>
                  <a:cubicBezTo>
                    <a:pt x="350817" y="496002"/>
                    <a:pt x="354772" y="492048"/>
                    <a:pt x="354772" y="487529"/>
                  </a:cubicBezTo>
                  <a:lnTo>
                    <a:pt x="354772" y="439510"/>
                  </a:lnTo>
                  <a:cubicBezTo>
                    <a:pt x="354772" y="434991"/>
                    <a:pt x="350817" y="431036"/>
                    <a:pt x="346298" y="431036"/>
                  </a:cubicBezTo>
                  <a:cubicBezTo>
                    <a:pt x="299974" y="431036"/>
                    <a:pt x="262124" y="393186"/>
                    <a:pt x="262124" y="346863"/>
                  </a:cubicBezTo>
                  <a:lnTo>
                    <a:pt x="262124" y="345733"/>
                  </a:lnTo>
                  <a:cubicBezTo>
                    <a:pt x="302799" y="331610"/>
                    <a:pt x="334434" y="295455"/>
                    <a:pt x="347993" y="249131"/>
                  </a:cubicBezTo>
                  <a:cubicBezTo>
                    <a:pt x="386972" y="230489"/>
                    <a:pt x="416913" y="191509"/>
                    <a:pt x="434426" y="136711"/>
                  </a:cubicBezTo>
                  <a:cubicBezTo>
                    <a:pt x="447984" y="94907"/>
                    <a:pt x="449114" y="58187"/>
                    <a:pt x="449114" y="57057"/>
                  </a:cubicBezTo>
                  <a:cubicBezTo>
                    <a:pt x="449679" y="54798"/>
                    <a:pt x="448549" y="52538"/>
                    <a:pt x="446854" y="50843"/>
                  </a:cubicBezTo>
                  <a:close/>
                  <a:moveTo>
                    <a:pt x="17513" y="64966"/>
                  </a:moveTo>
                  <a:lnTo>
                    <a:pt x="96602" y="64966"/>
                  </a:lnTo>
                  <a:lnTo>
                    <a:pt x="96602" y="200548"/>
                  </a:lnTo>
                  <a:cubicBezTo>
                    <a:pt x="96602" y="210151"/>
                    <a:pt x="97167" y="219190"/>
                    <a:pt x="98862" y="228229"/>
                  </a:cubicBezTo>
                  <a:cubicBezTo>
                    <a:pt x="34460" y="189814"/>
                    <a:pt x="20337" y="94342"/>
                    <a:pt x="17513" y="64966"/>
                  </a:cubicBezTo>
                  <a:close/>
                  <a:moveTo>
                    <a:pt x="337824" y="447419"/>
                  </a:moveTo>
                  <a:lnTo>
                    <a:pt x="337824" y="478490"/>
                  </a:lnTo>
                  <a:lnTo>
                    <a:pt x="114679" y="478490"/>
                  </a:lnTo>
                  <a:lnTo>
                    <a:pt x="114679" y="447419"/>
                  </a:lnTo>
                  <a:cubicBezTo>
                    <a:pt x="164393" y="443465"/>
                    <a:pt x="202807" y="402225"/>
                    <a:pt x="203937" y="349687"/>
                  </a:cubicBezTo>
                  <a:cubicBezTo>
                    <a:pt x="210716" y="350817"/>
                    <a:pt x="218060" y="351947"/>
                    <a:pt x="225404" y="351947"/>
                  </a:cubicBezTo>
                  <a:cubicBezTo>
                    <a:pt x="232183" y="351947"/>
                    <a:pt x="238962" y="351382"/>
                    <a:pt x="245177" y="350252"/>
                  </a:cubicBezTo>
                  <a:cubicBezTo>
                    <a:pt x="247436" y="401660"/>
                    <a:pt x="287546" y="443465"/>
                    <a:pt x="337824" y="447419"/>
                  </a:cubicBezTo>
                  <a:close/>
                  <a:moveTo>
                    <a:pt x="248001" y="332740"/>
                  </a:moveTo>
                  <a:cubicBezTo>
                    <a:pt x="240657" y="334434"/>
                    <a:pt x="233313" y="335564"/>
                    <a:pt x="225969" y="335564"/>
                  </a:cubicBezTo>
                  <a:cubicBezTo>
                    <a:pt x="217495" y="335564"/>
                    <a:pt x="209022" y="334434"/>
                    <a:pt x="201113" y="332175"/>
                  </a:cubicBezTo>
                  <a:cubicBezTo>
                    <a:pt x="199418" y="331610"/>
                    <a:pt x="196593" y="330480"/>
                    <a:pt x="195463" y="330480"/>
                  </a:cubicBezTo>
                  <a:cubicBezTo>
                    <a:pt x="148575" y="314662"/>
                    <a:pt x="113550" y="262689"/>
                    <a:pt x="113550" y="201113"/>
                  </a:cubicBezTo>
                  <a:lnTo>
                    <a:pt x="113550" y="17513"/>
                  </a:lnTo>
                  <a:lnTo>
                    <a:pt x="337824" y="17513"/>
                  </a:lnTo>
                  <a:lnTo>
                    <a:pt x="337824" y="51408"/>
                  </a:lnTo>
                  <a:lnTo>
                    <a:pt x="337824" y="62142"/>
                  </a:lnTo>
                  <a:lnTo>
                    <a:pt x="337824" y="201113"/>
                  </a:lnTo>
                  <a:cubicBezTo>
                    <a:pt x="337824" y="262689"/>
                    <a:pt x="302799" y="314662"/>
                    <a:pt x="255345" y="330480"/>
                  </a:cubicBezTo>
                  <a:moveTo>
                    <a:pt x="353077" y="227099"/>
                  </a:moveTo>
                  <a:cubicBezTo>
                    <a:pt x="354207" y="218625"/>
                    <a:pt x="355337" y="209586"/>
                    <a:pt x="355337" y="200548"/>
                  </a:cubicBezTo>
                  <a:lnTo>
                    <a:pt x="355337" y="64966"/>
                  </a:lnTo>
                  <a:lnTo>
                    <a:pt x="432166" y="64966"/>
                  </a:lnTo>
                  <a:cubicBezTo>
                    <a:pt x="429342" y="94342"/>
                    <a:pt x="415783" y="186990"/>
                    <a:pt x="353077" y="22709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: фигура 34">
              <a:extLst>
                <a:ext uri="{FF2B5EF4-FFF2-40B4-BE49-F238E27FC236}">
                  <a16:creationId xmlns:a16="http://schemas.microsoft.com/office/drawing/2014/main" id="{C5E27EBC-9394-40A3-966D-C4C1FC0F48D9}"/>
                </a:ext>
              </a:extLst>
            </p:cNvPr>
            <p:cNvSpPr/>
            <p:nvPr/>
          </p:nvSpPr>
          <p:spPr>
            <a:xfrm>
              <a:off x="795027" y="3466549"/>
              <a:ext cx="184560" cy="176255"/>
            </a:xfrm>
            <a:custGeom>
              <a:avLst/>
              <a:gdLst>
                <a:gd name="connsiteX0" fmla="*/ 171369 w 184560"/>
                <a:gd name="connsiteY0" fmla="*/ 57057 h 176255"/>
                <a:gd name="connsiteX1" fmla="*/ 125046 w 184560"/>
                <a:gd name="connsiteY1" fmla="*/ 50278 h 176255"/>
                <a:gd name="connsiteX2" fmla="*/ 104144 w 184560"/>
                <a:gd name="connsiteY2" fmla="*/ 7909 h 176255"/>
                <a:gd name="connsiteX3" fmla="*/ 91715 w 184560"/>
                <a:gd name="connsiteY3" fmla="*/ 0 h 176255"/>
                <a:gd name="connsiteX4" fmla="*/ 91715 w 184560"/>
                <a:gd name="connsiteY4" fmla="*/ 0 h 176255"/>
                <a:gd name="connsiteX5" fmla="*/ 79287 w 184560"/>
                <a:gd name="connsiteY5" fmla="*/ 7909 h 176255"/>
                <a:gd name="connsiteX6" fmla="*/ 58385 w 184560"/>
                <a:gd name="connsiteY6" fmla="*/ 50278 h 176255"/>
                <a:gd name="connsiteX7" fmla="*/ 12061 w 184560"/>
                <a:gd name="connsiteY7" fmla="*/ 57057 h 176255"/>
                <a:gd name="connsiteX8" fmla="*/ 763 w 184560"/>
                <a:gd name="connsiteY8" fmla="*/ 66661 h 176255"/>
                <a:gd name="connsiteX9" fmla="*/ 4152 w 184560"/>
                <a:gd name="connsiteY9" fmla="*/ 80784 h 176255"/>
                <a:gd name="connsiteX10" fmla="*/ 38048 w 184560"/>
                <a:gd name="connsiteY10" fmla="*/ 113550 h 176255"/>
                <a:gd name="connsiteX11" fmla="*/ 30139 w 184560"/>
                <a:gd name="connsiteY11" fmla="*/ 159873 h 176255"/>
                <a:gd name="connsiteX12" fmla="*/ 35788 w 184560"/>
                <a:gd name="connsiteY12" fmla="*/ 173431 h 176255"/>
                <a:gd name="connsiteX13" fmla="*/ 44262 w 184560"/>
                <a:gd name="connsiteY13" fmla="*/ 176256 h 176255"/>
                <a:gd name="connsiteX14" fmla="*/ 50476 w 184560"/>
                <a:gd name="connsiteY14" fmla="*/ 174561 h 176255"/>
                <a:gd name="connsiteX15" fmla="*/ 93410 w 184560"/>
                <a:gd name="connsiteY15" fmla="*/ 153094 h 176255"/>
                <a:gd name="connsiteX16" fmla="*/ 134084 w 184560"/>
                <a:gd name="connsiteY16" fmla="*/ 174561 h 176255"/>
                <a:gd name="connsiteX17" fmla="*/ 148772 w 184560"/>
                <a:gd name="connsiteY17" fmla="*/ 173431 h 176255"/>
                <a:gd name="connsiteX18" fmla="*/ 154422 w 184560"/>
                <a:gd name="connsiteY18" fmla="*/ 159873 h 176255"/>
                <a:gd name="connsiteX19" fmla="*/ 146513 w 184560"/>
                <a:gd name="connsiteY19" fmla="*/ 113550 h 176255"/>
                <a:gd name="connsiteX20" fmla="*/ 180408 w 184560"/>
                <a:gd name="connsiteY20" fmla="*/ 80784 h 176255"/>
                <a:gd name="connsiteX21" fmla="*/ 183798 w 184560"/>
                <a:gd name="connsiteY21" fmla="*/ 66661 h 176255"/>
                <a:gd name="connsiteX22" fmla="*/ 171369 w 184560"/>
                <a:gd name="connsiteY22" fmla="*/ 57057 h 176255"/>
                <a:gd name="connsiteX23" fmla="*/ 130695 w 184560"/>
                <a:gd name="connsiteY23" fmla="*/ 104511 h 176255"/>
                <a:gd name="connsiteX24" fmla="*/ 128435 w 184560"/>
                <a:gd name="connsiteY24" fmla="*/ 111855 h 176255"/>
                <a:gd name="connsiteX25" fmla="*/ 136344 w 184560"/>
                <a:gd name="connsiteY25" fmla="*/ 156484 h 176255"/>
                <a:gd name="connsiteX26" fmla="*/ 97364 w 184560"/>
                <a:gd name="connsiteY26" fmla="*/ 136146 h 176255"/>
                <a:gd name="connsiteX27" fmla="*/ 89456 w 184560"/>
                <a:gd name="connsiteY27" fmla="*/ 136146 h 176255"/>
                <a:gd name="connsiteX28" fmla="*/ 47651 w 184560"/>
                <a:gd name="connsiteY28" fmla="*/ 157049 h 176255"/>
                <a:gd name="connsiteX29" fmla="*/ 55560 w 184560"/>
                <a:gd name="connsiteY29" fmla="*/ 111855 h 176255"/>
                <a:gd name="connsiteX30" fmla="*/ 53301 w 184560"/>
                <a:gd name="connsiteY30" fmla="*/ 104511 h 176255"/>
                <a:gd name="connsiteX31" fmla="*/ 21100 w 184560"/>
                <a:gd name="connsiteY31" fmla="*/ 72875 h 176255"/>
                <a:gd name="connsiteX32" fmla="*/ 65729 w 184560"/>
                <a:gd name="connsiteY32" fmla="*/ 66096 h 176255"/>
                <a:gd name="connsiteX33" fmla="*/ 71943 w 184560"/>
                <a:gd name="connsiteY33" fmla="*/ 61577 h 176255"/>
                <a:gd name="connsiteX34" fmla="*/ 91715 w 184560"/>
                <a:gd name="connsiteY34" fmla="*/ 20902 h 176255"/>
                <a:gd name="connsiteX35" fmla="*/ 111488 w 184560"/>
                <a:gd name="connsiteY35" fmla="*/ 61577 h 176255"/>
                <a:gd name="connsiteX36" fmla="*/ 117702 w 184560"/>
                <a:gd name="connsiteY36" fmla="*/ 66096 h 176255"/>
                <a:gd name="connsiteX37" fmla="*/ 162331 w 184560"/>
                <a:gd name="connsiteY37" fmla="*/ 72875 h 176255"/>
                <a:gd name="connsiteX38" fmla="*/ 130695 w 184560"/>
                <a:gd name="connsiteY38" fmla="*/ 104511 h 176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84560" h="176255">
                  <a:moveTo>
                    <a:pt x="171369" y="57057"/>
                  </a:moveTo>
                  <a:lnTo>
                    <a:pt x="125046" y="50278"/>
                  </a:lnTo>
                  <a:lnTo>
                    <a:pt x="104144" y="7909"/>
                  </a:lnTo>
                  <a:cubicBezTo>
                    <a:pt x="101884" y="3390"/>
                    <a:pt x="96800" y="0"/>
                    <a:pt x="91715" y="0"/>
                  </a:cubicBezTo>
                  <a:cubicBezTo>
                    <a:pt x="91715" y="0"/>
                    <a:pt x="91715" y="0"/>
                    <a:pt x="91715" y="0"/>
                  </a:cubicBezTo>
                  <a:cubicBezTo>
                    <a:pt x="86631" y="0"/>
                    <a:pt x="81547" y="2825"/>
                    <a:pt x="79287" y="7909"/>
                  </a:cubicBezTo>
                  <a:lnTo>
                    <a:pt x="58385" y="50278"/>
                  </a:lnTo>
                  <a:lnTo>
                    <a:pt x="12061" y="57057"/>
                  </a:lnTo>
                  <a:cubicBezTo>
                    <a:pt x="6977" y="57622"/>
                    <a:pt x="2457" y="61577"/>
                    <a:pt x="763" y="66661"/>
                  </a:cubicBezTo>
                  <a:cubicBezTo>
                    <a:pt x="-932" y="71745"/>
                    <a:pt x="198" y="77394"/>
                    <a:pt x="4152" y="80784"/>
                  </a:cubicBezTo>
                  <a:lnTo>
                    <a:pt x="38048" y="113550"/>
                  </a:lnTo>
                  <a:lnTo>
                    <a:pt x="30139" y="159873"/>
                  </a:lnTo>
                  <a:cubicBezTo>
                    <a:pt x="29009" y="164958"/>
                    <a:pt x="31268" y="170042"/>
                    <a:pt x="35788" y="173431"/>
                  </a:cubicBezTo>
                  <a:cubicBezTo>
                    <a:pt x="38048" y="175126"/>
                    <a:pt x="40872" y="176256"/>
                    <a:pt x="44262" y="176256"/>
                  </a:cubicBezTo>
                  <a:cubicBezTo>
                    <a:pt x="46521" y="176256"/>
                    <a:pt x="48781" y="175691"/>
                    <a:pt x="50476" y="174561"/>
                  </a:cubicBezTo>
                  <a:lnTo>
                    <a:pt x="93410" y="153094"/>
                  </a:lnTo>
                  <a:lnTo>
                    <a:pt x="134084" y="174561"/>
                  </a:lnTo>
                  <a:cubicBezTo>
                    <a:pt x="138604" y="176821"/>
                    <a:pt x="144253" y="176821"/>
                    <a:pt x="148772" y="173431"/>
                  </a:cubicBezTo>
                  <a:cubicBezTo>
                    <a:pt x="153292" y="170042"/>
                    <a:pt x="154987" y="164958"/>
                    <a:pt x="154422" y="159873"/>
                  </a:cubicBezTo>
                  <a:lnTo>
                    <a:pt x="146513" y="113550"/>
                  </a:lnTo>
                  <a:lnTo>
                    <a:pt x="180408" y="80784"/>
                  </a:lnTo>
                  <a:cubicBezTo>
                    <a:pt x="184363" y="76830"/>
                    <a:pt x="185492" y="71745"/>
                    <a:pt x="183798" y="66661"/>
                  </a:cubicBezTo>
                  <a:cubicBezTo>
                    <a:pt x="180973" y="61577"/>
                    <a:pt x="177019" y="57622"/>
                    <a:pt x="171369" y="57057"/>
                  </a:cubicBezTo>
                  <a:close/>
                  <a:moveTo>
                    <a:pt x="130695" y="104511"/>
                  </a:moveTo>
                  <a:cubicBezTo>
                    <a:pt x="128435" y="106206"/>
                    <a:pt x="127870" y="109030"/>
                    <a:pt x="128435" y="111855"/>
                  </a:cubicBezTo>
                  <a:lnTo>
                    <a:pt x="136344" y="156484"/>
                  </a:lnTo>
                  <a:lnTo>
                    <a:pt x="97364" y="136146"/>
                  </a:lnTo>
                  <a:cubicBezTo>
                    <a:pt x="95105" y="135017"/>
                    <a:pt x="92280" y="135017"/>
                    <a:pt x="89456" y="136146"/>
                  </a:cubicBezTo>
                  <a:lnTo>
                    <a:pt x="47651" y="157049"/>
                  </a:lnTo>
                  <a:lnTo>
                    <a:pt x="55560" y="111855"/>
                  </a:lnTo>
                  <a:cubicBezTo>
                    <a:pt x="56125" y="109030"/>
                    <a:pt x="54995" y="106206"/>
                    <a:pt x="53301" y="104511"/>
                  </a:cubicBezTo>
                  <a:lnTo>
                    <a:pt x="21100" y="72875"/>
                  </a:lnTo>
                  <a:lnTo>
                    <a:pt x="65729" y="66096"/>
                  </a:lnTo>
                  <a:cubicBezTo>
                    <a:pt x="68553" y="65531"/>
                    <a:pt x="70813" y="63836"/>
                    <a:pt x="71943" y="61577"/>
                  </a:cubicBezTo>
                  <a:lnTo>
                    <a:pt x="91715" y="20902"/>
                  </a:lnTo>
                  <a:lnTo>
                    <a:pt x="111488" y="61577"/>
                  </a:lnTo>
                  <a:cubicBezTo>
                    <a:pt x="112617" y="63836"/>
                    <a:pt x="114877" y="66096"/>
                    <a:pt x="117702" y="66096"/>
                  </a:cubicBezTo>
                  <a:lnTo>
                    <a:pt x="162331" y="72875"/>
                  </a:lnTo>
                  <a:lnTo>
                    <a:pt x="130695" y="10451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4371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98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D68EB34-ED57-0EA6-A021-937295937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60075"/>
            <a:ext cx="9974580" cy="338554"/>
          </a:xfrm>
        </p:spPr>
        <p:txBody>
          <a:bodyPr vert="horz"/>
          <a:lstStyle/>
          <a:p>
            <a:r>
              <a:rPr lang="ru-RU" dirty="0" smtClean="0"/>
              <a:t>Портал поставщик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9825" y="3670069"/>
            <a:ext cx="6521884" cy="287827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A36D0CF-E96A-42B0-B7D1-22697F2147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2"/>
              </a:ext>
            </a:extLst>
          </a:blip>
          <a:srcRect/>
          <a:stretch/>
        </p:blipFill>
        <p:spPr>
          <a:xfrm>
            <a:off x="5760625" y="2614205"/>
            <a:ext cx="255995" cy="25599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CE7F547-2370-48BD-8950-BAB9E552D5AB}"/>
              </a:ext>
            </a:extLst>
          </p:cNvPr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2"/>
              </a:ext>
            </a:extLst>
          </a:blip>
          <a:srcRect/>
          <a:stretch/>
        </p:blipFill>
        <p:spPr>
          <a:xfrm>
            <a:off x="7055510" y="3070889"/>
            <a:ext cx="250139" cy="2513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3"/>
          <a:stretch>
            <a:fillRect/>
          </a:stretch>
        </p:blipFill>
        <p:spPr>
          <a:xfrm>
            <a:off x="571500" y="1198563"/>
            <a:ext cx="10396998" cy="2625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943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Объект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31" name="Объект 3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0" name="Таблица 5">
            <a:extLst>
              <a:ext uri="{FF2B5EF4-FFF2-40B4-BE49-F238E27FC236}">
                <a16:creationId xmlns:a16="http://schemas.microsoft.com/office/drawing/2014/main" id="{15334CA2-11EE-49E1-979E-ADA3F09E65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162606"/>
              </p:ext>
            </p:extLst>
          </p:nvPr>
        </p:nvGraphicFramePr>
        <p:xfrm>
          <a:off x="440574" y="5309753"/>
          <a:ext cx="11200564" cy="7211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200564">
                  <a:extLst>
                    <a:ext uri="{9D8B030D-6E8A-4147-A177-3AD203B41FA5}">
                      <a16:colId xmlns:a16="http://schemas.microsoft.com/office/drawing/2014/main" val="3450824149"/>
                    </a:ext>
                  </a:extLst>
                </a:gridCol>
              </a:tblGrid>
              <a:tr h="721134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  <a:buClr>
                          <a:srgbClr val="2FCBFF"/>
                        </a:buClr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                                                  </a:t>
                      </a:r>
                      <a:endParaRPr lang="ru-RU" sz="1600" dirty="0" smtClean="0"/>
                    </a:p>
                  </a:txBody>
                  <a:tcPr marL="216000" marR="216000" marT="108000" marB="10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069870"/>
                  </a:ext>
                </a:extLst>
              </a:tr>
            </a:tbl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2264B0-4980-4D78-9E65-92E1A1354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575" y="582319"/>
            <a:ext cx="10002539" cy="338554"/>
          </a:xfrm>
        </p:spPr>
        <p:txBody>
          <a:bodyPr vert="horz"/>
          <a:lstStyle/>
          <a:p>
            <a:r>
              <a:rPr lang="ru-RU" dirty="0"/>
              <a:t>Примеры основных</a:t>
            </a:r>
            <a:r>
              <a:rPr lang="en-US" dirty="0"/>
              <a:t> </a:t>
            </a:r>
            <a:r>
              <a:rPr lang="ru-RU" dirty="0"/>
              <a:t>технических нарушений</a:t>
            </a:r>
          </a:p>
        </p:txBody>
      </p:sp>
      <p:sp>
        <p:nvSpPr>
          <p:cNvPr id="15" name="Нижний колонтитул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3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29</a:t>
            </a:fld>
            <a:endParaRPr lang="en-US" dirty="0"/>
          </a:p>
        </p:txBody>
      </p:sp>
      <p:grpSp>
        <p:nvGrpSpPr>
          <p:cNvPr id="23" name="Группа 22"/>
          <p:cNvGrpSpPr/>
          <p:nvPr/>
        </p:nvGrpSpPr>
        <p:grpSpPr>
          <a:xfrm>
            <a:off x="440574" y="1198562"/>
            <a:ext cx="11200563" cy="3694769"/>
            <a:chOff x="567690" y="1198563"/>
            <a:chExt cx="7168098" cy="3338710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60EA166F-E096-4E1C-8EF6-1F6149C14C3E}"/>
                </a:ext>
              </a:extLst>
            </p:cNvPr>
            <p:cNvSpPr/>
            <p:nvPr/>
          </p:nvSpPr>
          <p:spPr>
            <a:xfrm>
              <a:off x="571501" y="1198563"/>
              <a:ext cx="7152271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89FF7DA5-FD96-4AAB-A99C-B407016E3A8B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7168098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Группа 42"/>
          <p:cNvGrpSpPr/>
          <p:nvPr/>
        </p:nvGrpSpPr>
        <p:grpSpPr>
          <a:xfrm rot="5400000">
            <a:off x="5660270" y="4876491"/>
            <a:ext cx="327483" cy="489098"/>
            <a:chOff x="1988287" y="4667693"/>
            <a:chExt cx="1541722" cy="1222744"/>
          </a:xfrm>
        </p:grpSpPr>
        <p:sp>
          <p:nvSpPr>
            <p:cNvPr id="44" name="Шеврон 43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5" name="Шеврон 44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72" name="Группа 71"/>
          <p:cNvGrpSpPr/>
          <p:nvPr/>
        </p:nvGrpSpPr>
        <p:grpSpPr>
          <a:xfrm rot="5400000">
            <a:off x="1927426" y="4859553"/>
            <a:ext cx="327483" cy="489098"/>
            <a:chOff x="1988287" y="4667693"/>
            <a:chExt cx="1541722" cy="1222744"/>
          </a:xfrm>
        </p:grpSpPr>
        <p:sp>
          <p:nvSpPr>
            <p:cNvPr id="73" name="Шеврон 72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74" name="Шеврон 73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75" name="Группа 74"/>
          <p:cNvGrpSpPr/>
          <p:nvPr/>
        </p:nvGrpSpPr>
        <p:grpSpPr>
          <a:xfrm rot="5400000">
            <a:off x="9393114" y="4859554"/>
            <a:ext cx="327483" cy="489098"/>
            <a:chOff x="1988287" y="4667693"/>
            <a:chExt cx="1541722" cy="1222744"/>
          </a:xfrm>
        </p:grpSpPr>
        <p:sp>
          <p:nvSpPr>
            <p:cNvPr id="76" name="Шеврон 75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7" name="Шеврон 76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1BBBCDEA-02EA-4887-8E49-49C33BDC2A6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 flipV="1">
            <a:off x="8204005" y="5418936"/>
            <a:ext cx="564923" cy="564923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919513" y="1302684"/>
            <a:ext cx="9563971" cy="3489612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508182" y="5413382"/>
            <a:ext cx="83233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685800">
              <a:buFont typeface="Wingdings" panose="05000000000000000000" pitchFamily="2" charset="2"/>
              <a:buChar char="§"/>
            </a:pPr>
            <a:r>
              <a:rPr lang="ru-RU" sz="1400" b="1" dirty="0">
                <a:cs typeface="Calibri" panose="020F0502020204030204" pitchFamily="34" charset="0"/>
              </a:rPr>
              <a:t>Не корректно указаны характеристики </a:t>
            </a:r>
            <a:r>
              <a:rPr lang="ru-RU" sz="1400" b="1" dirty="0" smtClean="0">
                <a:cs typeface="Calibri" panose="020F0502020204030204" pitchFamily="34" charset="0"/>
              </a:rPr>
              <a:t>документа</a:t>
            </a:r>
            <a:endParaRPr lang="ru-RU" sz="1400" b="1" dirty="0"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197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8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Номер слайда 7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46" name="Таблица 45"/>
          <p:cNvGraphicFramePr>
            <a:graphicFrameLocks noGrp="1"/>
          </p:cNvGraphicFramePr>
          <p:nvPr>
            <p:extLst/>
          </p:nvPr>
        </p:nvGraphicFramePr>
        <p:xfrm>
          <a:off x="571500" y="1177282"/>
          <a:ext cx="10429871" cy="4228233"/>
        </p:xfrm>
        <a:graphic>
          <a:graphicData uri="http://schemas.openxmlformats.org/drawingml/2006/table">
            <a:tbl>
              <a:tblPr firstRow="1" firstCol="1" bandRow="1"/>
              <a:tblGrid>
                <a:gridCol w="1546824">
                  <a:extLst>
                    <a:ext uri="{9D8B030D-6E8A-4147-A177-3AD203B41FA5}">
                      <a16:colId xmlns:a16="http://schemas.microsoft.com/office/drawing/2014/main" val="2823777263"/>
                    </a:ext>
                  </a:extLst>
                </a:gridCol>
                <a:gridCol w="5216428">
                  <a:extLst>
                    <a:ext uri="{9D8B030D-6E8A-4147-A177-3AD203B41FA5}">
                      <a16:colId xmlns:a16="http://schemas.microsoft.com/office/drawing/2014/main" val="646702942"/>
                    </a:ext>
                  </a:extLst>
                </a:gridCol>
                <a:gridCol w="3666619">
                  <a:extLst>
                    <a:ext uri="{9D8B030D-6E8A-4147-A177-3AD203B41FA5}">
                      <a16:colId xmlns:a16="http://schemas.microsoft.com/office/drawing/2014/main" val="597589295"/>
                    </a:ext>
                  </a:extLst>
                </a:gridCol>
              </a:tblGrid>
              <a:tr h="2960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Время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Тем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Спикер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4254582"/>
                  </a:ext>
                </a:extLst>
              </a:tr>
              <a:tr h="2156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effectLst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effectLst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effectLst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effectLst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</a:rPr>
                        <a:t>12.30 – 13.00</a:t>
                      </a:r>
                      <a:endParaRPr lang="ru-RU" sz="14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«Все</a:t>
                      </a:r>
                      <a:r>
                        <a:rPr lang="ru-RU" sz="1800" b="1" kern="1200" baseline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 под контролем? Ваша продукция в безопасности»</a:t>
                      </a:r>
                      <a:endParaRPr lang="ru-RU" sz="1800" b="1" kern="1200" dirty="0" smtClean="0">
                        <a:solidFill>
                          <a:srgbClr val="00B050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Контроль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 приемки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товаров в магазине.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Контроль условий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 хранения товаров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Контроль условий реализации.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Аудиты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 Качества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ивизионный менеджер по качеству Галимзянова Наталья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469616"/>
                  </a:ext>
                </a:extLst>
              </a:tr>
              <a:tr h="13634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effectLst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effectLst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</a:rPr>
                        <a:t>13.00 – 14.00</a:t>
                      </a:r>
                      <a:endParaRPr lang="ru-RU" sz="14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ru-RU" sz="1800" b="1" kern="120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«Особенности работы с товарами СТМ ТС ЛЕНТА»</a:t>
                      </a:r>
                    </a:p>
                    <a:p>
                      <a:pPr marL="342900" lvl="0" indent="-34290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Начало работы, разработка товаров СТМ</a:t>
                      </a:r>
                    </a:p>
                    <a:p>
                      <a:pPr marL="342900" lvl="0" indent="-34290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Аудиты поставщиков товаров СТМ. </a:t>
                      </a:r>
                      <a:r>
                        <a:rPr lang="ru-RU" sz="1800" kern="120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Нюансы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342900" lvl="0" indent="-34290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Контроль качества и безопасности товаров СТМ</a:t>
                      </a:r>
                    </a:p>
                    <a:p>
                      <a:pPr marL="342900" lvl="0" indent="-34290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endParaRPr lang="ru-RU" sz="18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уководитель направления оценки качества товаров прямого импорта и СТМ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ванова Екатерина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660369"/>
                  </a:ext>
                </a:extLst>
              </a:tr>
              <a:tr h="3080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00 – 14.30 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Ответы на вопросы</a:t>
                      </a:r>
                      <a:endParaRPr lang="ru-RU" sz="1800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7585949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5126BD4-7026-48F1-B716-35B9F4737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419667"/>
          </a:xfrm>
        </p:spPr>
        <p:txBody>
          <a:bodyPr vert="horz"/>
          <a:lstStyle/>
          <a:p>
            <a:pPr>
              <a:lnSpc>
                <a:spcPts val="3749"/>
              </a:lnSpc>
            </a:pPr>
            <a:r>
              <a:rPr lang="ru-RU" altLang="ru-RU" dirty="0" smtClean="0"/>
              <a:t>Повестка встречи</a:t>
            </a:r>
            <a:endParaRPr lang="ru-RU" alt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499" y="5559736"/>
            <a:ext cx="10429873" cy="1096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45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48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50EC52-B7B4-47B3-9551-ABD2BC12D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25417"/>
            <a:ext cx="9456078" cy="338554"/>
          </a:xfrm>
        </p:spPr>
        <p:txBody>
          <a:bodyPr vert="horz"/>
          <a:lstStyle/>
          <a:p>
            <a:r>
              <a:rPr lang="ru-RU" dirty="0" smtClean="0">
                <a:solidFill>
                  <a:schemeClr val="tx1"/>
                </a:solidFill>
              </a:rPr>
              <a:t>Документы качества – декларация о соответствии</a:t>
            </a:r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09C57F7C-F237-A2F8-2296-3B41037B2687}"/>
              </a:ext>
            </a:extLst>
          </p:cNvPr>
          <p:cNvGrpSpPr/>
          <p:nvPr/>
        </p:nvGrpSpPr>
        <p:grpSpPr>
          <a:xfrm>
            <a:off x="5192486" y="869790"/>
            <a:ext cx="6725956" cy="5678554"/>
            <a:chOff x="656777" y="1198562"/>
            <a:chExt cx="3435163" cy="5083176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CC29CE8D-46BA-1F63-3E94-EC69CEAE6AE1}"/>
                </a:ext>
              </a:extLst>
            </p:cNvPr>
            <p:cNvSpPr/>
            <p:nvPr/>
          </p:nvSpPr>
          <p:spPr>
            <a:xfrm>
              <a:off x="656778" y="1198562"/>
              <a:ext cx="3431036" cy="5083176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solidFill>
                  <a:srgbClr val="E6E6E6"/>
                </a:solidFill>
                <a:latin typeface="+mj-lt"/>
              </a:endParaRPr>
            </a:p>
          </p:txBody>
        </p: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A20A1FD4-7655-AE1C-64D9-AA639D044EA2}"/>
                </a:ext>
              </a:extLst>
            </p:cNvPr>
            <p:cNvCxnSpPr>
              <a:cxnSpLocks/>
            </p:cNvCxnSpPr>
            <p:nvPr/>
          </p:nvCxnSpPr>
          <p:spPr>
            <a:xfrm>
              <a:off x="656777" y="1198562"/>
              <a:ext cx="3435163" cy="1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BBDC6FF9-2F11-A63A-CC0F-B6C332D60B13}"/>
              </a:ext>
            </a:extLst>
          </p:cNvPr>
          <p:cNvCxnSpPr>
            <a:cxnSpLocks/>
          </p:cNvCxnSpPr>
          <p:nvPr/>
        </p:nvCxnSpPr>
        <p:spPr>
          <a:xfrm>
            <a:off x="517943" y="869790"/>
            <a:ext cx="4478598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Номер слайда 9"/>
          <p:cNvSpPr>
            <a:spLocks noGrp="1"/>
          </p:cNvSpPr>
          <p:nvPr>
            <p:ph type="sldNum" sz="quarter" idx="4"/>
          </p:nvPr>
        </p:nvSpPr>
        <p:spPr>
          <a:xfrm>
            <a:off x="11131448" y="6440623"/>
            <a:ext cx="521970" cy="215444"/>
          </a:xfrm>
        </p:spPr>
        <p:txBody>
          <a:bodyPr/>
          <a:lstStyle/>
          <a:p>
            <a:fld id="{766344E1-0F76-4023-B180-E4B0CE5660A5}" type="slidenum">
              <a:rPr lang="en-US" smtClean="0">
                <a:solidFill>
                  <a:schemeClr val="tx1"/>
                </a:solidFill>
              </a:rPr>
              <a:pPr/>
              <a:t>30</a:t>
            </a:fld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17" name="Таблица 18">
            <a:extLst>
              <a:ext uri="{FF2B5EF4-FFF2-40B4-BE49-F238E27FC236}">
                <a16:creationId xmlns:a16="http://schemas.microsoft.com/office/drawing/2014/main" id="{BF7D597D-A2F6-4367-A36F-E86636B11D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556265"/>
              </p:ext>
            </p:extLst>
          </p:nvPr>
        </p:nvGraphicFramePr>
        <p:xfrm>
          <a:off x="5293896" y="1769148"/>
          <a:ext cx="6347242" cy="37721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69473">
                  <a:extLst>
                    <a:ext uri="{9D8B030D-6E8A-4147-A177-3AD203B41FA5}">
                      <a16:colId xmlns:a16="http://schemas.microsoft.com/office/drawing/2014/main" val="2052779202"/>
                    </a:ext>
                  </a:extLst>
                </a:gridCol>
                <a:gridCol w="3863272">
                  <a:extLst>
                    <a:ext uri="{9D8B030D-6E8A-4147-A177-3AD203B41FA5}">
                      <a16:colId xmlns:a16="http://schemas.microsoft.com/office/drawing/2014/main" val="78735721"/>
                    </a:ext>
                  </a:extLst>
                </a:gridCol>
                <a:gridCol w="906434">
                  <a:extLst>
                    <a:ext uri="{9D8B030D-6E8A-4147-A177-3AD203B41FA5}">
                      <a16:colId xmlns:a16="http://schemas.microsoft.com/office/drawing/2014/main" val="4268556142"/>
                    </a:ext>
                  </a:extLst>
                </a:gridCol>
                <a:gridCol w="808063">
                  <a:extLst>
                    <a:ext uri="{9D8B030D-6E8A-4147-A177-3AD203B41FA5}">
                      <a16:colId xmlns:a16="http://schemas.microsoft.com/office/drawing/2014/main" val="3417236482"/>
                    </a:ext>
                  </a:extLst>
                </a:gridCol>
              </a:tblGrid>
              <a:tr h="400727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ЕАЭС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 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-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.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0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В.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3839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  <a:endParaRPr lang="ru-RU" sz="16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4712571"/>
                  </a:ext>
                </a:extLst>
              </a:tr>
              <a:tr h="46007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Что?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ru-RU" sz="11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Что значит?</a:t>
                      </a:r>
                      <a:endParaRPr kumimoji="0" lang="ru-RU" sz="11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Кириллица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Латиница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225686"/>
                  </a:ext>
                </a:extLst>
              </a:tr>
              <a:tr h="4433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ЕАЭС №  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ип декларации о соответствии, возможные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начения: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ОСС</a:t>
                      </a: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ТС N</a:t>
                      </a:r>
                    </a:p>
                  </a:txBody>
                  <a:tcPr marL="2325" marR="2325" marT="2325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ЕАЭС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546792"/>
                  </a:ext>
                </a:extLst>
              </a:tr>
              <a:tr h="253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уквенный код РФ</a:t>
                      </a:r>
                    </a:p>
                  </a:txBody>
                  <a:tcPr marL="2325" marR="2325" marT="2325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 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0265967"/>
                  </a:ext>
                </a:extLst>
              </a:tr>
              <a:tr h="6637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-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имвол принадлежности к ДС и буквенный код страны изготовителя</a:t>
                      </a:r>
                    </a:p>
                  </a:txBody>
                  <a:tcPr marL="2325" marR="2325" marT="2325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 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8552207"/>
                  </a:ext>
                </a:extLst>
              </a:tr>
              <a:tr h="6637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01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д органа, уполномоченного на регистрацию ДС и зарегистрировавшего его</a:t>
                      </a:r>
                    </a:p>
                  </a:txBody>
                  <a:tcPr marL="2325" marR="2325" marT="2325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2039411"/>
                  </a:ext>
                </a:extLst>
              </a:tr>
              <a:tr h="4433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д типа объекта сертификации:</a:t>
                      </a:r>
                      <a:b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 (партионные), В (серийные)</a:t>
                      </a:r>
                    </a:p>
                  </a:txBody>
                  <a:tcPr marL="2325" marR="2325" marT="2325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3643848"/>
                  </a:ext>
                </a:extLst>
              </a:tr>
              <a:tr h="4433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3839</a:t>
                      </a:r>
                      <a:r>
                        <a:rPr lang="ru-RU" sz="105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05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  <a:endParaRPr lang="ru-RU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рядковый номер ДС и год выдачи</a:t>
                      </a:r>
                    </a:p>
                  </a:txBody>
                  <a:tcPr marL="2325" marR="2325" marT="2325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нак "/" обязательный</a:t>
                      </a:r>
                    </a:p>
                  </a:txBody>
                  <a:tcPr marL="2325" marR="2325" marT="23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765011"/>
                  </a:ext>
                </a:extLst>
              </a:tr>
            </a:tbl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7912" y="4367119"/>
            <a:ext cx="4266497" cy="218122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69059" y="954604"/>
            <a:ext cx="2799458" cy="3448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853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7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50EC52-B7B4-47B3-9551-ABD2BC12D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437" y="361209"/>
            <a:ext cx="9379183" cy="677108"/>
          </a:xfrm>
        </p:spPr>
        <p:txBody>
          <a:bodyPr vert="horz"/>
          <a:lstStyle/>
          <a:p>
            <a:r>
              <a:rPr lang="ru-RU" dirty="0" smtClean="0">
                <a:solidFill>
                  <a:schemeClr val="tx1"/>
                </a:solidFill>
              </a:rPr>
              <a:t>Документы качества – свидетельство о государственной регистрации</a:t>
            </a:r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09C57F7C-F237-A2F8-2296-3B41037B2687}"/>
              </a:ext>
            </a:extLst>
          </p:cNvPr>
          <p:cNvGrpSpPr/>
          <p:nvPr/>
        </p:nvGrpSpPr>
        <p:grpSpPr>
          <a:xfrm>
            <a:off x="5412984" y="1198562"/>
            <a:ext cx="6228154" cy="5349782"/>
            <a:chOff x="8602" y="1198562"/>
            <a:chExt cx="4083338" cy="5083176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CC29CE8D-46BA-1F63-3E94-EC69CEAE6AE1}"/>
                </a:ext>
              </a:extLst>
            </p:cNvPr>
            <p:cNvSpPr/>
            <p:nvPr/>
          </p:nvSpPr>
          <p:spPr>
            <a:xfrm>
              <a:off x="8602" y="1198562"/>
              <a:ext cx="4079211" cy="5083176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A20A1FD4-7655-AE1C-64D9-AA639D044EA2}"/>
                </a:ext>
              </a:extLst>
            </p:cNvPr>
            <p:cNvCxnSpPr>
              <a:cxnSpLocks/>
            </p:cNvCxnSpPr>
            <p:nvPr/>
          </p:nvCxnSpPr>
          <p:spPr>
            <a:xfrm>
              <a:off x="8602" y="1198562"/>
              <a:ext cx="4083338" cy="1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BBDC6FF9-2F11-A63A-CC0F-B6C332D60B13}"/>
              </a:ext>
            </a:extLst>
          </p:cNvPr>
          <p:cNvCxnSpPr>
            <a:cxnSpLocks/>
          </p:cNvCxnSpPr>
          <p:nvPr/>
        </p:nvCxnSpPr>
        <p:spPr>
          <a:xfrm flipV="1">
            <a:off x="571500" y="1198562"/>
            <a:ext cx="4664529" cy="2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Номер слайда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344E1-0F76-4023-B180-E4B0CE5660A5}" type="slidenum">
              <a:rPr lang="en-US" smtClean="0">
                <a:solidFill>
                  <a:schemeClr val="tx1"/>
                </a:solidFill>
              </a:rPr>
              <a:pPr/>
              <a:t>31</a:t>
            </a:fld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6355027"/>
              </p:ext>
            </p:extLst>
          </p:nvPr>
        </p:nvGraphicFramePr>
        <p:xfrm>
          <a:off x="5832422" y="1536122"/>
          <a:ext cx="5808716" cy="4250332"/>
        </p:xfrm>
        <a:graphic>
          <a:graphicData uri="http://schemas.openxmlformats.org/drawingml/2006/table">
            <a:tbl>
              <a:tblPr/>
              <a:tblGrid>
                <a:gridCol w="970184">
                  <a:extLst>
                    <a:ext uri="{9D8B030D-6E8A-4147-A177-3AD203B41FA5}">
                      <a16:colId xmlns:a16="http://schemas.microsoft.com/office/drawing/2014/main" val="16471778"/>
                    </a:ext>
                  </a:extLst>
                </a:gridCol>
                <a:gridCol w="2495385">
                  <a:extLst>
                    <a:ext uri="{9D8B030D-6E8A-4147-A177-3AD203B41FA5}">
                      <a16:colId xmlns:a16="http://schemas.microsoft.com/office/drawing/2014/main" val="2932378825"/>
                    </a:ext>
                  </a:extLst>
                </a:gridCol>
                <a:gridCol w="1072613">
                  <a:extLst>
                    <a:ext uri="{9D8B030D-6E8A-4147-A177-3AD203B41FA5}">
                      <a16:colId xmlns:a16="http://schemas.microsoft.com/office/drawing/2014/main" val="879598318"/>
                    </a:ext>
                  </a:extLst>
                </a:gridCol>
                <a:gridCol w="1270534">
                  <a:extLst>
                    <a:ext uri="{9D8B030D-6E8A-4147-A177-3AD203B41FA5}">
                      <a16:colId xmlns:a16="http://schemas.microsoft.com/office/drawing/2014/main" val="873273222"/>
                    </a:ext>
                  </a:extLst>
                </a:gridCol>
              </a:tblGrid>
              <a:tr h="248840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.60.01.03.005.R.000004.07.2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641953"/>
                  </a:ext>
                </a:extLst>
              </a:tr>
              <a:tr h="46576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ru-RU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Что?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D4D4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ru-RU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Что значит?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D4D4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ru-RU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Кириллица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D4D4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ru-RU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Латиница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D4D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5516478"/>
                  </a:ext>
                </a:extLst>
              </a:tr>
              <a:tr h="4968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RU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д страны, где выдан документ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5467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д региона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411390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д организации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9631746"/>
                  </a:ext>
                </a:extLst>
              </a:tr>
              <a:tr h="78837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д рабочего места в данной организации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462205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д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дукции</a:t>
                      </a: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4656638"/>
                  </a:ext>
                </a:extLst>
              </a:tr>
              <a:tr h="6731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итера, возможные значения: Е, е, R, r, E, e;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576082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рядковый номер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159742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сяц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59838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од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3074557"/>
                  </a:ext>
                </a:extLst>
              </a:tr>
            </a:tbl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0040" y="1285191"/>
            <a:ext cx="4129736" cy="217027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76588" y="3615714"/>
            <a:ext cx="2597029" cy="3040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997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CE7F547-2370-48BD-8950-BAB9E552D5A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2"/>
              </a:ext>
            </a:extLst>
          </a:blip>
          <a:srcRect/>
          <a:stretch/>
        </p:blipFill>
        <p:spPr>
          <a:xfrm>
            <a:off x="1592505" y="3006205"/>
            <a:ext cx="200708" cy="200708"/>
          </a:xfrm>
          <a:prstGeom prst="rect">
            <a:avLst/>
          </a:prstGeom>
        </p:spPr>
      </p:pic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895" name="Слайд think-cell" r:id="rId103" imgW="395" imgH="396" progId="TCLayout.ActiveDocument.1">
                  <p:embed/>
                </p:oleObj>
              </mc:Choice>
              <mc:Fallback>
                <p:oleObj name="Слайд think-cell" r:id="rId103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0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D68EB34-ED57-0EA6-A021-937295937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56604"/>
            <a:ext cx="9974580" cy="338554"/>
          </a:xfrm>
        </p:spPr>
        <p:txBody>
          <a:bodyPr vert="horz"/>
          <a:lstStyle/>
          <a:p>
            <a:r>
              <a:rPr lang="ru-RU" dirty="0" smtClean="0"/>
              <a:t>Портал поставщик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05"/>
          <a:stretch>
            <a:fillRect/>
          </a:stretch>
        </p:blipFill>
        <p:spPr>
          <a:xfrm>
            <a:off x="421405" y="1290038"/>
            <a:ext cx="11311792" cy="3833749"/>
          </a:xfrm>
          <a:prstGeom prst="rect">
            <a:avLst/>
          </a:prstGeom>
        </p:spPr>
      </p:pic>
      <p:sp>
        <p:nvSpPr>
          <p:cNvPr id="10" name="Рисунок 38">
            <a:extLst>
              <a:ext uri="{FF2B5EF4-FFF2-40B4-BE49-F238E27FC236}">
                <a16:creationId xmlns:a16="http://schemas.microsoft.com/office/drawing/2014/main" id="{48AAA0BD-E0E8-4AFE-9B83-5AD8EB5DA626}"/>
              </a:ext>
            </a:extLst>
          </p:cNvPr>
          <p:cNvSpPr/>
          <p:nvPr/>
        </p:nvSpPr>
        <p:spPr>
          <a:xfrm>
            <a:off x="10279473" y="3492253"/>
            <a:ext cx="533213" cy="383859"/>
          </a:xfrm>
          <a:custGeom>
            <a:avLst/>
            <a:gdLst>
              <a:gd name="connsiteX0" fmla="*/ 503968 w 533213"/>
              <a:gd name="connsiteY0" fmla="*/ 0 h 383859"/>
              <a:gd name="connsiteX1" fmla="*/ 297782 w 533213"/>
              <a:gd name="connsiteY1" fmla="*/ 0 h 383859"/>
              <a:gd name="connsiteX2" fmla="*/ 268514 w 533213"/>
              <a:gd name="connsiteY2" fmla="*/ 29269 h 383859"/>
              <a:gd name="connsiteX3" fmla="*/ 268514 w 533213"/>
              <a:gd name="connsiteY3" fmla="*/ 53865 h 383859"/>
              <a:gd name="connsiteX4" fmla="*/ 37590 w 533213"/>
              <a:gd name="connsiteY4" fmla="*/ 53865 h 383859"/>
              <a:gd name="connsiteX5" fmla="*/ 0 w 533213"/>
              <a:gd name="connsiteY5" fmla="*/ 91461 h 383859"/>
              <a:gd name="connsiteX6" fmla="*/ 0 w 533213"/>
              <a:gd name="connsiteY6" fmla="*/ 265022 h 383859"/>
              <a:gd name="connsiteX7" fmla="*/ 37590 w 533213"/>
              <a:gd name="connsiteY7" fmla="*/ 302601 h 383859"/>
              <a:gd name="connsiteX8" fmla="*/ 73694 w 533213"/>
              <a:gd name="connsiteY8" fmla="*/ 302601 h 383859"/>
              <a:gd name="connsiteX9" fmla="*/ 73694 w 533213"/>
              <a:gd name="connsiteY9" fmla="*/ 375386 h 383859"/>
              <a:gd name="connsiteX10" fmla="*/ 78739 w 533213"/>
              <a:gd name="connsiteY10" fmla="*/ 383136 h 383859"/>
              <a:gd name="connsiteX11" fmla="*/ 82162 w 533213"/>
              <a:gd name="connsiteY11" fmla="*/ 383860 h 383859"/>
              <a:gd name="connsiteX12" fmla="*/ 87862 w 533213"/>
              <a:gd name="connsiteY12" fmla="*/ 381656 h 383859"/>
              <a:gd name="connsiteX13" fmla="*/ 174878 w 533213"/>
              <a:gd name="connsiteY13" fmla="*/ 302601 h 383859"/>
              <a:gd name="connsiteX14" fmla="*/ 326300 w 533213"/>
              <a:gd name="connsiteY14" fmla="*/ 302601 h 383859"/>
              <a:gd name="connsiteX15" fmla="*/ 363884 w 533213"/>
              <a:gd name="connsiteY15" fmla="*/ 265022 h 383859"/>
              <a:gd name="connsiteX16" fmla="*/ 363884 w 533213"/>
              <a:gd name="connsiteY16" fmla="*/ 182487 h 383859"/>
              <a:gd name="connsiteX17" fmla="*/ 404971 w 533213"/>
              <a:gd name="connsiteY17" fmla="*/ 182487 h 383859"/>
              <a:gd name="connsiteX18" fmla="*/ 466417 w 533213"/>
              <a:gd name="connsiteY18" fmla="*/ 238307 h 383859"/>
              <a:gd name="connsiteX19" fmla="*/ 472117 w 533213"/>
              <a:gd name="connsiteY19" fmla="*/ 240510 h 383859"/>
              <a:gd name="connsiteX20" fmla="*/ 475547 w 533213"/>
              <a:gd name="connsiteY20" fmla="*/ 239787 h 383859"/>
              <a:gd name="connsiteX21" fmla="*/ 480591 w 533213"/>
              <a:gd name="connsiteY21" fmla="*/ 232036 h 383859"/>
              <a:gd name="connsiteX22" fmla="*/ 480591 w 533213"/>
              <a:gd name="connsiteY22" fmla="*/ 182487 h 383859"/>
              <a:gd name="connsiteX23" fmla="*/ 503962 w 533213"/>
              <a:gd name="connsiteY23" fmla="*/ 182487 h 383859"/>
              <a:gd name="connsiteX24" fmla="*/ 533214 w 533213"/>
              <a:gd name="connsiteY24" fmla="*/ 153213 h 383859"/>
              <a:gd name="connsiteX25" fmla="*/ 533214 w 533213"/>
              <a:gd name="connsiteY25" fmla="*/ 29269 h 383859"/>
              <a:gd name="connsiteX26" fmla="*/ 503968 w 533213"/>
              <a:gd name="connsiteY26" fmla="*/ 0 h 383859"/>
              <a:gd name="connsiteX27" fmla="*/ 346942 w 533213"/>
              <a:gd name="connsiteY27" fmla="*/ 265017 h 383859"/>
              <a:gd name="connsiteX28" fmla="*/ 326305 w 533213"/>
              <a:gd name="connsiteY28" fmla="*/ 285648 h 383859"/>
              <a:gd name="connsiteX29" fmla="*/ 171607 w 533213"/>
              <a:gd name="connsiteY29" fmla="*/ 285648 h 383859"/>
              <a:gd name="connsiteX30" fmla="*/ 165907 w 533213"/>
              <a:gd name="connsiteY30" fmla="*/ 287851 h 383859"/>
              <a:gd name="connsiteX31" fmla="*/ 90636 w 533213"/>
              <a:gd name="connsiteY31" fmla="*/ 356235 h 383859"/>
              <a:gd name="connsiteX32" fmla="*/ 90636 w 533213"/>
              <a:gd name="connsiteY32" fmla="*/ 294122 h 383859"/>
              <a:gd name="connsiteX33" fmla="*/ 82162 w 533213"/>
              <a:gd name="connsiteY33" fmla="*/ 285648 h 383859"/>
              <a:gd name="connsiteX34" fmla="*/ 37584 w 533213"/>
              <a:gd name="connsiteY34" fmla="*/ 285648 h 383859"/>
              <a:gd name="connsiteX35" fmla="*/ 16942 w 533213"/>
              <a:gd name="connsiteY35" fmla="*/ 265017 h 383859"/>
              <a:gd name="connsiteX36" fmla="*/ 16942 w 533213"/>
              <a:gd name="connsiteY36" fmla="*/ 91455 h 383859"/>
              <a:gd name="connsiteX37" fmla="*/ 37584 w 533213"/>
              <a:gd name="connsiteY37" fmla="*/ 70807 h 383859"/>
              <a:gd name="connsiteX38" fmla="*/ 276903 w 533213"/>
              <a:gd name="connsiteY38" fmla="*/ 70807 h 383859"/>
              <a:gd name="connsiteX39" fmla="*/ 276987 w 533213"/>
              <a:gd name="connsiteY39" fmla="*/ 70813 h 383859"/>
              <a:gd name="connsiteX40" fmla="*/ 277072 w 533213"/>
              <a:gd name="connsiteY40" fmla="*/ 70807 h 383859"/>
              <a:gd name="connsiteX41" fmla="*/ 326305 w 533213"/>
              <a:gd name="connsiteY41" fmla="*/ 70807 h 383859"/>
              <a:gd name="connsiteX42" fmla="*/ 346942 w 533213"/>
              <a:gd name="connsiteY42" fmla="*/ 91455 h 383859"/>
              <a:gd name="connsiteX43" fmla="*/ 346942 w 533213"/>
              <a:gd name="connsiteY43" fmla="*/ 265017 h 383859"/>
              <a:gd name="connsiteX44" fmla="*/ 346942 w 533213"/>
              <a:gd name="connsiteY44" fmla="*/ 265017 h 383859"/>
              <a:gd name="connsiteX45" fmla="*/ 516272 w 533213"/>
              <a:gd name="connsiteY45" fmla="*/ 153213 h 383859"/>
              <a:gd name="connsiteX46" fmla="*/ 503968 w 533213"/>
              <a:gd name="connsiteY46" fmla="*/ 165539 h 383859"/>
              <a:gd name="connsiteX47" fmla="*/ 472123 w 533213"/>
              <a:gd name="connsiteY47" fmla="*/ 165539 h 383859"/>
              <a:gd name="connsiteX48" fmla="*/ 463649 w 533213"/>
              <a:gd name="connsiteY48" fmla="*/ 174013 h 383859"/>
              <a:gd name="connsiteX49" fmla="*/ 463649 w 533213"/>
              <a:gd name="connsiteY49" fmla="*/ 212891 h 383859"/>
              <a:gd name="connsiteX50" fmla="*/ 413947 w 533213"/>
              <a:gd name="connsiteY50" fmla="*/ 167743 h 383859"/>
              <a:gd name="connsiteX51" fmla="*/ 408247 w 533213"/>
              <a:gd name="connsiteY51" fmla="*/ 165539 h 383859"/>
              <a:gd name="connsiteX52" fmla="*/ 363884 w 533213"/>
              <a:gd name="connsiteY52" fmla="*/ 165539 h 383859"/>
              <a:gd name="connsiteX53" fmla="*/ 363884 w 533213"/>
              <a:gd name="connsiteY53" fmla="*/ 91461 h 383859"/>
              <a:gd name="connsiteX54" fmla="*/ 326300 w 533213"/>
              <a:gd name="connsiteY54" fmla="*/ 53865 h 383859"/>
              <a:gd name="connsiteX55" fmla="*/ 285461 w 533213"/>
              <a:gd name="connsiteY55" fmla="*/ 53865 h 383859"/>
              <a:gd name="connsiteX56" fmla="*/ 285461 w 533213"/>
              <a:gd name="connsiteY56" fmla="*/ 29269 h 383859"/>
              <a:gd name="connsiteX57" fmla="*/ 297782 w 533213"/>
              <a:gd name="connsiteY57" fmla="*/ 16948 h 383859"/>
              <a:gd name="connsiteX58" fmla="*/ 503968 w 533213"/>
              <a:gd name="connsiteY58" fmla="*/ 16948 h 383859"/>
              <a:gd name="connsiteX59" fmla="*/ 516272 w 533213"/>
              <a:gd name="connsiteY59" fmla="*/ 29269 h 383859"/>
              <a:gd name="connsiteX60" fmla="*/ 516272 w 533213"/>
              <a:gd name="connsiteY60" fmla="*/ 153213 h 383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533213" h="383859">
                <a:moveTo>
                  <a:pt x="503968" y="0"/>
                </a:moveTo>
                <a:lnTo>
                  <a:pt x="297782" y="0"/>
                </a:lnTo>
                <a:cubicBezTo>
                  <a:pt x="281642" y="0"/>
                  <a:pt x="268514" y="13129"/>
                  <a:pt x="268514" y="29269"/>
                </a:cubicBezTo>
                <a:lnTo>
                  <a:pt x="268514" y="53865"/>
                </a:lnTo>
                <a:lnTo>
                  <a:pt x="37590" y="53865"/>
                </a:lnTo>
                <a:cubicBezTo>
                  <a:pt x="16863" y="53865"/>
                  <a:pt x="0" y="70728"/>
                  <a:pt x="0" y="91461"/>
                </a:cubicBezTo>
                <a:lnTo>
                  <a:pt x="0" y="265022"/>
                </a:lnTo>
                <a:cubicBezTo>
                  <a:pt x="0" y="285744"/>
                  <a:pt x="16863" y="302601"/>
                  <a:pt x="37590" y="302601"/>
                </a:cubicBezTo>
                <a:lnTo>
                  <a:pt x="73694" y="302601"/>
                </a:lnTo>
                <a:lnTo>
                  <a:pt x="73694" y="375386"/>
                </a:lnTo>
                <a:cubicBezTo>
                  <a:pt x="73694" y="378741"/>
                  <a:pt x="75671" y="381775"/>
                  <a:pt x="78739" y="383136"/>
                </a:cubicBezTo>
                <a:cubicBezTo>
                  <a:pt x="79841" y="383622"/>
                  <a:pt x="81004" y="383860"/>
                  <a:pt x="82162" y="383860"/>
                </a:cubicBezTo>
                <a:cubicBezTo>
                  <a:pt x="84230" y="383860"/>
                  <a:pt x="86275" y="383103"/>
                  <a:pt x="87862" y="381656"/>
                </a:cubicBezTo>
                <a:lnTo>
                  <a:pt x="174878" y="302601"/>
                </a:lnTo>
                <a:lnTo>
                  <a:pt x="326300" y="302601"/>
                </a:lnTo>
                <a:cubicBezTo>
                  <a:pt x="347021" y="302601"/>
                  <a:pt x="363884" y="285744"/>
                  <a:pt x="363884" y="265022"/>
                </a:cubicBezTo>
                <a:lnTo>
                  <a:pt x="363884" y="182487"/>
                </a:lnTo>
                <a:lnTo>
                  <a:pt x="404971" y="182487"/>
                </a:lnTo>
                <a:lnTo>
                  <a:pt x="466417" y="238307"/>
                </a:lnTo>
                <a:cubicBezTo>
                  <a:pt x="468010" y="239753"/>
                  <a:pt x="470050" y="240510"/>
                  <a:pt x="472117" y="240510"/>
                </a:cubicBezTo>
                <a:cubicBezTo>
                  <a:pt x="473276" y="240510"/>
                  <a:pt x="474445" y="240273"/>
                  <a:pt x="475547" y="239787"/>
                </a:cubicBezTo>
                <a:cubicBezTo>
                  <a:pt x="478614" y="238431"/>
                  <a:pt x="480591" y="235392"/>
                  <a:pt x="480591" y="232036"/>
                </a:cubicBezTo>
                <a:lnTo>
                  <a:pt x="480591" y="182487"/>
                </a:lnTo>
                <a:lnTo>
                  <a:pt x="503962" y="182487"/>
                </a:lnTo>
                <a:cubicBezTo>
                  <a:pt x="520091" y="182487"/>
                  <a:pt x="533214" y="169353"/>
                  <a:pt x="533214" y="153213"/>
                </a:cubicBezTo>
                <a:lnTo>
                  <a:pt x="533214" y="29269"/>
                </a:lnTo>
                <a:cubicBezTo>
                  <a:pt x="533220" y="13129"/>
                  <a:pt x="520102" y="0"/>
                  <a:pt x="503968" y="0"/>
                </a:cubicBezTo>
                <a:close/>
                <a:moveTo>
                  <a:pt x="346942" y="265017"/>
                </a:moveTo>
                <a:cubicBezTo>
                  <a:pt x="346942" y="276394"/>
                  <a:pt x="337683" y="285648"/>
                  <a:pt x="326305" y="285648"/>
                </a:cubicBezTo>
                <a:lnTo>
                  <a:pt x="171607" y="285648"/>
                </a:lnTo>
                <a:cubicBezTo>
                  <a:pt x="169500" y="285648"/>
                  <a:pt x="167471" y="286433"/>
                  <a:pt x="165907" y="287851"/>
                </a:cubicBezTo>
                <a:lnTo>
                  <a:pt x="90636" y="356235"/>
                </a:lnTo>
                <a:lnTo>
                  <a:pt x="90636" y="294122"/>
                </a:lnTo>
                <a:cubicBezTo>
                  <a:pt x="90636" y="289438"/>
                  <a:pt x="86846" y="285648"/>
                  <a:pt x="82162" y="285648"/>
                </a:cubicBezTo>
                <a:lnTo>
                  <a:pt x="37584" y="285648"/>
                </a:lnTo>
                <a:cubicBezTo>
                  <a:pt x="26201" y="285648"/>
                  <a:pt x="16942" y="276394"/>
                  <a:pt x="16942" y="265017"/>
                </a:cubicBezTo>
                <a:lnTo>
                  <a:pt x="16942" y="91455"/>
                </a:lnTo>
                <a:cubicBezTo>
                  <a:pt x="16942" y="80072"/>
                  <a:pt x="26201" y="70807"/>
                  <a:pt x="37584" y="70807"/>
                </a:cubicBezTo>
                <a:lnTo>
                  <a:pt x="276903" y="70807"/>
                </a:lnTo>
                <a:cubicBezTo>
                  <a:pt x="276931" y="70807"/>
                  <a:pt x="276959" y="70813"/>
                  <a:pt x="276987" y="70813"/>
                </a:cubicBezTo>
                <a:cubicBezTo>
                  <a:pt x="277016" y="70813"/>
                  <a:pt x="277044" y="70807"/>
                  <a:pt x="277072" y="70807"/>
                </a:cubicBezTo>
                <a:lnTo>
                  <a:pt x="326305" y="70807"/>
                </a:lnTo>
                <a:cubicBezTo>
                  <a:pt x="337688" y="70807"/>
                  <a:pt x="346942" y="80072"/>
                  <a:pt x="346942" y="91455"/>
                </a:cubicBezTo>
                <a:lnTo>
                  <a:pt x="346942" y="265017"/>
                </a:lnTo>
                <a:lnTo>
                  <a:pt x="346942" y="265017"/>
                </a:lnTo>
                <a:close/>
                <a:moveTo>
                  <a:pt x="516272" y="153213"/>
                </a:moveTo>
                <a:cubicBezTo>
                  <a:pt x="516272" y="160009"/>
                  <a:pt x="510753" y="165539"/>
                  <a:pt x="503968" y="165539"/>
                </a:cubicBezTo>
                <a:lnTo>
                  <a:pt x="472123" y="165539"/>
                </a:lnTo>
                <a:cubicBezTo>
                  <a:pt x="467446" y="165539"/>
                  <a:pt x="463649" y="169330"/>
                  <a:pt x="463649" y="174013"/>
                </a:cubicBezTo>
                <a:lnTo>
                  <a:pt x="463649" y="212891"/>
                </a:lnTo>
                <a:lnTo>
                  <a:pt x="413947" y="167743"/>
                </a:lnTo>
                <a:cubicBezTo>
                  <a:pt x="412388" y="166330"/>
                  <a:pt x="410354" y="165539"/>
                  <a:pt x="408247" y="165539"/>
                </a:cubicBezTo>
                <a:lnTo>
                  <a:pt x="363884" y="165539"/>
                </a:lnTo>
                <a:lnTo>
                  <a:pt x="363884" y="91461"/>
                </a:lnTo>
                <a:cubicBezTo>
                  <a:pt x="363884" y="70734"/>
                  <a:pt x="347021" y="53865"/>
                  <a:pt x="326300" y="53865"/>
                </a:cubicBezTo>
                <a:lnTo>
                  <a:pt x="285461" y="53865"/>
                </a:lnTo>
                <a:lnTo>
                  <a:pt x="285461" y="29269"/>
                </a:lnTo>
                <a:cubicBezTo>
                  <a:pt x="285461" y="22473"/>
                  <a:pt x="290992" y="16948"/>
                  <a:pt x="297782" y="16948"/>
                </a:cubicBezTo>
                <a:lnTo>
                  <a:pt x="503968" y="16948"/>
                </a:lnTo>
                <a:cubicBezTo>
                  <a:pt x="510753" y="16948"/>
                  <a:pt x="516272" y="22473"/>
                  <a:pt x="516272" y="29269"/>
                </a:cubicBezTo>
                <a:lnTo>
                  <a:pt x="516272" y="153213"/>
                </a:lnTo>
                <a:close/>
              </a:path>
            </a:pathLst>
          </a:custGeom>
          <a:solidFill>
            <a:schemeClr val="tx1"/>
          </a:solidFill>
          <a:ln w="108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3C96"/>
              </a:solidFill>
              <a:effectLst/>
              <a:uLnTx/>
              <a:uFillTx/>
            </a:endParaRPr>
          </a:p>
        </p:txBody>
      </p:sp>
      <p:grpSp>
        <p:nvGrpSpPr>
          <p:cNvPr id="11" name="Рисунок 22">
            <a:extLst>
              <a:ext uri="{FF2B5EF4-FFF2-40B4-BE49-F238E27FC236}">
                <a16:creationId xmlns:a16="http://schemas.microsoft.com/office/drawing/2014/main" id="{2CB9351B-F37D-4EA9-8E24-6BF869059FD0}"/>
              </a:ext>
            </a:extLst>
          </p:cNvPr>
          <p:cNvGrpSpPr/>
          <p:nvPr/>
        </p:nvGrpSpPr>
        <p:grpSpPr>
          <a:xfrm>
            <a:off x="5558790" y="3454986"/>
            <a:ext cx="371719" cy="473970"/>
            <a:chOff x="9993651" y="3415706"/>
            <a:chExt cx="371719" cy="473970"/>
          </a:xfrm>
          <a:solidFill>
            <a:schemeClr val="tx1"/>
          </a:solidFill>
        </p:grpSpPr>
        <p:sp>
          <p:nvSpPr>
            <p:cNvPr id="12" name="Полилиния: фигура 98">
              <a:extLst>
                <a:ext uri="{FF2B5EF4-FFF2-40B4-BE49-F238E27FC236}">
                  <a16:creationId xmlns:a16="http://schemas.microsoft.com/office/drawing/2014/main" id="{BE61736E-8796-4483-86C4-B179C86AF756}"/>
                </a:ext>
              </a:extLst>
            </p:cNvPr>
            <p:cNvSpPr/>
            <p:nvPr/>
          </p:nvSpPr>
          <p:spPr>
            <a:xfrm>
              <a:off x="9993651" y="3415706"/>
              <a:ext cx="371719" cy="473970"/>
            </a:xfrm>
            <a:custGeom>
              <a:avLst/>
              <a:gdLst>
                <a:gd name="connsiteX0" fmla="*/ 256475 w 371719"/>
                <a:gd name="connsiteY0" fmla="*/ 0 h 473970"/>
                <a:gd name="connsiteX1" fmla="*/ 0 w 371719"/>
                <a:gd name="connsiteY1" fmla="*/ 0 h 473970"/>
                <a:gd name="connsiteX2" fmla="*/ 0 w 371719"/>
                <a:gd name="connsiteY2" fmla="*/ 473970 h 473970"/>
                <a:gd name="connsiteX3" fmla="*/ 371719 w 371719"/>
                <a:gd name="connsiteY3" fmla="*/ 473970 h 473970"/>
                <a:gd name="connsiteX4" fmla="*/ 371719 w 371719"/>
                <a:gd name="connsiteY4" fmla="*/ 115244 h 473970"/>
                <a:gd name="connsiteX5" fmla="*/ 256475 w 371719"/>
                <a:gd name="connsiteY5" fmla="*/ 0 h 473970"/>
                <a:gd name="connsiteX6" fmla="*/ 260994 w 371719"/>
                <a:gd name="connsiteY6" fmla="*/ 27116 h 473970"/>
                <a:gd name="connsiteX7" fmla="*/ 344603 w 371719"/>
                <a:gd name="connsiteY7" fmla="*/ 110725 h 473970"/>
                <a:gd name="connsiteX8" fmla="*/ 260994 w 371719"/>
                <a:gd name="connsiteY8" fmla="*/ 110725 h 473970"/>
                <a:gd name="connsiteX9" fmla="*/ 260994 w 371719"/>
                <a:gd name="connsiteY9" fmla="*/ 27116 h 473970"/>
                <a:gd name="connsiteX10" fmla="*/ 355902 w 371719"/>
                <a:gd name="connsiteY10" fmla="*/ 458153 h 473970"/>
                <a:gd name="connsiteX11" fmla="*/ 15818 w 371719"/>
                <a:gd name="connsiteY11" fmla="*/ 458153 h 473970"/>
                <a:gd name="connsiteX12" fmla="*/ 15818 w 371719"/>
                <a:gd name="connsiteY12" fmla="*/ 15818 h 473970"/>
                <a:gd name="connsiteX13" fmla="*/ 245177 w 371719"/>
                <a:gd name="connsiteY13" fmla="*/ 15818 h 473970"/>
                <a:gd name="connsiteX14" fmla="*/ 245177 w 371719"/>
                <a:gd name="connsiteY14" fmla="*/ 126543 h 473970"/>
                <a:gd name="connsiteX15" fmla="*/ 355902 w 371719"/>
                <a:gd name="connsiteY15" fmla="*/ 126543 h 473970"/>
                <a:gd name="connsiteX16" fmla="*/ 355902 w 371719"/>
                <a:gd name="connsiteY16" fmla="*/ 458153 h 47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1719" h="473970">
                  <a:moveTo>
                    <a:pt x="256475" y="0"/>
                  </a:moveTo>
                  <a:lnTo>
                    <a:pt x="0" y="0"/>
                  </a:lnTo>
                  <a:lnTo>
                    <a:pt x="0" y="473970"/>
                  </a:lnTo>
                  <a:lnTo>
                    <a:pt x="371719" y="473970"/>
                  </a:lnTo>
                  <a:lnTo>
                    <a:pt x="371719" y="115244"/>
                  </a:lnTo>
                  <a:lnTo>
                    <a:pt x="256475" y="0"/>
                  </a:lnTo>
                  <a:close/>
                  <a:moveTo>
                    <a:pt x="260994" y="27116"/>
                  </a:moveTo>
                  <a:lnTo>
                    <a:pt x="344603" y="110725"/>
                  </a:lnTo>
                  <a:lnTo>
                    <a:pt x="260994" y="110725"/>
                  </a:lnTo>
                  <a:lnTo>
                    <a:pt x="260994" y="27116"/>
                  </a:lnTo>
                  <a:close/>
                  <a:moveTo>
                    <a:pt x="355902" y="458153"/>
                  </a:moveTo>
                  <a:lnTo>
                    <a:pt x="15818" y="458153"/>
                  </a:lnTo>
                  <a:lnTo>
                    <a:pt x="15818" y="15818"/>
                  </a:lnTo>
                  <a:lnTo>
                    <a:pt x="245177" y="15818"/>
                  </a:lnTo>
                  <a:lnTo>
                    <a:pt x="245177" y="126543"/>
                  </a:lnTo>
                  <a:lnTo>
                    <a:pt x="355902" y="126543"/>
                  </a:lnTo>
                  <a:lnTo>
                    <a:pt x="355902" y="458153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: фигура 99">
              <a:extLst>
                <a:ext uri="{FF2B5EF4-FFF2-40B4-BE49-F238E27FC236}">
                  <a16:creationId xmlns:a16="http://schemas.microsoft.com/office/drawing/2014/main" id="{E429B92B-5A8B-4357-A652-01F11E0B4D96}"/>
                </a:ext>
              </a:extLst>
            </p:cNvPr>
            <p:cNvSpPr/>
            <p:nvPr/>
          </p:nvSpPr>
          <p:spPr>
            <a:xfrm>
              <a:off x="10144486" y="3580664"/>
              <a:ext cx="142360" cy="15817"/>
            </a:xfrm>
            <a:custGeom>
              <a:avLst/>
              <a:gdLst>
                <a:gd name="connsiteX0" fmla="*/ 0 w 142360"/>
                <a:gd name="connsiteY0" fmla="*/ 7909 h 15817"/>
                <a:gd name="connsiteX1" fmla="*/ 7909 w 142360"/>
                <a:gd name="connsiteY1" fmla="*/ 15818 h 15817"/>
                <a:gd name="connsiteX2" fmla="*/ 134452 w 142360"/>
                <a:gd name="connsiteY2" fmla="*/ 15818 h 15817"/>
                <a:gd name="connsiteX3" fmla="*/ 142361 w 142360"/>
                <a:gd name="connsiteY3" fmla="*/ 7909 h 15817"/>
                <a:gd name="connsiteX4" fmla="*/ 134452 w 142360"/>
                <a:gd name="connsiteY4" fmla="*/ 0 h 15817"/>
                <a:gd name="connsiteX5" fmla="*/ 7909 w 142360"/>
                <a:gd name="connsiteY5" fmla="*/ 0 h 15817"/>
                <a:gd name="connsiteX6" fmla="*/ 0 w 142360"/>
                <a:gd name="connsiteY6" fmla="*/ 7909 h 1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360" h="15817">
                  <a:moveTo>
                    <a:pt x="0" y="7909"/>
                  </a:moveTo>
                  <a:cubicBezTo>
                    <a:pt x="0" y="12428"/>
                    <a:pt x="3390" y="15818"/>
                    <a:pt x="7909" y="15818"/>
                  </a:cubicBezTo>
                  <a:lnTo>
                    <a:pt x="134452" y="15818"/>
                  </a:lnTo>
                  <a:cubicBezTo>
                    <a:pt x="138971" y="15818"/>
                    <a:pt x="142361" y="12428"/>
                    <a:pt x="142361" y="7909"/>
                  </a:cubicBezTo>
                  <a:cubicBezTo>
                    <a:pt x="142361" y="3390"/>
                    <a:pt x="138971" y="0"/>
                    <a:pt x="134452" y="0"/>
                  </a:cubicBezTo>
                  <a:lnTo>
                    <a:pt x="7909" y="0"/>
                  </a:lnTo>
                  <a:cubicBezTo>
                    <a:pt x="3390" y="0"/>
                    <a:pt x="0" y="3390"/>
                    <a:pt x="0" y="790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: фигура 100">
              <a:extLst>
                <a:ext uri="{FF2B5EF4-FFF2-40B4-BE49-F238E27FC236}">
                  <a16:creationId xmlns:a16="http://schemas.microsoft.com/office/drawing/2014/main" id="{CB353E14-2A68-448E-BC54-4E8EBC7598C8}"/>
                </a:ext>
              </a:extLst>
            </p:cNvPr>
            <p:cNvSpPr/>
            <p:nvPr/>
          </p:nvSpPr>
          <p:spPr>
            <a:xfrm>
              <a:off x="10066103" y="3558469"/>
              <a:ext cx="70587" cy="45921"/>
            </a:xfrm>
            <a:custGeom>
              <a:avLst/>
              <a:gdLst>
                <a:gd name="connsiteX0" fmla="*/ 57481 w 70587"/>
                <a:gd name="connsiteY0" fmla="*/ 1857 h 45921"/>
                <a:gd name="connsiteX1" fmla="*/ 24150 w 70587"/>
                <a:gd name="connsiteY1" fmla="*/ 28408 h 45921"/>
                <a:gd name="connsiteX2" fmla="*/ 13417 w 70587"/>
                <a:gd name="connsiteY2" fmla="*/ 17675 h 45921"/>
                <a:gd name="connsiteX3" fmla="*/ 2118 w 70587"/>
                <a:gd name="connsiteY3" fmla="*/ 17675 h 45921"/>
                <a:gd name="connsiteX4" fmla="*/ 2118 w 70587"/>
                <a:gd name="connsiteY4" fmla="*/ 28408 h 45921"/>
                <a:gd name="connsiteX5" fmla="*/ 17936 w 70587"/>
                <a:gd name="connsiteY5" fmla="*/ 43661 h 45921"/>
                <a:gd name="connsiteX6" fmla="*/ 23586 w 70587"/>
                <a:gd name="connsiteY6" fmla="*/ 45921 h 45921"/>
                <a:gd name="connsiteX7" fmla="*/ 28670 w 70587"/>
                <a:gd name="connsiteY7" fmla="*/ 44226 h 45921"/>
                <a:gd name="connsiteX8" fmla="*/ 67650 w 70587"/>
                <a:gd name="connsiteY8" fmla="*/ 13156 h 45921"/>
                <a:gd name="connsiteX9" fmla="*/ 68779 w 70587"/>
                <a:gd name="connsiteY9" fmla="*/ 2422 h 45921"/>
                <a:gd name="connsiteX10" fmla="*/ 57481 w 70587"/>
                <a:gd name="connsiteY10" fmla="*/ 1857 h 4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587" h="45921">
                  <a:moveTo>
                    <a:pt x="57481" y="1857"/>
                  </a:moveTo>
                  <a:lnTo>
                    <a:pt x="24150" y="28408"/>
                  </a:lnTo>
                  <a:lnTo>
                    <a:pt x="13417" y="17675"/>
                  </a:lnTo>
                  <a:cubicBezTo>
                    <a:pt x="10592" y="14850"/>
                    <a:pt x="5508" y="14850"/>
                    <a:pt x="2118" y="17675"/>
                  </a:cubicBezTo>
                  <a:cubicBezTo>
                    <a:pt x="-706" y="20499"/>
                    <a:pt x="-706" y="25584"/>
                    <a:pt x="2118" y="28408"/>
                  </a:cubicBezTo>
                  <a:lnTo>
                    <a:pt x="17936" y="43661"/>
                  </a:lnTo>
                  <a:cubicBezTo>
                    <a:pt x="19631" y="45356"/>
                    <a:pt x="21326" y="45921"/>
                    <a:pt x="23586" y="45921"/>
                  </a:cubicBezTo>
                  <a:cubicBezTo>
                    <a:pt x="25280" y="45921"/>
                    <a:pt x="26975" y="45356"/>
                    <a:pt x="28670" y="44226"/>
                  </a:cubicBezTo>
                  <a:lnTo>
                    <a:pt x="67650" y="13156"/>
                  </a:lnTo>
                  <a:cubicBezTo>
                    <a:pt x="71039" y="10331"/>
                    <a:pt x="71604" y="5812"/>
                    <a:pt x="68779" y="2422"/>
                  </a:cubicBezTo>
                  <a:cubicBezTo>
                    <a:pt x="65955" y="-403"/>
                    <a:pt x="60870" y="-968"/>
                    <a:pt x="57481" y="185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Полилиния: фигура 101">
              <a:extLst>
                <a:ext uri="{FF2B5EF4-FFF2-40B4-BE49-F238E27FC236}">
                  <a16:creationId xmlns:a16="http://schemas.microsoft.com/office/drawing/2014/main" id="{2432D94D-AEBA-4406-AA58-5BFAB2365508}"/>
                </a:ext>
              </a:extLst>
            </p:cNvPr>
            <p:cNvSpPr/>
            <p:nvPr/>
          </p:nvSpPr>
          <p:spPr>
            <a:xfrm>
              <a:off x="10144486" y="3668792"/>
              <a:ext cx="142360" cy="15817"/>
            </a:xfrm>
            <a:custGeom>
              <a:avLst/>
              <a:gdLst>
                <a:gd name="connsiteX0" fmla="*/ 134452 w 142360"/>
                <a:gd name="connsiteY0" fmla="*/ 0 h 15817"/>
                <a:gd name="connsiteX1" fmla="*/ 7909 w 142360"/>
                <a:gd name="connsiteY1" fmla="*/ 0 h 15817"/>
                <a:gd name="connsiteX2" fmla="*/ 0 w 142360"/>
                <a:gd name="connsiteY2" fmla="*/ 7909 h 15817"/>
                <a:gd name="connsiteX3" fmla="*/ 7909 w 142360"/>
                <a:gd name="connsiteY3" fmla="*/ 15818 h 15817"/>
                <a:gd name="connsiteX4" fmla="*/ 134452 w 142360"/>
                <a:gd name="connsiteY4" fmla="*/ 15818 h 15817"/>
                <a:gd name="connsiteX5" fmla="*/ 142361 w 142360"/>
                <a:gd name="connsiteY5" fmla="*/ 7909 h 15817"/>
                <a:gd name="connsiteX6" fmla="*/ 134452 w 142360"/>
                <a:gd name="connsiteY6" fmla="*/ 0 h 1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360" h="15817">
                  <a:moveTo>
                    <a:pt x="134452" y="0"/>
                  </a:moveTo>
                  <a:lnTo>
                    <a:pt x="7909" y="0"/>
                  </a:lnTo>
                  <a:cubicBezTo>
                    <a:pt x="3390" y="0"/>
                    <a:pt x="0" y="3390"/>
                    <a:pt x="0" y="7909"/>
                  </a:cubicBezTo>
                  <a:cubicBezTo>
                    <a:pt x="0" y="12428"/>
                    <a:pt x="3390" y="15818"/>
                    <a:pt x="7909" y="15818"/>
                  </a:cubicBezTo>
                  <a:lnTo>
                    <a:pt x="134452" y="15818"/>
                  </a:lnTo>
                  <a:cubicBezTo>
                    <a:pt x="138971" y="15818"/>
                    <a:pt x="142361" y="12428"/>
                    <a:pt x="142361" y="7909"/>
                  </a:cubicBezTo>
                  <a:cubicBezTo>
                    <a:pt x="142361" y="3954"/>
                    <a:pt x="138971" y="0"/>
                    <a:pt x="134452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Полилиния: фигура 102">
              <a:extLst>
                <a:ext uri="{FF2B5EF4-FFF2-40B4-BE49-F238E27FC236}">
                  <a16:creationId xmlns:a16="http://schemas.microsoft.com/office/drawing/2014/main" id="{920B6C8C-D8F0-448D-B560-4385EB408EEC}"/>
                </a:ext>
              </a:extLst>
            </p:cNvPr>
            <p:cNvSpPr/>
            <p:nvPr/>
          </p:nvSpPr>
          <p:spPr>
            <a:xfrm>
              <a:off x="10065538" y="3644903"/>
              <a:ext cx="70587" cy="47615"/>
            </a:xfrm>
            <a:custGeom>
              <a:avLst/>
              <a:gdLst>
                <a:gd name="connsiteX0" fmla="*/ 58046 w 70587"/>
                <a:gd name="connsiteY0" fmla="*/ 1857 h 47615"/>
                <a:gd name="connsiteX1" fmla="*/ 24150 w 70587"/>
                <a:gd name="connsiteY1" fmla="*/ 29538 h 47615"/>
                <a:gd name="connsiteX2" fmla="*/ 13417 w 70587"/>
                <a:gd name="connsiteY2" fmla="*/ 18240 h 47615"/>
                <a:gd name="connsiteX3" fmla="*/ 2118 w 70587"/>
                <a:gd name="connsiteY3" fmla="*/ 18240 h 47615"/>
                <a:gd name="connsiteX4" fmla="*/ 2118 w 70587"/>
                <a:gd name="connsiteY4" fmla="*/ 29538 h 47615"/>
                <a:gd name="connsiteX5" fmla="*/ 17936 w 70587"/>
                <a:gd name="connsiteY5" fmla="*/ 45356 h 47615"/>
                <a:gd name="connsiteX6" fmla="*/ 23586 w 70587"/>
                <a:gd name="connsiteY6" fmla="*/ 47616 h 47615"/>
                <a:gd name="connsiteX7" fmla="*/ 28670 w 70587"/>
                <a:gd name="connsiteY7" fmla="*/ 45921 h 47615"/>
                <a:gd name="connsiteX8" fmla="*/ 67650 w 70587"/>
                <a:gd name="connsiteY8" fmla="*/ 13720 h 47615"/>
                <a:gd name="connsiteX9" fmla="*/ 68779 w 70587"/>
                <a:gd name="connsiteY9" fmla="*/ 2422 h 47615"/>
                <a:gd name="connsiteX10" fmla="*/ 58046 w 70587"/>
                <a:gd name="connsiteY10" fmla="*/ 1857 h 47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587" h="47615">
                  <a:moveTo>
                    <a:pt x="58046" y="1857"/>
                  </a:moveTo>
                  <a:lnTo>
                    <a:pt x="24150" y="29538"/>
                  </a:lnTo>
                  <a:lnTo>
                    <a:pt x="13417" y="18240"/>
                  </a:lnTo>
                  <a:cubicBezTo>
                    <a:pt x="10592" y="14850"/>
                    <a:pt x="5508" y="14850"/>
                    <a:pt x="2118" y="18240"/>
                  </a:cubicBezTo>
                  <a:cubicBezTo>
                    <a:pt x="-706" y="21629"/>
                    <a:pt x="-706" y="26714"/>
                    <a:pt x="2118" y="29538"/>
                  </a:cubicBezTo>
                  <a:lnTo>
                    <a:pt x="17936" y="45356"/>
                  </a:lnTo>
                  <a:cubicBezTo>
                    <a:pt x="19631" y="47051"/>
                    <a:pt x="21326" y="47616"/>
                    <a:pt x="23586" y="47616"/>
                  </a:cubicBezTo>
                  <a:cubicBezTo>
                    <a:pt x="25280" y="47616"/>
                    <a:pt x="26975" y="47051"/>
                    <a:pt x="28670" y="45921"/>
                  </a:cubicBezTo>
                  <a:lnTo>
                    <a:pt x="67650" y="13720"/>
                  </a:lnTo>
                  <a:cubicBezTo>
                    <a:pt x="71039" y="10896"/>
                    <a:pt x="71604" y="5812"/>
                    <a:pt x="68779" y="2422"/>
                  </a:cubicBezTo>
                  <a:cubicBezTo>
                    <a:pt x="66520" y="-403"/>
                    <a:pt x="61435" y="-968"/>
                    <a:pt x="58046" y="185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Полилиния: фигура 103">
              <a:extLst>
                <a:ext uri="{FF2B5EF4-FFF2-40B4-BE49-F238E27FC236}">
                  <a16:creationId xmlns:a16="http://schemas.microsoft.com/office/drawing/2014/main" id="{1B331226-F303-455B-A8E6-E7D0415482A9}"/>
                </a:ext>
              </a:extLst>
            </p:cNvPr>
            <p:cNvSpPr/>
            <p:nvPr/>
          </p:nvSpPr>
          <p:spPr>
            <a:xfrm>
              <a:off x="10144486" y="3755225"/>
              <a:ext cx="142360" cy="15817"/>
            </a:xfrm>
            <a:custGeom>
              <a:avLst/>
              <a:gdLst>
                <a:gd name="connsiteX0" fmla="*/ 134452 w 142360"/>
                <a:gd name="connsiteY0" fmla="*/ 0 h 15817"/>
                <a:gd name="connsiteX1" fmla="*/ 7909 w 142360"/>
                <a:gd name="connsiteY1" fmla="*/ 0 h 15817"/>
                <a:gd name="connsiteX2" fmla="*/ 0 w 142360"/>
                <a:gd name="connsiteY2" fmla="*/ 7909 h 15817"/>
                <a:gd name="connsiteX3" fmla="*/ 7909 w 142360"/>
                <a:gd name="connsiteY3" fmla="*/ 15818 h 15817"/>
                <a:gd name="connsiteX4" fmla="*/ 134452 w 142360"/>
                <a:gd name="connsiteY4" fmla="*/ 15818 h 15817"/>
                <a:gd name="connsiteX5" fmla="*/ 142361 w 142360"/>
                <a:gd name="connsiteY5" fmla="*/ 7909 h 15817"/>
                <a:gd name="connsiteX6" fmla="*/ 134452 w 142360"/>
                <a:gd name="connsiteY6" fmla="*/ 0 h 1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360" h="15817">
                  <a:moveTo>
                    <a:pt x="134452" y="0"/>
                  </a:moveTo>
                  <a:lnTo>
                    <a:pt x="7909" y="0"/>
                  </a:lnTo>
                  <a:cubicBezTo>
                    <a:pt x="3390" y="0"/>
                    <a:pt x="0" y="3390"/>
                    <a:pt x="0" y="7909"/>
                  </a:cubicBezTo>
                  <a:cubicBezTo>
                    <a:pt x="0" y="12428"/>
                    <a:pt x="3390" y="15818"/>
                    <a:pt x="7909" y="15818"/>
                  </a:cubicBezTo>
                  <a:lnTo>
                    <a:pt x="134452" y="15818"/>
                  </a:lnTo>
                  <a:cubicBezTo>
                    <a:pt x="138971" y="15818"/>
                    <a:pt x="142361" y="12428"/>
                    <a:pt x="142361" y="7909"/>
                  </a:cubicBezTo>
                  <a:cubicBezTo>
                    <a:pt x="142361" y="3390"/>
                    <a:pt x="138971" y="0"/>
                    <a:pt x="134452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Полилиния: фигура 104">
              <a:extLst>
                <a:ext uri="{FF2B5EF4-FFF2-40B4-BE49-F238E27FC236}">
                  <a16:creationId xmlns:a16="http://schemas.microsoft.com/office/drawing/2014/main" id="{A8CD8703-F0C0-4A4C-A557-D5C5776471F8}"/>
                </a:ext>
              </a:extLst>
            </p:cNvPr>
            <p:cNvSpPr/>
            <p:nvPr/>
          </p:nvSpPr>
          <p:spPr>
            <a:xfrm>
              <a:off x="10066103" y="3731384"/>
              <a:ext cx="70587" cy="48132"/>
            </a:xfrm>
            <a:custGeom>
              <a:avLst/>
              <a:gdLst>
                <a:gd name="connsiteX0" fmla="*/ 57481 w 70587"/>
                <a:gd name="connsiteY0" fmla="*/ 1809 h 48132"/>
                <a:gd name="connsiteX1" fmla="*/ 24150 w 70587"/>
                <a:gd name="connsiteY1" fmla="*/ 29490 h 48132"/>
                <a:gd name="connsiteX2" fmla="*/ 13417 w 70587"/>
                <a:gd name="connsiteY2" fmla="*/ 18756 h 48132"/>
                <a:gd name="connsiteX3" fmla="*/ 2118 w 70587"/>
                <a:gd name="connsiteY3" fmla="*/ 18756 h 48132"/>
                <a:gd name="connsiteX4" fmla="*/ 2118 w 70587"/>
                <a:gd name="connsiteY4" fmla="*/ 30055 h 48132"/>
                <a:gd name="connsiteX5" fmla="*/ 17936 w 70587"/>
                <a:gd name="connsiteY5" fmla="*/ 45873 h 48132"/>
                <a:gd name="connsiteX6" fmla="*/ 23586 w 70587"/>
                <a:gd name="connsiteY6" fmla="*/ 48132 h 48132"/>
                <a:gd name="connsiteX7" fmla="*/ 28670 w 70587"/>
                <a:gd name="connsiteY7" fmla="*/ 46437 h 48132"/>
                <a:gd name="connsiteX8" fmla="*/ 67650 w 70587"/>
                <a:gd name="connsiteY8" fmla="*/ 14237 h 48132"/>
                <a:gd name="connsiteX9" fmla="*/ 68779 w 70587"/>
                <a:gd name="connsiteY9" fmla="*/ 2938 h 48132"/>
                <a:gd name="connsiteX10" fmla="*/ 57481 w 70587"/>
                <a:gd name="connsiteY10" fmla="*/ 1809 h 48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587" h="48132">
                  <a:moveTo>
                    <a:pt x="57481" y="1809"/>
                  </a:moveTo>
                  <a:lnTo>
                    <a:pt x="24150" y="29490"/>
                  </a:lnTo>
                  <a:lnTo>
                    <a:pt x="13417" y="18756"/>
                  </a:lnTo>
                  <a:cubicBezTo>
                    <a:pt x="10592" y="15367"/>
                    <a:pt x="5508" y="15367"/>
                    <a:pt x="2118" y="18756"/>
                  </a:cubicBezTo>
                  <a:cubicBezTo>
                    <a:pt x="-706" y="22146"/>
                    <a:pt x="-706" y="27230"/>
                    <a:pt x="2118" y="30055"/>
                  </a:cubicBezTo>
                  <a:lnTo>
                    <a:pt x="17936" y="45873"/>
                  </a:lnTo>
                  <a:cubicBezTo>
                    <a:pt x="19631" y="47567"/>
                    <a:pt x="21326" y="48132"/>
                    <a:pt x="23586" y="48132"/>
                  </a:cubicBezTo>
                  <a:cubicBezTo>
                    <a:pt x="25280" y="48132"/>
                    <a:pt x="26975" y="47567"/>
                    <a:pt x="28670" y="46437"/>
                  </a:cubicBezTo>
                  <a:lnTo>
                    <a:pt x="67650" y="14237"/>
                  </a:lnTo>
                  <a:cubicBezTo>
                    <a:pt x="71039" y="11412"/>
                    <a:pt x="71604" y="6328"/>
                    <a:pt x="68779" y="2938"/>
                  </a:cubicBezTo>
                  <a:cubicBezTo>
                    <a:pt x="65955" y="-451"/>
                    <a:pt x="60870" y="-1016"/>
                    <a:pt x="57481" y="180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" name="Рисунок 22">
            <a:extLst>
              <a:ext uri="{FF2B5EF4-FFF2-40B4-BE49-F238E27FC236}">
                <a16:creationId xmlns:a16="http://schemas.microsoft.com/office/drawing/2014/main" id="{2CB9351B-F37D-4EA9-8E24-6BF869059FD0}"/>
              </a:ext>
            </a:extLst>
          </p:cNvPr>
          <p:cNvGrpSpPr/>
          <p:nvPr/>
        </p:nvGrpSpPr>
        <p:grpSpPr>
          <a:xfrm>
            <a:off x="7919131" y="3457358"/>
            <a:ext cx="371719" cy="473970"/>
            <a:chOff x="9993651" y="3415706"/>
            <a:chExt cx="371719" cy="473970"/>
          </a:xfrm>
          <a:solidFill>
            <a:schemeClr val="tx1"/>
          </a:solidFill>
        </p:grpSpPr>
        <p:sp>
          <p:nvSpPr>
            <p:cNvPr id="22" name="Полилиния: фигура 98">
              <a:extLst>
                <a:ext uri="{FF2B5EF4-FFF2-40B4-BE49-F238E27FC236}">
                  <a16:creationId xmlns:a16="http://schemas.microsoft.com/office/drawing/2014/main" id="{BE61736E-8796-4483-86C4-B179C86AF756}"/>
                </a:ext>
              </a:extLst>
            </p:cNvPr>
            <p:cNvSpPr/>
            <p:nvPr/>
          </p:nvSpPr>
          <p:spPr>
            <a:xfrm>
              <a:off x="9993651" y="3415706"/>
              <a:ext cx="371719" cy="473970"/>
            </a:xfrm>
            <a:custGeom>
              <a:avLst/>
              <a:gdLst>
                <a:gd name="connsiteX0" fmla="*/ 256475 w 371719"/>
                <a:gd name="connsiteY0" fmla="*/ 0 h 473970"/>
                <a:gd name="connsiteX1" fmla="*/ 0 w 371719"/>
                <a:gd name="connsiteY1" fmla="*/ 0 h 473970"/>
                <a:gd name="connsiteX2" fmla="*/ 0 w 371719"/>
                <a:gd name="connsiteY2" fmla="*/ 473970 h 473970"/>
                <a:gd name="connsiteX3" fmla="*/ 371719 w 371719"/>
                <a:gd name="connsiteY3" fmla="*/ 473970 h 473970"/>
                <a:gd name="connsiteX4" fmla="*/ 371719 w 371719"/>
                <a:gd name="connsiteY4" fmla="*/ 115244 h 473970"/>
                <a:gd name="connsiteX5" fmla="*/ 256475 w 371719"/>
                <a:gd name="connsiteY5" fmla="*/ 0 h 473970"/>
                <a:gd name="connsiteX6" fmla="*/ 260994 w 371719"/>
                <a:gd name="connsiteY6" fmla="*/ 27116 h 473970"/>
                <a:gd name="connsiteX7" fmla="*/ 344603 w 371719"/>
                <a:gd name="connsiteY7" fmla="*/ 110725 h 473970"/>
                <a:gd name="connsiteX8" fmla="*/ 260994 w 371719"/>
                <a:gd name="connsiteY8" fmla="*/ 110725 h 473970"/>
                <a:gd name="connsiteX9" fmla="*/ 260994 w 371719"/>
                <a:gd name="connsiteY9" fmla="*/ 27116 h 473970"/>
                <a:gd name="connsiteX10" fmla="*/ 355902 w 371719"/>
                <a:gd name="connsiteY10" fmla="*/ 458153 h 473970"/>
                <a:gd name="connsiteX11" fmla="*/ 15818 w 371719"/>
                <a:gd name="connsiteY11" fmla="*/ 458153 h 473970"/>
                <a:gd name="connsiteX12" fmla="*/ 15818 w 371719"/>
                <a:gd name="connsiteY12" fmla="*/ 15818 h 473970"/>
                <a:gd name="connsiteX13" fmla="*/ 245177 w 371719"/>
                <a:gd name="connsiteY13" fmla="*/ 15818 h 473970"/>
                <a:gd name="connsiteX14" fmla="*/ 245177 w 371719"/>
                <a:gd name="connsiteY14" fmla="*/ 126543 h 473970"/>
                <a:gd name="connsiteX15" fmla="*/ 355902 w 371719"/>
                <a:gd name="connsiteY15" fmla="*/ 126543 h 473970"/>
                <a:gd name="connsiteX16" fmla="*/ 355902 w 371719"/>
                <a:gd name="connsiteY16" fmla="*/ 458153 h 47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1719" h="473970">
                  <a:moveTo>
                    <a:pt x="256475" y="0"/>
                  </a:moveTo>
                  <a:lnTo>
                    <a:pt x="0" y="0"/>
                  </a:lnTo>
                  <a:lnTo>
                    <a:pt x="0" y="473970"/>
                  </a:lnTo>
                  <a:lnTo>
                    <a:pt x="371719" y="473970"/>
                  </a:lnTo>
                  <a:lnTo>
                    <a:pt x="371719" y="115244"/>
                  </a:lnTo>
                  <a:lnTo>
                    <a:pt x="256475" y="0"/>
                  </a:lnTo>
                  <a:close/>
                  <a:moveTo>
                    <a:pt x="260994" y="27116"/>
                  </a:moveTo>
                  <a:lnTo>
                    <a:pt x="344603" y="110725"/>
                  </a:lnTo>
                  <a:lnTo>
                    <a:pt x="260994" y="110725"/>
                  </a:lnTo>
                  <a:lnTo>
                    <a:pt x="260994" y="27116"/>
                  </a:lnTo>
                  <a:close/>
                  <a:moveTo>
                    <a:pt x="355902" y="458153"/>
                  </a:moveTo>
                  <a:lnTo>
                    <a:pt x="15818" y="458153"/>
                  </a:lnTo>
                  <a:lnTo>
                    <a:pt x="15818" y="15818"/>
                  </a:lnTo>
                  <a:lnTo>
                    <a:pt x="245177" y="15818"/>
                  </a:lnTo>
                  <a:lnTo>
                    <a:pt x="245177" y="126543"/>
                  </a:lnTo>
                  <a:lnTo>
                    <a:pt x="355902" y="126543"/>
                  </a:lnTo>
                  <a:lnTo>
                    <a:pt x="355902" y="458153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Полилиния: фигура 99">
              <a:extLst>
                <a:ext uri="{FF2B5EF4-FFF2-40B4-BE49-F238E27FC236}">
                  <a16:creationId xmlns:a16="http://schemas.microsoft.com/office/drawing/2014/main" id="{E429B92B-5A8B-4357-A652-01F11E0B4D96}"/>
                </a:ext>
              </a:extLst>
            </p:cNvPr>
            <p:cNvSpPr/>
            <p:nvPr/>
          </p:nvSpPr>
          <p:spPr>
            <a:xfrm>
              <a:off x="10144486" y="3580664"/>
              <a:ext cx="142360" cy="15817"/>
            </a:xfrm>
            <a:custGeom>
              <a:avLst/>
              <a:gdLst>
                <a:gd name="connsiteX0" fmla="*/ 0 w 142360"/>
                <a:gd name="connsiteY0" fmla="*/ 7909 h 15817"/>
                <a:gd name="connsiteX1" fmla="*/ 7909 w 142360"/>
                <a:gd name="connsiteY1" fmla="*/ 15818 h 15817"/>
                <a:gd name="connsiteX2" fmla="*/ 134452 w 142360"/>
                <a:gd name="connsiteY2" fmla="*/ 15818 h 15817"/>
                <a:gd name="connsiteX3" fmla="*/ 142361 w 142360"/>
                <a:gd name="connsiteY3" fmla="*/ 7909 h 15817"/>
                <a:gd name="connsiteX4" fmla="*/ 134452 w 142360"/>
                <a:gd name="connsiteY4" fmla="*/ 0 h 15817"/>
                <a:gd name="connsiteX5" fmla="*/ 7909 w 142360"/>
                <a:gd name="connsiteY5" fmla="*/ 0 h 15817"/>
                <a:gd name="connsiteX6" fmla="*/ 0 w 142360"/>
                <a:gd name="connsiteY6" fmla="*/ 7909 h 1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360" h="15817">
                  <a:moveTo>
                    <a:pt x="0" y="7909"/>
                  </a:moveTo>
                  <a:cubicBezTo>
                    <a:pt x="0" y="12428"/>
                    <a:pt x="3390" y="15818"/>
                    <a:pt x="7909" y="15818"/>
                  </a:cubicBezTo>
                  <a:lnTo>
                    <a:pt x="134452" y="15818"/>
                  </a:lnTo>
                  <a:cubicBezTo>
                    <a:pt x="138971" y="15818"/>
                    <a:pt x="142361" y="12428"/>
                    <a:pt x="142361" y="7909"/>
                  </a:cubicBezTo>
                  <a:cubicBezTo>
                    <a:pt x="142361" y="3390"/>
                    <a:pt x="138971" y="0"/>
                    <a:pt x="134452" y="0"/>
                  </a:cubicBezTo>
                  <a:lnTo>
                    <a:pt x="7909" y="0"/>
                  </a:lnTo>
                  <a:cubicBezTo>
                    <a:pt x="3390" y="0"/>
                    <a:pt x="0" y="3390"/>
                    <a:pt x="0" y="790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Полилиния: фигура 100">
              <a:extLst>
                <a:ext uri="{FF2B5EF4-FFF2-40B4-BE49-F238E27FC236}">
                  <a16:creationId xmlns:a16="http://schemas.microsoft.com/office/drawing/2014/main" id="{CB353E14-2A68-448E-BC54-4E8EBC7598C8}"/>
                </a:ext>
              </a:extLst>
            </p:cNvPr>
            <p:cNvSpPr/>
            <p:nvPr/>
          </p:nvSpPr>
          <p:spPr>
            <a:xfrm>
              <a:off x="10066103" y="3558469"/>
              <a:ext cx="70587" cy="45921"/>
            </a:xfrm>
            <a:custGeom>
              <a:avLst/>
              <a:gdLst>
                <a:gd name="connsiteX0" fmla="*/ 57481 w 70587"/>
                <a:gd name="connsiteY0" fmla="*/ 1857 h 45921"/>
                <a:gd name="connsiteX1" fmla="*/ 24150 w 70587"/>
                <a:gd name="connsiteY1" fmla="*/ 28408 h 45921"/>
                <a:gd name="connsiteX2" fmla="*/ 13417 w 70587"/>
                <a:gd name="connsiteY2" fmla="*/ 17675 h 45921"/>
                <a:gd name="connsiteX3" fmla="*/ 2118 w 70587"/>
                <a:gd name="connsiteY3" fmla="*/ 17675 h 45921"/>
                <a:gd name="connsiteX4" fmla="*/ 2118 w 70587"/>
                <a:gd name="connsiteY4" fmla="*/ 28408 h 45921"/>
                <a:gd name="connsiteX5" fmla="*/ 17936 w 70587"/>
                <a:gd name="connsiteY5" fmla="*/ 43661 h 45921"/>
                <a:gd name="connsiteX6" fmla="*/ 23586 w 70587"/>
                <a:gd name="connsiteY6" fmla="*/ 45921 h 45921"/>
                <a:gd name="connsiteX7" fmla="*/ 28670 w 70587"/>
                <a:gd name="connsiteY7" fmla="*/ 44226 h 45921"/>
                <a:gd name="connsiteX8" fmla="*/ 67650 w 70587"/>
                <a:gd name="connsiteY8" fmla="*/ 13156 h 45921"/>
                <a:gd name="connsiteX9" fmla="*/ 68779 w 70587"/>
                <a:gd name="connsiteY9" fmla="*/ 2422 h 45921"/>
                <a:gd name="connsiteX10" fmla="*/ 57481 w 70587"/>
                <a:gd name="connsiteY10" fmla="*/ 1857 h 4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587" h="45921">
                  <a:moveTo>
                    <a:pt x="57481" y="1857"/>
                  </a:moveTo>
                  <a:lnTo>
                    <a:pt x="24150" y="28408"/>
                  </a:lnTo>
                  <a:lnTo>
                    <a:pt x="13417" y="17675"/>
                  </a:lnTo>
                  <a:cubicBezTo>
                    <a:pt x="10592" y="14850"/>
                    <a:pt x="5508" y="14850"/>
                    <a:pt x="2118" y="17675"/>
                  </a:cubicBezTo>
                  <a:cubicBezTo>
                    <a:pt x="-706" y="20499"/>
                    <a:pt x="-706" y="25584"/>
                    <a:pt x="2118" y="28408"/>
                  </a:cubicBezTo>
                  <a:lnTo>
                    <a:pt x="17936" y="43661"/>
                  </a:lnTo>
                  <a:cubicBezTo>
                    <a:pt x="19631" y="45356"/>
                    <a:pt x="21326" y="45921"/>
                    <a:pt x="23586" y="45921"/>
                  </a:cubicBezTo>
                  <a:cubicBezTo>
                    <a:pt x="25280" y="45921"/>
                    <a:pt x="26975" y="45356"/>
                    <a:pt x="28670" y="44226"/>
                  </a:cubicBezTo>
                  <a:lnTo>
                    <a:pt x="67650" y="13156"/>
                  </a:lnTo>
                  <a:cubicBezTo>
                    <a:pt x="71039" y="10331"/>
                    <a:pt x="71604" y="5812"/>
                    <a:pt x="68779" y="2422"/>
                  </a:cubicBezTo>
                  <a:cubicBezTo>
                    <a:pt x="65955" y="-403"/>
                    <a:pt x="60870" y="-968"/>
                    <a:pt x="57481" y="185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Полилиния: фигура 101">
              <a:extLst>
                <a:ext uri="{FF2B5EF4-FFF2-40B4-BE49-F238E27FC236}">
                  <a16:creationId xmlns:a16="http://schemas.microsoft.com/office/drawing/2014/main" id="{2432D94D-AEBA-4406-AA58-5BFAB2365508}"/>
                </a:ext>
              </a:extLst>
            </p:cNvPr>
            <p:cNvSpPr/>
            <p:nvPr/>
          </p:nvSpPr>
          <p:spPr>
            <a:xfrm>
              <a:off x="10144486" y="3668792"/>
              <a:ext cx="142360" cy="15817"/>
            </a:xfrm>
            <a:custGeom>
              <a:avLst/>
              <a:gdLst>
                <a:gd name="connsiteX0" fmla="*/ 134452 w 142360"/>
                <a:gd name="connsiteY0" fmla="*/ 0 h 15817"/>
                <a:gd name="connsiteX1" fmla="*/ 7909 w 142360"/>
                <a:gd name="connsiteY1" fmla="*/ 0 h 15817"/>
                <a:gd name="connsiteX2" fmla="*/ 0 w 142360"/>
                <a:gd name="connsiteY2" fmla="*/ 7909 h 15817"/>
                <a:gd name="connsiteX3" fmla="*/ 7909 w 142360"/>
                <a:gd name="connsiteY3" fmla="*/ 15818 h 15817"/>
                <a:gd name="connsiteX4" fmla="*/ 134452 w 142360"/>
                <a:gd name="connsiteY4" fmla="*/ 15818 h 15817"/>
                <a:gd name="connsiteX5" fmla="*/ 142361 w 142360"/>
                <a:gd name="connsiteY5" fmla="*/ 7909 h 15817"/>
                <a:gd name="connsiteX6" fmla="*/ 134452 w 142360"/>
                <a:gd name="connsiteY6" fmla="*/ 0 h 1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360" h="15817">
                  <a:moveTo>
                    <a:pt x="134452" y="0"/>
                  </a:moveTo>
                  <a:lnTo>
                    <a:pt x="7909" y="0"/>
                  </a:lnTo>
                  <a:cubicBezTo>
                    <a:pt x="3390" y="0"/>
                    <a:pt x="0" y="3390"/>
                    <a:pt x="0" y="7909"/>
                  </a:cubicBezTo>
                  <a:cubicBezTo>
                    <a:pt x="0" y="12428"/>
                    <a:pt x="3390" y="15818"/>
                    <a:pt x="7909" y="15818"/>
                  </a:cubicBezTo>
                  <a:lnTo>
                    <a:pt x="134452" y="15818"/>
                  </a:lnTo>
                  <a:cubicBezTo>
                    <a:pt x="138971" y="15818"/>
                    <a:pt x="142361" y="12428"/>
                    <a:pt x="142361" y="7909"/>
                  </a:cubicBezTo>
                  <a:cubicBezTo>
                    <a:pt x="142361" y="3954"/>
                    <a:pt x="138971" y="0"/>
                    <a:pt x="134452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Полилиния: фигура 102">
              <a:extLst>
                <a:ext uri="{FF2B5EF4-FFF2-40B4-BE49-F238E27FC236}">
                  <a16:creationId xmlns:a16="http://schemas.microsoft.com/office/drawing/2014/main" id="{920B6C8C-D8F0-448D-B560-4385EB408EEC}"/>
                </a:ext>
              </a:extLst>
            </p:cNvPr>
            <p:cNvSpPr/>
            <p:nvPr/>
          </p:nvSpPr>
          <p:spPr>
            <a:xfrm>
              <a:off x="10065538" y="3644903"/>
              <a:ext cx="70587" cy="47615"/>
            </a:xfrm>
            <a:custGeom>
              <a:avLst/>
              <a:gdLst>
                <a:gd name="connsiteX0" fmla="*/ 58046 w 70587"/>
                <a:gd name="connsiteY0" fmla="*/ 1857 h 47615"/>
                <a:gd name="connsiteX1" fmla="*/ 24150 w 70587"/>
                <a:gd name="connsiteY1" fmla="*/ 29538 h 47615"/>
                <a:gd name="connsiteX2" fmla="*/ 13417 w 70587"/>
                <a:gd name="connsiteY2" fmla="*/ 18240 h 47615"/>
                <a:gd name="connsiteX3" fmla="*/ 2118 w 70587"/>
                <a:gd name="connsiteY3" fmla="*/ 18240 h 47615"/>
                <a:gd name="connsiteX4" fmla="*/ 2118 w 70587"/>
                <a:gd name="connsiteY4" fmla="*/ 29538 h 47615"/>
                <a:gd name="connsiteX5" fmla="*/ 17936 w 70587"/>
                <a:gd name="connsiteY5" fmla="*/ 45356 h 47615"/>
                <a:gd name="connsiteX6" fmla="*/ 23586 w 70587"/>
                <a:gd name="connsiteY6" fmla="*/ 47616 h 47615"/>
                <a:gd name="connsiteX7" fmla="*/ 28670 w 70587"/>
                <a:gd name="connsiteY7" fmla="*/ 45921 h 47615"/>
                <a:gd name="connsiteX8" fmla="*/ 67650 w 70587"/>
                <a:gd name="connsiteY8" fmla="*/ 13720 h 47615"/>
                <a:gd name="connsiteX9" fmla="*/ 68779 w 70587"/>
                <a:gd name="connsiteY9" fmla="*/ 2422 h 47615"/>
                <a:gd name="connsiteX10" fmla="*/ 58046 w 70587"/>
                <a:gd name="connsiteY10" fmla="*/ 1857 h 47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587" h="47615">
                  <a:moveTo>
                    <a:pt x="58046" y="1857"/>
                  </a:moveTo>
                  <a:lnTo>
                    <a:pt x="24150" y="29538"/>
                  </a:lnTo>
                  <a:lnTo>
                    <a:pt x="13417" y="18240"/>
                  </a:lnTo>
                  <a:cubicBezTo>
                    <a:pt x="10592" y="14850"/>
                    <a:pt x="5508" y="14850"/>
                    <a:pt x="2118" y="18240"/>
                  </a:cubicBezTo>
                  <a:cubicBezTo>
                    <a:pt x="-706" y="21629"/>
                    <a:pt x="-706" y="26714"/>
                    <a:pt x="2118" y="29538"/>
                  </a:cubicBezTo>
                  <a:lnTo>
                    <a:pt x="17936" y="45356"/>
                  </a:lnTo>
                  <a:cubicBezTo>
                    <a:pt x="19631" y="47051"/>
                    <a:pt x="21326" y="47616"/>
                    <a:pt x="23586" y="47616"/>
                  </a:cubicBezTo>
                  <a:cubicBezTo>
                    <a:pt x="25280" y="47616"/>
                    <a:pt x="26975" y="47051"/>
                    <a:pt x="28670" y="45921"/>
                  </a:cubicBezTo>
                  <a:lnTo>
                    <a:pt x="67650" y="13720"/>
                  </a:lnTo>
                  <a:cubicBezTo>
                    <a:pt x="71039" y="10896"/>
                    <a:pt x="71604" y="5812"/>
                    <a:pt x="68779" y="2422"/>
                  </a:cubicBezTo>
                  <a:cubicBezTo>
                    <a:pt x="66520" y="-403"/>
                    <a:pt x="61435" y="-968"/>
                    <a:pt x="58046" y="185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Полилиния: фигура 103">
              <a:extLst>
                <a:ext uri="{FF2B5EF4-FFF2-40B4-BE49-F238E27FC236}">
                  <a16:creationId xmlns:a16="http://schemas.microsoft.com/office/drawing/2014/main" id="{1B331226-F303-455B-A8E6-E7D0415482A9}"/>
                </a:ext>
              </a:extLst>
            </p:cNvPr>
            <p:cNvSpPr/>
            <p:nvPr/>
          </p:nvSpPr>
          <p:spPr>
            <a:xfrm>
              <a:off x="10144486" y="3755225"/>
              <a:ext cx="142360" cy="15817"/>
            </a:xfrm>
            <a:custGeom>
              <a:avLst/>
              <a:gdLst>
                <a:gd name="connsiteX0" fmla="*/ 134452 w 142360"/>
                <a:gd name="connsiteY0" fmla="*/ 0 h 15817"/>
                <a:gd name="connsiteX1" fmla="*/ 7909 w 142360"/>
                <a:gd name="connsiteY1" fmla="*/ 0 h 15817"/>
                <a:gd name="connsiteX2" fmla="*/ 0 w 142360"/>
                <a:gd name="connsiteY2" fmla="*/ 7909 h 15817"/>
                <a:gd name="connsiteX3" fmla="*/ 7909 w 142360"/>
                <a:gd name="connsiteY3" fmla="*/ 15818 h 15817"/>
                <a:gd name="connsiteX4" fmla="*/ 134452 w 142360"/>
                <a:gd name="connsiteY4" fmla="*/ 15818 h 15817"/>
                <a:gd name="connsiteX5" fmla="*/ 142361 w 142360"/>
                <a:gd name="connsiteY5" fmla="*/ 7909 h 15817"/>
                <a:gd name="connsiteX6" fmla="*/ 134452 w 142360"/>
                <a:gd name="connsiteY6" fmla="*/ 0 h 1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360" h="15817">
                  <a:moveTo>
                    <a:pt x="134452" y="0"/>
                  </a:moveTo>
                  <a:lnTo>
                    <a:pt x="7909" y="0"/>
                  </a:lnTo>
                  <a:cubicBezTo>
                    <a:pt x="3390" y="0"/>
                    <a:pt x="0" y="3390"/>
                    <a:pt x="0" y="7909"/>
                  </a:cubicBezTo>
                  <a:cubicBezTo>
                    <a:pt x="0" y="12428"/>
                    <a:pt x="3390" y="15818"/>
                    <a:pt x="7909" y="15818"/>
                  </a:cubicBezTo>
                  <a:lnTo>
                    <a:pt x="134452" y="15818"/>
                  </a:lnTo>
                  <a:cubicBezTo>
                    <a:pt x="138971" y="15818"/>
                    <a:pt x="142361" y="12428"/>
                    <a:pt x="142361" y="7909"/>
                  </a:cubicBezTo>
                  <a:cubicBezTo>
                    <a:pt x="142361" y="3390"/>
                    <a:pt x="138971" y="0"/>
                    <a:pt x="134452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Полилиния: фигура 104">
              <a:extLst>
                <a:ext uri="{FF2B5EF4-FFF2-40B4-BE49-F238E27FC236}">
                  <a16:creationId xmlns:a16="http://schemas.microsoft.com/office/drawing/2014/main" id="{A8CD8703-F0C0-4A4C-A557-D5C5776471F8}"/>
                </a:ext>
              </a:extLst>
            </p:cNvPr>
            <p:cNvSpPr/>
            <p:nvPr/>
          </p:nvSpPr>
          <p:spPr>
            <a:xfrm>
              <a:off x="10066103" y="3731384"/>
              <a:ext cx="70587" cy="48132"/>
            </a:xfrm>
            <a:custGeom>
              <a:avLst/>
              <a:gdLst>
                <a:gd name="connsiteX0" fmla="*/ 57481 w 70587"/>
                <a:gd name="connsiteY0" fmla="*/ 1809 h 48132"/>
                <a:gd name="connsiteX1" fmla="*/ 24150 w 70587"/>
                <a:gd name="connsiteY1" fmla="*/ 29490 h 48132"/>
                <a:gd name="connsiteX2" fmla="*/ 13417 w 70587"/>
                <a:gd name="connsiteY2" fmla="*/ 18756 h 48132"/>
                <a:gd name="connsiteX3" fmla="*/ 2118 w 70587"/>
                <a:gd name="connsiteY3" fmla="*/ 18756 h 48132"/>
                <a:gd name="connsiteX4" fmla="*/ 2118 w 70587"/>
                <a:gd name="connsiteY4" fmla="*/ 30055 h 48132"/>
                <a:gd name="connsiteX5" fmla="*/ 17936 w 70587"/>
                <a:gd name="connsiteY5" fmla="*/ 45873 h 48132"/>
                <a:gd name="connsiteX6" fmla="*/ 23586 w 70587"/>
                <a:gd name="connsiteY6" fmla="*/ 48132 h 48132"/>
                <a:gd name="connsiteX7" fmla="*/ 28670 w 70587"/>
                <a:gd name="connsiteY7" fmla="*/ 46437 h 48132"/>
                <a:gd name="connsiteX8" fmla="*/ 67650 w 70587"/>
                <a:gd name="connsiteY8" fmla="*/ 14237 h 48132"/>
                <a:gd name="connsiteX9" fmla="*/ 68779 w 70587"/>
                <a:gd name="connsiteY9" fmla="*/ 2938 h 48132"/>
                <a:gd name="connsiteX10" fmla="*/ 57481 w 70587"/>
                <a:gd name="connsiteY10" fmla="*/ 1809 h 48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587" h="48132">
                  <a:moveTo>
                    <a:pt x="57481" y="1809"/>
                  </a:moveTo>
                  <a:lnTo>
                    <a:pt x="24150" y="29490"/>
                  </a:lnTo>
                  <a:lnTo>
                    <a:pt x="13417" y="18756"/>
                  </a:lnTo>
                  <a:cubicBezTo>
                    <a:pt x="10592" y="15367"/>
                    <a:pt x="5508" y="15367"/>
                    <a:pt x="2118" y="18756"/>
                  </a:cubicBezTo>
                  <a:cubicBezTo>
                    <a:pt x="-706" y="22146"/>
                    <a:pt x="-706" y="27230"/>
                    <a:pt x="2118" y="30055"/>
                  </a:cubicBezTo>
                  <a:lnTo>
                    <a:pt x="17936" y="45873"/>
                  </a:lnTo>
                  <a:cubicBezTo>
                    <a:pt x="19631" y="47567"/>
                    <a:pt x="21326" y="48132"/>
                    <a:pt x="23586" y="48132"/>
                  </a:cubicBezTo>
                  <a:cubicBezTo>
                    <a:pt x="25280" y="48132"/>
                    <a:pt x="26975" y="47567"/>
                    <a:pt x="28670" y="46437"/>
                  </a:cubicBezTo>
                  <a:lnTo>
                    <a:pt x="67650" y="14237"/>
                  </a:lnTo>
                  <a:cubicBezTo>
                    <a:pt x="71039" y="11412"/>
                    <a:pt x="71604" y="6328"/>
                    <a:pt x="68779" y="2938"/>
                  </a:cubicBezTo>
                  <a:cubicBezTo>
                    <a:pt x="65955" y="-451"/>
                    <a:pt x="60870" y="-1016"/>
                    <a:pt x="57481" y="180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3106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19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9D62F81-5F98-E3F2-9D3E-AE5AD4DD2C73}"/>
              </a:ext>
            </a:extLst>
          </p:cNvPr>
          <p:cNvGrpSpPr/>
          <p:nvPr/>
        </p:nvGrpSpPr>
        <p:grpSpPr>
          <a:xfrm>
            <a:off x="571500" y="4777048"/>
            <a:ext cx="5526088" cy="1456278"/>
            <a:chOff x="567690" y="1198563"/>
            <a:chExt cx="3525286" cy="5083175"/>
          </a:xfrm>
          <a:noFill/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C1B82E9C-A9DC-AFC5-1D23-A3C4DF1DD58B}"/>
                </a:ext>
              </a:extLst>
            </p:cNvPr>
            <p:cNvSpPr/>
            <p:nvPr/>
          </p:nvSpPr>
          <p:spPr>
            <a:xfrm>
              <a:off x="571501" y="1198563"/>
              <a:ext cx="3521475" cy="5083175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6FBE245A-EB2C-7705-37BF-6E4E33810FE3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grpFill/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5E65BD3A-6B9D-471D-969C-2EE841FDA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03297"/>
            <a:ext cx="8477250" cy="338554"/>
          </a:xfrm>
        </p:spPr>
        <p:txBody>
          <a:bodyPr vert="horz"/>
          <a:lstStyle/>
          <a:p>
            <a:r>
              <a:rPr lang="ru-RU" dirty="0" smtClean="0">
                <a:solidFill>
                  <a:schemeClr val="tx1"/>
                </a:solidFill>
              </a:rPr>
              <a:t>Оформление результата проверки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64A11E24-5A9D-4898-A236-5D09A56B21BE}"/>
              </a:ext>
            </a:extLst>
          </p:cNvPr>
          <p:cNvSpPr/>
          <p:nvPr/>
        </p:nvSpPr>
        <p:spPr>
          <a:xfrm>
            <a:off x="3126079" y="4508466"/>
            <a:ext cx="698934" cy="700651"/>
          </a:xfrm>
          <a:prstGeom prst="ellipse">
            <a:avLst/>
          </a:prstGeom>
          <a:solidFill>
            <a:schemeClr val="bg1">
              <a:alpha val="95000"/>
            </a:schemeClr>
          </a:solidFill>
          <a:ln w="1111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C63D8A-A48D-3250-80F5-4619C0EA98CF}"/>
              </a:ext>
            </a:extLst>
          </p:cNvPr>
          <p:cNvSpPr txBox="1"/>
          <p:nvPr/>
        </p:nvSpPr>
        <p:spPr>
          <a:xfrm>
            <a:off x="1845733" y="5278538"/>
            <a:ext cx="3672472" cy="87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spcAft>
                <a:spcPts val="600"/>
              </a:spcAft>
            </a:pPr>
            <a:r>
              <a:rPr lang="ru-RU" sz="1600" b="1" dirty="0" smtClean="0">
                <a:cs typeface="Arial" panose="020B0604020202020204" pitchFamily="34" charset="0"/>
              </a:rPr>
              <a:t>Фото товара</a:t>
            </a:r>
            <a:endParaRPr lang="ru-RU" sz="1600" b="1" dirty="0">
              <a:cs typeface="Arial" panose="020B0604020202020204" pitchFamily="34" charset="0"/>
            </a:endParaRPr>
          </a:p>
          <a:p>
            <a:pPr algn="ctr" defTabSz="685800">
              <a:defRPr/>
            </a:pPr>
            <a:r>
              <a:rPr lang="ru-RU" sz="1200" b="1" dirty="0" smtClean="0"/>
              <a:t>Специалист ОКЗ во вкладке «Комментарии к фото» оставляет инфо о выявленных несоответствиях</a:t>
            </a:r>
            <a:endParaRPr lang="ru-RU" sz="1200" b="1" dirty="0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C3FDFA26-451D-B9B0-15E9-B84C253043FC}"/>
              </a:ext>
            </a:extLst>
          </p:cNvPr>
          <p:cNvGrpSpPr/>
          <p:nvPr/>
        </p:nvGrpSpPr>
        <p:grpSpPr>
          <a:xfrm>
            <a:off x="6096024" y="4777047"/>
            <a:ext cx="5524475" cy="1456278"/>
            <a:chOff x="567690" y="1198563"/>
            <a:chExt cx="3525285" cy="5083175"/>
          </a:xfrm>
          <a:noFill/>
        </p:grpSpPr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11DA1C48-AE2A-C905-87DC-B027708AE263}"/>
                </a:ext>
              </a:extLst>
            </p:cNvPr>
            <p:cNvSpPr/>
            <p:nvPr/>
          </p:nvSpPr>
          <p:spPr>
            <a:xfrm>
              <a:off x="571502" y="1198563"/>
              <a:ext cx="3521473" cy="5083175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A481296A-22D1-1158-F0DD-1CD0A27524B9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grpFill/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2FF0FAB-26C8-E38B-C2CB-5BBA60248FFC}"/>
              </a:ext>
            </a:extLst>
          </p:cNvPr>
          <p:cNvSpPr txBox="1"/>
          <p:nvPr/>
        </p:nvSpPr>
        <p:spPr>
          <a:xfrm>
            <a:off x="6912444" y="5249085"/>
            <a:ext cx="3890012" cy="87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 defTabSz="685800" rtl="0" eaLnBrk="1" latinLnBrk="0" hangingPunct="1">
              <a:spcAft>
                <a:spcPts val="600"/>
              </a:spcAft>
            </a:pPr>
            <a:r>
              <a:rPr lang="ru-RU" sz="1600" b="1" dirty="0" smtClean="0">
                <a:cs typeface="Arial" panose="020B0604020202020204" pitchFamily="34" charset="0"/>
              </a:rPr>
              <a:t>Просмотр документа качества</a:t>
            </a:r>
          </a:p>
          <a:p>
            <a:pPr algn="ctr" defTabSz="685800">
              <a:defRPr/>
            </a:pPr>
            <a:r>
              <a:rPr lang="ru-RU" sz="1200" b="1" dirty="0"/>
              <a:t>Специалист ОКЗ во вкладке «</a:t>
            </a:r>
            <a:r>
              <a:rPr lang="ru-RU" sz="1200" b="1" dirty="0" smtClean="0"/>
              <a:t>Комментарии» </a:t>
            </a:r>
            <a:r>
              <a:rPr lang="ru-RU" sz="1200" b="1" dirty="0"/>
              <a:t>оставляет инфо о выявленных несоответствиях</a:t>
            </a:r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4D2D3046-7083-4573-BFDB-50B91F0A8C86}"/>
              </a:ext>
            </a:extLst>
          </p:cNvPr>
          <p:cNvSpPr/>
          <p:nvPr/>
        </p:nvSpPr>
        <p:spPr>
          <a:xfrm>
            <a:off x="8526755" y="4508466"/>
            <a:ext cx="698934" cy="700651"/>
          </a:xfrm>
          <a:prstGeom prst="ellipse">
            <a:avLst/>
          </a:prstGeom>
          <a:solidFill>
            <a:schemeClr val="bg1">
              <a:alpha val="95000"/>
            </a:schemeClr>
          </a:solidFill>
          <a:ln w="1111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344E1-0F76-4023-B180-E4B0CE5660A5}" type="slidenum">
              <a:rPr lang="en-US" smtClean="0">
                <a:solidFill>
                  <a:schemeClr val="tx1"/>
                </a:solidFill>
              </a:rPr>
              <a:pPr/>
              <a:t>33</a:t>
            </a:fld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0" name="Рисунок 40">
            <a:extLst>
              <a:ext uri="{FF2B5EF4-FFF2-40B4-BE49-F238E27FC236}">
                <a16:creationId xmlns:a16="http://schemas.microsoft.com/office/drawing/2014/main" id="{11EB6D35-AED5-4210-A6B9-DFA1CF2AB0D7}"/>
              </a:ext>
            </a:extLst>
          </p:cNvPr>
          <p:cNvGrpSpPr/>
          <p:nvPr/>
        </p:nvGrpSpPr>
        <p:grpSpPr>
          <a:xfrm>
            <a:off x="3140906" y="4619987"/>
            <a:ext cx="546775" cy="441652"/>
            <a:chOff x="2935003" y="1262366"/>
            <a:chExt cx="546775" cy="441652"/>
          </a:xfrm>
          <a:solidFill>
            <a:schemeClr val="tx1"/>
          </a:solidFill>
        </p:grpSpPr>
        <p:sp>
          <p:nvSpPr>
            <p:cNvPr id="21" name="Полилиния: фигура 179">
              <a:extLst>
                <a:ext uri="{FF2B5EF4-FFF2-40B4-BE49-F238E27FC236}">
                  <a16:creationId xmlns:a16="http://schemas.microsoft.com/office/drawing/2014/main" id="{F01A4A49-1305-4AE6-9199-5781065591F8}"/>
                </a:ext>
              </a:extLst>
            </p:cNvPr>
            <p:cNvSpPr/>
            <p:nvPr/>
          </p:nvSpPr>
          <p:spPr>
            <a:xfrm>
              <a:off x="3083972" y="1262366"/>
              <a:ext cx="397806" cy="400066"/>
            </a:xfrm>
            <a:custGeom>
              <a:avLst/>
              <a:gdLst>
                <a:gd name="connsiteX0" fmla="*/ 347635 w 397806"/>
                <a:gd name="connsiteY0" fmla="*/ 0 h 400066"/>
                <a:gd name="connsiteX1" fmla="*/ 50144 w 397806"/>
                <a:gd name="connsiteY1" fmla="*/ 0 h 400066"/>
                <a:gd name="connsiteX2" fmla="*/ 0 w 397806"/>
                <a:gd name="connsiteY2" fmla="*/ 50122 h 400066"/>
                <a:gd name="connsiteX3" fmla="*/ 0 w 397806"/>
                <a:gd name="connsiteY3" fmla="*/ 104528 h 400066"/>
                <a:gd name="connsiteX4" fmla="*/ 8390 w 397806"/>
                <a:gd name="connsiteY4" fmla="*/ 112917 h 400066"/>
                <a:gd name="connsiteX5" fmla="*/ 16780 w 397806"/>
                <a:gd name="connsiteY5" fmla="*/ 104528 h 400066"/>
                <a:gd name="connsiteX6" fmla="*/ 16780 w 397806"/>
                <a:gd name="connsiteY6" fmla="*/ 50122 h 400066"/>
                <a:gd name="connsiteX7" fmla="*/ 50144 w 397806"/>
                <a:gd name="connsiteY7" fmla="*/ 16780 h 400066"/>
                <a:gd name="connsiteX8" fmla="*/ 347635 w 397806"/>
                <a:gd name="connsiteY8" fmla="*/ 16780 h 400066"/>
                <a:gd name="connsiteX9" fmla="*/ 381027 w 397806"/>
                <a:gd name="connsiteY9" fmla="*/ 50122 h 400066"/>
                <a:gd name="connsiteX10" fmla="*/ 381027 w 397806"/>
                <a:gd name="connsiteY10" fmla="*/ 254887 h 400066"/>
                <a:gd name="connsiteX11" fmla="*/ 347635 w 397806"/>
                <a:gd name="connsiteY11" fmla="*/ 288228 h 400066"/>
                <a:gd name="connsiteX12" fmla="*/ 236166 w 397806"/>
                <a:gd name="connsiteY12" fmla="*/ 288228 h 400066"/>
                <a:gd name="connsiteX13" fmla="*/ 235752 w 397806"/>
                <a:gd name="connsiteY13" fmla="*/ 288267 h 400066"/>
                <a:gd name="connsiteX14" fmla="*/ 235338 w 397806"/>
                <a:gd name="connsiteY14" fmla="*/ 288228 h 400066"/>
                <a:gd name="connsiteX15" fmla="*/ 162401 w 397806"/>
                <a:gd name="connsiteY15" fmla="*/ 288228 h 400066"/>
                <a:gd name="connsiteX16" fmla="*/ 154011 w 397806"/>
                <a:gd name="connsiteY16" fmla="*/ 296618 h 400066"/>
                <a:gd name="connsiteX17" fmla="*/ 154011 w 397806"/>
                <a:gd name="connsiteY17" fmla="*/ 383286 h 400066"/>
                <a:gd name="connsiteX18" fmla="*/ 73927 w 397806"/>
                <a:gd name="connsiteY18" fmla="*/ 383286 h 400066"/>
                <a:gd name="connsiteX19" fmla="*/ 65537 w 397806"/>
                <a:gd name="connsiteY19" fmla="*/ 391676 h 400066"/>
                <a:gd name="connsiteX20" fmla="*/ 73927 w 397806"/>
                <a:gd name="connsiteY20" fmla="*/ 400066 h 400066"/>
                <a:gd name="connsiteX21" fmla="*/ 162407 w 397806"/>
                <a:gd name="connsiteY21" fmla="*/ 400066 h 400066"/>
                <a:gd name="connsiteX22" fmla="*/ 235344 w 397806"/>
                <a:gd name="connsiteY22" fmla="*/ 400066 h 400066"/>
                <a:gd name="connsiteX23" fmla="*/ 323897 w 397806"/>
                <a:gd name="connsiteY23" fmla="*/ 400066 h 400066"/>
                <a:gd name="connsiteX24" fmla="*/ 332287 w 397806"/>
                <a:gd name="connsiteY24" fmla="*/ 391676 h 400066"/>
                <a:gd name="connsiteX25" fmla="*/ 323897 w 397806"/>
                <a:gd name="connsiteY25" fmla="*/ 383286 h 400066"/>
                <a:gd name="connsiteX26" fmla="*/ 243734 w 397806"/>
                <a:gd name="connsiteY26" fmla="*/ 383286 h 400066"/>
                <a:gd name="connsiteX27" fmla="*/ 243734 w 397806"/>
                <a:gd name="connsiteY27" fmla="*/ 305008 h 400066"/>
                <a:gd name="connsiteX28" fmla="*/ 347635 w 397806"/>
                <a:gd name="connsiteY28" fmla="*/ 305008 h 400066"/>
                <a:gd name="connsiteX29" fmla="*/ 397807 w 397806"/>
                <a:gd name="connsiteY29" fmla="*/ 254887 h 400066"/>
                <a:gd name="connsiteX30" fmla="*/ 397807 w 397806"/>
                <a:gd name="connsiteY30" fmla="*/ 50122 h 400066"/>
                <a:gd name="connsiteX31" fmla="*/ 347635 w 397806"/>
                <a:gd name="connsiteY31" fmla="*/ 0 h 400066"/>
                <a:gd name="connsiteX32" fmla="*/ 170797 w 397806"/>
                <a:gd name="connsiteY32" fmla="*/ 383286 h 400066"/>
                <a:gd name="connsiteX33" fmla="*/ 170797 w 397806"/>
                <a:gd name="connsiteY33" fmla="*/ 305008 h 400066"/>
                <a:gd name="connsiteX34" fmla="*/ 226954 w 397806"/>
                <a:gd name="connsiteY34" fmla="*/ 305008 h 400066"/>
                <a:gd name="connsiteX35" fmla="*/ 226954 w 397806"/>
                <a:gd name="connsiteY35" fmla="*/ 383286 h 400066"/>
                <a:gd name="connsiteX36" fmla="*/ 170797 w 397806"/>
                <a:gd name="connsiteY36" fmla="*/ 383286 h 40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97806" h="400066">
                  <a:moveTo>
                    <a:pt x="347635" y="0"/>
                  </a:moveTo>
                  <a:lnTo>
                    <a:pt x="50144" y="0"/>
                  </a:lnTo>
                  <a:cubicBezTo>
                    <a:pt x="22496" y="0"/>
                    <a:pt x="0" y="22485"/>
                    <a:pt x="0" y="50122"/>
                  </a:cubicBezTo>
                  <a:lnTo>
                    <a:pt x="0" y="104528"/>
                  </a:lnTo>
                  <a:cubicBezTo>
                    <a:pt x="0" y="109164"/>
                    <a:pt x="3753" y="112917"/>
                    <a:pt x="8390" y="112917"/>
                  </a:cubicBezTo>
                  <a:cubicBezTo>
                    <a:pt x="13027" y="112917"/>
                    <a:pt x="16780" y="109164"/>
                    <a:pt x="16780" y="104528"/>
                  </a:cubicBezTo>
                  <a:lnTo>
                    <a:pt x="16780" y="50122"/>
                  </a:lnTo>
                  <a:cubicBezTo>
                    <a:pt x="16780" y="31736"/>
                    <a:pt x="31748" y="16780"/>
                    <a:pt x="50144" y="16780"/>
                  </a:cubicBezTo>
                  <a:lnTo>
                    <a:pt x="347635" y="16780"/>
                  </a:lnTo>
                  <a:cubicBezTo>
                    <a:pt x="366048" y="16780"/>
                    <a:pt x="381027" y="31736"/>
                    <a:pt x="381027" y="50122"/>
                  </a:cubicBezTo>
                  <a:lnTo>
                    <a:pt x="381027" y="254887"/>
                  </a:lnTo>
                  <a:cubicBezTo>
                    <a:pt x="381027" y="273272"/>
                    <a:pt x="366048" y="288228"/>
                    <a:pt x="347635" y="288228"/>
                  </a:cubicBezTo>
                  <a:lnTo>
                    <a:pt x="236166" y="288228"/>
                  </a:lnTo>
                  <a:cubicBezTo>
                    <a:pt x="236026" y="288228"/>
                    <a:pt x="235892" y="288262"/>
                    <a:pt x="235752" y="288267"/>
                  </a:cubicBezTo>
                  <a:cubicBezTo>
                    <a:pt x="235612" y="288262"/>
                    <a:pt x="235483" y="288228"/>
                    <a:pt x="235338" y="288228"/>
                  </a:cubicBezTo>
                  <a:lnTo>
                    <a:pt x="162401" y="288228"/>
                  </a:lnTo>
                  <a:cubicBezTo>
                    <a:pt x="157770" y="288228"/>
                    <a:pt x="154011" y="291987"/>
                    <a:pt x="154011" y="296618"/>
                  </a:cubicBezTo>
                  <a:lnTo>
                    <a:pt x="154011" y="383286"/>
                  </a:lnTo>
                  <a:lnTo>
                    <a:pt x="73927" y="383286"/>
                  </a:lnTo>
                  <a:cubicBezTo>
                    <a:pt x="69290" y="383286"/>
                    <a:pt x="65537" y="387045"/>
                    <a:pt x="65537" y="391676"/>
                  </a:cubicBezTo>
                  <a:cubicBezTo>
                    <a:pt x="65537" y="396308"/>
                    <a:pt x="69290" y="400066"/>
                    <a:pt x="73927" y="400066"/>
                  </a:cubicBezTo>
                  <a:lnTo>
                    <a:pt x="162407" y="400066"/>
                  </a:lnTo>
                  <a:lnTo>
                    <a:pt x="235344" y="400066"/>
                  </a:lnTo>
                  <a:lnTo>
                    <a:pt x="323897" y="400066"/>
                  </a:lnTo>
                  <a:cubicBezTo>
                    <a:pt x="328528" y="400066"/>
                    <a:pt x="332287" y="396308"/>
                    <a:pt x="332287" y="391676"/>
                  </a:cubicBezTo>
                  <a:cubicBezTo>
                    <a:pt x="332287" y="387045"/>
                    <a:pt x="328528" y="383286"/>
                    <a:pt x="323897" y="383286"/>
                  </a:cubicBezTo>
                  <a:lnTo>
                    <a:pt x="243734" y="383286"/>
                  </a:lnTo>
                  <a:lnTo>
                    <a:pt x="243734" y="305008"/>
                  </a:lnTo>
                  <a:lnTo>
                    <a:pt x="347635" y="305008"/>
                  </a:lnTo>
                  <a:cubicBezTo>
                    <a:pt x="375299" y="305008"/>
                    <a:pt x="397807" y="282523"/>
                    <a:pt x="397807" y="254887"/>
                  </a:cubicBezTo>
                  <a:lnTo>
                    <a:pt x="397807" y="50122"/>
                  </a:lnTo>
                  <a:cubicBezTo>
                    <a:pt x="397807" y="22485"/>
                    <a:pt x="375299" y="0"/>
                    <a:pt x="347635" y="0"/>
                  </a:cubicBezTo>
                  <a:close/>
                  <a:moveTo>
                    <a:pt x="170797" y="383286"/>
                  </a:moveTo>
                  <a:lnTo>
                    <a:pt x="170797" y="305008"/>
                  </a:lnTo>
                  <a:lnTo>
                    <a:pt x="226954" y="305008"/>
                  </a:lnTo>
                  <a:lnTo>
                    <a:pt x="226954" y="383286"/>
                  </a:lnTo>
                  <a:lnTo>
                    <a:pt x="170797" y="383286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Полилиния: фигура 180">
              <a:extLst>
                <a:ext uri="{FF2B5EF4-FFF2-40B4-BE49-F238E27FC236}">
                  <a16:creationId xmlns:a16="http://schemas.microsoft.com/office/drawing/2014/main" id="{F95392B6-2125-4806-A727-6A99DEC34417}"/>
                </a:ext>
              </a:extLst>
            </p:cNvPr>
            <p:cNvSpPr/>
            <p:nvPr/>
          </p:nvSpPr>
          <p:spPr>
            <a:xfrm>
              <a:off x="2935003" y="1398019"/>
              <a:ext cx="287133" cy="305999"/>
            </a:xfrm>
            <a:custGeom>
              <a:avLst/>
              <a:gdLst>
                <a:gd name="connsiteX0" fmla="*/ 174021 w 287133"/>
                <a:gd name="connsiteY0" fmla="*/ 226110 h 305999"/>
                <a:gd name="connsiteX1" fmla="*/ 258693 w 287133"/>
                <a:gd name="connsiteY1" fmla="*/ 188115 h 305999"/>
                <a:gd name="connsiteX2" fmla="*/ 258693 w 287133"/>
                <a:gd name="connsiteY2" fmla="*/ 188115 h 305999"/>
                <a:gd name="connsiteX3" fmla="*/ 249134 w 287133"/>
                <a:gd name="connsiteY3" fmla="*/ 28426 h 305999"/>
                <a:gd name="connsiteX4" fmla="*/ 89456 w 287133"/>
                <a:gd name="connsiteY4" fmla="*/ 37985 h 305999"/>
                <a:gd name="connsiteX5" fmla="*/ 93014 w 287133"/>
                <a:gd name="connsiteY5" fmla="*/ 191779 h 305999"/>
                <a:gd name="connsiteX6" fmla="*/ 79260 w 287133"/>
                <a:gd name="connsiteY6" fmla="*/ 207300 h 305999"/>
                <a:gd name="connsiteX7" fmla="*/ 76083 w 287133"/>
                <a:gd name="connsiteY7" fmla="*/ 204487 h 305999"/>
                <a:gd name="connsiteX8" fmla="*/ 64275 w 287133"/>
                <a:gd name="connsiteY8" fmla="*/ 205169 h 305999"/>
                <a:gd name="connsiteX9" fmla="*/ 2139 w 287133"/>
                <a:gd name="connsiteY9" fmla="*/ 274554 h 305999"/>
                <a:gd name="connsiteX10" fmla="*/ 14 w 287133"/>
                <a:gd name="connsiteY10" fmla="*/ 280617 h 305999"/>
                <a:gd name="connsiteX11" fmla="*/ 2799 w 287133"/>
                <a:gd name="connsiteY11" fmla="*/ 286406 h 305999"/>
                <a:gd name="connsiteX12" fmla="*/ 22337 w 287133"/>
                <a:gd name="connsiteY12" fmla="*/ 303863 h 305999"/>
                <a:gd name="connsiteX13" fmla="*/ 27924 w 287133"/>
                <a:gd name="connsiteY13" fmla="*/ 305999 h 305999"/>
                <a:gd name="connsiteX14" fmla="*/ 34178 w 287133"/>
                <a:gd name="connsiteY14" fmla="*/ 303203 h 305999"/>
                <a:gd name="connsiteX15" fmla="*/ 96375 w 287133"/>
                <a:gd name="connsiteY15" fmla="*/ 233706 h 305999"/>
                <a:gd name="connsiteX16" fmla="*/ 98501 w 287133"/>
                <a:gd name="connsiteY16" fmla="*/ 227626 h 305999"/>
                <a:gd name="connsiteX17" fmla="*/ 95687 w 287133"/>
                <a:gd name="connsiteY17" fmla="*/ 221832 h 305999"/>
                <a:gd name="connsiteX18" fmla="*/ 91833 w 287133"/>
                <a:gd name="connsiteY18" fmla="*/ 218420 h 305999"/>
                <a:gd name="connsiteX19" fmla="*/ 105554 w 287133"/>
                <a:gd name="connsiteY19" fmla="*/ 202937 h 305999"/>
                <a:gd name="connsiteX20" fmla="*/ 174021 w 287133"/>
                <a:gd name="connsiteY20" fmla="*/ 226110 h 305999"/>
                <a:gd name="connsiteX21" fmla="*/ 27264 w 287133"/>
                <a:gd name="connsiteY21" fmla="*/ 285769 h 305999"/>
                <a:gd name="connsiteX22" fmla="*/ 20239 w 287133"/>
                <a:gd name="connsiteY22" fmla="*/ 279493 h 305999"/>
                <a:gd name="connsiteX23" fmla="*/ 70618 w 287133"/>
                <a:gd name="connsiteY23" fmla="*/ 223247 h 305999"/>
                <a:gd name="connsiteX24" fmla="*/ 73023 w 287133"/>
                <a:gd name="connsiteY24" fmla="*/ 227000 h 305999"/>
                <a:gd name="connsiteX25" fmla="*/ 78063 w 287133"/>
                <a:gd name="connsiteY25" fmla="*/ 229013 h 305999"/>
                <a:gd name="connsiteX26" fmla="*/ 27264 w 287133"/>
                <a:gd name="connsiteY26" fmla="*/ 285769 h 305999"/>
                <a:gd name="connsiteX27" fmla="*/ 102013 w 287133"/>
                <a:gd name="connsiteY27" fmla="*/ 49122 h 305999"/>
                <a:gd name="connsiteX28" fmla="*/ 174128 w 287133"/>
                <a:gd name="connsiteY28" fmla="*/ 16770 h 305999"/>
                <a:gd name="connsiteX29" fmla="*/ 238003 w 287133"/>
                <a:gd name="connsiteY29" fmla="*/ 40978 h 305999"/>
                <a:gd name="connsiteX30" fmla="*/ 246141 w 287133"/>
                <a:gd name="connsiteY30" fmla="*/ 176979 h 305999"/>
                <a:gd name="connsiteX31" fmla="*/ 110146 w 287133"/>
                <a:gd name="connsiteY31" fmla="*/ 185112 h 305999"/>
                <a:gd name="connsiteX32" fmla="*/ 102013 w 287133"/>
                <a:gd name="connsiteY32" fmla="*/ 49122 h 305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87133" h="305999">
                  <a:moveTo>
                    <a:pt x="174021" y="226110"/>
                  </a:moveTo>
                  <a:cubicBezTo>
                    <a:pt x="205266" y="226110"/>
                    <a:pt x="236381" y="213268"/>
                    <a:pt x="258693" y="188115"/>
                  </a:cubicBezTo>
                  <a:cubicBezTo>
                    <a:pt x="258693" y="188115"/>
                    <a:pt x="258693" y="188115"/>
                    <a:pt x="258693" y="188115"/>
                  </a:cubicBezTo>
                  <a:cubicBezTo>
                    <a:pt x="300078" y="141439"/>
                    <a:pt x="295793" y="69806"/>
                    <a:pt x="249134" y="28426"/>
                  </a:cubicBezTo>
                  <a:cubicBezTo>
                    <a:pt x="202463" y="-12942"/>
                    <a:pt x="130836" y="-8651"/>
                    <a:pt x="89456" y="37985"/>
                  </a:cubicBezTo>
                  <a:cubicBezTo>
                    <a:pt x="49962" y="82536"/>
                    <a:pt x="52171" y="149762"/>
                    <a:pt x="93014" y="191779"/>
                  </a:cubicBezTo>
                  <a:lnTo>
                    <a:pt x="79260" y="207300"/>
                  </a:lnTo>
                  <a:lnTo>
                    <a:pt x="76083" y="204487"/>
                  </a:lnTo>
                  <a:cubicBezTo>
                    <a:pt x="72621" y="201422"/>
                    <a:pt x="67346" y="201735"/>
                    <a:pt x="64275" y="205169"/>
                  </a:cubicBezTo>
                  <a:lnTo>
                    <a:pt x="2139" y="274554"/>
                  </a:lnTo>
                  <a:cubicBezTo>
                    <a:pt x="652" y="276215"/>
                    <a:pt x="-115" y="278397"/>
                    <a:pt x="14" y="280617"/>
                  </a:cubicBezTo>
                  <a:cubicBezTo>
                    <a:pt x="137" y="282838"/>
                    <a:pt x="1138" y="284930"/>
                    <a:pt x="2799" y="286406"/>
                  </a:cubicBezTo>
                  <a:lnTo>
                    <a:pt x="22337" y="303863"/>
                  </a:lnTo>
                  <a:cubicBezTo>
                    <a:pt x="23936" y="305295"/>
                    <a:pt x="25933" y="305999"/>
                    <a:pt x="27924" y="305999"/>
                  </a:cubicBezTo>
                  <a:cubicBezTo>
                    <a:pt x="30229" y="305999"/>
                    <a:pt x="32522" y="305054"/>
                    <a:pt x="34178" y="303203"/>
                  </a:cubicBezTo>
                  <a:lnTo>
                    <a:pt x="96375" y="233706"/>
                  </a:lnTo>
                  <a:cubicBezTo>
                    <a:pt x="97863" y="232045"/>
                    <a:pt x="98629" y="229858"/>
                    <a:pt x="98501" y="227626"/>
                  </a:cubicBezTo>
                  <a:cubicBezTo>
                    <a:pt x="98372" y="225400"/>
                    <a:pt x="97354" y="223314"/>
                    <a:pt x="95687" y="221832"/>
                  </a:cubicBezTo>
                  <a:lnTo>
                    <a:pt x="91833" y="218420"/>
                  </a:lnTo>
                  <a:lnTo>
                    <a:pt x="105554" y="202937"/>
                  </a:lnTo>
                  <a:cubicBezTo>
                    <a:pt x="125830" y="218420"/>
                    <a:pt x="149948" y="226110"/>
                    <a:pt x="174021" y="226110"/>
                  </a:cubicBezTo>
                  <a:close/>
                  <a:moveTo>
                    <a:pt x="27264" y="285769"/>
                  </a:moveTo>
                  <a:lnTo>
                    <a:pt x="20239" y="279493"/>
                  </a:lnTo>
                  <a:lnTo>
                    <a:pt x="70618" y="223247"/>
                  </a:lnTo>
                  <a:cubicBezTo>
                    <a:pt x="71060" y="224645"/>
                    <a:pt x="71843" y="225959"/>
                    <a:pt x="73023" y="227000"/>
                  </a:cubicBezTo>
                  <a:cubicBezTo>
                    <a:pt x="74477" y="228286"/>
                    <a:pt x="76262" y="228901"/>
                    <a:pt x="78063" y="229013"/>
                  </a:cubicBezTo>
                  <a:lnTo>
                    <a:pt x="27264" y="285769"/>
                  </a:lnTo>
                  <a:close/>
                  <a:moveTo>
                    <a:pt x="102013" y="49122"/>
                  </a:moveTo>
                  <a:cubicBezTo>
                    <a:pt x="121019" y="27699"/>
                    <a:pt x="147509" y="16770"/>
                    <a:pt x="174128" y="16770"/>
                  </a:cubicBezTo>
                  <a:cubicBezTo>
                    <a:pt x="196864" y="16770"/>
                    <a:pt x="219691" y="24752"/>
                    <a:pt x="238003" y="40978"/>
                  </a:cubicBezTo>
                  <a:cubicBezTo>
                    <a:pt x="277738" y="76216"/>
                    <a:pt x="281390" y="137227"/>
                    <a:pt x="246141" y="176979"/>
                  </a:cubicBezTo>
                  <a:cubicBezTo>
                    <a:pt x="210904" y="216708"/>
                    <a:pt x="149886" y="220360"/>
                    <a:pt x="110146" y="185112"/>
                  </a:cubicBezTo>
                  <a:cubicBezTo>
                    <a:pt x="70422" y="149879"/>
                    <a:pt x="66776" y="88873"/>
                    <a:pt x="102013" y="4912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Полилиния: фигура 181">
              <a:extLst>
                <a:ext uri="{FF2B5EF4-FFF2-40B4-BE49-F238E27FC236}">
                  <a16:creationId xmlns:a16="http://schemas.microsoft.com/office/drawing/2014/main" id="{9CCE6FDB-6FCB-4815-9628-0B72C4E4E274}"/>
                </a:ext>
              </a:extLst>
            </p:cNvPr>
            <p:cNvSpPr/>
            <p:nvPr/>
          </p:nvSpPr>
          <p:spPr>
            <a:xfrm>
              <a:off x="3273484" y="1320626"/>
              <a:ext cx="20024" cy="20024"/>
            </a:xfrm>
            <a:custGeom>
              <a:avLst/>
              <a:gdLst>
                <a:gd name="connsiteX0" fmla="*/ 20024 w 20024"/>
                <a:gd name="connsiteY0" fmla="*/ 10012 h 20024"/>
                <a:gd name="connsiteX1" fmla="*/ 10012 w 20024"/>
                <a:gd name="connsiteY1" fmla="*/ 20024 h 20024"/>
                <a:gd name="connsiteX2" fmla="*/ 0 w 20024"/>
                <a:gd name="connsiteY2" fmla="*/ 10012 h 20024"/>
                <a:gd name="connsiteX3" fmla="*/ 10012 w 20024"/>
                <a:gd name="connsiteY3" fmla="*/ 0 h 20024"/>
                <a:gd name="connsiteX4" fmla="*/ 20024 w 20024"/>
                <a:gd name="connsiteY4" fmla="*/ 10012 h 2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24" h="20024">
                  <a:moveTo>
                    <a:pt x="20024" y="10012"/>
                  </a:moveTo>
                  <a:cubicBezTo>
                    <a:pt x="20024" y="15541"/>
                    <a:pt x="15541" y="20024"/>
                    <a:pt x="10012" y="20024"/>
                  </a:cubicBezTo>
                  <a:cubicBezTo>
                    <a:pt x="4483" y="20024"/>
                    <a:pt x="0" y="15541"/>
                    <a:pt x="0" y="10012"/>
                  </a:cubicBezTo>
                  <a:cubicBezTo>
                    <a:pt x="0" y="4483"/>
                    <a:pt x="4483" y="0"/>
                    <a:pt x="10012" y="0"/>
                  </a:cubicBezTo>
                  <a:cubicBezTo>
                    <a:pt x="15541" y="0"/>
                    <a:pt x="20024" y="4483"/>
                    <a:pt x="20024" y="1001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3" name="Рисунок 40">
            <a:extLst>
              <a:ext uri="{FF2B5EF4-FFF2-40B4-BE49-F238E27FC236}">
                <a16:creationId xmlns:a16="http://schemas.microsoft.com/office/drawing/2014/main" id="{11EB6D35-AED5-4210-A6B9-DFA1CF2AB0D7}"/>
              </a:ext>
            </a:extLst>
          </p:cNvPr>
          <p:cNvGrpSpPr/>
          <p:nvPr/>
        </p:nvGrpSpPr>
        <p:grpSpPr>
          <a:xfrm>
            <a:off x="8527415" y="4638597"/>
            <a:ext cx="546775" cy="441652"/>
            <a:chOff x="2935003" y="1262366"/>
            <a:chExt cx="546775" cy="441652"/>
          </a:xfrm>
          <a:solidFill>
            <a:schemeClr val="tx1"/>
          </a:solidFill>
        </p:grpSpPr>
        <p:sp>
          <p:nvSpPr>
            <p:cNvPr id="34" name="Полилиния: фигура 179">
              <a:extLst>
                <a:ext uri="{FF2B5EF4-FFF2-40B4-BE49-F238E27FC236}">
                  <a16:creationId xmlns:a16="http://schemas.microsoft.com/office/drawing/2014/main" id="{F01A4A49-1305-4AE6-9199-5781065591F8}"/>
                </a:ext>
              </a:extLst>
            </p:cNvPr>
            <p:cNvSpPr/>
            <p:nvPr/>
          </p:nvSpPr>
          <p:spPr>
            <a:xfrm>
              <a:off x="3083972" y="1262366"/>
              <a:ext cx="397806" cy="400066"/>
            </a:xfrm>
            <a:custGeom>
              <a:avLst/>
              <a:gdLst>
                <a:gd name="connsiteX0" fmla="*/ 347635 w 397806"/>
                <a:gd name="connsiteY0" fmla="*/ 0 h 400066"/>
                <a:gd name="connsiteX1" fmla="*/ 50144 w 397806"/>
                <a:gd name="connsiteY1" fmla="*/ 0 h 400066"/>
                <a:gd name="connsiteX2" fmla="*/ 0 w 397806"/>
                <a:gd name="connsiteY2" fmla="*/ 50122 h 400066"/>
                <a:gd name="connsiteX3" fmla="*/ 0 w 397806"/>
                <a:gd name="connsiteY3" fmla="*/ 104528 h 400066"/>
                <a:gd name="connsiteX4" fmla="*/ 8390 w 397806"/>
                <a:gd name="connsiteY4" fmla="*/ 112917 h 400066"/>
                <a:gd name="connsiteX5" fmla="*/ 16780 w 397806"/>
                <a:gd name="connsiteY5" fmla="*/ 104528 h 400066"/>
                <a:gd name="connsiteX6" fmla="*/ 16780 w 397806"/>
                <a:gd name="connsiteY6" fmla="*/ 50122 h 400066"/>
                <a:gd name="connsiteX7" fmla="*/ 50144 w 397806"/>
                <a:gd name="connsiteY7" fmla="*/ 16780 h 400066"/>
                <a:gd name="connsiteX8" fmla="*/ 347635 w 397806"/>
                <a:gd name="connsiteY8" fmla="*/ 16780 h 400066"/>
                <a:gd name="connsiteX9" fmla="*/ 381027 w 397806"/>
                <a:gd name="connsiteY9" fmla="*/ 50122 h 400066"/>
                <a:gd name="connsiteX10" fmla="*/ 381027 w 397806"/>
                <a:gd name="connsiteY10" fmla="*/ 254887 h 400066"/>
                <a:gd name="connsiteX11" fmla="*/ 347635 w 397806"/>
                <a:gd name="connsiteY11" fmla="*/ 288228 h 400066"/>
                <a:gd name="connsiteX12" fmla="*/ 236166 w 397806"/>
                <a:gd name="connsiteY12" fmla="*/ 288228 h 400066"/>
                <a:gd name="connsiteX13" fmla="*/ 235752 w 397806"/>
                <a:gd name="connsiteY13" fmla="*/ 288267 h 400066"/>
                <a:gd name="connsiteX14" fmla="*/ 235338 w 397806"/>
                <a:gd name="connsiteY14" fmla="*/ 288228 h 400066"/>
                <a:gd name="connsiteX15" fmla="*/ 162401 w 397806"/>
                <a:gd name="connsiteY15" fmla="*/ 288228 h 400066"/>
                <a:gd name="connsiteX16" fmla="*/ 154011 w 397806"/>
                <a:gd name="connsiteY16" fmla="*/ 296618 h 400066"/>
                <a:gd name="connsiteX17" fmla="*/ 154011 w 397806"/>
                <a:gd name="connsiteY17" fmla="*/ 383286 h 400066"/>
                <a:gd name="connsiteX18" fmla="*/ 73927 w 397806"/>
                <a:gd name="connsiteY18" fmla="*/ 383286 h 400066"/>
                <a:gd name="connsiteX19" fmla="*/ 65537 w 397806"/>
                <a:gd name="connsiteY19" fmla="*/ 391676 h 400066"/>
                <a:gd name="connsiteX20" fmla="*/ 73927 w 397806"/>
                <a:gd name="connsiteY20" fmla="*/ 400066 h 400066"/>
                <a:gd name="connsiteX21" fmla="*/ 162407 w 397806"/>
                <a:gd name="connsiteY21" fmla="*/ 400066 h 400066"/>
                <a:gd name="connsiteX22" fmla="*/ 235344 w 397806"/>
                <a:gd name="connsiteY22" fmla="*/ 400066 h 400066"/>
                <a:gd name="connsiteX23" fmla="*/ 323897 w 397806"/>
                <a:gd name="connsiteY23" fmla="*/ 400066 h 400066"/>
                <a:gd name="connsiteX24" fmla="*/ 332287 w 397806"/>
                <a:gd name="connsiteY24" fmla="*/ 391676 h 400066"/>
                <a:gd name="connsiteX25" fmla="*/ 323897 w 397806"/>
                <a:gd name="connsiteY25" fmla="*/ 383286 h 400066"/>
                <a:gd name="connsiteX26" fmla="*/ 243734 w 397806"/>
                <a:gd name="connsiteY26" fmla="*/ 383286 h 400066"/>
                <a:gd name="connsiteX27" fmla="*/ 243734 w 397806"/>
                <a:gd name="connsiteY27" fmla="*/ 305008 h 400066"/>
                <a:gd name="connsiteX28" fmla="*/ 347635 w 397806"/>
                <a:gd name="connsiteY28" fmla="*/ 305008 h 400066"/>
                <a:gd name="connsiteX29" fmla="*/ 397807 w 397806"/>
                <a:gd name="connsiteY29" fmla="*/ 254887 h 400066"/>
                <a:gd name="connsiteX30" fmla="*/ 397807 w 397806"/>
                <a:gd name="connsiteY30" fmla="*/ 50122 h 400066"/>
                <a:gd name="connsiteX31" fmla="*/ 347635 w 397806"/>
                <a:gd name="connsiteY31" fmla="*/ 0 h 400066"/>
                <a:gd name="connsiteX32" fmla="*/ 170797 w 397806"/>
                <a:gd name="connsiteY32" fmla="*/ 383286 h 400066"/>
                <a:gd name="connsiteX33" fmla="*/ 170797 w 397806"/>
                <a:gd name="connsiteY33" fmla="*/ 305008 h 400066"/>
                <a:gd name="connsiteX34" fmla="*/ 226954 w 397806"/>
                <a:gd name="connsiteY34" fmla="*/ 305008 h 400066"/>
                <a:gd name="connsiteX35" fmla="*/ 226954 w 397806"/>
                <a:gd name="connsiteY35" fmla="*/ 383286 h 400066"/>
                <a:gd name="connsiteX36" fmla="*/ 170797 w 397806"/>
                <a:gd name="connsiteY36" fmla="*/ 383286 h 40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97806" h="400066">
                  <a:moveTo>
                    <a:pt x="347635" y="0"/>
                  </a:moveTo>
                  <a:lnTo>
                    <a:pt x="50144" y="0"/>
                  </a:lnTo>
                  <a:cubicBezTo>
                    <a:pt x="22496" y="0"/>
                    <a:pt x="0" y="22485"/>
                    <a:pt x="0" y="50122"/>
                  </a:cubicBezTo>
                  <a:lnTo>
                    <a:pt x="0" y="104528"/>
                  </a:lnTo>
                  <a:cubicBezTo>
                    <a:pt x="0" y="109164"/>
                    <a:pt x="3753" y="112917"/>
                    <a:pt x="8390" y="112917"/>
                  </a:cubicBezTo>
                  <a:cubicBezTo>
                    <a:pt x="13027" y="112917"/>
                    <a:pt x="16780" y="109164"/>
                    <a:pt x="16780" y="104528"/>
                  </a:cubicBezTo>
                  <a:lnTo>
                    <a:pt x="16780" y="50122"/>
                  </a:lnTo>
                  <a:cubicBezTo>
                    <a:pt x="16780" y="31736"/>
                    <a:pt x="31748" y="16780"/>
                    <a:pt x="50144" y="16780"/>
                  </a:cubicBezTo>
                  <a:lnTo>
                    <a:pt x="347635" y="16780"/>
                  </a:lnTo>
                  <a:cubicBezTo>
                    <a:pt x="366048" y="16780"/>
                    <a:pt x="381027" y="31736"/>
                    <a:pt x="381027" y="50122"/>
                  </a:cubicBezTo>
                  <a:lnTo>
                    <a:pt x="381027" y="254887"/>
                  </a:lnTo>
                  <a:cubicBezTo>
                    <a:pt x="381027" y="273272"/>
                    <a:pt x="366048" y="288228"/>
                    <a:pt x="347635" y="288228"/>
                  </a:cubicBezTo>
                  <a:lnTo>
                    <a:pt x="236166" y="288228"/>
                  </a:lnTo>
                  <a:cubicBezTo>
                    <a:pt x="236026" y="288228"/>
                    <a:pt x="235892" y="288262"/>
                    <a:pt x="235752" y="288267"/>
                  </a:cubicBezTo>
                  <a:cubicBezTo>
                    <a:pt x="235612" y="288262"/>
                    <a:pt x="235483" y="288228"/>
                    <a:pt x="235338" y="288228"/>
                  </a:cubicBezTo>
                  <a:lnTo>
                    <a:pt x="162401" y="288228"/>
                  </a:lnTo>
                  <a:cubicBezTo>
                    <a:pt x="157770" y="288228"/>
                    <a:pt x="154011" y="291987"/>
                    <a:pt x="154011" y="296618"/>
                  </a:cubicBezTo>
                  <a:lnTo>
                    <a:pt x="154011" y="383286"/>
                  </a:lnTo>
                  <a:lnTo>
                    <a:pt x="73927" y="383286"/>
                  </a:lnTo>
                  <a:cubicBezTo>
                    <a:pt x="69290" y="383286"/>
                    <a:pt x="65537" y="387045"/>
                    <a:pt x="65537" y="391676"/>
                  </a:cubicBezTo>
                  <a:cubicBezTo>
                    <a:pt x="65537" y="396308"/>
                    <a:pt x="69290" y="400066"/>
                    <a:pt x="73927" y="400066"/>
                  </a:cubicBezTo>
                  <a:lnTo>
                    <a:pt x="162407" y="400066"/>
                  </a:lnTo>
                  <a:lnTo>
                    <a:pt x="235344" y="400066"/>
                  </a:lnTo>
                  <a:lnTo>
                    <a:pt x="323897" y="400066"/>
                  </a:lnTo>
                  <a:cubicBezTo>
                    <a:pt x="328528" y="400066"/>
                    <a:pt x="332287" y="396308"/>
                    <a:pt x="332287" y="391676"/>
                  </a:cubicBezTo>
                  <a:cubicBezTo>
                    <a:pt x="332287" y="387045"/>
                    <a:pt x="328528" y="383286"/>
                    <a:pt x="323897" y="383286"/>
                  </a:cubicBezTo>
                  <a:lnTo>
                    <a:pt x="243734" y="383286"/>
                  </a:lnTo>
                  <a:lnTo>
                    <a:pt x="243734" y="305008"/>
                  </a:lnTo>
                  <a:lnTo>
                    <a:pt x="347635" y="305008"/>
                  </a:lnTo>
                  <a:cubicBezTo>
                    <a:pt x="375299" y="305008"/>
                    <a:pt x="397807" y="282523"/>
                    <a:pt x="397807" y="254887"/>
                  </a:cubicBezTo>
                  <a:lnTo>
                    <a:pt x="397807" y="50122"/>
                  </a:lnTo>
                  <a:cubicBezTo>
                    <a:pt x="397807" y="22485"/>
                    <a:pt x="375299" y="0"/>
                    <a:pt x="347635" y="0"/>
                  </a:cubicBezTo>
                  <a:close/>
                  <a:moveTo>
                    <a:pt x="170797" y="383286"/>
                  </a:moveTo>
                  <a:lnTo>
                    <a:pt x="170797" y="305008"/>
                  </a:lnTo>
                  <a:lnTo>
                    <a:pt x="226954" y="305008"/>
                  </a:lnTo>
                  <a:lnTo>
                    <a:pt x="226954" y="383286"/>
                  </a:lnTo>
                  <a:lnTo>
                    <a:pt x="170797" y="383286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Полилиния: фигура 180">
              <a:extLst>
                <a:ext uri="{FF2B5EF4-FFF2-40B4-BE49-F238E27FC236}">
                  <a16:creationId xmlns:a16="http://schemas.microsoft.com/office/drawing/2014/main" id="{F95392B6-2125-4806-A727-6A99DEC34417}"/>
                </a:ext>
              </a:extLst>
            </p:cNvPr>
            <p:cNvSpPr/>
            <p:nvPr/>
          </p:nvSpPr>
          <p:spPr>
            <a:xfrm>
              <a:off x="2935003" y="1398019"/>
              <a:ext cx="287133" cy="305999"/>
            </a:xfrm>
            <a:custGeom>
              <a:avLst/>
              <a:gdLst>
                <a:gd name="connsiteX0" fmla="*/ 174021 w 287133"/>
                <a:gd name="connsiteY0" fmla="*/ 226110 h 305999"/>
                <a:gd name="connsiteX1" fmla="*/ 258693 w 287133"/>
                <a:gd name="connsiteY1" fmla="*/ 188115 h 305999"/>
                <a:gd name="connsiteX2" fmla="*/ 258693 w 287133"/>
                <a:gd name="connsiteY2" fmla="*/ 188115 h 305999"/>
                <a:gd name="connsiteX3" fmla="*/ 249134 w 287133"/>
                <a:gd name="connsiteY3" fmla="*/ 28426 h 305999"/>
                <a:gd name="connsiteX4" fmla="*/ 89456 w 287133"/>
                <a:gd name="connsiteY4" fmla="*/ 37985 h 305999"/>
                <a:gd name="connsiteX5" fmla="*/ 93014 w 287133"/>
                <a:gd name="connsiteY5" fmla="*/ 191779 h 305999"/>
                <a:gd name="connsiteX6" fmla="*/ 79260 w 287133"/>
                <a:gd name="connsiteY6" fmla="*/ 207300 h 305999"/>
                <a:gd name="connsiteX7" fmla="*/ 76083 w 287133"/>
                <a:gd name="connsiteY7" fmla="*/ 204487 h 305999"/>
                <a:gd name="connsiteX8" fmla="*/ 64275 w 287133"/>
                <a:gd name="connsiteY8" fmla="*/ 205169 h 305999"/>
                <a:gd name="connsiteX9" fmla="*/ 2139 w 287133"/>
                <a:gd name="connsiteY9" fmla="*/ 274554 h 305999"/>
                <a:gd name="connsiteX10" fmla="*/ 14 w 287133"/>
                <a:gd name="connsiteY10" fmla="*/ 280617 h 305999"/>
                <a:gd name="connsiteX11" fmla="*/ 2799 w 287133"/>
                <a:gd name="connsiteY11" fmla="*/ 286406 h 305999"/>
                <a:gd name="connsiteX12" fmla="*/ 22337 w 287133"/>
                <a:gd name="connsiteY12" fmla="*/ 303863 h 305999"/>
                <a:gd name="connsiteX13" fmla="*/ 27924 w 287133"/>
                <a:gd name="connsiteY13" fmla="*/ 305999 h 305999"/>
                <a:gd name="connsiteX14" fmla="*/ 34178 w 287133"/>
                <a:gd name="connsiteY14" fmla="*/ 303203 h 305999"/>
                <a:gd name="connsiteX15" fmla="*/ 96375 w 287133"/>
                <a:gd name="connsiteY15" fmla="*/ 233706 h 305999"/>
                <a:gd name="connsiteX16" fmla="*/ 98501 w 287133"/>
                <a:gd name="connsiteY16" fmla="*/ 227626 h 305999"/>
                <a:gd name="connsiteX17" fmla="*/ 95687 w 287133"/>
                <a:gd name="connsiteY17" fmla="*/ 221832 h 305999"/>
                <a:gd name="connsiteX18" fmla="*/ 91833 w 287133"/>
                <a:gd name="connsiteY18" fmla="*/ 218420 h 305999"/>
                <a:gd name="connsiteX19" fmla="*/ 105554 w 287133"/>
                <a:gd name="connsiteY19" fmla="*/ 202937 h 305999"/>
                <a:gd name="connsiteX20" fmla="*/ 174021 w 287133"/>
                <a:gd name="connsiteY20" fmla="*/ 226110 h 305999"/>
                <a:gd name="connsiteX21" fmla="*/ 27264 w 287133"/>
                <a:gd name="connsiteY21" fmla="*/ 285769 h 305999"/>
                <a:gd name="connsiteX22" fmla="*/ 20239 w 287133"/>
                <a:gd name="connsiteY22" fmla="*/ 279493 h 305999"/>
                <a:gd name="connsiteX23" fmla="*/ 70618 w 287133"/>
                <a:gd name="connsiteY23" fmla="*/ 223247 h 305999"/>
                <a:gd name="connsiteX24" fmla="*/ 73023 w 287133"/>
                <a:gd name="connsiteY24" fmla="*/ 227000 h 305999"/>
                <a:gd name="connsiteX25" fmla="*/ 78063 w 287133"/>
                <a:gd name="connsiteY25" fmla="*/ 229013 h 305999"/>
                <a:gd name="connsiteX26" fmla="*/ 27264 w 287133"/>
                <a:gd name="connsiteY26" fmla="*/ 285769 h 305999"/>
                <a:gd name="connsiteX27" fmla="*/ 102013 w 287133"/>
                <a:gd name="connsiteY27" fmla="*/ 49122 h 305999"/>
                <a:gd name="connsiteX28" fmla="*/ 174128 w 287133"/>
                <a:gd name="connsiteY28" fmla="*/ 16770 h 305999"/>
                <a:gd name="connsiteX29" fmla="*/ 238003 w 287133"/>
                <a:gd name="connsiteY29" fmla="*/ 40978 h 305999"/>
                <a:gd name="connsiteX30" fmla="*/ 246141 w 287133"/>
                <a:gd name="connsiteY30" fmla="*/ 176979 h 305999"/>
                <a:gd name="connsiteX31" fmla="*/ 110146 w 287133"/>
                <a:gd name="connsiteY31" fmla="*/ 185112 h 305999"/>
                <a:gd name="connsiteX32" fmla="*/ 102013 w 287133"/>
                <a:gd name="connsiteY32" fmla="*/ 49122 h 305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87133" h="305999">
                  <a:moveTo>
                    <a:pt x="174021" y="226110"/>
                  </a:moveTo>
                  <a:cubicBezTo>
                    <a:pt x="205266" y="226110"/>
                    <a:pt x="236381" y="213268"/>
                    <a:pt x="258693" y="188115"/>
                  </a:cubicBezTo>
                  <a:cubicBezTo>
                    <a:pt x="258693" y="188115"/>
                    <a:pt x="258693" y="188115"/>
                    <a:pt x="258693" y="188115"/>
                  </a:cubicBezTo>
                  <a:cubicBezTo>
                    <a:pt x="300078" y="141439"/>
                    <a:pt x="295793" y="69806"/>
                    <a:pt x="249134" y="28426"/>
                  </a:cubicBezTo>
                  <a:cubicBezTo>
                    <a:pt x="202463" y="-12942"/>
                    <a:pt x="130836" y="-8651"/>
                    <a:pt x="89456" y="37985"/>
                  </a:cubicBezTo>
                  <a:cubicBezTo>
                    <a:pt x="49962" y="82536"/>
                    <a:pt x="52171" y="149762"/>
                    <a:pt x="93014" y="191779"/>
                  </a:cubicBezTo>
                  <a:lnTo>
                    <a:pt x="79260" y="207300"/>
                  </a:lnTo>
                  <a:lnTo>
                    <a:pt x="76083" y="204487"/>
                  </a:lnTo>
                  <a:cubicBezTo>
                    <a:pt x="72621" y="201422"/>
                    <a:pt x="67346" y="201735"/>
                    <a:pt x="64275" y="205169"/>
                  </a:cubicBezTo>
                  <a:lnTo>
                    <a:pt x="2139" y="274554"/>
                  </a:lnTo>
                  <a:cubicBezTo>
                    <a:pt x="652" y="276215"/>
                    <a:pt x="-115" y="278397"/>
                    <a:pt x="14" y="280617"/>
                  </a:cubicBezTo>
                  <a:cubicBezTo>
                    <a:pt x="137" y="282838"/>
                    <a:pt x="1138" y="284930"/>
                    <a:pt x="2799" y="286406"/>
                  </a:cubicBezTo>
                  <a:lnTo>
                    <a:pt x="22337" y="303863"/>
                  </a:lnTo>
                  <a:cubicBezTo>
                    <a:pt x="23936" y="305295"/>
                    <a:pt x="25933" y="305999"/>
                    <a:pt x="27924" y="305999"/>
                  </a:cubicBezTo>
                  <a:cubicBezTo>
                    <a:pt x="30229" y="305999"/>
                    <a:pt x="32522" y="305054"/>
                    <a:pt x="34178" y="303203"/>
                  </a:cubicBezTo>
                  <a:lnTo>
                    <a:pt x="96375" y="233706"/>
                  </a:lnTo>
                  <a:cubicBezTo>
                    <a:pt x="97863" y="232045"/>
                    <a:pt x="98629" y="229858"/>
                    <a:pt x="98501" y="227626"/>
                  </a:cubicBezTo>
                  <a:cubicBezTo>
                    <a:pt x="98372" y="225400"/>
                    <a:pt x="97354" y="223314"/>
                    <a:pt x="95687" y="221832"/>
                  </a:cubicBezTo>
                  <a:lnTo>
                    <a:pt x="91833" y="218420"/>
                  </a:lnTo>
                  <a:lnTo>
                    <a:pt x="105554" y="202937"/>
                  </a:lnTo>
                  <a:cubicBezTo>
                    <a:pt x="125830" y="218420"/>
                    <a:pt x="149948" y="226110"/>
                    <a:pt x="174021" y="226110"/>
                  </a:cubicBezTo>
                  <a:close/>
                  <a:moveTo>
                    <a:pt x="27264" y="285769"/>
                  </a:moveTo>
                  <a:lnTo>
                    <a:pt x="20239" y="279493"/>
                  </a:lnTo>
                  <a:lnTo>
                    <a:pt x="70618" y="223247"/>
                  </a:lnTo>
                  <a:cubicBezTo>
                    <a:pt x="71060" y="224645"/>
                    <a:pt x="71843" y="225959"/>
                    <a:pt x="73023" y="227000"/>
                  </a:cubicBezTo>
                  <a:cubicBezTo>
                    <a:pt x="74477" y="228286"/>
                    <a:pt x="76262" y="228901"/>
                    <a:pt x="78063" y="229013"/>
                  </a:cubicBezTo>
                  <a:lnTo>
                    <a:pt x="27264" y="285769"/>
                  </a:lnTo>
                  <a:close/>
                  <a:moveTo>
                    <a:pt x="102013" y="49122"/>
                  </a:moveTo>
                  <a:cubicBezTo>
                    <a:pt x="121019" y="27699"/>
                    <a:pt x="147509" y="16770"/>
                    <a:pt x="174128" y="16770"/>
                  </a:cubicBezTo>
                  <a:cubicBezTo>
                    <a:pt x="196864" y="16770"/>
                    <a:pt x="219691" y="24752"/>
                    <a:pt x="238003" y="40978"/>
                  </a:cubicBezTo>
                  <a:cubicBezTo>
                    <a:pt x="277738" y="76216"/>
                    <a:pt x="281390" y="137227"/>
                    <a:pt x="246141" y="176979"/>
                  </a:cubicBezTo>
                  <a:cubicBezTo>
                    <a:pt x="210904" y="216708"/>
                    <a:pt x="149886" y="220360"/>
                    <a:pt x="110146" y="185112"/>
                  </a:cubicBezTo>
                  <a:cubicBezTo>
                    <a:pt x="70422" y="149879"/>
                    <a:pt x="66776" y="88873"/>
                    <a:pt x="102013" y="4912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Полилиния: фигура 181">
              <a:extLst>
                <a:ext uri="{FF2B5EF4-FFF2-40B4-BE49-F238E27FC236}">
                  <a16:creationId xmlns:a16="http://schemas.microsoft.com/office/drawing/2014/main" id="{9CCE6FDB-6FCB-4815-9628-0B72C4E4E274}"/>
                </a:ext>
              </a:extLst>
            </p:cNvPr>
            <p:cNvSpPr/>
            <p:nvPr/>
          </p:nvSpPr>
          <p:spPr>
            <a:xfrm>
              <a:off x="3273484" y="1320626"/>
              <a:ext cx="20024" cy="20024"/>
            </a:xfrm>
            <a:custGeom>
              <a:avLst/>
              <a:gdLst>
                <a:gd name="connsiteX0" fmla="*/ 20024 w 20024"/>
                <a:gd name="connsiteY0" fmla="*/ 10012 h 20024"/>
                <a:gd name="connsiteX1" fmla="*/ 10012 w 20024"/>
                <a:gd name="connsiteY1" fmla="*/ 20024 h 20024"/>
                <a:gd name="connsiteX2" fmla="*/ 0 w 20024"/>
                <a:gd name="connsiteY2" fmla="*/ 10012 h 20024"/>
                <a:gd name="connsiteX3" fmla="*/ 10012 w 20024"/>
                <a:gd name="connsiteY3" fmla="*/ 0 h 20024"/>
                <a:gd name="connsiteX4" fmla="*/ 20024 w 20024"/>
                <a:gd name="connsiteY4" fmla="*/ 10012 h 2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24" h="20024">
                  <a:moveTo>
                    <a:pt x="20024" y="10012"/>
                  </a:moveTo>
                  <a:cubicBezTo>
                    <a:pt x="20024" y="15541"/>
                    <a:pt x="15541" y="20024"/>
                    <a:pt x="10012" y="20024"/>
                  </a:cubicBezTo>
                  <a:cubicBezTo>
                    <a:pt x="4483" y="20024"/>
                    <a:pt x="0" y="15541"/>
                    <a:pt x="0" y="10012"/>
                  </a:cubicBezTo>
                  <a:cubicBezTo>
                    <a:pt x="0" y="4483"/>
                    <a:pt x="4483" y="0"/>
                    <a:pt x="10012" y="0"/>
                  </a:cubicBezTo>
                  <a:cubicBezTo>
                    <a:pt x="15541" y="0"/>
                    <a:pt x="20024" y="4483"/>
                    <a:pt x="20024" y="1001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8585" y="1303758"/>
            <a:ext cx="4271533" cy="301982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1549" y="1243340"/>
            <a:ext cx="4665845" cy="322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35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43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5E65BD3A-6B9D-471D-969C-2EE841FDA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40065"/>
            <a:ext cx="8477250" cy="338554"/>
          </a:xfrm>
        </p:spPr>
        <p:txBody>
          <a:bodyPr vert="horz"/>
          <a:lstStyle/>
          <a:p>
            <a:r>
              <a:rPr lang="ru-RU" dirty="0">
                <a:solidFill>
                  <a:schemeClr val="tx1"/>
                </a:solidFill>
              </a:rPr>
              <a:t>Наша команда профессионалов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344E1-0F76-4023-B180-E4B0CE5660A5}" type="slidenum">
              <a:rPr lang="en-US" smtClean="0">
                <a:solidFill>
                  <a:schemeClr val="tx1"/>
                </a:solidFill>
              </a:rPr>
              <a:pPr/>
              <a:t>34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1" name="Рисунок 10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/>
          <a:srcRect l="-14718" t="1478" r="-14718" b="1478"/>
          <a:stretch/>
        </p:blipFill>
        <p:spPr>
          <a:xfrm>
            <a:off x="2494893" y="1639997"/>
            <a:ext cx="5917860" cy="418273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53050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1500" y="1767865"/>
            <a:ext cx="6172201" cy="492443"/>
          </a:xfrm>
        </p:spPr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237018" y="2589816"/>
            <a:ext cx="1420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Контакты:</a:t>
            </a:r>
            <a:endParaRPr lang="en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237018" y="3103990"/>
            <a:ext cx="22188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Копчикова Юли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237018" y="3618164"/>
            <a:ext cx="48750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Менеджер по идентификации товаров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237018" y="3987496"/>
            <a:ext cx="25763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+7 (921) 431-37-62</a:t>
            </a:r>
          </a:p>
        </p:txBody>
      </p:sp>
      <p:sp>
        <p:nvSpPr>
          <p:cNvPr id="10" name="Текст 77">
            <a:extLst>
              <a:ext uri="{FF2B5EF4-FFF2-40B4-BE49-F238E27FC236}">
                <a16:creationId xmlns:a16="http://schemas.microsoft.com/office/drawing/2014/main" id="{B5CEAC9A-B39C-49C5-94A3-A5981CBA87C7}"/>
              </a:ext>
            </a:extLst>
          </p:cNvPr>
          <p:cNvSpPr txBox="1">
            <a:spLocks/>
          </p:cNvSpPr>
          <p:nvPr/>
        </p:nvSpPr>
        <p:spPr>
          <a:xfrm>
            <a:off x="2273372" y="4513234"/>
            <a:ext cx="3824216" cy="3179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Char char="—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chemeClr val="tx1"/>
                </a:solidFill>
              </a:rPr>
              <a:t>julia.kopchikova@lenta.com</a:t>
            </a:r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11" name="Рисунок 32">
            <a:extLst>
              <a:ext uri="{FF2B5EF4-FFF2-40B4-BE49-F238E27FC236}">
                <a16:creationId xmlns:a16="http://schemas.microsoft.com/office/drawing/2014/main" id="{82DF71FF-6190-4795-87A6-4444CD471A93}"/>
              </a:ext>
            </a:extLst>
          </p:cNvPr>
          <p:cNvGrpSpPr/>
          <p:nvPr/>
        </p:nvGrpSpPr>
        <p:grpSpPr>
          <a:xfrm>
            <a:off x="1616353" y="2884808"/>
            <a:ext cx="461068" cy="478187"/>
            <a:chOff x="8787174" y="3412750"/>
            <a:chExt cx="461068" cy="478187"/>
          </a:xfrm>
          <a:solidFill>
            <a:schemeClr val="tx1"/>
          </a:solidFill>
        </p:grpSpPr>
        <p:sp>
          <p:nvSpPr>
            <p:cNvPr id="12" name="Полилиния: фигура 150">
              <a:extLst>
                <a:ext uri="{FF2B5EF4-FFF2-40B4-BE49-F238E27FC236}">
                  <a16:creationId xmlns:a16="http://schemas.microsoft.com/office/drawing/2014/main" id="{EE93B85C-C769-4AF0-A3D4-061AA81F14B4}"/>
                </a:ext>
              </a:extLst>
            </p:cNvPr>
            <p:cNvSpPr/>
            <p:nvPr/>
          </p:nvSpPr>
          <p:spPr>
            <a:xfrm>
              <a:off x="8883040" y="3412750"/>
              <a:ext cx="192872" cy="192302"/>
            </a:xfrm>
            <a:custGeom>
              <a:avLst/>
              <a:gdLst>
                <a:gd name="connsiteX0" fmla="*/ 96436 w 192872"/>
                <a:gd name="connsiteY0" fmla="*/ 192302 h 192302"/>
                <a:gd name="connsiteX1" fmla="*/ 192873 w 192872"/>
                <a:gd name="connsiteY1" fmla="*/ 95866 h 192302"/>
                <a:gd name="connsiteX2" fmla="*/ 96436 w 192872"/>
                <a:gd name="connsiteY2" fmla="*/ 0 h 192302"/>
                <a:gd name="connsiteX3" fmla="*/ 0 w 192872"/>
                <a:gd name="connsiteY3" fmla="*/ 95866 h 192302"/>
                <a:gd name="connsiteX4" fmla="*/ 96436 w 192872"/>
                <a:gd name="connsiteY4" fmla="*/ 192302 h 192302"/>
                <a:gd name="connsiteX5" fmla="*/ 96436 w 192872"/>
                <a:gd name="connsiteY5" fmla="*/ 17119 h 192302"/>
                <a:gd name="connsiteX6" fmla="*/ 175754 w 192872"/>
                <a:gd name="connsiteY6" fmla="*/ 95866 h 192302"/>
                <a:gd name="connsiteX7" fmla="*/ 96436 w 192872"/>
                <a:gd name="connsiteY7" fmla="*/ 175183 h 192302"/>
                <a:gd name="connsiteX8" fmla="*/ 17119 w 192872"/>
                <a:gd name="connsiteY8" fmla="*/ 95866 h 192302"/>
                <a:gd name="connsiteX9" fmla="*/ 96436 w 192872"/>
                <a:gd name="connsiteY9" fmla="*/ 17119 h 19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2872" h="192302">
                  <a:moveTo>
                    <a:pt x="96436" y="192302"/>
                  </a:moveTo>
                  <a:cubicBezTo>
                    <a:pt x="149505" y="192302"/>
                    <a:pt x="192873" y="148934"/>
                    <a:pt x="192873" y="95866"/>
                  </a:cubicBezTo>
                  <a:cubicBezTo>
                    <a:pt x="192873" y="42797"/>
                    <a:pt x="149505" y="0"/>
                    <a:pt x="96436" y="0"/>
                  </a:cubicBezTo>
                  <a:cubicBezTo>
                    <a:pt x="43368" y="0"/>
                    <a:pt x="0" y="42797"/>
                    <a:pt x="0" y="95866"/>
                  </a:cubicBezTo>
                  <a:cubicBezTo>
                    <a:pt x="0" y="148934"/>
                    <a:pt x="43368" y="192302"/>
                    <a:pt x="96436" y="192302"/>
                  </a:cubicBezTo>
                  <a:close/>
                  <a:moveTo>
                    <a:pt x="96436" y="17119"/>
                  </a:moveTo>
                  <a:cubicBezTo>
                    <a:pt x="139804" y="17119"/>
                    <a:pt x="175754" y="52498"/>
                    <a:pt x="175754" y="95866"/>
                  </a:cubicBezTo>
                  <a:cubicBezTo>
                    <a:pt x="175754" y="139234"/>
                    <a:pt x="140375" y="175183"/>
                    <a:pt x="96436" y="175183"/>
                  </a:cubicBezTo>
                  <a:cubicBezTo>
                    <a:pt x="52498" y="175183"/>
                    <a:pt x="17119" y="139234"/>
                    <a:pt x="17119" y="95866"/>
                  </a:cubicBezTo>
                  <a:cubicBezTo>
                    <a:pt x="17119" y="52498"/>
                    <a:pt x="52498" y="17119"/>
                    <a:pt x="96436" y="1711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: фигура 151">
              <a:extLst>
                <a:ext uri="{FF2B5EF4-FFF2-40B4-BE49-F238E27FC236}">
                  <a16:creationId xmlns:a16="http://schemas.microsoft.com/office/drawing/2014/main" id="{7A76430F-EF35-435D-920F-716244F49655}"/>
                </a:ext>
              </a:extLst>
            </p:cNvPr>
            <p:cNvSpPr/>
            <p:nvPr/>
          </p:nvSpPr>
          <p:spPr>
            <a:xfrm>
              <a:off x="8787174" y="3553448"/>
              <a:ext cx="461068" cy="337489"/>
            </a:xfrm>
            <a:custGeom>
              <a:avLst/>
              <a:gdLst>
                <a:gd name="connsiteX0" fmla="*/ 451938 w 461068"/>
                <a:gd name="connsiteY0" fmla="*/ 226788 h 337489"/>
                <a:gd name="connsiteX1" fmla="*/ 426260 w 461068"/>
                <a:gd name="connsiteY1" fmla="*/ 226788 h 337489"/>
                <a:gd name="connsiteX2" fmla="*/ 426260 w 461068"/>
                <a:gd name="connsiteY2" fmla="*/ 95543 h 337489"/>
                <a:gd name="connsiteX3" fmla="*/ 423978 w 461068"/>
                <a:gd name="connsiteY3" fmla="*/ 89837 h 337489"/>
                <a:gd name="connsiteX4" fmla="*/ 402864 w 461068"/>
                <a:gd name="connsiteY4" fmla="*/ 67012 h 337489"/>
                <a:gd name="connsiteX5" fmla="*/ 394875 w 461068"/>
                <a:gd name="connsiteY5" fmla="*/ 27638 h 337489"/>
                <a:gd name="connsiteX6" fmla="*/ 371480 w 461068"/>
                <a:gd name="connsiteY6" fmla="*/ 7666 h 337489"/>
                <a:gd name="connsiteX7" fmla="*/ 347513 w 461068"/>
                <a:gd name="connsiteY7" fmla="*/ 248 h 337489"/>
                <a:gd name="connsiteX8" fmla="*/ 325259 w 461068"/>
                <a:gd name="connsiteY8" fmla="*/ 11661 h 337489"/>
                <a:gd name="connsiteX9" fmla="*/ 329253 w 461068"/>
                <a:gd name="connsiteY9" fmla="*/ 57882 h 337489"/>
                <a:gd name="connsiteX10" fmla="*/ 352649 w 461068"/>
                <a:gd name="connsiteY10" fmla="*/ 77854 h 337489"/>
                <a:gd name="connsiteX11" fmla="*/ 373762 w 461068"/>
                <a:gd name="connsiteY11" fmla="*/ 85842 h 337489"/>
                <a:gd name="connsiteX12" fmla="*/ 391452 w 461068"/>
                <a:gd name="connsiteY12" fmla="*/ 80707 h 337489"/>
                <a:gd name="connsiteX13" fmla="*/ 409141 w 461068"/>
                <a:gd name="connsiteY13" fmla="*/ 99538 h 337489"/>
                <a:gd name="connsiteX14" fmla="*/ 409141 w 461068"/>
                <a:gd name="connsiteY14" fmla="*/ 226788 h 337489"/>
                <a:gd name="connsiteX15" fmla="*/ 360638 w 461068"/>
                <a:gd name="connsiteY15" fmla="*/ 226788 h 337489"/>
                <a:gd name="connsiteX16" fmla="*/ 195155 w 461068"/>
                <a:gd name="connsiteY16" fmla="*/ 65300 h 337489"/>
                <a:gd name="connsiteX17" fmla="*/ 29673 w 461068"/>
                <a:gd name="connsiteY17" fmla="*/ 226788 h 337489"/>
                <a:gd name="connsiteX18" fmla="*/ 8559 w 461068"/>
                <a:gd name="connsiteY18" fmla="*/ 226788 h 337489"/>
                <a:gd name="connsiteX19" fmla="*/ 0 w 461068"/>
                <a:gd name="connsiteY19" fmla="*/ 235347 h 337489"/>
                <a:gd name="connsiteX20" fmla="*/ 0 w 461068"/>
                <a:gd name="connsiteY20" fmla="*/ 328930 h 337489"/>
                <a:gd name="connsiteX21" fmla="*/ 8559 w 461068"/>
                <a:gd name="connsiteY21" fmla="*/ 337490 h 337489"/>
                <a:gd name="connsiteX22" fmla="*/ 452509 w 461068"/>
                <a:gd name="connsiteY22" fmla="*/ 337490 h 337489"/>
                <a:gd name="connsiteX23" fmla="*/ 461068 w 461068"/>
                <a:gd name="connsiteY23" fmla="*/ 328930 h 337489"/>
                <a:gd name="connsiteX24" fmla="*/ 461068 w 461068"/>
                <a:gd name="connsiteY24" fmla="*/ 235347 h 337489"/>
                <a:gd name="connsiteX25" fmla="*/ 451938 w 461068"/>
                <a:gd name="connsiteY25" fmla="*/ 226788 h 337489"/>
                <a:gd name="connsiteX26" fmla="*/ 363491 w 461068"/>
                <a:gd name="connsiteY26" fmla="*/ 64729 h 337489"/>
                <a:gd name="connsiteX27" fmla="*/ 340095 w 461068"/>
                <a:gd name="connsiteY27" fmla="*/ 44757 h 337489"/>
                <a:gd name="connsiteX28" fmla="*/ 338383 w 461068"/>
                <a:gd name="connsiteY28" fmla="*/ 22503 h 337489"/>
                <a:gd name="connsiteX29" fmla="*/ 349225 w 461068"/>
                <a:gd name="connsiteY29" fmla="*/ 16796 h 337489"/>
                <a:gd name="connsiteX30" fmla="*/ 350366 w 461068"/>
                <a:gd name="connsiteY30" fmla="*/ 16796 h 337489"/>
                <a:gd name="connsiteX31" fmla="*/ 360638 w 461068"/>
                <a:gd name="connsiteY31" fmla="*/ 20791 h 337489"/>
                <a:gd name="connsiteX32" fmla="*/ 384034 w 461068"/>
                <a:gd name="connsiteY32" fmla="*/ 40763 h 337489"/>
                <a:gd name="connsiteX33" fmla="*/ 384034 w 461068"/>
                <a:gd name="connsiteY33" fmla="*/ 40763 h 337489"/>
                <a:gd name="connsiteX34" fmla="*/ 385745 w 461068"/>
                <a:gd name="connsiteY34" fmla="*/ 63017 h 337489"/>
                <a:gd name="connsiteX35" fmla="*/ 363491 w 461068"/>
                <a:gd name="connsiteY35" fmla="*/ 64729 h 337489"/>
                <a:gd name="connsiteX36" fmla="*/ 194585 w 461068"/>
                <a:gd name="connsiteY36" fmla="*/ 81848 h 337489"/>
                <a:gd name="connsiteX37" fmla="*/ 342948 w 461068"/>
                <a:gd name="connsiteY37" fmla="*/ 226217 h 337489"/>
                <a:gd name="connsiteX38" fmla="*/ 46221 w 461068"/>
                <a:gd name="connsiteY38" fmla="*/ 226217 h 337489"/>
                <a:gd name="connsiteX39" fmla="*/ 194585 w 461068"/>
                <a:gd name="connsiteY39" fmla="*/ 81848 h 337489"/>
                <a:gd name="connsiteX40" fmla="*/ 443379 w 461068"/>
                <a:gd name="connsiteY40" fmla="*/ 320371 h 337489"/>
                <a:gd name="connsiteX41" fmla="*/ 16548 w 461068"/>
                <a:gd name="connsiteY41" fmla="*/ 320371 h 337489"/>
                <a:gd name="connsiteX42" fmla="*/ 16548 w 461068"/>
                <a:gd name="connsiteY42" fmla="*/ 243907 h 337489"/>
                <a:gd name="connsiteX43" fmla="*/ 443379 w 461068"/>
                <a:gd name="connsiteY43" fmla="*/ 243907 h 337489"/>
                <a:gd name="connsiteX44" fmla="*/ 443379 w 461068"/>
                <a:gd name="connsiteY44" fmla="*/ 320371 h 337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61068" h="337489">
                  <a:moveTo>
                    <a:pt x="451938" y="226788"/>
                  </a:moveTo>
                  <a:lnTo>
                    <a:pt x="426260" y="226788"/>
                  </a:lnTo>
                  <a:lnTo>
                    <a:pt x="426260" y="95543"/>
                  </a:lnTo>
                  <a:cubicBezTo>
                    <a:pt x="426260" y="93261"/>
                    <a:pt x="425689" y="90978"/>
                    <a:pt x="423978" y="89837"/>
                  </a:cubicBezTo>
                  <a:lnTo>
                    <a:pt x="402864" y="67012"/>
                  </a:lnTo>
                  <a:cubicBezTo>
                    <a:pt x="409712" y="53887"/>
                    <a:pt x="406288" y="37339"/>
                    <a:pt x="394875" y="27638"/>
                  </a:cubicBezTo>
                  <a:lnTo>
                    <a:pt x="371480" y="7666"/>
                  </a:lnTo>
                  <a:cubicBezTo>
                    <a:pt x="364632" y="1960"/>
                    <a:pt x="356073" y="-893"/>
                    <a:pt x="347513" y="248"/>
                  </a:cubicBezTo>
                  <a:cubicBezTo>
                    <a:pt x="338954" y="819"/>
                    <a:pt x="330965" y="4813"/>
                    <a:pt x="325259" y="11661"/>
                  </a:cubicBezTo>
                  <a:cubicBezTo>
                    <a:pt x="313846" y="25356"/>
                    <a:pt x="315558" y="46469"/>
                    <a:pt x="329253" y="57882"/>
                  </a:cubicBezTo>
                  <a:lnTo>
                    <a:pt x="352649" y="77854"/>
                  </a:lnTo>
                  <a:cubicBezTo>
                    <a:pt x="358926" y="82989"/>
                    <a:pt x="366344" y="85842"/>
                    <a:pt x="373762" y="85842"/>
                  </a:cubicBezTo>
                  <a:cubicBezTo>
                    <a:pt x="380039" y="85842"/>
                    <a:pt x="386316" y="84131"/>
                    <a:pt x="391452" y="80707"/>
                  </a:cubicBezTo>
                  <a:lnTo>
                    <a:pt x="409141" y="99538"/>
                  </a:lnTo>
                  <a:lnTo>
                    <a:pt x="409141" y="226788"/>
                  </a:lnTo>
                  <a:lnTo>
                    <a:pt x="360638" y="226788"/>
                  </a:lnTo>
                  <a:cubicBezTo>
                    <a:pt x="358355" y="137199"/>
                    <a:pt x="284744" y="65300"/>
                    <a:pt x="195155" y="65300"/>
                  </a:cubicBezTo>
                  <a:cubicBezTo>
                    <a:pt x="104996" y="65300"/>
                    <a:pt x="31385" y="137199"/>
                    <a:pt x="29673" y="226788"/>
                  </a:cubicBezTo>
                  <a:lnTo>
                    <a:pt x="8559" y="226788"/>
                  </a:lnTo>
                  <a:cubicBezTo>
                    <a:pt x="3994" y="226788"/>
                    <a:pt x="0" y="230782"/>
                    <a:pt x="0" y="235347"/>
                  </a:cubicBezTo>
                  <a:lnTo>
                    <a:pt x="0" y="328930"/>
                  </a:lnTo>
                  <a:cubicBezTo>
                    <a:pt x="0" y="333496"/>
                    <a:pt x="3994" y="337490"/>
                    <a:pt x="8559" y="337490"/>
                  </a:cubicBezTo>
                  <a:lnTo>
                    <a:pt x="452509" y="337490"/>
                  </a:lnTo>
                  <a:cubicBezTo>
                    <a:pt x="457074" y="337490"/>
                    <a:pt x="461068" y="333496"/>
                    <a:pt x="461068" y="328930"/>
                  </a:cubicBezTo>
                  <a:lnTo>
                    <a:pt x="461068" y="235347"/>
                  </a:lnTo>
                  <a:cubicBezTo>
                    <a:pt x="460498" y="230782"/>
                    <a:pt x="456503" y="226788"/>
                    <a:pt x="451938" y="226788"/>
                  </a:cubicBezTo>
                  <a:close/>
                  <a:moveTo>
                    <a:pt x="363491" y="64729"/>
                  </a:moveTo>
                  <a:lnTo>
                    <a:pt x="340095" y="44757"/>
                  </a:lnTo>
                  <a:cubicBezTo>
                    <a:pt x="333248" y="39051"/>
                    <a:pt x="332677" y="29350"/>
                    <a:pt x="338383" y="22503"/>
                  </a:cubicBezTo>
                  <a:cubicBezTo>
                    <a:pt x="341236" y="19079"/>
                    <a:pt x="344660" y="17367"/>
                    <a:pt x="349225" y="16796"/>
                  </a:cubicBezTo>
                  <a:cubicBezTo>
                    <a:pt x="349796" y="16796"/>
                    <a:pt x="350366" y="16796"/>
                    <a:pt x="350366" y="16796"/>
                  </a:cubicBezTo>
                  <a:cubicBezTo>
                    <a:pt x="353790" y="16796"/>
                    <a:pt x="357785" y="17938"/>
                    <a:pt x="360638" y="20791"/>
                  </a:cubicBezTo>
                  <a:lnTo>
                    <a:pt x="384034" y="40763"/>
                  </a:lnTo>
                  <a:lnTo>
                    <a:pt x="384034" y="40763"/>
                  </a:lnTo>
                  <a:cubicBezTo>
                    <a:pt x="390881" y="46469"/>
                    <a:pt x="391452" y="56170"/>
                    <a:pt x="385745" y="63017"/>
                  </a:cubicBezTo>
                  <a:cubicBezTo>
                    <a:pt x="380039" y="69294"/>
                    <a:pt x="370338" y="70435"/>
                    <a:pt x="363491" y="64729"/>
                  </a:cubicBezTo>
                  <a:close/>
                  <a:moveTo>
                    <a:pt x="194585" y="81848"/>
                  </a:moveTo>
                  <a:cubicBezTo>
                    <a:pt x="275043" y="81848"/>
                    <a:pt x="341236" y="146329"/>
                    <a:pt x="342948" y="226217"/>
                  </a:cubicBezTo>
                  <a:lnTo>
                    <a:pt x="46221" y="226217"/>
                  </a:lnTo>
                  <a:cubicBezTo>
                    <a:pt x="48503" y="146329"/>
                    <a:pt x="114126" y="81848"/>
                    <a:pt x="194585" y="81848"/>
                  </a:cubicBezTo>
                  <a:close/>
                  <a:moveTo>
                    <a:pt x="443379" y="320371"/>
                  </a:moveTo>
                  <a:lnTo>
                    <a:pt x="16548" y="320371"/>
                  </a:lnTo>
                  <a:lnTo>
                    <a:pt x="16548" y="243907"/>
                  </a:lnTo>
                  <a:lnTo>
                    <a:pt x="443379" y="243907"/>
                  </a:lnTo>
                  <a:lnTo>
                    <a:pt x="443379" y="32037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6EFBBDF3-5282-4319-9A2A-F8EEF1055BF2}"/>
              </a:ext>
            </a:extLst>
          </p:cNvPr>
          <p:cNvGrpSpPr/>
          <p:nvPr/>
        </p:nvGrpSpPr>
        <p:grpSpPr>
          <a:xfrm>
            <a:off x="1570940" y="4512299"/>
            <a:ext cx="475430" cy="307631"/>
            <a:chOff x="6456937" y="3498028"/>
            <a:chExt cx="475430" cy="307631"/>
          </a:xfrm>
          <a:solidFill>
            <a:schemeClr val="tx1"/>
          </a:solidFill>
        </p:grpSpPr>
        <p:sp>
          <p:nvSpPr>
            <p:cNvPr id="15" name="Полилиния: фигура 149">
              <a:extLst>
                <a:ext uri="{FF2B5EF4-FFF2-40B4-BE49-F238E27FC236}">
                  <a16:creationId xmlns:a16="http://schemas.microsoft.com/office/drawing/2014/main" id="{C1C6AD35-FA6E-42FE-B650-5B51309F97BD}"/>
                </a:ext>
              </a:extLst>
            </p:cNvPr>
            <p:cNvSpPr/>
            <p:nvPr/>
          </p:nvSpPr>
          <p:spPr>
            <a:xfrm>
              <a:off x="6456937" y="3498028"/>
              <a:ext cx="475430" cy="307631"/>
            </a:xfrm>
            <a:custGeom>
              <a:avLst/>
              <a:gdLst>
                <a:gd name="connsiteX0" fmla="*/ 467040 w 475430"/>
                <a:gd name="connsiteY0" fmla="*/ 0 h 307631"/>
                <a:gd name="connsiteX1" fmla="*/ 8390 w 475430"/>
                <a:gd name="connsiteY1" fmla="*/ 0 h 307631"/>
                <a:gd name="connsiteX2" fmla="*/ 0 w 475430"/>
                <a:gd name="connsiteY2" fmla="*/ 8390 h 307631"/>
                <a:gd name="connsiteX3" fmla="*/ 0 w 475430"/>
                <a:gd name="connsiteY3" fmla="*/ 299241 h 307631"/>
                <a:gd name="connsiteX4" fmla="*/ 8390 w 475430"/>
                <a:gd name="connsiteY4" fmla="*/ 307631 h 307631"/>
                <a:gd name="connsiteX5" fmla="*/ 467040 w 475430"/>
                <a:gd name="connsiteY5" fmla="*/ 307631 h 307631"/>
                <a:gd name="connsiteX6" fmla="*/ 475430 w 475430"/>
                <a:gd name="connsiteY6" fmla="*/ 299241 h 307631"/>
                <a:gd name="connsiteX7" fmla="*/ 475430 w 475430"/>
                <a:gd name="connsiteY7" fmla="*/ 8390 h 307631"/>
                <a:gd name="connsiteX8" fmla="*/ 467040 w 475430"/>
                <a:gd name="connsiteY8" fmla="*/ 0 h 307631"/>
                <a:gd name="connsiteX9" fmla="*/ 458650 w 475430"/>
                <a:gd name="connsiteY9" fmla="*/ 290851 h 307631"/>
                <a:gd name="connsiteX10" fmla="*/ 16780 w 475430"/>
                <a:gd name="connsiteY10" fmla="*/ 290851 h 307631"/>
                <a:gd name="connsiteX11" fmla="*/ 16780 w 475430"/>
                <a:gd name="connsiteY11" fmla="*/ 16780 h 307631"/>
                <a:gd name="connsiteX12" fmla="*/ 458650 w 475430"/>
                <a:gd name="connsiteY12" fmla="*/ 16780 h 307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5430" h="307631">
                  <a:moveTo>
                    <a:pt x="467040" y="0"/>
                  </a:moveTo>
                  <a:lnTo>
                    <a:pt x="8390" y="0"/>
                  </a:lnTo>
                  <a:cubicBezTo>
                    <a:pt x="3756" y="0"/>
                    <a:pt x="0" y="3756"/>
                    <a:pt x="0" y="8390"/>
                  </a:cubicBezTo>
                  <a:lnTo>
                    <a:pt x="0" y="299241"/>
                  </a:lnTo>
                  <a:cubicBezTo>
                    <a:pt x="0" y="303875"/>
                    <a:pt x="3756" y="307631"/>
                    <a:pt x="8390" y="307631"/>
                  </a:cubicBezTo>
                  <a:lnTo>
                    <a:pt x="467040" y="307631"/>
                  </a:lnTo>
                  <a:cubicBezTo>
                    <a:pt x="471674" y="307631"/>
                    <a:pt x="475430" y="303875"/>
                    <a:pt x="475430" y="299241"/>
                  </a:cubicBezTo>
                  <a:lnTo>
                    <a:pt x="475430" y="8390"/>
                  </a:lnTo>
                  <a:cubicBezTo>
                    <a:pt x="475430" y="3756"/>
                    <a:pt x="471674" y="0"/>
                    <a:pt x="467040" y="0"/>
                  </a:cubicBezTo>
                  <a:close/>
                  <a:moveTo>
                    <a:pt x="458650" y="290851"/>
                  </a:moveTo>
                  <a:lnTo>
                    <a:pt x="16780" y="290851"/>
                  </a:lnTo>
                  <a:lnTo>
                    <a:pt x="16780" y="16780"/>
                  </a:lnTo>
                  <a:lnTo>
                    <a:pt x="458650" y="16780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Полилиния: фигура 150">
              <a:extLst>
                <a:ext uri="{FF2B5EF4-FFF2-40B4-BE49-F238E27FC236}">
                  <a16:creationId xmlns:a16="http://schemas.microsoft.com/office/drawing/2014/main" id="{496A1DFF-0A32-49B1-8AA6-928E71B9824B}"/>
                </a:ext>
              </a:extLst>
            </p:cNvPr>
            <p:cNvSpPr/>
            <p:nvPr/>
          </p:nvSpPr>
          <p:spPr>
            <a:xfrm>
              <a:off x="6504480" y="3665817"/>
              <a:ext cx="178985" cy="95095"/>
            </a:xfrm>
            <a:custGeom>
              <a:avLst/>
              <a:gdLst>
                <a:gd name="connsiteX0" fmla="*/ 8390 w 178985"/>
                <a:gd name="connsiteY0" fmla="*/ 95096 h 95095"/>
                <a:gd name="connsiteX1" fmla="*/ 170596 w 178985"/>
                <a:gd name="connsiteY1" fmla="*/ 95096 h 95095"/>
                <a:gd name="connsiteX2" fmla="*/ 178986 w 178985"/>
                <a:gd name="connsiteY2" fmla="*/ 86706 h 95095"/>
                <a:gd name="connsiteX3" fmla="*/ 89493 w 178985"/>
                <a:gd name="connsiteY3" fmla="*/ 10 h 95095"/>
                <a:gd name="connsiteX4" fmla="*/ 0 w 178985"/>
                <a:gd name="connsiteY4" fmla="*/ 86706 h 95095"/>
                <a:gd name="connsiteX5" fmla="*/ 8390 w 178985"/>
                <a:gd name="connsiteY5" fmla="*/ 95096 h 95095"/>
                <a:gd name="connsiteX6" fmla="*/ 89493 w 178985"/>
                <a:gd name="connsiteY6" fmla="*/ 16790 h 95095"/>
                <a:gd name="connsiteX7" fmla="*/ 161702 w 178985"/>
                <a:gd name="connsiteY7" fmla="*/ 78316 h 95095"/>
                <a:gd name="connsiteX8" fmla="*/ 17283 w 178985"/>
                <a:gd name="connsiteY8" fmla="*/ 78316 h 95095"/>
                <a:gd name="connsiteX9" fmla="*/ 89493 w 178985"/>
                <a:gd name="connsiteY9" fmla="*/ 16790 h 95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985" h="95095">
                  <a:moveTo>
                    <a:pt x="8390" y="95096"/>
                  </a:moveTo>
                  <a:lnTo>
                    <a:pt x="170596" y="95096"/>
                  </a:lnTo>
                  <a:cubicBezTo>
                    <a:pt x="175229" y="95096"/>
                    <a:pt x="178986" y="91339"/>
                    <a:pt x="178986" y="86706"/>
                  </a:cubicBezTo>
                  <a:cubicBezTo>
                    <a:pt x="178158" y="38077"/>
                    <a:pt x="138124" y="-707"/>
                    <a:pt x="89493" y="10"/>
                  </a:cubicBezTo>
                  <a:cubicBezTo>
                    <a:pt x="40862" y="-707"/>
                    <a:pt x="827" y="38077"/>
                    <a:pt x="0" y="86706"/>
                  </a:cubicBezTo>
                  <a:cubicBezTo>
                    <a:pt x="0" y="91339"/>
                    <a:pt x="3756" y="95096"/>
                    <a:pt x="8390" y="95096"/>
                  </a:cubicBezTo>
                  <a:close/>
                  <a:moveTo>
                    <a:pt x="89493" y="16790"/>
                  </a:moveTo>
                  <a:cubicBezTo>
                    <a:pt x="125601" y="16245"/>
                    <a:pt x="156507" y="42579"/>
                    <a:pt x="161702" y="78316"/>
                  </a:cubicBezTo>
                  <a:lnTo>
                    <a:pt x="17283" y="78316"/>
                  </a:lnTo>
                  <a:cubicBezTo>
                    <a:pt x="22478" y="42579"/>
                    <a:pt x="53384" y="16245"/>
                    <a:pt x="89493" y="1679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Полилиния: фигура 151">
              <a:extLst>
                <a:ext uri="{FF2B5EF4-FFF2-40B4-BE49-F238E27FC236}">
                  <a16:creationId xmlns:a16="http://schemas.microsoft.com/office/drawing/2014/main" id="{83DEDF78-FE9B-4A70-88C0-EE71E8ECD3A7}"/>
                </a:ext>
              </a:extLst>
            </p:cNvPr>
            <p:cNvSpPr/>
            <p:nvPr/>
          </p:nvSpPr>
          <p:spPr>
            <a:xfrm>
              <a:off x="6546430" y="3553961"/>
              <a:ext cx="95086" cy="95086"/>
            </a:xfrm>
            <a:custGeom>
              <a:avLst/>
              <a:gdLst>
                <a:gd name="connsiteX0" fmla="*/ 47543 w 95086"/>
                <a:gd name="connsiteY0" fmla="*/ 95086 h 95086"/>
                <a:gd name="connsiteX1" fmla="*/ 95086 w 95086"/>
                <a:gd name="connsiteY1" fmla="*/ 47543 h 95086"/>
                <a:gd name="connsiteX2" fmla="*/ 47543 w 95086"/>
                <a:gd name="connsiteY2" fmla="*/ 0 h 95086"/>
                <a:gd name="connsiteX3" fmla="*/ 0 w 95086"/>
                <a:gd name="connsiteY3" fmla="*/ 47543 h 95086"/>
                <a:gd name="connsiteX4" fmla="*/ 47543 w 95086"/>
                <a:gd name="connsiteY4" fmla="*/ 95086 h 95086"/>
                <a:gd name="connsiteX5" fmla="*/ 47543 w 95086"/>
                <a:gd name="connsiteY5" fmla="*/ 16780 h 95086"/>
                <a:gd name="connsiteX6" fmla="*/ 78306 w 95086"/>
                <a:gd name="connsiteY6" fmla="*/ 47543 h 95086"/>
                <a:gd name="connsiteX7" fmla="*/ 47543 w 95086"/>
                <a:gd name="connsiteY7" fmla="*/ 78306 h 95086"/>
                <a:gd name="connsiteX8" fmla="*/ 16780 w 95086"/>
                <a:gd name="connsiteY8" fmla="*/ 47543 h 95086"/>
                <a:gd name="connsiteX9" fmla="*/ 47543 w 95086"/>
                <a:gd name="connsiteY9" fmla="*/ 16780 h 95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086" h="95086">
                  <a:moveTo>
                    <a:pt x="47543" y="95086"/>
                  </a:moveTo>
                  <a:cubicBezTo>
                    <a:pt x="73800" y="95086"/>
                    <a:pt x="95086" y="73800"/>
                    <a:pt x="95086" y="47543"/>
                  </a:cubicBezTo>
                  <a:cubicBezTo>
                    <a:pt x="95086" y="21286"/>
                    <a:pt x="73800" y="0"/>
                    <a:pt x="47543" y="0"/>
                  </a:cubicBezTo>
                  <a:cubicBezTo>
                    <a:pt x="21286" y="0"/>
                    <a:pt x="0" y="21286"/>
                    <a:pt x="0" y="47543"/>
                  </a:cubicBezTo>
                  <a:cubicBezTo>
                    <a:pt x="31" y="73787"/>
                    <a:pt x="21299" y="95055"/>
                    <a:pt x="47543" y="95086"/>
                  </a:cubicBezTo>
                  <a:close/>
                  <a:moveTo>
                    <a:pt x="47543" y="16780"/>
                  </a:moveTo>
                  <a:cubicBezTo>
                    <a:pt x="64533" y="16780"/>
                    <a:pt x="78306" y="30553"/>
                    <a:pt x="78306" y="47543"/>
                  </a:cubicBezTo>
                  <a:cubicBezTo>
                    <a:pt x="78306" y="64533"/>
                    <a:pt x="64533" y="78306"/>
                    <a:pt x="47543" y="78306"/>
                  </a:cubicBezTo>
                  <a:cubicBezTo>
                    <a:pt x="30553" y="78306"/>
                    <a:pt x="16780" y="64533"/>
                    <a:pt x="16780" y="47543"/>
                  </a:cubicBezTo>
                  <a:cubicBezTo>
                    <a:pt x="16811" y="30566"/>
                    <a:pt x="30566" y="16811"/>
                    <a:pt x="47543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Полилиния: фигура 152">
              <a:extLst>
                <a:ext uri="{FF2B5EF4-FFF2-40B4-BE49-F238E27FC236}">
                  <a16:creationId xmlns:a16="http://schemas.microsoft.com/office/drawing/2014/main" id="{F8C0100A-4560-4AD1-81F6-EC5C04C50256}"/>
                </a:ext>
              </a:extLst>
            </p:cNvPr>
            <p:cNvSpPr/>
            <p:nvPr/>
          </p:nvSpPr>
          <p:spPr>
            <a:xfrm>
              <a:off x="6691855" y="3587521"/>
              <a:ext cx="184578" cy="16779"/>
            </a:xfrm>
            <a:custGeom>
              <a:avLst/>
              <a:gdLst>
                <a:gd name="connsiteX0" fmla="*/ 8390 w 184578"/>
                <a:gd name="connsiteY0" fmla="*/ 16780 h 16779"/>
                <a:gd name="connsiteX1" fmla="*/ 176189 w 184578"/>
                <a:gd name="connsiteY1" fmla="*/ 16780 h 16779"/>
                <a:gd name="connsiteX2" fmla="*/ 184579 w 184578"/>
                <a:gd name="connsiteY2" fmla="*/ 8390 h 16779"/>
                <a:gd name="connsiteX3" fmla="*/ 176189 w 184578"/>
                <a:gd name="connsiteY3" fmla="*/ 0 h 16779"/>
                <a:gd name="connsiteX4" fmla="*/ 8390 w 184578"/>
                <a:gd name="connsiteY4" fmla="*/ 0 h 16779"/>
                <a:gd name="connsiteX5" fmla="*/ 0 w 184578"/>
                <a:gd name="connsiteY5" fmla="*/ 8390 h 16779"/>
                <a:gd name="connsiteX6" fmla="*/ 8390 w 184578"/>
                <a:gd name="connsiteY6" fmla="*/ 1678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78" h="16779">
                  <a:moveTo>
                    <a:pt x="8390" y="16780"/>
                  </a:moveTo>
                  <a:lnTo>
                    <a:pt x="176189" y="16780"/>
                  </a:lnTo>
                  <a:cubicBezTo>
                    <a:pt x="180822" y="16780"/>
                    <a:pt x="184579" y="13023"/>
                    <a:pt x="184579" y="8390"/>
                  </a:cubicBezTo>
                  <a:cubicBezTo>
                    <a:pt x="184579" y="3756"/>
                    <a:pt x="180822" y="0"/>
                    <a:pt x="176189" y="0"/>
                  </a:cubicBezTo>
                  <a:lnTo>
                    <a:pt x="8390" y="0"/>
                  </a:lnTo>
                  <a:cubicBezTo>
                    <a:pt x="3756" y="0"/>
                    <a:pt x="0" y="3756"/>
                    <a:pt x="0" y="8390"/>
                  </a:cubicBezTo>
                  <a:cubicBezTo>
                    <a:pt x="0" y="13023"/>
                    <a:pt x="3756" y="16780"/>
                    <a:pt x="8390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Полилиния: фигура 153">
              <a:extLst>
                <a:ext uri="{FF2B5EF4-FFF2-40B4-BE49-F238E27FC236}">
                  <a16:creationId xmlns:a16="http://schemas.microsoft.com/office/drawing/2014/main" id="{7698371D-C422-44C8-8447-C4FE32493225}"/>
                </a:ext>
              </a:extLst>
            </p:cNvPr>
            <p:cNvSpPr/>
            <p:nvPr/>
          </p:nvSpPr>
          <p:spPr>
            <a:xfrm>
              <a:off x="6691855" y="3665827"/>
              <a:ext cx="184578" cy="16779"/>
            </a:xfrm>
            <a:custGeom>
              <a:avLst/>
              <a:gdLst>
                <a:gd name="connsiteX0" fmla="*/ 8390 w 184578"/>
                <a:gd name="connsiteY0" fmla="*/ 16780 h 16779"/>
                <a:gd name="connsiteX1" fmla="*/ 176189 w 184578"/>
                <a:gd name="connsiteY1" fmla="*/ 16780 h 16779"/>
                <a:gd name="connsiteX2" fmla="*/ 184579 w 184578"/>
                <a:gd name="connsiteY2" fmla="*/ 8390 h 16779"/>
                <a:gd name="connsiteX3" fmla="*/ 176189 w 184578"/>
                <a:gd name="connsiteY3" fmla="*/ 0 h 16779"/>
                <a:gd name="connsiteX4" fmla="*/ 8390 w 184578"/>
                <a:gd name="connsiteY4" fmla="*/ 0 h 16779"/>
                <a:gd name="connsiteX5" fmla="*/ 0 w 184578"/>
                <a:gd name="connsiteY5" fmla="*/ 8390 h 16779"/>
                <a:gd name="connsiteX6" fmla="*/ 8390 w 184578"/>
                <a:gd name="connsiteY6" fmla="*/ 1678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78" h="16779">
                  <a:moveTo>
                    <a:pt x="8390" y="16780"/>
                  </a:moveTo>
                  <a:lnTo>
                    <a:pt x="176189" y="16780"/>
                  </a:lnTo>
                  <a:cubicBezTo>
                    <a:pt x="180822" y="16780"/>
                    <a:pt x="184579" y="13023"/>
                    <a:pt x="184579" y="8390"/>
                  </a:cubicBezTo>
                  <a:cubicBezTo>
                    <a:pt x="184579" y="3756"/>
                    <a:pt x="180822" y="0"/>
                    <a:pt x="176189" y="0"/>
                  </a:cubicBezTo>
                  <a:lnTo>
                    <a:pt x="8390" y="0"/>
                  </a:lnTo>
                  <a:cubicBezTo>
                    <a:pt x="3756" y="0"/>
                    <a:pt x="0" y="3756"/>
                    <a:pt x="0" y="8390"/>
                  </a:cubicBezTo>
                  <a:cubicBezTo>
                    <a:pt x="0" y="13023"/>
                    <a:pt x="3756" y="16780"/>
                    <a:pt x="8390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9459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Как пройти аудит?</a:t>
            </a:r>
            <a:br>
              <a:rPr lang="ru-RU" dirty="0"/>
            </a:br>
            <a:r>
              <a:rPr lang="ru-RU" dirty="0" err="1"/>
              <a:t>Лайфхаки</a:t>
            </a:r>
            <a:r>
              <a:rPr lang="ru-RU" dirty="0"/>
              <a:t>. 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71499" y="3837164"/>
            <a:ext cx="8995021" cy="575542"/>
          </a:xfrm>
        </p:spPr>
        <p:txBody>
          <a:bodyPr/>
          <a:lstStyle/>
          <a:p>
            <a:r>
              <a:rPr lang="ru-RU" dirty="0"/>
              <a:t>Ведущий эксперт-аудитор</a:t>
            </a:r>
          </a:p>
          <a:p>
            <a:r>
              <a:rPr lang="ru-RU" dirty="0"/>
              <a:t>Ольга </a:t>
            </a:r>
            <a:r>
              <a:rPr lang="ru-RU" dirty="0" smtClean="0"/>
              <a:t>Афонин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66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98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1499" y="2936557"/>
            <a:ext cx="6172201" cy="984885"/>
          </a:xfrm>
        </p:spPr>
        <p:txBody>
          <a:bodyPr vert="horz"/>
          <a:lstStyle/>
          <a:p>
            <a:r>
              <a:rPr lang="ru-RU" dirty="0"/>
              <a:t>Можно ли избежать аудита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562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22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1497" y="346324"/>
            <a:ext cx="10002539" cy="276999"/>
          </a:xfrm>
        </p:spPr>
        <p:txBody>
          <a:bodyPr vert="horz"/>
          <a:lstStyle/>
          <a:p>
            <a:pPr>
              <a:lnSpc>
                <a:spcPct val="90000"/>
              </a:lnSpc>
            </a:pPr>
            <a:r>
              <a:rPr lang="ru-RU" sz="2000" dirty="0">
                <a:cs typeface="Arial" panose="020B0604020202020204" pitchFamily="34" charset="0"/>
              </a:rPr>
              <a:t>Аудит поставщиков в «Ленте»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766344E1-0F76-4023-B180-E4B0CE5660A5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71496" y="1848689"/>
            <a:ext cx="1105058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ru-RU" sz="1200" dirty="0"/>
              <a:t>Обеспечить присутствие в Ленте поставщиков, которые способны гарантировать стабильное качество и безопасность продукции. 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571497" y="1115998"/>
          <a:ext cx="11050588" cy="4524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50588">
                  <a:extLst>
                    <a:ext uri="{9D8B030D-6E8A-4147-A177-3AD203B41FA5}">
                      <a16:colId xmlns:a16="http://schemas.microsoft.com/office/drawing/2014/main" val="2700010401"/>
                    </a:ext>
                  </a:extLst>
                </a:gridCol>
              </a:tblGrid>
              <a:tr h="452429">
                <a:tc>
                  <a:txBody>
                    <a:bodyPr/>
                    <a:lstStyle/>
                    <a:p>
                      <a:pPr marL="431800" indent="-249238">
                        <a:spcBef>
                          <a:spcPts val="1200"/>
                        </a:spcBef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Цель: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852639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/>
          </p:nvPr>
        </p:nvGraphicFramePr>
        <p:xfrm>
          <a:off x="571495" y="4774130"/>
          <a:ext cx="11050592" cy="4513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50592">
                  <a:extLst>
                    <a:ext uri="{9D8B030D-6E8A-4147-A177-3AD203B41FA5}">
                      <a16:colId xmlns:a16="http://schemas.microsoft.com/office/drawing/2014/main" val="2700010401"/>
                    </a:ext>
                  </a:extLst>
                </a:gridCol>
              </a:tblGrid>
              <a:tr h="451307">
                <a:tc>
                  <a:txBody>
                    <a:bodyPr/>
                    <a:lstStyle/>
                    <a:p>
                      <a:pPr marL="432000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852639"/>
                  </a:ext>
                </a:extLst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/>
          </p:nvPr>
        </p:nvGraphicFramePr>
        <p:xfrm>
          <a:off x="571496" y="2404984"/>
          <a:ext cx="11050589" cy="4524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50589">
                  <a:extLst>
                    <a:ext uri="{9D8B030D-6E8A-4147-A177-3AD203B41FA5}">
                      <a16:colId xmlns:a16="http://schemas.microsoft.com/office/drawing/2014/main" val="2700010401"/>
                    </a:ext>
                  </a:extLst>
                </a:gridCol>
              </a:tblGrid>
              <a:tr h="452429">
                <a:tc>
                  <a:txBody>
                    <a:bodyPr/>
                    <a:lstStyle/>
                    <a:p>
                      <a:pPr marL="431800" indent="-249238">
                        <a:spcBef>
                          <a:spcPts val="1200"/>
                        </a:spcBef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Задачи: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852639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571495" y="3017462"/>
            <a:ext cx="1105059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/>
              <a:t>Установить, что на производственной площадке поставщика исполняются требования нормативных актов к продукции, процессам ее производства и ее обороту</a:t>
            </a:r>
            <a:r>
              <a:rPr lang="ru-RU" sz="1200" dirty="0">
                <a:latin typeface="Verdana (Основной текст)"/>
              </a:rPr>
              <a:t>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200" dirty="0">
              <a:latin typeface="Verdana (Основной текст)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latin typeface="Verdana (Основной текст)"/>
              </a:rPr>
              <a:t>Подтвердить, что действующая система качества обеспечивает безопасность пищевых продуктов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200" dirty="0">
              <a:latin typeface="Verdana (Основной текст)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latin typeface="Verdana (Основной текст)"/>
              </a:rPr>
              <a:t>Подтвердить, что организация соответствует собственным политикам и процедурам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0B4896-07E5-429A-BE43-310398A462D5}"/>
              </a:ext>
            </a:extLst>
          </p:cNvPr>
          <p:cNvSpPr txBox="1"/>
          <p:nvPr/>
        </p:nvSpPr>
        <p:spPr>
          <a:xfrm>
            <a:off x="715498" y="4931887"/>
            <a:ext cx="4455154" cy="2215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b="1" dirty="0" smtClean="0">
                <a:cs typeface="Arial" panose="020B0604020202020204" pitchFamily="34" charset="0"/>
              </a:rPr>
              <a:t>Регламенты</a:t>
            </a:r>
            <a:r>
              <a:rPr lang="ru-RU" sz="1600" b="1" dirty="0" smtClean="0">
                <a:cs typeface="Arial" panose="020B0604020202020204" pitchFamily="34" charset="0"/>
              </a:rPr>
              <a:t>:</a:t>
            </a:r>
            <a:endParaRPr lang="ru-RU" sz="1600" b="1" dirty="0"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71497" y="5540698"/>
            <a:ext cx="1105058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latin typeface="Verdana (Основной текст)"/>
                <a:cs typeface="Calibri" panose="020F0502020204030204" pitchFamily="34" charset="0"/>
              </a:rPr>
              <a:t>Система менеджмента качества и пищевой безопасности «Ленты</a:t>
            </a:r>
            <a:r>
              <a:rPr lang="ru-RU" sz="1200" dirty="0" smtClean="0">
                <a:latin typeface="Verdana (Основной текст)"/>
                <a:cs typeface="Calibri" panose="020F0502020204030204" pitchFamily="34" charset="0"/>
              </a:rPr>
              <a:t>»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200" dirty="0" smtClean="0">
              <a:latin typeface="Verdana (Основной текст)"/>
              <a:cs typeface="Calibri" panose="020F050202020403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latin typeface="Verdana (Основной текст)"/>
                <a:cs typeface="Calibri" panose="020F0502020204030204" pitchFamily="34" charset="0"/>
              </a:rPr>
              <a:t>Договор поставки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ru-RU" sz="1200" dirty="0">
              <a:latin typeface="Verdana (Основной текст)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07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46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276999"/>
          </a:xfrm>
        </p:spPr>
        <p:txBody>
          <a:bodyPr vert="horz"/>
          <a:lstStyle/>
          <a:p>
            <a:pPr>
              <a:lnSpc>
                <a:spcPct val="90000"/>
              </a:lnSpc>
            </a:pPr>
            <a:r>
              <a:rPr lang="ru-RU" sz="2000" dirty="0">
                <a:cs typeface="Arial" panose="020B0604020202020204" pitchFamily="34" charset="0"/>
              </a:rPr>
              <a:t>Договор постав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571499" y="1203180"/>
            <a:ext cx="10659035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ru-RU" sz="1200" b="1" i="1" dirty="0"/>
              <a:t>П.5.4. </a:t>
            </a:r>
            <a:r>
              <a:rPr lang="ru-RU" sz="1200" i="1" dirty="0"/>
              <a:t>В случае обнаружения несоответствия Товара требованиям закона и/или Договора, Покупатель вправе потребовать, а Поставщик обязан обеспечить проведение Покупателем или указанным им третьим лицом аудита Поставщика, то есть проверки деятельности Поставщика, позволяющей установить исполнение последним требований нормативных актов к процессам производства хранения и транспортировки Товаров.</a:t>
            </a:r>
          </a:p>
          <a:p>
            <a:pPr algn="just">
              <a:spcAft>
                <a:spcPts val="1200"/>
              </a:spcAft>
            </a:pPr>
            <a:r>
              <a:rPr lang="ru-RU" sz="1200" i="1" dirty="0"/>
              <a:t>Аудит проводится относительно документации, описывающей процессы производства, а также относительно зданий  и сооружений, непосредственно используемых в процессах производства, хранения, перевозки, реализации сырья и готовой продукции. </a:t>
            </a:r>
          </a:p>
          <a:p>
            <a:pPr algn="just">
              <a:spcAft>
                <a:spcPts val="1200"/>
              </a:spcAft>
            </a:pPr>
            <a:r>
              <a:rPr lang="ru-RU" sz="1200" i="1" dirty="0"/>
              <a:t>Отказ поставщика от обеспечения Аудита является основанием для отказа Покупателя от исполнения Договора.</a:t>
            </a:r>
          </a:p>
          <a:p>
            <a:pPr algn="just">
              <a:spcAft>
                <a:spcPts val="1200"/>
              </a:spcAft>
            </a:pPr>
            <a:r>
              <a:rPr lang="ru-RU" sz="1200" i="1" dirty="0"/>
              <a:t>Факт поставки Недоброкачественного Товара удостоверяется заключение Покупателя или результатами экспертизы (исследования). </a:t>
            </a:r>
          </a:p>
          <a:p>
            <a:pPr algn="just">
              <a:spcAft>
                <a:spcPts val="1200"/>
              </a:spcAft>
            </a:pPr>
            <a:r>
              <a:rPr lang="ru-RU" sz="1200" b="1" dirty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06059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1499" y="2209451"/>
            <a:ext cx="8995021" cy="1661993"/>
          </a:xfrm>
        </p:spPr>
        <p:txBody>
          <a:bodyPr/>
          <a:lstStyle/>
          <a:p>
            <a:r>
              <a:rPr lang="ru-RU" dirty="0" smtClean="0"/>
              <a:t>Как </a:t>
            </a:r>
            <a:r>
              <a:rPr lang="ru-RU" dirty="0"/>
              <a:t>пройти проверку маркировки и документов быстро и без проблем?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71500" y="4039294"/>
            <a:ext cx="8995021" cy="901785"/>
          </a:xfrm>
        </p:spPr>
        <p:txBody>
          <a:bodyPr/>
          <a:lstStyle/>
          <a:p>
            <a:r>
              <a:rPr lang="ru-RU" dirty="0" smtClean="0"/>
              <a:t>Менеджер </a:t>
            </a:r>
            <a:r>
              <a:rPr lang="ru-RU" dirty="0"/>
              <a:t>по идентификации товаров</a:t>
            </a:r>
          </a:p>
          <a:p>
            <a:r>
              <a:rPr lang="ru-RU" dirty="0"/>
              <a:t>Юлия Копчиков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3016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7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4B5C99-6B51-4E3B-9BD0-40676D4B9B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338554"/>
          </a:xfrm>
        </p:spPr>
        <p:txBody>
          <a:bodyPr vert="horz"/>
          <a:lstStyle/>
          <a:p>
            <a:r>
              <a:rPr lang="ru-RU" dirty="0"/>
              <a:t>Мониторинг качества и безопасности продукции</a:t>
            </a:r>
            <a:endParaRPr lang="ru-RU" sz="22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11100118" y="6548344"/>
            <a:ext cx="521970" cy="215444"/>
          </a:xfrm>
        </p:spPr>
        <p:txBody>
          <a:bodyPr/>
          <a:lstStyle/>
          <a:p>
            <a:fld id="{766344E1-0F76-4023-B180-E4B0CE5660A5}" type="slidenum">
              <a:rPr lang="en-US" smtClean="0"/>
              <a:pPr/>
              <a:t>40</a:t>
            </a:fld>
            <a:endParaRPr lang="en-US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576621" y="2269714"/>
            <a:ext cx="2095458" cy="3497387"/>
            <a:chOff x="576621" y="2269714"/>
            <a:chExt cx="2095458" cy="3497387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775499" y="3124875"/>
              <a:ext cx="1721362" cy="1683372"/>
              <a:chOff x="775499" y="3124875"/>
              <a:chExt cx="1721362" cy="1683372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C65D0E19-EBD5-1BC0-813A-B15F60588B06}"/>
                  </a:ext>
                </a:extLst>
              </p:cNvPr>
              <p:cNvSpPr txBox="1"/>
              <p:nvPr/>
            </p:nvSpPr>
            <p:spPr>
              <a:xfrm>
                <a:off x="775499" y="3124875"/>
                <a:ext cx="1721362" cy="8617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71513">
                  <a:spcAft>
                    <a:spcPts val="450"/>
                  </a:spcAft>
                  <a:buClr>
                    <a:schemeClr val="accent1"/>
                  </a:buClr>
                </a:pPr>
                <a:r>
                  <a:rPr lang="ru-RU" sz="1400" b="1" dirty="0"/>
                  <a:t>Жалобы на качество и безопасность товаров 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CA3DEC8-80E1-0BAC-3A1A-1077F692F014}"/>
                  </a:ext>
                </a:extLst>
              </p:cNvPr>
              <p:cNvSpPr txBox="1"/>
              <p:nvPr/>
            </p:nvSpPr>
            <p:spPr>
              <a:xfrm>
                <a:off x="775499" y="4438915"/>
                <a:ext cx="1721362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spcAft>
                    <a:spcPts val="500"/>
                  </a:spcAft>
                  <a:buClr>
                    <a:srgbClr val="2FCBFF"/>
                  </a:buClr>
                  <a:defRPr/>
                </a:pPr>
                <a:r>
                  <a:rPr lang="ru-RU" sz="1200" dirty="0"/>
                  <a:t>Жалобы от потребителей и ТС</a:t>
                </a:r>
              </a:p>
            </p:txBody>
          </p:sp>
        </p:grpSp>
        <p:grpSp>
          <p:nvGrpSpPr>
            <p:cNvPr id="6" name="Группа 5"/>
            <p:cNvGrpSpPr/>
            <p:nvPr/>
          </p:nvGrpSpPr>
          <p:grpSpPr>
            <a:xfrm>
              <a:off x="576621" y="2269714"/>
              <a:ext cx="2095458" cy="3497387"/>
              <a:chOff x="576621" y="2269714"/>
              <a:chExt cx="2095458" cy="3497387"/>
            </a:xfrm>
          </p:grpSpPr>
          <p:grpSp>
            <p:nvGrpSpPr>
              <p:cNvPr id="35" name="Группа 34">
                <a:extLst>
                  <a:ext uri="{FF2B5EF4-FFF2-40B4-BE49-F238E27FC236}">
                    <a16:creationId xmlns:a16="http://schemas.microsoft.com/office/drawing/2014/main" id="{F4B25B1F-AF17-EE6C-EFAA-7F57F661E991}"/>
                  </a:ext>
                </a:extLst>
              </p:cNvPr>
              <p:cNvGrpSpPr/>
              <p:nvPr/>
            </p:nvGrpSpPr>
            <p:grpSpPr>
              <a:xfrm>
                <a:off x="576621" y="2576357"/>
                <a:ext cx="2095458" cy="3190744"/>
                <a:chOff x="571500" y="1195342"/>
                <a:chExt cx="11058716" cy="2444237"/>
              </a:xfrm>
            </p:grpSpPr>
            <p:sp>
              <p:nvSpPr>
                <p:cNvPr id="36" name="Прямоугольник 36">
                  <a:extLst>
                    <a:ext uri="{FF2B5EF4-FFF2-40B4-BE49-F238E27FC236}">
                      <a16:creationId xmlns:a16="http://schemas.microsoft.com/office/drawing/2014/main" id="{1DD3D5EA-E28D-BFAE-0003-6ECED0CD73D5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444237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37" name="Прямая соединительная линия 36">
                  <a:extLst>
                    <a:ext uri="{FF2B5EF4-FFF2-40B4-BE49-F238E27FC236}">
                      <a16:creationId xmlns:a16="http://schemas.microsoft.com/office/drawing/2014/main" id="{F78E17E4-B6EC-FCD1-DE50-9C039168BD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2" name="Овал 181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1284489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184" name="Текст 2">
            <a:extLst>
              <a:ext uri="{FF2B5EF4-FFF2-40B4-BE49-F238E27FC236}">
                <a16:creationId xmlns:a16="http://schemas.microsoft.com/office/drawing/2014/main" id="{2B38C693-911D-4131-8E93-29CC5671D516}"/>
              </a:ext>
            </a:extLst>
          </p:cNvPr>
          <p:cNvSpPr txBox="1">
            <a:spLocks/>
          </p:cNvSpPr>
          <p:nvPr/>
        </p:nvSpPr>
        <p:spPr>
          <a:xfrm>
            <a:off x="571500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 smtClean="0"/>
              <a:t>1</a:t>
            </a:r>
            <a:endParaRPr lang="ru-RU" sz="1800" b="1" dirty="0"/>
          </a:p>
        </p:txBody>
      </p:sp>
      <p:grpSp>
        <p:nvGrpSpPr>
          <p:cNvPr id="11" name="Группа 10"/>
          <p:cNvGrpSpPr/>
          <p:nvPr/>
        </p:nvGrpSpPr>
        <p:grpSpPr>
          <a:xfrm>
            <a:off x="2814123" y="2269714"/>
            <a:ext cx="2095458" cy="3497387"/>
            <a:chOff x="2814123" y="2269714"/>
            <a:chExt cx="2095458" cy="3497387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001170" y="3124875"/>
              <a:ext cx="1811831" cy="1528637"/>
              <a:chOff x="3001170" y="3124875"/>
              <a:chExt cx="1811831" cy="1528637"/>
            </a:xfrm>
          </p:grpSpPr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96C2D228-0EBB-A5EA-BB40-2E94D6D474EE}"/>
                  </a:ext>
                </a:extLst>
              </p:cNvPr>
              <p:cNvSpPr txBox="1"/>
              <p:nvPr/>
            </p:nvSpPr>
            <p:spPr>
              <a:xfrm>
                <a:off x="3013001" y="3124875"/>
                <a:ext cx="1800000" cy="8617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spcAft>
                    <a:spcPts val="1000"/>
                  </a:spcAft>
                  <a:buClr>
                    <a:srgbClr val="2FCBFF"/>
                  </a:buClr>
                  <a:defRPr/>
                </a:pPr>
                <a:r>
                  <a:rPr lang="ru-RU" sz="1400" b="1" dirty="0">
                    <a:cs typeface="Calibri" panose="020F0502020204030204" pitchFamily="34" charset="0"/>
                  </a:rPr>
                  <a:t>Результаты лабораторных исследований товаров</a:t>
                </a: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BA4649EE-FF7D-60E1-FE74-9BD019886BB7}"/>
                  </a:ext>
                </a:extLst>
              </p:cNvPr>
              <p:cNvSpPr txBox="1"/>
              <p:nvPr/>
            </p:nvSpPr>
            <p:spPr>
              <a:xfrm>
                <a:off x="3001170" y="4468846"/>
                <a:ext cx="1721362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spcAft>
                    <a:spcPts val="500"/>
                  </a:spcAft>
                  <a:buClr>
                    <a:srgbClr val="2FCBFF"/>
                  </a:buClr>
                  <a:defRPr/>
                </a:pPr>
                <a:r>
                  <a:rPr lang="ru-RU" sz="1200" dirty="0"/>
                  <a:t>План ППК</a:t>
                </a:r>
              </a:p>
            </p:txBody>
          </p:sp>
        </p:grpSp>
        <p:grpSp>
          <p:nvGrpSpPr>
            <p:cNvPr id="10" name="Группа 9"/>
            <p:cNvGrpSpPr/>
            <p:nvPr/>
          </p:nvGrpSpPr>
          <p:grpSpPr>
            <a:xfrm>
              <a:off x="2814123" y="2269714"/>
              <a:ext cx="2095458" cy="3497387"/>
              <a:chOff x="2814123" y="2269714"/>
              <a:chExt cx="2095458" cy="3497387"/>
            </a:xfrm>
          </p:grpSpPr>
          <p:grpSp>
            <p:nvGrpSpPr>
              <p:cNvPr id="74" name="Группа 73">
                <a:extLst>
                  <a:ext uri="{FF2B5EF4-FFF2-40B4-BE49-F238E27FC236}">
                    <a16:creationId xmlns:a16="http://schemas.microsoft.com/office/drawing/2014/main" id="{13B31DC7-5DA8-7A66-704E-9BEC6B139BE2}"/>
                  </a:ext>
                </a:extLst>
              </p:cNvPr>
              <p:cNvGrpSpPr/>
              <p:nvPr/>
            </p:nvGrpSpPr>
            <p:grpSpPr>
              <a:xfrm>
                <a:off x="2814123" y="2576357"/>
                <a:ext cx="2095458" cy="3190744"/>
                <a:chOff x="571500" y="1195342"/>
                <a:chExt cx="11058716" cy="2444237"/>
              </a:xfrm>
            </p:grpSpPr>
            <p:sp>
              <p:nvSpPr>
                <p:cNvPr id="79" name="Прямоугольник 36">
                  <a:extLst>
                    <a:ext uri="{FF2B5EF4-FFF2-40B4-BE49-F238E27FC236}">
                      <a16:creationId xmlns:a16="http://schemas.microsoft.com/office/drawing/2014/main" id="{E8181398-4B0D-C932-2CD4-9B3336DA1930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444237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80" name="Прямая соединительная линия 79">
                  <a:extLst>
                    <a:ext uri="{FF2B5EF4-FFF2-40B4-BE49-F238E27FC236}">
                      <a16:creationId xmlns:a16="http://schemas.microsoft.com/office/drawing/2014/main" id="{805767A0-2302-DD34-E435-F62541346D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7" name="Овал 76">
                <a:extLst>
                  <a:ext uri="{FF2B5EF4-FFF2-40B4-BE49-F238E27FC236}">
                    <a16:creationId xmlns:a16="http://schemas.microsoft.com/office/drawing/2014/main" id="{2333BA61-C33E-F63D-2012-A6614A6231AF}"/>
                  </a:ext>
                </a:extLst>
              </p:cNvPr>
              <p:cNvSpPr/>
              <p:nvPr/>
            </p:nvSpPr>
            <p:spPr>
              <a:xfrm>
                <a:off x="3521991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76" name="Текст 2">
            <a:extLst>
              <a:ext uri="{FF2B5EF4-FFF2-40B4-BE49-F238E27FC236}">
                <a16:creationId xmlns:a16="http://schemas.microsoft.com/office/drawing/2014/main" id="{81DE2CE4-D72F-D5BC-7577-2B164F6B1F6F}"/>
              </a:ext>
            </a:extLst>
          </p:cNvPr>
          <p:cNvSpPr txBox="1">
            <a:spLocks/>
          </p:cNvSpPr>
          <p:nvPr/>
        </p:nvSpPr>
        <p:spPr>
          <a:xfrm>
            <a:off x="2809002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 smtClean="0"/>
              <a:t>2</a:t>
            </a:r>
            <a:endParaRPr lang="ru-RU" sz="1800" b="1" dirty="0"/>
          </a:p>
        </p:txBody>
      </p:sp>
      <p:grpSp>
        <p:nvGrpSpPr>
          <p:cNvPr id="14" name="Группа 13"/>
          <p:cNvGrpSpPr/>
          <p:nvPr/>
        </p:nvGrpSpPr>
        <p:grpSpPr>
          <a:xfrm>
            <a:off x="5051625" y="2280920"/>
            <a:ext cx="2095458" cy="3486181"/>
            <a:chOff x="5051625" y="2280920"/>
            <a:chExt cx="2095458" cy="3486181"/>
          </a:xfrm>
        </p:grpSpPr>
        <p:grpSp>
          <p:nvGrpSpPr>
            <p:cNvPr id="12" name="Группа 11"/>
            <p:cNvGrpSpPr/>
            <p:nvPr/>
          </p:nvGrpSpPr>
          <p:grpSpPr>
            <a:xfrm>
              <a:off x="5195124" y="3124875"/>
              <a:ext cx="1808460" cy="1869662"/>
              <a:chOff x="5195124" y="3124875"/>
              <a:chExt cx="1808460" cy="1869662"/>
            </a:xfrm>
          </p:grpSpPr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CAA36BFD-4929-2D9E-D470-F5DEA2D7BFA6}"/>
                  </a:ext>
                </a:extLst>
              </p:cNvPr>
              <p:cNvSpPr txBox="1"/>
              <p:nvPr/>
            </p:nvSpPr>
            <p:spPr>
              <a:xfrm>
                <a:off x="5195124" y="3124875"/>
                <a:ext cx="1808460" cy="107721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spcAft>
                    <a:spcPts val="1000"/>
                  </a:spcAft>
                  <a:buClr>
                    <a:srgbClr val="2FCBFF"/>
                  </a:buClr>
                  <a:defRPr/>
                </a:pPr>
                <a:r>
                  <a:rPr lang="ru-RU" sz="1400" b="1" dirty="0">
                    <a:cs typeface="Calibri" panose="020F0502020204030204" pitchFamily="34" charset="0"/>
                  </a:rPr>
                  <a:t>Проверки государственных органов и общественных организаций </a:t>
                </a: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3FC7BDBD-AD4F-C856-7FAF-5935F32B2320}"/>
                  </a:ext>
                </a:extLst>
              </p:cNvPr>
              <p:cNvSpPr txBox="1"/>
              <p:nvPr/>
            </p:nvSpPr>
            <p:spPr>
              <a:xfrm>
                <a:off x="5195124" y="4440539"/>
                <a:ext cx="1721362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spcAft>
                    <a:spcPts val="500"/>
                  </a:spcAft>
                  <a:buClr>
                    <a:srgbClr val="2FCBFF"/>
                  </a:buClr>
                  <a:defRPr/>
                </a:pPr>
                <a:r>
                  <a:rPr lang="ru-RU" sz="1200" dirty="0"/>
                  <a:t>Предписания, уведомления, информация в СМИ</a:t>
                </a:r>
                <a:endParaRPr lang="ru-RU" sz="1200" b="0" dirty="0"/>
              </a:p>
            </p:txBody>
          </p:sp>
        </p:grpSp>
        <p:grpSp>
          <p:nvGrpSpPr>
            <p:cNvPr id="13" name="Группа 12"/>
            <p:cNvGrpSpPr/>
            <p:nvPr/>
          </p:nvGrpSpPr>
          <p:grpSpPr>
            <a:xfrm>
              <a:off x="5051625" y="2280920"/>
              <a:ext cx="2095458" cy="3486181"/>
              <a:chOff x="5051625" y="2280920"/>
              <a:chExt cx="2095458" cy="3486181"/>
            </a:xfrm>
          </p:grpSpPr>
          <p:grpSp>
            <p:nvGrpSpPr>
              <p:cNvPr id="84" name="Группа 83">
                <a:extLst>
                  <a:ext uri="{FF2B5EF4-FFF2-40B4-BE49-F238E27FC236}">
                    <a16:creationId xmlns:a16="http://schemas.microsoft.com/office/drawing/2014/main" id="{9E37940C-E2B8-BEC0-BB7B-F08FEF070149}"/>
                  </a:ext>
                </a:extLst>
              </p:cNvPr>
              <p:cNvGrpSpPr/>
              <p:nvPr/>
            </p:nvGrpSpPr>
            <p:grpSpPr>
              <a:xfrm>
                <a:off x="5051625" y="2576357"/>
                <a:ext cx="2095458" cy="3190744"/>
                <a:chOff x="571500" y="1195342"/>
                <a:chExt cx="11058716" cy="2444237"/>
              </a:xfrm>
            </p:grpSpPr>
            <p:sp>
              <p:nvSpPr>
                <p:cNvPr id="89" name="Прямоугольник 36">
                  <a:extLst>
                    <a:ext uri="{FF2B5EF4-FFF2-40B4-BE49-F238E27FC236}">
                      <a16:creationId xmlns:a16="http://schemas.microsoft.com/office/drawing/2014/main" id="{D78938C7-119D-0C5A-3A0C-2054B3259218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444237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90" name="Прямая соединительная линия 89">
                  <a:extLst>
                    <a:ext uri="{FF2B5EF4-FFF2-40B4-BE49-F238E27FC236}">
                      <a16:creationId xmlns:a16="http://schemas.microsoft.com/office/drawing/2014/main" id="{20BFE763-C2FB-5836-7D77-E1FDF18E30E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7" name="Овал 86">
                <a:extLst>
                  <a:ext uri="{FF2B5EF4-FFF2-40B4-BE49-F238E27FC236}">
                    <a16:creationId xmlns:a16="http://schemas.microsoft.com/office/drawing/2014/main" id="{9B68B848-1D39-3236-D4C4-C93EFAF8BBF5}"/>
                  </a:ext>
                </a:extLst>
              </p:cNvPr>
              <p:cNvSpPr/>
              <p:nvPr/>
            </p:nvSpPr>
            <p:spPr>
              <a:xfrm>
                <a:off x="5802651" y="2280920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86" name="Текст 2">
            <a:extLst>
              <a:ext uri="{FF2B5EF4-FFF2-40B4-BE49-F238E27FC236}">
                <a16:creationId xmlns:a16="http://schemas.microsoft.com/office/drawing/2014/main" id="{2EDD7165-13C6-C99D-AEBE-E23BF4F7A494}"/>
              </a:ext>
            </a:extLst>
          </p:cNvPr>
          <p:cNvSpPr txBox="1">
            <a:spLocks/>
          </p:cNvSpPr>
          <p:nvPr/>
        </p:nvSpPr>
        <p:spPr>
          <a:xfrm>
            <a:off x="5046504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 smtClean="0"/>
              <a:t>3</a:t>
            </a:r>
            <a:endParaRPr lang="ru-RU" sz="1800" b="1" dirty="0"/>
          </a:p>
        </p:txBody>
      </p:sp>
      <p:grpSp>
        <p:nvGrpSpPr>
          <p:cNvPr id="17" name="Группа 16"/>
          <p:cNvGrpSpPr/>
          <p:nvPr/>
        </p:nvGrpSpPr>
        <p:grpSpPr>
          <a:xfrm>
            <a:off x="7349969" y="2269714"/>
            <a:ext cx="2095458" cy="3497387"/>
            <a:chOff x="7289127" y="2269714"/>
            <a:chExt cx="2095458" cy="3497387"/>
          </a:xfrm>
        </p:grpSpPr>
        <p:grpSp>
          <p:nvGrpSpPr>
            <p:cNvPr id="15" name="Группа 14"/>
            <p:cNvGrpSpPr/>
            <p:nvPr/>
          </p:nvGrpSpPr>
          <p:grpSpPr>
            <a:xfrm>
              <a:off x="7488005" y="3124875"/>
              <a:ext cx="1721362" cy="1815017"/>
              <a:chOff x="7488005" y="3124875"/>
              <a:chExt cx="1721362" cy="1815017"/>
            </a:xfrm>
          </p:grpSpPr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92D49BCE-7F89-AAEE-9CB4-4C39F7982986}"/>
                  </a:ext>
                </a:extLst>
              </p:cNvPr>
              <p:cNvSpPr txBox="1"/>
              <p:nvPr/>
            </p:nvSpPr>
            <p:spPr>
              <a:xfrm>
                <a:off x="7488005" y="3124875"/>
                <a:ext cx="1721362" cy="6463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spcAft>
                    <a:spcPts val="1000"/>
                  </a:spcAft>
                  <a:buClr>
                    <a:srgbClr val="2FCBFF"/>
                  </a:buClr>
                  <a:defRPr/>
                </a:pPr>
                <a:r>
                  <a:rPr lang="ru-RU" sz="1400" b="1" dirty="0">
                    <a:cs typeface="Calibri" panose="020F0502020204030204" pitchFamily="34" charset="0"/>
                  </a:rPr>
                  <a:t>Отказы в приемке по качеству</a:t>
                </a: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7923C3B7-B632-8FE3-0010-EF2BE244B07B}"/>
                  </a:ext>
                </a:extLst>
              </p:cNvPr>
              <p:cNvSpPr txBox="1"/>
              <p:nvPr/>
            </p:nvSpPr>
            <p:spPr>
              <a:xfrm>
                <a:off x="7488005" y="4385894"/>
                <a:ext cx="1721362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spcAft>
                    <a:spcPts val="500"/>
                  </a:spcAft>
                  <a:buClr>
                    <a:srgbClr val="2FCBFF"/>
                  </a:buClr>
                  <a:defRPr/>
                </a:pPr>
                <a:r>
                  <a:rPr lang="ru-RU" sz="1200" dirty="0"/>
                  <a:t>Регистрация частичных и полных отказов в приемке</a:t>
                </a:r>
              </a:p>
            </p:txBody>
          </p:sp>
        </p:grpSp>
        <p:grpSp>
          <p:nvGrpSpPr>
            <p:cNvPr id="16" name="Группа 15"/>
            <p:cNvGrpSpPr/>
            <p:nvPr/>
          </p:nvGrpSpPr>
          <p:grpSpPr>
            <a:xfrm>
              <a:off x="7289127" y="2269714"/>
              <a:ext cx="2095458" cy="3497387"/>
              <a:chOff x="7289127" y="2269714"/>
              <a:chExt cx="2095458" cy="3497387"/>
            </a:xfrm>
          </p:grpSpPr>
          <p:grpSp>
            <p:nvGrpSpPr>
              <p:cNvPr id="94" name="Группа 93">
                <a:extLst>
                  <a:ext uri="{FF2B5EF4-FFF2-40B4-BE49-F238E27FC236}">
                    <a16:creationId xmlns:a16="http://schemas.microsoft.com/office/drawing/2014/main" id="{D5F3F11E-6560-0B23-130F-071931B1EEA7}"/>
                  </a:ext>
                </a:extLst>
              </p:cNvPr>
              <p:cNvGrpSpPr/>
              <p:nvPr/>
            </p:nvGrpSpPr>
            <p:grpSpPr>
              <a:xfrm>
                <a:off x="7289127" y="2576357"/>
                <a:ext cx="2095458" cy="3190744"/>
                <a:chOff x="571500" y="1195342"/>
                <a:chExt cx="11058716" cy="2444237"/>
              </a:xfrm>
            </p:grpSpPr>
            <p:sp>
              <p:nvSpPr>
                <p:cNvPr id="100" name="Прямоугольник 36">
                  <a:extLst>
                    <a:ext uri="{FF2B5EF4-FFF2-40B4-BE49-F238E27FC236}">
                      <a16:creationId xmlns:a16="http://schemas.microsoft.com/office/drawing/2014/main" id="{75F72633-0CC4-CCB6-98BE-05693F4F567A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444237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01" name="Прямая соединительная линия 100">
                  <a:extLst>
                    <a:ext uri="{FF2B5EF4-FFF2-40B4-BE49-F238E27FC236}">
                      <a16:creationId xmlns:a16="http://schemas.microsoft.com/office/drawing/2014/main" id="{8C93A341-2881-87B6-C415-6E99EB68F1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8" name="Овал 97">
                <a:extLst>
                  <a:ext uri="{FF2B5EF4-FFF2-40B4-BE49-F238E27FC236}">
                    <a16:creationId xmlns:a16="http://schemas.microsoft.com/office/drawing/2014/main" id="{EC84DCAA-475C-0D99-4B11-F2F544F12306}"/>
                  </a:ext>
                </a:extLst>
              </p:cNvPr>
              <p:cNvSpPr/>
              <p:nvPr/>
            </p:nvSpPr>
            <p:spPr>
              <a:xfrm>
                <a:off x="7996995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96" name="Текст 2">
            <a:extLst>
              <a:ext uri="{FF2B5EF4-FFF2-40B4-BE49-F238E27FC236}">
                <a16:creationId xmlns:a16="http://schemas.microsoft.com/office/drawing/2014/main" id="{F1F081BE-3874-707D-946A-40DC12C4F482}"/>
              </a:ext>
            </a:extLst>
          </p:cNvPr>
          <p:cNvSpPr txBox="1">
            <a:spLocks/>
          </p:cNvSpPr>
          <p:nvPr/>
        </p:nvSpPr>
        <p:spPr>
          <a:xfrm>
            <a:off x="7284006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 smtClean="0"/>
              <a:t>4</a:t>
            </a:r>
            <a:endParaRPr lang="ru-RU" sz="1800" b="1" dirty="0"/>
          </a:p>
        </p:txBody>
      </p:sp>
      <p:grpSp>
        <p:nvGrpSpPr>
          <p:cNvPr id="18" name="Группа 17"/>
          <p:cNvGrpSpPr/>
          <p:nvPr/>
        </p:nvGrpSpPr>
        <p:grpSpPr>
          <a:xfrm>
            <a:off x="9703405" y="3124875"/>
            <a:ext cx="1769908" cy="2541585"/>
            <a:chOff x="9687300" y="3124875"/>
            <a:chExt cx="1759570" cy="2541585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D559DAFD-9AEA-EF95-6B07-339D3E63584D}"/>
                </a:ext>
              </a:extLst>
            </p:cNvPr>
            <p:cNvSpPr txBox="1"/>
            <p:nvPr/>
          </p:nvSpPr>
          <p:spPr>
            <a:xfrm>
              <a:off x="9725508" y="3124875"/>
              <a:ext cx="1721362" cy="12054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spcAft>
                  <a:spcPts val="1000"/>
                </a:spcAft>
                <a:buClr>
                  <a:srgbClr val="2FCBFF"/>
                </a:buClr>
                <a:defRPr/>
              </a:pPr>
              <a:r>
                <a:rPr lang="ru-RU" sz="1400" b="1" dirty="0">
                  <a:cs typeface="Calibri" panose="020F0502020204030204" pitchFamily="34" charset="0"/>
                </a:rPr>
                <a:t>Обращения потребителей</a:t>
              </a:r>
            </a:p>
            <a:p>
              <a:pPr lvl="0">
                <a:spcAft>
                  <a:spcPts val="1000"/>
                </a:spcAft>
                <a:buClr>
                  <a:srgbClr val="2FCBFF"/>
                </a:buClr>
                <a:defRPr/>
              </a:pPr>
              <a:r>
                <a:rPr lang="ru-RU" sz="1400" b="1" dirty="0">
                  <a:cs typeface="Calibri" panose="020F0502020204030204" pitchFamily="34" charset="0"/>
                </a:rPr>
                <a:t>Оценки и отзывы на товар 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16C9668F-CC71-ED71-64BD-0BB8E261ACA0}"/>
                </a:ext>
              </a:extLst>
            </p:cNvPr>
            <p:cNvSpPr txBox="1"/>
            <p:nvPr/>
          </p:nvSpPr>
          <p:spPr>
            <a:xfrm>
              <a:off x="9687300" y="4373798"/>
              <a:ext cx="1721362" cy="129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spcAft>
                  <a:spcPts val="500"/>
                </a:spcAft>
                <a:buClr>
                  <a:schemeClr val="tx1"/>
                </a:buClr>
                <a:defRPr/>
              </a:pPr>
              <a:r>
                <a:rPr lang="ru-RU" sz="1200" dirty="0"/>
                <a:t>Источники данных: звонки, соц. сети, сайт, упоминания интернете, опросы, сайт-сессии,  мобильные приложения  и др.</a:t>
              </a: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9526630" y="2269714"/>
            <a:ext cx="2095458" cy="3497387"/>
            <a:chOff x="9526630" y="2269714"/>
            <a:chExt cx="2095458" cy="3497387"/>
          </a:xfrm>
        </p:grpSpPr>
        <p:grpSp>
          <p:nvGrpSpPr>
            <p:cNvPr id="105" name="Группа 104">
              <a:extLst>
                <a:ext uri="{FF2B5EF4-FFF2-40B4-BE49-F238E27FC236}">
                  <a16:creationId xmlns:a16="http://schemas.microsoft.com/office/drawing/2014/main" id="{1035791F-EF2B-D263-5803-1252057D8D89}"/>
                </a:ext>
              </a:extLst>
            </p:cNvPr>
            <p:cNvGrpSpPr/>
            <p:nvPr/>
          </p:nvGrpSpPr>
          <p:grpSpPr>
            <a:xfrm>
              <a:off x="9526630" y="2576357"/>
              <a:ext cx="2095458" cy="3190744"/>
              <a:chOff x="571500" y="1195342"/>
              <a:chExt cx="11058716" cy="2444237"/>
            </a:xfrm>
          </p:grpSpPr>
          <p:sp>
            <p:nvSpPr>
              <p:cNvPr id="110" name="Прямоугольник 36">
                <a:extLst>
                  <a:ext uri="{FF2B5EF4-FFF2-40B4-BE49-F238E27FC236}">
                    <a16:creationId xmlns:a16="http://schemas.microsoft.com/office/drawing/2014/main" id="{53C30048-E754-6AD2-18D0-ACF2E2BFA9FD}"/>
                  </a:ext>
                </a:extLst>
              </p:cNvPr>
              <p:cNvSpPr/>
              <p:nvPr/>
            </p:nvSpPr>
            <p:spPr>
              <a:xfrm>
                <a:off x="571500" y="1195342"/>
                <a:ext cx="11058711" cy="2444237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8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1" name="Прямая соединительная линия 110">
                <a:extLst>
                  <a:ext uri="{FF2B5EF4-FFF2-40B4-BE49-F238E27FC236}">
                    <a16:creationId xmlns:a16="http://schemas.microsoft.com/office/drawing/2014/main" id="{55D57802-867E-8CDE-74C6-746E8B80AD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500" y="1198562"/>
                <a:ext cx="11058716" cy="0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B1349C9E-117E-7E92-C7A7-1BAE3026288F}"/>
                </a:ext>
              </a:extLst>
            </p:cNvPr>
            <p:cNvSpPr/>
            <p:nvPr/>
          </p:nvSpPr>
          <p:spPr>
            <a:xfrm>
              <a:off x="10234498" y="2269714"/>
              <a:ext cx="630628" cy="632176"/>
            </a:xfrm>
            <a:prstGeom prst="ellipse">
              <a:avLst/>
            </a:prstGeom>
            <a:solidFill>
              <a:schemeClr val="bg1"/>
            </a:solidFill>
            <a:ln w="1111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107" name="Текст 2">
            <a:extLst>
              <a:ext uri="{FF2B5EF4-FFF2-40B4-BE49-F238E27FC236}">
                <a16:creationId xmlns:a16="http://schemas.microsoft.com/office/drawing/2014/main" id="{147D86EC-1F8D-036D-6B4E-1FCB14B14A8F}"/>
              </a:ext>
            </a:extLst>
          </p:cNvPr>
          <p:cNvSpPr txBox="1">
            <a:spLocks/>
          </p:cNvSpPr>
          <p:nvPr/>
        </p:nvSpPr>
        <p:spPr>
          <a:xfrm>
            <a:off x="9521509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 smtClean="0"/>
              <a:t>5</a:t>
            </a:r>
            <a:endParaRPr lang="ru-RU" sz="1800" b="1" dirty="0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6413" y="2360216"/>
            <a:ext cx="413886" cy="432281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42532" y="2399910"/>
            <a:ext cx="391041" cy="363759"/>
          </a:xfrm>
          <a:prstGeom prst="rect">
            <a:avLst/>
          </a:prstGeom>
        </p:spPr>
      </p:pic>
      <p:grpSp>
        <p:nvGrpSpPr>
          <p:cNvPr id="81" name="Рисунок 13">
            <a:extLst>
              <a:ext uri="{FF2B5EF4-FFF2-40B4-BE49-F238E27FC236}">
                <a16:creationId xmlns:a16="http://schemas.microsoft.com/office/drawing/2014/main" id="{FCEEEA77-6F69-403B-941A-F828CCE693AA}"/>
              </a:ext>
            </a:extLst>
          </p:cNvPr>
          <p:cNvGrpSpPr/>
          <p:nvPr/>
        </p:nvGrpSpPr>
        <p:grpSpPr>
          <a:xfrm>
            <a:off x="5919536" y="2360215"/>
            <a:ext cx="365761" cy="432281"/>
            <a:chOff x="696928" y="4475641"/>
            <a:chExt cx="385277" cy="540066"/>
          </a:xfrm>
          <a:solidFill>
            <a:schemeClr val="tx1"/>
          </a:solidFill>
        </p:grpSpPr>
        <p:sp>
          <p:nvSpPr>
            <p:cNvPr id="97" name="Полилиния: фигура 49">
              <a:extLst>
                <a:ext uri="{FF2B5EF4-FFF2-40B4-BE49-F238E27FC236}">
                  <a16:creationId xmlns:a16="http://schemas.microsoft.com/office/drawing/2014/main" id="{AFE2D5A1-56E9-4C4C-9000-94F8EF259AD8}"/>
                </a:ext>
              </a:extLst>
            </p:cNvPr>
            <p:cNvSpPr/>
            <p:nvPr/>
          </p:nvSpPr>
          <p:spPr>
            <a:xfrm>
              <a:off x="696928" y="4475641"/>
              <a:ext cx="385277" cy="540066"/>
            </a:xfrm>
            <a:custGeom>
              <a:avLst/>
              <a:gdLst>
                <a:gd name="connsiteX0" fmla="*/ 376804 w 385277"/>
                <a:gd name="connsiteY0" fmla="*/ 104511 h 540066"/>
                <a:gd name="connsiteX1" fmla="*/ 346298 w 385277"/>
                <a:gd name="connsiteY1" fmla="*/ 104511 h 540066"/>
                <a:gd name="connsiteX2" fmla="*/ 346298 w 385277"/>
                <a:gd name="connsiteY2" fmla="*/ 74005 h 540066"/>
                <a:gd name="connsiteX3" fmla="*/ 337824 w 385277"/>
                <a:gd name="connsiteY3" fmla="*/ 65531 h 540066"/>
                <a:gd name="connsiteX4" fmla="*/ 307318 w 385277"/>
                <a:gd name="connsiteY4" fmla="*/ 65531 h 540066"/>
                <a:gd name="connsiteX5" fmla="*/ 307318 w 385277"/>
                <a:gd name="connsiteY5" fmla="*/ 34460 h 540066"/>
                <a:gd name="connsiteX6" fmla="*/ 298844 w 385277"/>
                <a:gd name="connsiteY6" fmla="*/ 25986 h 540066"/>
                <a:gd name="connsiteX7" fmla="*/ 98297 w 385277"/>
                <a:gd name="connsiteY7" fmla="*/ 25986 h 540066"/>
                <a:gd name="connsiteX8" fmla="*/ 70050 w 385277"/>
                <a:gd name="connsiteY8" fmla="*/ 0 h 540066"/>
                <a:gd name="connsiteX9" fmla="*/ 41804 w 385277"/>
                <a:gd name="connsiteY9" fmla="*/ 25986 h 540066"/>
                <a:gd name="connsiteX10" fmla="*/ 8474 w 385277"/>
                <a:gd name="connsiteY10" fmla="*/ 25986 h 540066"/>
                <a:gd name="connsiteX11" fmla="*/ 0 w 385277"/>
                <a:gd name="connsiteY11" fmla="*/ 34460 h 540066"/>
                <a:gd name="connsiteX12" fmla="*/ 0 w 385277"/>
                <a:gd name="connsiteY12" fmla="*/ 453633 h 540066"/>
                <a:gd name="connsiteX13" fmla="*/ 8474 w 385277"/>
                <a:gd name="connsiteY13" fmla="*/ 462107 h 540066"/>
                <a:gd name="connsiteX14" fmla="*/ 38980 w 385277"/>
                <a:gd name="connsiteY14" fmla="*/ 462107 h 540066"/>
                <a:gd name="connsiteX15" fmla="*/ 38980 w 385277"/>
                <a:gd name="connsiteY15" fmla="*/ 492613 h 540066"/>
                <a:gd name="connsiteX16" fmla="*/ 47454 w 385277"/>
                <a:gd name="connsiteY16" fmla="*/ 501087 h 540066"/>
                <a:gd name="connsiteX17" fmla="*/ 77959 w 385277"/>
                <a:gd name="connsiteY17" fmla="*/ 501087 h 540066"/>
                <a:gd name="connsiteX18" fmla="*/ 77959 w 385277"/>
                <a:gd name="connsiteY18" fmla="*/ 531593 h 540066"/>
                <a:gd name="connsiteX19" fmla="*/ 86433 w 385277"/>
                <a:gd name="connsiteY19" fmla="*/ 540066 h 540066"/>
                <a:gd name="connsiteX20" fmla="*/ 376804 w 385277"/>
                <a:gd name="connsiteY20" fmla="*/ 540066 h 540066"/>
                <a:gd name="connsiteX21" fmla="*/ 385278 w 385277"/>
                <a:gd name="connsiteY21" fmla="*/ 531593 h 540066"/>
                <a:gd name="connsiteX22" fmla="*/ 385278 w 385277"/>
                <a:gd name="connsiteY22" fmla="*/ 112985 h 540066"/>
                <a:gd name="connsiteX23" fmla="*/ 376804 w 385277"/>
                <a:gd name="connsiteY23" fmla="*/ 104511 h 540066"/>
                <a:gd name="connsiteX24" fmla="*/ 70050 w 385277"/>
                <a:gd name="connsiteY24" fmla="*/ 17513 h 540066"/>
                <a:gd name="connsiteX25" fmla="*/ 81349 w 385277"/>
                <a:gd name="connsiteY25" fmla="*/ 26551 h 540066"/>
                <a:gd name="connsiteX26" fmla="*/ 58752 w 385277"/>
                <a:gd name="connsiteY26" fmla="*/ 26551 h 540066"/>
                <a:gd name="connsiteX27" fmla="*/ 70050 w 385277"/>
                <a:gd name="connsiteY27" fmla="*/ 17513 h 540066"/>
                <a:gd name="connsiteX28" fmla="*/ 16948 w 385277"/>
                <a:gd name="connsiteY28" fmla="*/ 42934 h 540066"/>
                <a:gd name="connsiteX29" fmla="*/ 41804 w 385277"/>
                <a:gd name="connsiteY29" fmla="*/ 42934 h 540066"/>
                <a:gd name="connsiteX30" fmla="*/ 41804 w 385277"/>
                <a:gd name="connsiteY30" fmla="*/ 110725 h 540066"/>
                <a:gd name="connsiteX31" fmla="*/ 70050 w 385277"/>
                <a:gd name="connsiteY31" fmla="*/ 138971 h 540066"/>
                <a:gd name="connsiteX32" fmla="*/ 98297 w 385277"/>
                <a:gd name="connsiteY32" fmla="*/ 110725 h 540066"/>
                <a:gd name="connsiteX33" fmla="*/ 98297 w 385277"/>
                <a:gd name="connsiteY33" fmla="*/ 69486 h 540066"/>
                <a:gd name="connsiteX34" fmla="*/ 89823 w 385277"/>
                <a:gd name="connsiteY34" fmla="*/ 61012 h 540066"/>
                <a:gd name="connsiteX35" fmla="*/ 81349 w 385277"/>
                <a:gd name="connsiteY35" fmla="*/ 69486 h 540066"/>
                <a:gd name="connsiteX36" fmla="*/ 81349 w 385277"/>
                <a:gd name="connsiteY36" fmla="*/ 110725 h 540066"/>
                <a:gd name="connsiteX37" fmla="*/ 70050 w 385277"/>
                <a:gd name="connsiteY37" fmla="*/ 122023 h 540066"/>
                <a:gd name="connsiteX38" fmla="*/ 58752 w 385277"/>
                <a:gd name="connsiteY38" fmla="*/ 110725 h 540066"/>
                <a:gd name="connsiteX39" fmla="*/ 58752 w 385277"/>
                <a:gd name="connsiteY39" fmla="*/ 42934 h 540066"/>
                <a:gd name="connsiteX40" fmla="*/ 290370 w 385277"/>
                <a:gd name="connsiteY40" fmla="*/ 42934 h 540066"/>
                <a:gd name="connsiteX41" fmla="*/ 290370 w 385277"/>
                <a:gd name="connsiteY41" fmla="*/ 445159 h 540066"/>
                <a:gd name="connsiteX42" fmla="*/ 16948 w 385277"/>
                <a:gd name="connsiteY42" fmla="*/ 445159 h 540066"/>
                <a:gd name="connsiteX43" fmla="*/ 16948 w 385277"/>
                <a:gd name="connsiteY43" fmla="*/ 42934 h 540066"/>
                <a:gd name="connsiteX44" fmla="*/ 55927 w 385277"/>
                <a:gd name="connsiteY44" fmla="*/ 462672 h 540066"/>
                <a:gd name="connsiteX45" fmla="*/ 298844 w 385277"/>
                <a:gd name="connsiteY45" fmla="*/ 462672 h 540066"/>
                <a:gd name="connsiteX46" fmla="*/ 307318 w 385277"/>
                <a:gd name="connsiteY46" fmla="*/ 454198 h 540066"/>
                <a:gd name="connsiteX47" fmla="*/ 307318 w 385277"/>
                <a:gd name="connsiteY47" fmla="*/ 82479 h 540066"/>
                <a:gd name="connsiteX48" fmla="*/ 329350 w 385277"/>
                <a:gd name="connsiteY48" fmla="*/ 82479 h 540066"/>
                <a:gd name="connsiteX49" fmla="*/ 329350 w 385277"/>
                <a:gd name="connsiteY49" fmla="*/ 484704 h 540066"/>
                <a:gd name="connsiteX50" fmla="*/ 55927 w 385277"/>
                <a:gd name="connsiteY50" fmla="*/ 484704 h 540066"/>
                <a:gd name="connsiteX51" fmla="*/ 55927 w 385277"/>
                <a:gd name="connsiteY51" fmla="*/ 462672 h 540066"/>
                <a:gd name="connsiteX52" fmla="*/ 368330 w 385277"/>
                <a:gd name="connsiteY52" fmla="*/ 523684 h 540066"/>
                <a:gd name="connsiteX53" fmla="*/ 94907 w 385277"/>
                <a:gd name="connsiteY53" fmla="*/ 523684 h 540066"/>
                <a:gd name="connsiteX54" fmla="*/ 94907 w 385277"/>
                <a:gd name="connsiteY54" fmla="*/ 501652 h 540066"/>
                <a:gd name="connsiteX55" fmla="*/ 337824 w 385277"/>
                <a:gd name="connsiteY55" fmla="*/ 501652 h 540066"/>
                <a:gd name="connsiteX56" fmla="*/ 346298 w 385277"/>
                <a:gd name="connsiteY56" fmla="*/ 493178 h 540066"/>
                <a:gd name="connsiteX57" fmla="*/ 346298 w 385277"/>
                <a:gd name="connsiteY57" fmla="*/ 121458 h 540066"/>
                <a:gd name="connsiteX58" fmla="*/ 368330 w 385277"/>
                <a:gd name="connsiteY58" fmla="*/ 121458 h 540066"/>
                <a:gd name="connsiteX59" fmla="*/ 368330 w 385277"/>
                <a:gd name="connsiteY59" fmla="*/ 523684 h 54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85277" h="540066">
                  <a:moveTo>
                    <a:pt x="376804" y="104511"/>
                  </a:moveTo>
                  <a:lnTo>
                    <a:pt x="346298" y="104511"/>
                  </a:lnTo>
                  <a:lnTo>
                    <a:pt x="346298" y="74005"/>
                  </a:lnTo>
                  <a:cubicBezTo>
                    <a:pt x="346298" y="69486"/>
                    <a:pt x="342343" y="65531"/>
                    <a:pt x="337824" y="65531"/>
                  </a:cubicBezTo>
                  <a:lnTo>
                    <a:pt x="307318" y="65531"/>
                  </a:lnTo>
                  <a:lnTo>
                    <a:pt x="307318" y="34460"/>
                  </a:lnTo>
                  <a:cubicBezTo>
                    <a:pt x="307318" y="29941"/>
                    <a:pt x="303364" y="25986"/>
                    <a:pt x="298844" y="25986"/>
                  </a:cubicBezTo>
                  <a:lnTo>
                    <a:pt x="98297" y="25986"/>
                  </a:lnTo>
                  <a:cubicBezTo>
                    <a:pt x="97167" y="11298"/>
                    <a:pt x="84738" y="0"/>
                    <a:pt x="70050" y="0"/>
                  </a:cubicBezTo>
                  <a:cubicBezTo>
                    <a:pt x="55362" y="0"/>
                    <a:pt x="42934" y="11298"/>
                    <a:pt x="41804" y="25986"/>
                  </a:cubicBezTo>
                  <a:lnTo>
                    <a:pt x="8474" y="25986"/>
                  </a:lnTo>
                  <a:cubicBezTo>
                    <a:pt x="3954" y="25986"/>
                    <a:pt x="0" y="29941"/>
                    <a:pt x="0" y="34460"/>
                  </a:cubicBezTo>
                  <a:lnTo>
                    <a:pt x="0" y="453633"/>
                  </a:lnTo>
                  <a:cubicBezTo>
                    <a:pt x="0" y="458153"/>
                    <a:pt x="3954" y="462107"/>
                    <a:pt x="8474" y="462107"/>
                  </a:cubicBezTo>
                  <a:lnTo>
                    <a:pt x="38980" y="462107"/>
                  </a:lnTo>
                  <a:lnTo>
                    <a:pt x="38980" y="492613"/>
                  </a:lnTo>
                  <a:cubicBezTo>
                    <a:pt x="38980" y="497132"/>
                    <a:pt x="42934" y="501087"/>
                    <a:pt x="47454" y="501087"/>
                  </a:cubicBezTo>
                  <a:lnTo>
                    <a:pt x="77959" y="501087"/>
                  </a:lnTo>
                  <a:lnTo>
                    <a:pt x="77959" y="531593"/>
                  </a:lnTo>
                  <a:cubicBezTo>
                    <a:pt x="77959" y="536112"/>
                    <a:pt x="81914" y="540066"/>
                    <a:pt x="86433" y="540066"/>
                  </a:cubicBezTo>
                  <a:lnTo>
                    <a:pt x="376804" y="540066"/>
                  </a:lnTo>
                  <a:cubicBezTo>
                    <a:pt x="381323" y="540066"/>
                    <a:pt x="385278" y="536112"/>
                    <a:pt x="385278" y="531593"/>
                  </a:cubicBezTo>
                  <a:lnTo>
                    <a:pt x="385278" y="112985"/>
                  </a:lnTo>
                  <a:cubicBezTo>
                    <a:pt x="385278" y="108465"/>
                    <a:pt x="381323" y="104511"/>
                    <a:pt x="376804" y="104511"/>
                  </a:cubicBezTo>
                  <a:close/>
                  <a:moveTo>
                    <a:pt x="70050" y="17513"/>
                  </a:moveTo>
                  <a:cubicBezTo>
                    <a:pt x="75700" y="17513"/>
                    <a:pt x="80219" y="21467"/>
                    <a:pt x="81349" y="26551"/>
                  </a:cubicBezTo>
                  <a:lnTo>
                    <a:pt x="58752" y="26551"/>
                  </a:lnTo>
                  <a:cubicBezTo>
                    <a:pt x="59882" y="20902"/>
                    <a:pt x="64401" y="17513"/>
                    <a:pt x="70050" y="17513"/>
                  </a:cubicBezTo>
                  <a:close/>
                  <a:moveTo>
                    <a:pt x="16948" y="42934"/>
                  </a:moveTo>
                  <a:lnTo>
                    <a:pt x="41804" y="42934"/>
                  </a:lnTo>
                  <a:lnTo>
                    <a:pt x="41804" y="110725"/>
                  </a:lnTo>
                  <a:cubicBezTo>
                    <a:pt x="41804" y="126543"/>
                    <a:pt x="54798" y="138971"/>
                    <a:pt x="70050" y="138971"/>
                  </a:cubicBezTo>
                  <a:cubicBezTo>
                    <a:pt x="85303" y="138971"/>
                    <a:pt x="98297" y="125978"/>
                    <a:pt x="98297" y="110725"/>
                  </a:cubicBezTo>
                  <a:lnTo>
                    <a:pt x="98297" y="69486"/>
                  </a:lnTo>
                  <a:cubicBezTo>
                    <a:pt x="98297" y="64966"/>
                    <a:pt x="94342" y="61012"/>
                    <a:pt x="89823" y="61012"/>
                  </a:cubicBezTo>
                  <a:cubicBezTo>
                    <a:pt x="85303" y="61012"/>
                    <a:pt x="81349" y="64966"/>
                    <a:pt x="81349" y="69486"/>
                  </a:cubicBezTo>
                  <a:lnTo>
                    <a:pt x="81349" y="110725"/>
                  </a:lnTo>
                  <a:cubicBezTo>
                    <a:pt x="81349" y="116939"/>
                    <a:pt x="76265" y="122023"/>
                    <a:pt x="70050" y="122023"/>
                  </a:cubicBezTo>
                  <a:cubicBezTo>
                    <a:pt x="63836" y="122023"/>
                    <a:pt x="58752" y="116939"/>
                    <a:pt x="58752" y="110725"/>
                  </a:cubicBezTo>
                  <a:lnTo>
                    <a:pt x="58752" y="42934"/>
                  </a:lnTo>
                  <a:lnTo>
                    <a:pt x="290370" y="42934"/>
                  </a:lnTo>
                  <a:lnTo>
                    <a:pt x="290370" y="445159"/>
                  </a:lnTo>
                  <a:lnTo>
                    <a:pt x="16948" y="445159"/>
                  </a:lnTo>
                  <a:lnTo>
                    <a:pt x="16948" y="42934"/>
                  </a:lnTo>
                  <a:close/>
                  <a:moveTo>
                    <a:pt x="55927" y="462672"/>
                  </a:moveTo>
                  <a:lnTo>
                    <a:pt x="298844" y="462672"/>
                  </a:lnTo>
                  <a:cubicBezTo>
                    <a:pt x="303364" y="462672"/>
                    <a:pt x="307318" y="458717"/>
                    <a:pt x="307318" y="454198"/>
                  </a:cubicBezTo>
                  <a:lnTo>
                    <a:pt x="307318" y="82479"/>
                  </a:lnTo>
                  <a:lnTo>
                    <a:pt x="329350" y="82479"/>
                  </a:lnTo>
                  <a:lnTo>
                    <a:pt x="329350" y="484704"/>
                  </a:lnTo>
                  <a:lnTo>
                    <a:pt x="55927" y="484704"/>
                  </a:lnTo>
                  <a:lnTo>
                    <a:pt x="55927" y="462672"/>
                  </a:lnTo>
                  <a:close/>
                  <a:moveTo>
                    <a:pt x="368330" y="523684"/>
                  </a:moveTo>
                  <a:lnTo>
                    <a:pt x="94907" y="523684"/>
                  </a:lnTo>
                  <a:lnTo>
                    <a:pt x="94907" y="501652"/>
                  </a:lnTo>
                  <a:lnTo>
                    <a:pt x="337824" y="501652"/>
                  </a:lnTo>
                  <a:cubicBezTo>
                    <a:pt x="342343" y="501652"/>
                    <a:pt x="346298" y="497697"/>
                    <a:pt x="346298" y="493178"/>
                  </a:cubicBezTo>
                  <a:lnTo>
                    <a:pt x="346298" y="121458"/>
                  </a:lnTo>
                  <a:lnTo>
                    <a:pt x="368330" y="121458"/>
                  </a:lnTo>
                  <a:lnTo>
                    <a:pt x="368330" y="523684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Полилиния: фигура 60">
              <a:extLst>
                <a:ext uri="{FF2B5EF4-FFF2-40B4-BE49-F238E27FC236}">
                  <a16:creationId xmlns:a16="http://schemas.microsoft.com/office/drawing/2014/main" id="{6C2A42A3-96E8-497A-BCE2-62ECB425FF50}"/>
                </a:ext>
              </a:extLst>
            </p:cNvPr>
            <p:cNvSpPr/>
            <p:nvPr/>
          </p:nvSpPr>
          <p:spPr>
            <a:xfrm>
              <a:off x="782231" y="4660935"/>
              <a:ext cx="136146" cy="16947"/>
            </a:xfrm>
            <a:custGeom>
              <a:avLst/>
              <a:gdLst>
                <a:gd name="connsiteX0" fmla="*/ 8474 w 136146"/>
                <a:gd name="connsiteY0" fmla="*/ 16948 h 16947"/>
                <a:gd name="connsiteX1" fmla="*/ 127673 w 136146"/>
                <a:gd name="connsiteY1" fmla="*/ 16948 h 16947"/>
                <a:gd name="connsiteX2" fmla="*/ 136146 w 136146"/>
                <a:gd name="connsiteY2" fmla="*/ 8474 h 16947"/>
                <a:gd name="connsiteX3" fmla="*/ 127673 w 136146"/>
                <a:gd name="connsiteY3" fmla="*/ 0 h 16947"/>
                <a:gd name="connsiteX4" fmla="*/ 8474 w 136146"/>
                <a:gd name="connsiteY4" fmla="*/ 0 h 16947"/>
                <a:gd name="connsiteX5" fmla="*/ 0 w 136146"/>
                <a:gd name="connsiteY5" fmla="*/ 8474 h 16947"/>
                <a:gd name="connsiteX6" fmla="*/ 8474 w 136146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146" h="16947">
                  <a:moveTo>
                    <a:pt x="8474" y="16948"/>
                  </a:moveTo>
                  <a:lnTo>
                    <a:pt x="127673" y="16948"/>
                  </a:lnTo>
                  <a:cubicBezTo>
                    <a:pt x="132192" y="16948"/>
                    <a:pt x="136146" y="12993"/>
                    <a:pt x="136146" y="8474"/>
                  </a:cubicBezTo>
                  <a:cubicBezTo>
                    <a:pt x="136146" y="3954"/>
                    <a:pt x="132192" y="0"/>
                    <a:pt x="127673" y="0"/>
                  </a:cubicBezTo>
                  <a:lnTo>
                    <a:pt x="8474" y="0"/>
                  </a:lnTo>
                  <a:cubicBezTo>
                    <a:pt x="3954" y="0"/>
                    <a:pt x="0" y="3954"/>
                    <a:pt x="0" y="8474"/>
                  </a:cubicBezTo>
                  <a:cubicBezTo>
                    <a:pt x="0" y="12993"/>
                    <a:pt x="3954" y="16948"/>
                    <a:pt x="847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Полилиния: фигура 61">
              <a:extLst>
                <a:ext uri="{FF2B5EF4-FFF2-40B4-BE49-F238E27FC236}">
                  <a16:creationId xmlns:a16="http://schemas.microsoft.com/office/drawing/2014/main" id="{7D0EB6D2-BDB9-4E6C-8CB1-FBB3322AA02A}"/>
                </a:ext>
              </a:extLst>
            </p:cNvPr>
            <p:cNvSpPr/>
            <p:nvPr/>
          </p:nvSpPr>
          <p:spPr>
            <a:xfrm>
              <a:off x="782231" y="4705564"/>
              <a:ext cx="136146" cy="16947"/>
            </a:xfrm>
            <a:custGeom>
              <a:avLst/>
              <a:gdLst>
                <a:gd name="connsiteX0" fmla="*/ 8474 w 136146"/>
                <a:gd name="connsiteY0" fmla="*/ 16948 h 16947"/>
                <a:gd name="connsiteX1" fmla="*/ 127673 w 136146"/>
                <a:gd name="connsiteY1" fmla="*/ 16948 h 16947"/>
                <a:gd name="connsiteX2" fmla="*/ 136146 w 136146"/>
                <a:gd name="connsiteY2" fmla="*/ 8474 h 16947"/>
                <a:gd name="connsiteX3" fmla="*/ 127673 w 136146"/>
                <a:gd name="connsiteY3" fmla="*/ 0 h 16947"/>
                <a:gd name="connsiteX4" fmla="*/ 8474 w 136146"/>
                <a:gd name="connsiteY4" fmla="*/ 0 h 16947"/>
                <a:gd name="connsiteX5" fmla="*/ 0 w 136146"/>
                <a:gd name="connsiteY5" fmla="*/ 8474 h 16947"/>
                <a:gd name="connsiteX6" fmla="*/ 8474 w 136146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146" h="16947">
                  <a:moveTo>
                    <a:pt x="8474" y="16948"/>
                  </a:moveTo>
                  <a:lnTo>
                    <a:pt x="127673" y="16948"/>
                  </a:lnTo>
                  <a:cubicBezTo>
                    <a:pt x="132192" y="16948"/>
                    <a:pt x="136146" y="12993"/>
                    <a:pt x="136146" y="8474"/>
                  </a:cubicBezTo>
                  <a:cubicBezTo>
                    <a:pt x="136146" y="3954"/>
                    <a:pt x="132192" y="0"/>
                    <a:pt x="127673" y="0"/>
                  </a:cubicBezTo>
                  <a:lnTo>
                    <a:pt x="8474" y="0"/>
                  </a:lnTo>
                  <a:cubicBezTo>
                    <a:pt x="3954" y="0"/>
                    <a:pt x="0" y="3954"/>
                    <a:pt x="0" y="8474"/>
                  </a:cubicBezTo>
                  <a:cubicBezTo>
                    <a:pt x="0" y="12993"/>
                    <a:pt x="3954" y="16948"/>
                    <a:pt x="847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Полилиния: фигура 62">
              <a:extLst>
                <a:ext uri="{FF2B5EF4-FFF2-40B4-BE49-F238E27FC236}">
                  <a16:creationId xmlns:a16="http://schemas.microsoft.com/office/drawing/2014/main" id="{537089AA-3C77-425A-A164-147DACEFC335}"/>
                </a:ext>
              </a:extLst>
            </p:cNvPr>
            <p:cNvSpPr/>
            <p:nvPr/>
          </p:nvSpPr>
          <p:spPr>
            <a:xfrm>
              <a:off x="812737" y="4750193"/>
              <a:ext cx="75134" cy="16947"/>
            </a:xfrm>
            <a:custGeom>
              <a:avLst/>
              <a:gdLst>
                <a:gd name="connsiteX0" fmla="*/ 66661 w 75134"/>
                <a:gd name="connsiteY0" fmla="*/ 0 h 16947"/>
                <a:gd name="connsiteX1" fmla="*/ 8474 w 75134"/>
                <a:gd name="connsiteY1" fmla="*/ 0 h 16947"/>
                <a:gd name="connsiteX2" fmla="*/ 0 w 75134"/>
                <a:gd name="connsiteY2" fmla="*/ 8474 h 16947"/>
                <a:gd name="connsiteX3" fmla="*/ 8474 w 75134"/>
                <a:gd name="connsiteY3" fmla="*/ 16948 h 16947"/>
                <a:gd name="connsiteX4" fmla="*/ 66661 w 75134"/>
                <a:gd name="connsiteY4" fmla="*/ 16948 h 16947"/>
                <a:gd name="connsiteX5" fmla="*/ 75135 w 75134"/>
                <a:gd name="connsiteY5" fmla="*/ 8474 h 16947"/>
                <a:gd name="connsiteX6" fmla="*/ 66661 w 75134"/>
                <a:gd name="connsiteY6" fmla="*/ 0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134" h="16947">
                  <a:moveTo>
                    <a:pt x="66661" y="0"/>
                  </a:moveTo>
                  <a:lnTo>
                    <a:pt x="8474" y="0"/>
                  </a:lnTo>
                  <a:cubicBezTo>
                    <a:pt x="3954" y="0"/>
                    <a:pt x="0" y="3954"/>
                    <a:pt x="0" y="8474"/>
                  </a:cubicBezTo>
                  <a:cubicBezTo>
                    <a:pt x="0" y="12993"/>
                    <a:pt x="3954" y="16948"/>
                    <a:pt x="8474" y="16948"/>
                  </a:cubicBezTo>
                  <a:lnTo>
                    <a:pt x="66661" y="16948"/>
                  </a:lnTo>
                  <a:cubicBezTo>
                    <a:pt x="71180" y="16948"/>
                    <a:pt x="75135" y="12993"/>
                    <a:pt x="75135" y="8474"/>
                  </a:cubicBezTo>
                  <a:cubicBezTo>
                    <a:pt x="75135" y="3954"/>
                    <a:pt x="71180" y="0"/>
                    <a:pt x="66661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4" name="Рисунок 37">
            <a:extLst>
              <a:ext uri="{FF2B5EF4-FFF2-40B4-BE49-F238E27FC236}">
                <a16:creationId xmlns:a16="http://schemas.microsoft.com/office/drawing/2014/main" id="{216C13DE-6C20-4102-8F10-63CA71E5F489}"/>
              </a:ext>
            </a:extLst>
          </p:cNvPr>
          <p:cNvSpPr/>
          <p:nvPr/>
        </p:nvSpPr>
        <p:spPr>
          <a:xfrm>
            <a:off x="8246080" y="2468008"/>
            <a:ext cx="464719" cy="277114"/>
          </a:xfrm>
          <a:custGeom>
            <a:avLst/>
            <a:gdLst>
              <a:gd name="connsiteX0" fmla="*/ 490700 w 492210"/>
              <a:gd name="connsiteY0" fmla="*/ 153424 h 316735"/>
              <a:gd name="connsiteX1" fmla="*/ 455686 w 492210"/>
              <a:gd name="connsiteY1" fmla="*/ 102693 h 316735"/>
              <a:gd name="connsiteX2" fmla="*/ 409150 w 492210"/>
              <a:gd name="connsiteY2" fmla="*/ 78306 h 316735"/>
              <a:gd name="connsiteX3" fmla="*/ 318818 w 492210"/>
              <a:gd name="connsiteY3" fmla="*/ 78306 h 316735"/>
              <a:gd name="connsiteX4" fmla="*/ 318818 w 492210"/>
              <a:gd name="connsiteY4" fmla="*/ 8390 h 316735"/>
              <a:gd name="connsiteX5" fmla="*/ 310428 w 492210"/>
              <a:gd name="connsiteY5" fmla="*/ 0 h 316735"/>
              <a:gd name="connsiteX6" fmla="*/ 8390 w 492210"/>
              <a:gd name="connsiteY6" fmla="*/ 0 h 316735"/>
              <a:gd name="connsiteX7" fmla="*/ 0 w 492210"/>
              <a:gd name="connsiteY7" fmla="*/ 8390 h 316735"/>
              <a:gd name="connsiteX8" fmla="*/ 0 w 492210"/>
              <a:gd name="connsiteY8" fmla="*/ 271275 h 316735"/>
              <a:gd name="connsiteX9" fmla="*/ 8390 w 492210"/>
              <a:gd name="connsiteY9" fmla="*/ 279665 h 316735"/>
              <a:gd name="connsiteX10" fmla="*/ 77691 w 492210"/>
              <a:gd name="connsiteY10" fmla="*/ 279665 h 316735"/>
              <a:gd name="connsiteX11" fmla="*/ 125504 w 492210"/>
              <a:gd name="connsiteY11" fmla="*/ 316367 h 316735"/>
              <a:gd name="connsiteX12" fmla="*/ 162206 w 492210"/>
              <a:gd name="connsiteY12" fmla="*/ 279665 h 316735"/>
              <a:gd name="connsiteX13" fmla="*/ 349469 w 492210"/>
              <a:gd name="connsiteY13" fmla="*/ 279665 h 316735"/>
              <a:gd name="connsiteX14" fmla="*/ 398023 w 492210"/>
              <a:gd name="connsiteY14" fmla="*/ 315514 h 316735"/>
              <a:gd name="connsiteX15" fmla="*/ 433872 w 492210"/>
              <a:gd name="connsiteY15" fmla="*/ 279665 h 316735"/>
              <a:gd name="connsiteX16" fmla="*/ 483820 w 492210"/>
              <a:gd name="connsiteY16" fmla="*/ 279665 h 316735"/>
              <a:gd name="connsiteX17" fmla="*/ 492210 w 492210"/>
              <a:gd name="connsiteY17" fmla="*/ 271275 h 316735"/>
              <a:gd name="connsiteX18" fmla="*/ 492210 w 492210"/>
              <a:gd name="connsiteY18" fmla="*/ 158178 h 316735"/>
              <a:gd name="connsiteX19" fmla="*/ 490700 w 492210"/>
              <a:gd name="connsiteY19" fmla="*/ 153424 h 316735"/>
              <a:gd name="connsiteX20" fmla="*/ 409150 w 492210"/>
              <a:gd name="connsiteY20" fmla="*/ 95086 h 316735"/>
              <a:gd name="connsiteX21" fmla="*/ 441870 w 492210"/>
              <a:gd name="connsiteY21" fmla="*/ 112257 h 316735"/>
              <a:gd name="connsiteX22" fmla="*/ 468662 w 492210"/>
              <a:gd name="connsiteY22" fmla="*/ 151019 h 316735"/>
              <a:gd name="connsiteX23" fmla="*/ 318818 w 492210"/>
              <a:gd name="connsiteY23" fmla="*/ 151019 h 316735"/>
              <a:gd name="connsiteX24" fmla="*/ 318818 w 492210"/>
              <a:gd name="connsiteY24" fmla="*/ 95086 h 316735"/>
              <a:gd name="connsiteX25" fmla="*/ 119920 w 492210"/>
              <a:gd name="connsiteY25" fmla="*/ 299241 h 316735"/>
              <a:gd name="connsiteX26" fmla="*/ 93856 w 492210"/>
              <a:gd name="connsiteY26" fmla="*/ 273400 h 316735"/>
              <a:gd name="connsiteX27" fmla="*/ 119697 w 492210"/>
              <a:gd name="connsiteY27" fmla="*/ 247336 h 316735"/>
              <a:gd name="connsiteX28" fmla="*/ 145761 w 492210"/>
              <a:gd name="connsiteY28" fmla="*/ 273177 h 316735"/>
              <a:gd name="connsiteX29" fmla="*/ 145761 w 492210"/>
              <a:gd name="connsiteY29" fmla="*/ 273344 h 316735"/>
              <a:gd name="connsiteX30" fmla="*/ 119920 w 492210"/>
              <a:gd name="connsiteY30" fmla="*/ 299241 h 316735"/>
              <a:gd name="connsiteX31" fmla="*/ 119920 w 492210"/>
              <a:gd name="connsiteY31" fmla="*/ 230612 h 316735"/>
              <a:gd name="connsiteX32" fmla="*/ 78306 w 492210"/>
              <a:gd name="connsiteY32" fmla="*/ 262885 h 316735"/>
              <a:gd name="connsiteX33" fmla="*/ 16780 w 492210"/>
              <a:gd name="connsiteY33" fmla="*/ 262885 h 316735"/>
              <a:gd name="connsiteX34" fmla="*/ 16780 w 492210"/>
              <a:gd name="connsiteY34" fmla="*/ 16780 h 316735"/>
              <a:gd name="connsiteX35" fmla="*/ 302038 w 492210"/>
              <a:gd name="connsiteY35" fmla="*/ 16780 h 316735"/>
              <a:gd name="connsiteX36" fmla="*/ 302038 w 492210"/>
              <a:gd name="connsiteY36" fmla="*/ 262885 h 316735"/>
              <a:gd name="connsiteX37" fmla="*/ 161199 w 492210"/>
              <a:gd name="connsiteY37" fmla="*/ 262885 h 316735"/>
              <a:gd name="connsiteX38" fmla="*/ 119920 w 492210"/>
              <a:gd name="connsiteY38" fmla="*/ 230612 h 316735"/>
              <a:gd name="connsiteX39" fmla="*/ 391531 w 492210"/>
              <a:gd name="connsiteY39" fmla="*/ 299241 h 316735"/>
              <a:gd name="connsiteX40" fmla="*/ 365578 w 492210"/>
              <a:gd name="connsiteY40" fmla="*/ 273289 h 316735"/>
              <a:gd name="connsiteX41" fmla="*/ 391531 w 492210"/>
              <a:gd name="connsiteY41" fmla="*/ 247336 h 316735"/>
              <a:gd name="connsiteX42" fmla="*/ 417484 w 492210"/>
              <a:gd name="connsiteY42" fmla="*/ 273289 h 316735"/>
              <a:gd name="connsiteX43" fmla="*/ 417484 w 492210"/>
              <a:gd name="connsiteY43" fmla="*/ 273344 h 316735"/>
              <a:gd name="connsiteX44" fmla="*/ 391531 w 492210"/>
              <a:gd name="connsiteY44" fmla="*/ 299241 h 316735"/>
              <a:gd name="connsiteX45" fmla="*/ 432921 w 492210"/>
              <a:gd name="connsiteY45" fmla="*/ 262885 h 316735"/>
              <a:gd name="connsiteX46" fmla="*/ 381278 w 492210"/>
              <a:gd name="connsiteY46" fmla="*/ 231803 h 316735"/>
              <a:gd name="connsiteX47" fmla="*/ 350196 w 492210"/>
              <a:gd name="connsiteY47" fmla="*/ 262885 h 316735"/>
              <a:gd name="connsiteX48" fmla="*/ 318818 w 492210"/>
              <a:gd name="connsiteY48" fmla="*/ 262885 h 316735"/>
              <a:gd name="connsiteX49" fmla="*/ 318818 w 492210"/>
              <a:gd name="connsiteY49" fmla="*/ 167799 h 316735"/>
              <a:gd name="connsiteX50" fmla="*/ 475430 w 492210"/>
              <a:gd name="connsiteY50" fmla="*/ 167799 h 316735"/>
              <a:gd name="connsiteX51" fmla="*/ 475430 w 492210"/>
              <a:gd name="connsiteY51" fmla="*/ 262885 h 316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492210" h="316735">
                <a:moveTo>
                  <a:pt x="490700" y="153424"/>
                </a:moveTo>
                <a:lnTo>
                  <a:pt x="455686" y="102693"/>
                </a:lnTo>
                <a:cubicBezTo>
                  <a:pt x="445115" y="87422"/>
                  <a:pt x="427723" y="78308"/>
                  <a:pt x="409150" y="78306"/>
                </a:cubicBezTo>
                <a:lnTo>
                  <a:pt x="318818" y="78306"/>
                </a:lnTo>
                <a:lnTo>
                  <a:pt x="318818" y="8390"/>
                </a:lnTo>
                <a:cubicBezTo>
                  <a:pt x="318818" y="3756"/>
                  <a:pt x="315061" y="0"/>
                  <a:pt x="310428" y="0"/>
                </a:cubicBezTo>
                <a:lnTo>
                  <a:pt x="8390" y="0"/>
                </a:lnTo>
                <a:cubicBezTo>
                  <a:pt x="3756" y="0"/>
                  <a:pt x="0" y="3756"/>
                  <a:pt x="0" y="8390"/>
                </a:cubicBezTo>
                <a:lnTo>
                  <a:pt x="0" y="271275"/>
                </a:lnTo>
                <a:cubicBezTo>
                  <a:pt x="0" y="275908"/>
                  <a:pt x="3756" y="279665"/>
                  <a:pt x="8390" y="279665"/>
                </a:cubicBezTo>
                <a:lnTo>
                  <a:pt x="77691" y="279665"/>
                </a:lnTo>
                <a:cubicBezTo>
                  <a:pt x="80759" y="303003"/>
                  <a:pt x="102165" y="319435"/>
                  <a:pt x="125504" y="316367"/>
                </a:cubicBezTo>
                <a:cubicBezTo>
                  <a:pt x="144635" y="313852"/>
                  <a:pt x="159690" y="298797"/>
                  <a:pt x="162206" y="279665"/>
                </a:cubicBezTo>
                <a:lnTo>
                  <a:pt x="349469" y="279665"/>
                </a:lnTo>
                <a:cubicBezTo>
                  <a:pt x="352977" y="302972"/>
                  <a:pt x="374716" y="319022"/>
                  <a:pt x="398023" y="315514"/>
                </a:cubicBezTo>
                <a:cubicBezTo>
                  <a:pt x="416545" y="312726"/>
                  <a:pt x="431084" y="298187"/>
                  <a:pt x="433872" y="279665"/>
                </a:cubicBezTo>
                <a:lnTo>
                  <a:pt x="483820" y="279665"/>
                </a:lnTo>
                <a:cubicBezTo>
                  <a:pt x="488454" y="279665"/>
                  <a:pt x="492210" y="275908"/>
                  <a:pt x="492210" y="271275"/>
                </a:cubicBezTo>
                <a:lnTo>
                  <a:pt x="492210" y="158178"/>
                </a:lnTo>
                <a:cubicBezTo>
                  <a:pt x="492215" y="156475"/>
                  <a:pt x="491687" y="154812"/>
                  <a:pt x="490700" y="153424"/>
                </a:cubicBezTo>
                <a:close/>
                <a:moveTo>
                  <a:pt x="409150" y="95086"/>
                </a:moveTo>
                <a:cubicBezTo>
                  <a:pt x="422217" y="95078"/>
                  <a:pt x="434453" y="101499"/>
                  <a:pt x="441870" y="112257"/>
                </a:cubicBezTo>
                <a:lnTo>
                  <a:pt x="468662" y="151019"/>
                </a:lnTo>
                <a:lnTo>
                  <a:pt x="318818" y="151019"/>
                </a:lnTo>
                <a:lnTo>
                  <a:pt x="318818" y="95086"/>
                </a:lnTo>
                <a:close/>
                <a:moveTo>
                  <a:pt x="119920" y="299241"/>
                </a:moveTo>
                <a:cubicBezTo>
                  <a:pt x="105587" y="299303"/>
                  <a:pt x="93918" y="287734"/>
                  <a:pt x="93856" y="273400"/>
                </a:cubicBezTo>
                <a:cubicBezTo>
                  <a:pt x="93794" y="259068"/>
                  <a:pt x="105363" y="247398"/>
                  <a:pt x="119697" y="247336"/>
                </a:cubicBezTo>
                <a:cubicBezTo>
                  <a:pt x="134030" y="247275"/>
                  <a:pt x="145699" y="258844"/>
                  <a:pt x="145761" y="273177"/>
                </a:cubicBezTo>
                <a:cubicBezTo>
                  <a:pt x="145761" y="273233"/>
                  <a:pt x="145761" y="273289"/>
                  <a:pt x="145761" y="273344"/>
                </a:cubicBezTo>
                <a:cubicBezTo>
                  <a:pt x="145731" y="287612"/>
                  <a:pt x="134188" y="299180"/>
                  <a:pt x="119920" y="299241"/>
                </a:cubicBezTo>
                <a:close/>
                <a:moveTo>
                  <a:pt x="119920" y="230612"/>
                </a:moveTo>
                <a:cubicBezTo>
                  <a:pt x="100288" y="230548"/>
                  <a:pt x="83131" y="243854"/>
                  <a:pt x="78306" y="262885"/>
                </a:cubicBezTo>
                <a:lnTo>
                  <a:pt x="16780" y="262885"/>
                </a:lnTo>
                <a:lnTo>
                  <a:pt x="16780" y="16780"/>
                </a:lnTo>
                <a:lnTo>
                  <a:pt x="302038" y="16780"/>
                </a:lnTo>
                <a:lnTo>
                  <a:pt x="302038" y="262885"/>
                </a:lnTo>
                <a:lnTo>
                  <a:pt x="161199" y="262885"/>
                </a:lnTo>
                <a:cubicBezTo>
                  <a:pt x="156423" y="243964"/>
                  <a:pt x="139435" y="230682"/>
                  <a:pt x="119920" y="230612"/>
                </a:cubicBezTo>
                <a:close/>
                <a:moveTo>
                  <a:pt x="391531" y="299241"/>
                </a:moveTo>
                <a:cubicBezTo>
                  <a:pt x="377197" y="299241"/>
                  <a:pt x="365578" y="287622"/>
                  <a:pt x="365578" y="273289"/>
                </a:cubicBezTo>
                <a:cubicBezTo>
                  <a:pt x="365578" y="258955"/>
                  <a:pt x="377197" y="247336"/>
                  <a:pt x="391531" y="247336"/>
                </a:cubicBezTo>
                <a:cubicBezTo>
                  <a:pt x="405864" y="247336"/>
                  <a:pt x="417484" y="258955"/>
                  <a:pt x="417484" y="273289"/>
                </a:cubicBezTo>
                <a:cubicBezTo>
                  <a:pt x="417484" y="273307"/>
                  <a:pt x="417484" y="273326"/>
                  <a:pt x="417484" y="273344"/>
                </a:cubicBezTo>
                <a:cubicBezTo>
                  <a:pt x="417453" y="287656"/>
                  <a:pt x="405842" y="299241"/>
                  <a:pt x="391531" y="299241"/>
                </a:cubicBezTo>
                <a:close/>
                <a:moveTo>
                  <a:pt x="432921" y="262885"/>
                </a:moveTo>
                <a:cubicBezTo>
                  <a:pt x="427243" y="240041"/>
                  <a:pt x="404122" y="226125"/>
                  <a:pt x="381278" y="231803"/>
                </a:cubicBezTo>
                <a:cubicBezTo>
                  <a:pt x="365962" y="235610"/>
                  <a:pt x="354003" y="247569"/>
                  <a:pt x="350196" y="262885"/>
                </a:cubicBezTo>
                <a:lnTo>
                  <a:pt x="318818" y="262885"/>
                </a:lnTo>
                <a:lnTo>
                  <a:pt x="318818" y="167799"/>
                </a:lnTo>
                <a:lnTo>
                  <a:pt x="475430" y="167799"/>
                </a:lnTo>
                <a:lnTo>
                  <a:pt x="475430" y="262885"/>
                </a:lnTo>
                <a:close/>
              </a:path>
            </a:pathLst>
          </a:custGeom>
          <a:solidFill>
            <a:schemeClr val="tx1"/>
          </a:solidFill>
          <a:ln w="108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3C96"/>
              </a:solidFill>
              <a:effectLst/>
              <a:uLnTx/>
              <a:uFillTx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61308" y="2468007"/>
            <a:ext cx="415673" cy="277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251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094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276999"/>
          </a:xfrm>
        </p:spPr>
        <p:txBody>
          <a:bodyPr vert="horz"/>
          <a:lstStyle/>
          <a:p>
            <a:pPr>
              <a:lnSpc>
                <a:spcPct val="90000"/>
              </a:lnSpc>
            </a:pPr>
            <a:r>
              <a:rPr lang="ru-RU" sz="2000" dirty="0">
                <a:cs typeface="Arial" panose="020B0604020202020204" pitchFamily="34" charset="0"/>
              </a:rPr>
              <a:t>Оценка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2000" dirty="0">
                <a:cs typeface="Arial" panose="020B0604020202020204" pitchFamily="34" charset="0"/>
              </a:rPr>
              <a:t>поставщика  по результатам мониторинга: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41</a:t>
            </a:fld>
            <a:endParaRPr lang="en-US" dirty="0"/>
          </a:p>
        </p:txBody>
      </p:sp>
      <p:grpSp>
        <p:nvGrpSpPr>
          <p:cNvPr id="10" name="Группа 9"/>
          <p:cNvGrpSpPr/>
          <p:nvPr/>
        </p:nvGrpSpPr>
        <p:grpSpPr>
          <a:xfrm>
            <a:off x="382927" y="1197017"/>
            <a:ext cx="11059057" cy="824288"/>
            <a:chOff x="571159" y="1197017"/>
            <a:chExt cx="11059057" cy="1472580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571159" y="1197017"/>
              <a:ext cx="11059057" cy="1472580"/>
              <a:chOff x="571159" y="1197017"/>
              <a:chExt cx="11059057" cy="1472580"/>
            </a:xfrm>
          </p:grpSpPr>
          <p:grpSp>
            <p:nvGrpSpPr>
              <p:cNvPr id="15" name="Группа 14">
                <a:extLst>
                  <a:ext uri="{FF2B5EF4-FFF2-40B4-BE49-F238E27FC236}">
                    <a16:creationId xmlns:a16="http://schemas.microsoft.com/office/drawing/2014/main" id="{C614A740-52DA-4476-87F1-554B145FD27C}"/>
                  </a:ext>
                </a:extLst>
              </p:cNvPr>
              <p:cNvGrpSpPr/>
              <p:nvPr/>
            </p:nvGrpSpPr>
            <p:grpSpPr>
              <a:xfrm>
                <a:off x="571159" y="1197017"/>
                <a:ext cx="11059057" cy="1472580"/>
                <a:chOff x="571159" y="1198562"/>
                <a:chExt cx="11059057" cy="1472580"/>
              </a:xfrm>
            </p:grpSpPr>
            <p:sp>
              <p:nvSpPr>
                <p:cNvPr id="17" name="Прямоугольник 36">
                  <a:extLst>
                    <a:ext uri="{FF2B5EF4-FFF2-40B4-BE49-F238E27FC236}">
                      <a16:creationId xmlns:a16="http://schemas.microsoft.com/office/drawing/2014/main" id="{202A2032-F5E8-4AF1-AB9D-2E70490AEE2C}"/>
                    </a:ext>
                  </a:extLst>
                </p:cNvPr>
                <p:cNvSpPr/>
                <p:nvPr/>
              </p:nvSpPr>
              <p:spPr>
                <a:xfrm>
                  <a:off x="571159" y="1204233"/>
                  <a:ext cx="11050928" cy="1466909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8" name="Прямая соединительная линия 17">
                  <a:extLst>
                    <a:ext uri="{FF2B5EF4-FFF2-40B4-BE49-F238E27FC236}">
                      <a16:creationId xmlns:a16="http://schemas.microsoft.com/office/drawing/2014/main" id="{B08A83AF-5D02-4C09-942A-ED520964AD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159" y="1198562"/>
                  <a:ext cx="11059057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9" name="Straight Connector 47">
                <a:extLst>
                  <a:ext uri="{FF2B5EF4-FFF2-40B4-BE49-F238E27FC236}">
                    <a16:creationId xmlns:a16="http://schemas.microsoft.com/office/drawing/2014/main" id="{4238D043-3892-4EF7-824E-2873DC15312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59391" y="1400561"/>
                <a:ext cx="0" cy="1071161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6" name="Прямоугольник 5"/>
            <p:cNvSpPr/>
            <p:nvPr/>
          </p:nvSpPr>
          <p:spPr>
            <a:xfrm>
              <a:off x="759391" y="1422641"/>
              <a:ext cx="848139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44083">
                <a:defRPr/>
              </a:pPr>
              <a:r>
                <a:rPr lang="ru-RU" sz="1600" dirty="0"/>
                <a:t>Используется риск ориентированный подход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437314" y="3778633"/>
            <a:ext cx="10996541" cy="1397234"/>
            <a:chOff x="571159" y="4768210"/>
            <a:chExt cx="11059057" cy="1468799"/>
          </a:xfrm>
        </p:grpSpPr>
        <p:grpSp>
          <p:nvGrpSpPr>
            <p:cNvPr id="25" name="Группа 24">
              <a:extLst>
                <a:ext uri="{FF2B5EF4-FFF2-40B4-BE49-F238E27FC236}">
                  <a16:creationId xmlns:a16="http://schemas.microsoft.com/office/drawing/2014/main" id="{2F357D3A-E9EE-4AA6-ACEA-225E6641D560}"/>
                </a:ext>
              </a:extLst>
            </p:cNvPr>
            <p:cNvGrpSpPr/>
            <p:nvPr/>
          </p:nvGrpSpPr>
          <p:grpSpPr>
            <a:xfrm>
              <a:off x="571159" y="4768210"/>
              <a:ext cx="11059057" cy="1468799"/>
              <a:chOff x="571159" y="4815789"/>
              <a:chExt cx="11059057" cy="1468799"/>
            </a:xfrm>
          </p:grpSpPr>
          <p:sp>
            <p:nvSpPr>
              <p:cNvPr id="26" name="Прямоугольник 25">
                <a:extLst>
                  <a:ext uri="{FF2B5EF4-FFF2-40B4-BE49-F238E27FC236}">
                    <a16:creationId xmlns:a16="http://schemas.microsoft.com/office/drawing/2014/main" id="{8B8B9ED1-D49E-4518-B247-07658EFDCA48}"/>
                  </a:ext>
                </a:extLst>
              </p:cNvPr>
              <p:cNvSpPr/>
              <p:nvPr/>
            </p:nvSpPr>
            <p:spPr>
              <a:xfrm>
                <a:off x="571501" y="4817679"/>
                <a:ext cx="11050587" cy="146690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8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7" name="Прямая соединительная линия 26">
                <a:extLst>
                  <a:ext uri="{FF2B5EF4-FFF2-40B4-BE49-F238E27FC236}">
                    <a16:creationId xmlns:a16="http://schemas.microsoft.com/office/drawing/2014/main" id="{5BF8EF13-9018-4834-AFBA-260DD9FECA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159" y="4815789"/>
                <a:ext cx="11059057" cy="0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C934D1D-9D3C-550A-B763-40D8AB2BE5D2}"/>
                </a:ext>
              </a:extLst>
            </p:cNvPr>
            <p:cNvSpPr txBox="1"/>
            <p:nvPr/>
          </p:nvSpPr>
          <p:spPr>
            <a:xfrm>
              <a:off x="2053523" y="5223894"/>
              <a:ext cx="8405195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800"/>
              <a:r>
                <a:rPr lang="ru-RU" sz="1600" b="1" dirty="0"/>
                <a:t>Избежать аудит можно – если продукция поставщика соответствует показателям качества и безопасности</a:t>
              </a:r>
              <a:endParaRPr lang="ru-RU" sz="1600" dirty="0">
                <a:cs typeface="Calibri" panose="020F0502020204030204" pitchFamily="34" charset="0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445443" y="2498109"/>
            <a:ext cx="10996541" cy="824288"/>
            <a:chOff x="571159" y="1197017"/>
            <a:chExt cx="11059057" cy="1472580"/>
          </a:xfrm>
        </p:grpSpPr>
        <p:grpSp>
          <p:nvGrpSpPr>
            <p:cNvPr id="36" name="Группа 35">
              <a:extLst>
                <a:ext uri="{FF2B5EF4-FFF2-40B4-BE49-F238E27FC236}">
                  <a16:creationId xmlns:a16="http://schemas.microsoft.com/office/drawing/2014/main" id="{C614A740-52DA-4476-87F1-554B145FD27C}"/>
                </a:ext>
              </a:extLst>
            </p:cNvPr>
            <p:cNvGrpSpPr/>
            <p:nvPr/>
          </p:nvGrpSpPr>
          <p:grpSpPr>
            <a:xfrm>
              <a:off x="571159" y="1197017"/>
              <a:ext cx="11059057" cy="1472580"/>
              <a:chOff x="571159" y="1198562"/>
              <a:chExt cx="11059057" cy="1472580"/>
            </a:xfrm>
          </p:grpSpPr>
          <p:sp>
            <p:nvSpPr>
              <p:cNvPr id="38" name="Прямоугольник 36">
                <a:extLst>
                  <a:ext uri="{FF2B5EF4-FFF2-40B4-BE49-F238E27FC236}">
                    <a16:creationId xmlns:a16="http://schemas.microsoft.com/office/drawing/2014/main" id="{202A2032-F5E8-4AF1-AB9D-2E70490AEE2C}"/>
                  </a:ext>
                </a:extLst>
              </p:cNvPr>
              <p:cNvSpPr/>
              <p:nvPr/>
            </p:nvSpPr>
            <p:spPr>
              <a:xfrm>
                <a:off x="571159" y="1204233"/>
                <a:ext cx="11050928" cy="146690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8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39" name="Прямая соединительная линия 38">
                <a:extLst>
                  <a:ext uri="{FF2B5EF4-FFF2-40B4-BE49-F238E27FC236}">
                    <a16:creationId xmlns:a16="http://schemas.microsoft.com/office/drawing/2014/main" id="{B08A83AF-5D02-4C09-942A-ED520964AD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159" y="1198562"/>
                <a:ext cx="11059057" cy="0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7" name="Straight Connector 47">
              <a:extLst>
                <a:ext uri="{FF2B5EF4-FFF2-40B4-BE49-F238E27FC236}">
                  <a16:creationId xmlns:a16="http://schemas.microsoft.com/office/drawing/2014/main" id="{4238D043-3892-4EF7-824E-2873DC15312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59391" y="1400561"/>
              <a:ext cx="0" cy="1071161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Прямоугольник 12"/>
          <p:cNvSpPr/>
          <p:nvPr/>
        </p:nvSpPr>
        <p:spPr>
          <a:xfrm>
            <a:off x="751158" y="2629245"/>
            <a:ext cx="26068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/>
              <a:t>Нет плановых аудитов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8352" y="3597913"/>
            <a:ext cx="499915" cy="506012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41" name="Прямоугольник 40"/>
          <p:cNvSpPr/>
          <p:nvPr/>
        </p:nvSpPr>
        <p:spPr>
          <a:xfrm>
            <a:off x="445443" y="5607550"/>
            <a:ext cx="109803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/>
              <a:t>Сертификаты</a:t>
            </a:r>
            <a:r>
              <a:rPr lang="en-US" sz="1600" i="1" dirty="0"/>
              <a:t> </a:t>
            </a:r>
            <a:r>
              <a:rPr lang="ru-RU" sz="1600" i="1" dirty="0"/>
              <a:t>СМБПП </a:t>
            </a:r>
            <a:r>
              <a:rPr lang="en-US" sz="1600" i="1" dirty="0"/>
              <a:t>ISO 22000, FSSC 22000 </a:t>
            </a:r>
            <a:r>
              <a:rPr lang="ru-RU" sz="1600" i="1" dirty="0"/>
              <a:t>и др. не освобождают от проведения </a:t>
            </a:r>
            <a:r>
              <a:rPr lang="ru-RU" sz="1600" i="1" dirty="0" smtClean="0"/>
              <a:t>аудита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347189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18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1499" y="2936558"/>
            <a:ext cx="6172201" cy="984885"/>
          </a:xfrm>
        </p:spPr>
        <p:txBody>
          <a:bodyPr vert="horz"/>
          <a:lstStyle/>
          <a:p>
            <a:r>
              <a:rPr lang="ru-RU" dirty="0"/>
              <a:t>Аудит как возможность для развития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486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4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Номер слайда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6863BC82-91CA-428C-B8DB-4FD01771815B}"/>
              </a:ext>
            </a:extLst>
          </p:cNvPr>
          <p:cNvSpPr/>
          <p:nvPr/>
        </p:nvSpPr>
        <p:spPr>
          <a:xfrm>
            <a:off x="4074460" y="1916127"/>
            <a:ext cx="4029308" cy="4029306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Овал 98">
            <a:extLst>
              <a:ext uri="{FF2B5EF4-FFF2-40B4-BE49-F238E27FC236}">
                <a16:creationId xmlns:a16="http://schemas.microsoft.com/office/drawing/2014/main" id="{D8FF0F98-6196-4219-B5B5-74B06BCC448C}"/>
              </a:ext>
            </a:extLst>
          </p:cNvPr>
          <p:cNvSpPr/>
          <p:nvPr/>
        </p:nvSpPr>
        <p:spPr>
          <a:xfrm>
            <a:off x="3992201" y="4511189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pic>
        <p:nvPicPr>
          <p:cNvPr id="100" name="Рисунок 99">
            <a:extLst>
              <a:ext uri="{FF2B5EF4-FFF2-40B4-BE49-F238E27FC236}">
                <a16:creationId xmlns:a16="http://schemas.microsoft.com/office/drawing/2014/main" id="{7D2B2AE6-01FE-4F3C-8D70-CB6D2434EC6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143477" y="4662646"/>
            <a:ext cx="397242" cy="397240"/>
          </a:xfrm>
          <a:prstGeom prst="rect">
            <a:avLst/>
          </a:prstGeom>
          <a:ln>
            <a:noFill/>
          </a:ln>
        </p:spPr>
      </p:pic>
      <p:sp>
        <p:nvSpPr>
          <p:cNvPr id="102" name="Овал 101">
            <a:extLst>
              <a:ext uri="{FF2B5EF4-FFF2-40B4-BE49-F238E27FC236}">
                <a16:creationId xmlns:a16="http://schemas.microsoft.com/office/drawing/2014/main" id="{1369001F-8F89-462B-8659-6B2ACD42EE71}"/>
              </a:ext>
            </a:extLst>
          </p:cNvPr>
          <p:cNvSpPr/>
          <p:nvPr/>
        </p:nvSpPr>
        <p:spPr>
          <a:xfrm>
            <a:off x="7795214" y="3744868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pic>
        <p:nvPicPr>
          <p:cNvPr id="103" name="Рисунок 102">
            <a:extLst>
              <a:ext uri="{FF2B5EF4-FFF2-40B4-BE49-F238E27FC236}">
                <a16:creationId xmlns:a16="http://schemas.microsoft.com/office/drawing/2014/main" id="{EBCE8CA1-00C7-45F8-875D-8D073F26957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940970" y="3883384"/>
            <a:ext cx="397242" cy="397240"/>
          </a:xfrm>
          <a:prstGeom prst="rect">
            <a:avLst/>
          </a:prstGeom>
          <a:ln>
            <a:noFill/>
          </a:ln>
        </p:spPr>
      </p:pic>
      <p:sp>
        <p:nvSpPr>
          <p:cNvPr id="67" name="Овал 66">
            <a:extLst>
              <a:ext uri="{FF2B5EF4-FFF2-40B4-BE49-F238E27FC236}">
                <a16:creationId xmlns:a16="http://schemas.microsoft.com/office/drawing/2014/main" id="{E746A09E-A8E3-4130-A39D-1BF44C176BA8}"/>
              </a:ext>
            </a:extLst>
          </p:cNvPr>
          <p:cNvSpPr/>
          <p:nvPr/>
        </p:nvSpPr>
        <p:spPr>
          <a:xfrm>
            <a:off x="5960777" y="1588169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1B2AFCDB-FA5A-4BBD-915F-8C40C64E18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080087" y="1703169"/>
            <a:ext cx="397242" cy="397240"/>
          </a:xfrm>
          <a:prstGeom prst="rect">
            <a:avLst/>
          </a:prstGeom>
          <a:ln>
            <a:noFill/>
          </a:ln>
        </p:spPr>
      </p:pic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E79F39FD-3584-4CD2-9352-CDADF6689926}"/>
              </a:ext>
            </a:extLst>
          </p:cNvPr>
          <p:cNvSpPr/>
          <p:nvPr/>
        </p:nvSpPr>
        <p:spPr>
          <a:xfrm>
            <a:off x="6582655" y="919793"/>
            <a:ext cx="303434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«Лента</a:t>
            </a:r>
            <a:r>
              <a:rPr lang="ru-RU" sz="1200" dirty="0">
                <a:solidFill>
                  <a:schemeClr val="tx1"/>
                </a:solidFill>
              </a:rPr>
              <a:t>» </a:t>
            </a:r>
            <a:r>
              <a:rPr lang="ru-RU" sz="1200" dirty="0" smtClean="0">
                <a:solidFill>
                  <a:schemeClr val="tx1"/>
                </a:solidFill>
              </a:rPr>
              <a:t>заинтересована </a:t>
            </a:r>
            <a:r>
              <a:rPr lang="ru-RU" sz="1200" dirty="0">
                <a:solidFill>
                  <a:schemeClr val="tx1"/>
                </a:solidFill>
              </a:rPr>
              <a:t>во взаимовыгодном </a:t>
            </a:r>
            <a:r>
              <a:rPr lang="ru-RU" sz="1200" dirty="0" smtClean="0">
                <a:solidFill>
                  <a:schemeClr val="tx1"/>
                </a:solidFill>
              </a:rPr>
              <a:t>сотрудничестве с </a:t>
            </a:r>
            <a:r>
              <a:rPr lang="ru-RU" sz="1200" dirty="0">
                <a:solidFill>
                  <a:schemeClr val="tx1"/>
                </a:solidFill>
              </a:rPr>
              <a:t>поставщиком</a:t>
            </a: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D6706DE7-A32B-4EB7-8261-954713B1BA52}"/>
              </a:ext>
            </a:extLst>
          </p:cNvPr>
          <p:cNvSpPr/>
          <p:nvPr/>
        </p:nvSpPr>
        <p:spPr>
          <a:xfrm>
            <a:off x="4812094" y="2653760"/>
            <a:ext cx="2554040" cy="2554040"/>
          </a:xfrm>
          <a:prstGeom prst="ellipse">
            <a:avLst/>
          </a:prstGeom>
          <a:noFill/>
          <a:ln w="2857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514363"/>
            <a:r>
              <a:rPr lang="ru-RU" sz="1200" b="1" dirty="0">
                <a:cs typeface="Arial" panose="020B0604020202020204" pitchFamily="34" charset="0"/>
              </a:rPr>
              <a:t>Почему не нужно бояться аудита?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29FBCC7-1A29-4A68-9FF0-6AF1A54DD3AD}"/>
              </a:ext>
            </a:extLst>
          </p:cNvPr>
          <p:cNvSpPr/>
          <p:nvPr/>
        </p:nvSpPr>
        <p:spPr>
          <a:xfrm>
            <a:off x="8103768" y="2092025"/>
            <a:ext cx="3034346" cy="630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Поставщик </a:t>
            </a:r>
            <a:r>
              <a:rPr lang="ru-RU" sz="1200" dirty="0">
                <a:solidFill>
                  <a:schemeClr val="tx1"/>
                </a:solidFill>
              </a:rPr>
              <a:t>«Ленты» – </a:t>
            </a:r>
          </a:p>
          <a:p>
            <a:pPr defTabSz="685817">
              <a:defRPr/>
            </a:pPr>
            <a:r>
              <a:rPr lang="ru-RU" sz="1200" dirty="0">
                <a:solidFill>
                  <a:schemeClr val="tx1"/>
                </a:solidFill>
              </a:rPr>
              <a:t>партнер по прибыли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7AD61EB6-3998-44EE-A399-6C202128D036}"/>
              </a:ext>
            </a:extLst>
          </p:cNvPr>
          <p:cNvSpPr/>
          <p:nvPr/>
        </p:nvSpPr>
        <p:spPr>
          <a:xfrm>
            <a:off x="8178007" y="5123105"/>
            <a:ext cx="303434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spcAft>
                <a:spcPts val="600"/>
              </a:spcAft>
              <a:defRPr/>
            </a:pPr>
            <a:r>
              <a:rPr lang="ru-RU" sz="1200" dirty="0">
                <a:solidFill>
                  <a:schemeClr val="tx1"/>
                </a:solidFill>
              </a:rPr>
              <a:t>Рекомендации по устранению выявленных при аудите «слабых сторон» направлены на улучшение поставщика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440BDD07-ACAA-41C1-9F4D-A0A1FB184241}"/>
              </a:ext>
            </a:extLst>
          </p:cNvPr>
          <p:cNvSpPr/>
          <p:nvPr/>
        </p:nvSpPr>
        <p:spPr>
          <a:xfrm>
            <a:off x="740313" y="4431004"/>
            <a:ext cx="3034347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 defTabSz="685817">
              <a:spcAft>
                <a:spcPts val="600"/>
              </a:spcAft>
              <a:defRPr/>
            </a:pPr>
            <a:r>
              <a:rPr lang="ru-RU" sz="1200" dirty="0">
                <a:solidFill>
                  <a:schemeClr val="tx1"/>
                </a:solidFill>
              </a:rPr>
              <a:t>Бесплатная консультация аудиторов «Ленты» по СМК, НД, лучшим практикам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DF392D7E-1EED-452C-A6D9-06D6A71D513A}"/>
              </a:ext>
            </a:extLst>
          </p:cNvPr>
          <p:cNvSpPr/>
          <p:nvPr/>
        </p:nvSpPr>
        <p:spPr>
          <a:xfrm>
            <a:off x="1704977" y="5576110"/>
            <a:ext cx="3034347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 defTabSz="685817">
              <a:spcAft>
                <a:spcPts val="600"/>
              </a:spcAft>
              <a:defRPr/>
            </a:pPr>
            <a:r>
              <a:rPr lang="ru-RU" sz="1200" dirty="0">
                <a:solidFill>
                  <a:schemeClr val="tx1"/>
                </a:solidFill>
              </a:rPr>
              <a:t>Совместная работа специалистов СК «Ленты» и предприятия по проблемам качества и безопасности продукции </a:t>
            </a: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id="{9B407E2A-EB21-44F5-B5E8-CE4B3AD87FE8}"/>
              </a:ext>
            </a:extLst>
          </p:cNvPr>
          <p:cNvSpPr/>
          <p:nvPr/>
        </p:nvSpPr>
        <p:spPr>
          <a:xfrm>
            <a:off x="7317035" y="2366631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5D628BF4-A039-4891-A65F-3ACDD367549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47068" y="2473659"/>
            <a:ext cx="397242" cy="397240"/>
          </a:xfrm>
          <a:prstGeom prst="rect">
            <a:avLst/>
          </a:prstGeom>
          <a:ln>
            <a:noFill/>
          </a:ln>
        </p:spPr>
      </p:pic>
      <p:sp>
        <p:nvSpPr>
          <p:cNvPr id="59" name="Овал 58">
            <a:extLst>
              <a:ext uri="{FF2B5EF4-FFF2-40B4-BE49-F238E27FC236}">
                <a16:creationId xmlns:a16="http://schemas.microsoft.com/office/drawing/2014/main" id="{1131B90E-FB5C-4BD8-9C42-83D34A05FF06}"/>
              </a:ext>
            </a:extLst>
          </p:cNvPr>
          <p:cNvSpPr/>
          <p:nvPr/>
        </p:nvSpPr>
        <p:spPr>
          <a:xfrm>
            <a:off x="3819754" y="3076946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5C38DB90-563D-4EA8-B865-C40C370A25D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944856" y="3194044"/>
            <a:ext cx="397242" cy="397240"/>
          </a:xfrm>
          <a:prstGeom prst="rect">
            <a:avLst/>
          </a:prstGeom>
          <a:ln>
            <a:noFill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74631" y="5719838"/>
            <a:ext cx="396274" cy="39627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80991" y="5503540"/>
            <a:ext cx="676715" cy="68281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04874" y="1909246"/>
            <a:ext cx="676715" cy="682811"/>
          </a:xfrm>
          <a:prstGeom prst="rect">
            <a:avLst/>
          </a:prstGeom>
        </p:spPr>
      </p:pic>
      <p:sp>
        <p:nvSpPr>
          <p:cNvPr id="27" name="Овал 26">
            <a:extLst>
              <a:ext uri="{FF2B5EF4-FFF2-40B4-BE49-F238E27FC236}">
                <a16:creationId xmlns:a16="http://schemas.microsoft.com/office/drawing/2014/main" id="{1369001F-8F89-462B-8659-6B2ACD42EE71}"/>
              </a:ext>
            </a:extLst>
          </p:cNvPr>
          <p:cNvSpPr/>
          <p:nvPr/>
        </p:nvSpPr>
        <p:spPr>
          <a:xfrm>
            <a:off x="7136051" y="5205300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76742" y="5339820"/>
            <a:ext cx="396274" cy="396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27488" y="5634499"/>
            <a:ext cx="396274" cy="396274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EBCE8CA1-00C7-45F8-875D-8D073F26957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739324" y="2072940"/>
            <a:ext cx="397242" cy="397240"/>
          </a:xfrm>
          <a:prstGeom prst="rect">
            <a:avLst/>
          </a:prstGeom>
          <a:ln>
            <a:noFill/>
          </a:ln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E29FBCC7-1A29-4A68-9FF0-6AF1A54DD3AD}"/>
              </a:ext>
            </a:extLst>
          </p:cNvPr>
          <p:cNvSpPr/>
          <p:nvPr/>
        </p:nvSpPr>
        <p:spPr>
          <a:xfrm>
            <a:off x="8587742" y="3725982"/>
            <a:ext cx="3034346" cy="630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spcAft>
                <a:spcPts val="600"/>
              </a:spcAft>
              <a:defRPr/>
            </a:pPr>
            <a:r>
              <a:rPr lang="ru-RU" sz="1200" dirty="0">
                <a:solidFill>
                  <a:schemeClr val="tx1"/>
                </a:solidFill>
              </a:rPr>
              <a:t>«Лента» заинтересована в отсутствии претензий от потребителей на товары поставщика  и предписаний от контролирующих органов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DF392D7E-1EED-452C-A6D9-06D6A71D513A}"/>
              </a:ext>
            </a:extLst>
          </p:cNvPr>
          <p:cNvSpPr/>
          <p:nvPr/>
        </p:nvSpPr>
        <p:spPr>
          <a:xfrm>
            <a:off x="622750" y="2693581"/>
            <a:ext cx="3034347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 defTabSz="685817">
              <a:defRPr/>
            </a:pPr>
            <a:r>
              <a:rPr lang="ru-RU" sz="1200" dirty="0">
                <a:solidFill>
                  <a:schemeClr val="tx1"/>
                </a:solidFill>
              </a:rPr>
              <a:t>Общая цель - </a:t>
            </a:r>
          </a:p>
          <a:p>
            <a:pPr algn="r" defTabSz="685817">
              <a:defRPr/>
            </a:pPr>
            <a:r>
              <a:rPr lang="ru-RU" sz="1200" dirty="0">
                <a:solidFill>
                  <a:schemeClr val="tx1"/>
                </a:solidFill>
              </a:rPr>
              <a:t>качественная и безопасная продукция поставщика на полке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DF392D7E-1EED-452C-A6D9-06D6A71D513A}"/>
              </a:ext>
            </a:extLst>
          </p:cNvPr>
          <p:cNvSpPr/>
          <p:nvPr/>
        </p:nvSpPr>
        <p:spPr>
          <a:xfrm>
            <a:off x="1506372" y="979875"/>
            <a:ext cx="3034347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 defTabSz="685817">
              <a:defRPr/>
            </a:pPr>
            <a:r>
              <a:rPr lang="ru-RU" sz="1200" dirty="0">
                <a:solidFill>
                  <a:schemeClr val="tx1"/>
                </a:solidFill>
              </a:rPr>
              <a:t>«Лента» - это </a:t>
            </a:r>
          </a:p>
          <a:p>
            <a:pPr algn="r" defTabSz="685817">
              <a:defRPr/>
            </a:pPr>
            <a:r>
              <a:rPr lang="ru-RU" sz="1200" dirty="0">
                <a:solidFill>
                  <a:schemeClr val="tx1"/>
                </a:solidFill>
              </a:rPr>
              <a:t>не контролирующий орган. Задача аудита – подтверждение</a:t>
            </a:r>
          </a:p>
          <a:p>
            <a:pPr algn="r" defTabSz="685817">
              <a:spcAft>
                <a:spcPts val="600"/>
              </a:spcAft>
              <a:defRPr/>
            </a:pPr>
            <a:r>
              <a:rPr lang="ru-RU" sz="1200" dirty="0">
                <a:solidFill>
                  <a:schemeClr val="tx1"/>
                </a:solidFill>
              </a:rPr>
              <a:t>возможности выпускать стабильно качественную продукцию</a:t>
            </a:r>
          </a:p>
        </p:txBody>
      </p:sp>
    </p:spTree>
    <p:extLst>
      <p:ext uri="{BB962C8B-B14F-4D97-AF65-F5344CB8AC3E}">
        <p14:creationId xmlns:p14="http://schemas.microsoft.com/office/powerpoint/2010/main" val="1525728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66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523220"/>
          </a:xfrm>
        </p:spPr>
        <p:txBody>
          <a:bodyPr vert="horz"/>
          <a:lstStyle/>
          <a:p>
            <a:r>
              <a:rPr lang="ru-RU" sz="1200" dirty="0"/>
              <a:t>Аудит с поставщиком согласовывается заранее</a:t>
            </a:r>
            <a:r>
              <a:rPr lang="ru-RU" sz="1200" dirty="0" smtClean="0"/>
              <a:t>.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лан аудит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44</a:t>
            </a:fld>
            <a:endParaRPr lang="en-US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499" y="952901"/>
            <a:ext cx="8060397" cy="5485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342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9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338554"/>
          </a:xfrm>
        </p:spPr>
        <p:txBody>
          <a:bodyPr vert="horz"/>
          <a:lstStyle/>
          <a:p>
            <a:r>
              <a:rPr lang="ru-RU" dirty="0" smtClean="0"/>
              <a:t>План аудита </a:t>
            </a:r>
            <a:r>
              <a:rPr lang="ru-RU" b="0" dirty="0" smtClean="0"/>
              <a:t>(продолжение).</a:t>
            </a:r>
            <a:endParaRPr lang="ru-RU" b="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45</a:t>
            </a:fld>
            <a:endParaRPr lang="en-US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499" y="1378437"/>
            <a:ext cx="8953876" cy="5051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27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338554"/>
          </a:xfrm>
        </p:spPr>
        <p:txBody>
          <a:bodyPr vert="horz"/>
          <a:lstStyle/>
          <a:p>
            <a:r>
              <a:rPr lang="ru-RU" dirty="0" smtClean="0"/>
              <a:t>Условия аудита.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71499" y="1305342"/>
            <a:ext cx="1105058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Аудит проводится на всех производственных площадках поставщика, на которых производится или с которых осуществляются поставки продукции в компанию «Лента»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Аудит площадки проводится по всему ассортименту поставляемой продукции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Аудит проводится на функционирующем предприятии, не останавливающем выпуск продукции и/или проведение складских операций. </a:t>
            </a:r>
          </a:p>
          <a:p>
            <a:pPr algn="just"/>
            <a:r>
              <a:rPr lang="ru-RU" dirty="0"/>
              <a:t> 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При проведении аудита возможно проведение фото- и видеосъемки (по согласованию).</a:t>
            </a:r>
          </a:p>
        </p:txBody>
      </p:sp>
    </p:spTree>
    <p:extLst>
      <p:ext uri="{BB962C8B-B14F-4D97-AF65-F5344CB8AC3E}">
        <p14:creationId xmlns:p14="http://schemas.microsoft.com/office/powerpoint/2010/main" val="470427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38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1499" y="3182779"/>
            <a:ext cx="6172201" cy="492443"/>
          </a:xfrm>
        </p:spPr>
        <p:txBody>
          <a:bodyPr vert="horz"/>
          <a:lstStyle/>
          <a:p>
            <a:r>
              <a:rPr lang="ru-RU" dirty="0" err="1"/>
              <a:t>Лайфхаки</a:t>
            </a:r>
            <a:r>
              <a:rPr lang="ru-RU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84070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6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71499" y="1305342"/>
            <a:ext cx="1105058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803275"/>
            <a:r>
              <a:rPr lang="ru-RU" dirty="0">
                <a:cs typeface="Arial" panose="020B0604020202020204" pitchFamily="34" charset="0"/>
              </a:rPr>
              <a:t>Подготовить документацию согласно плана аудита.</a:t>
            </a:r>
          </a:p>
          <a:p>
            <a:pPr algn="just"/>
            <a:endParaRPr lang="ru-RU" dirty="0"/>
          </a:p>
          <a:p>
            <a:pPr algn="just"/>
            <a:endParaRPr lang="ru-RU" dirty="0" smtClean="0"/>
          </a:p>
          <a:p>
            <a:pPr algn="just"/>
            <a:endParaRPr lang="ru-RU" dirty="0"/>
          </a:p>
          <a:p>
            <a:pPr indent="803275"/>
            <a:r>
              <a:rPr lang="ru-RU" dirty="0"/>
              <a:t>Проверить, соответствуют ли ведущиеся  записи и</a:t>
            </a:r>
          </a:p>
          <a:p>
            <a:pPr indent="803275"/>
            <a:r>
              <a:rPr lang="ru-RU" dirty="0"/>
              <a:t>формы записей внутренним процедурам.</a:t>
            </a:r>
          </a:p>
          <a:p>
            <a:pPr algn="just"/>
            <a:r>
              <a:rPr lang="ru-RU" dirty="0"/>
              <a:t> </a:t>
            </a:r>
            <a:endParaRPr lang="ru-RU" dirty="0" smtClean="0"/>
          </a:p>
          <a:p>
            <a:pPr algn="just"/>
            <a:endParaRPr lang="ru-RU" dirty="0"/>
          </a:p>
          <a:p>
            <a:pPr marL="803275" lvl="0"/>
            <a:endParaRPr lang="ru-RU" dirty="0" smtClean="0"/>
          </a:p>
          <a:p>
            <a:pPr marL="803275" lvl="0"/>
            <a:r>
              <a:rPr lang="ru-RU" dirty="0" smtClean="0"/>
              <a:t>Основное </a:t>
            </a:r>
            <a:r>
              <a:rPr lang="ru-RU" dirty="0"/>
              <a:t>внимание уделить корректирующим мероприятиям по предотвращению выявленных несоответствий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660400" y="2109825"/>
            <a:ext cx="10810240" cy="51089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338554"/>
          </a:xfrm>
        </p:spPr>
        <p:txBody>
          <a:bodyPr/>
          <a:lstStyle/>
          <a:p>
            <a:r>
              <a:rPr lang="ru-RU" dirty="0" err="1"/>
              <a:t>Лайфхаки</a:t>
            </a:r>
            <a:r>
              <a:rPr lang="ru-RU" dirty="0"/>
              <a:t>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0400" y="1291688"/>
            <a:ext cx="475529" cy="46333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0400" y="2502061"/>
            <a:ext cx="475529" cy="46333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8379" y="3404614"/>
            <a:ext cx="10815241" cy="4877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8379" y="3810222"/>
            <a:ext cx="475529" cy="46333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7899" y="4737038"/>
            <a:ext cx="10815241" cy="48772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371600" y="4952493"/>
            <a:ext cx="100990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роконтролировать санитарно-бытовые помещения, условия для соблюдения  личной гигиены;  хранение, маркировку уборочного инвентаря.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8379" y="5135488"/>
            <a:ext cx="475529" cy="463336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7899" y="6194018"/>
            <a:ext cx="10815241" cy="48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750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6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1499" y="2936558"/>
            <a:ext cx="6172201" cy="984885"/>
          </a:xfrm>
        </p:spPr>
        <p:txBody>
          <a:bodyPr vert="horz"/>
          <a:lstStyle/>
          <a:p>
            <a:r>
              <a:rPr lang="ru-RU" dirty="0"/>
              <a:t>Что такое «критичное несоответствие».</a:t>
            </a:r>
          </a:p>
        </p:txBody>
      </p:sp>
    </p:spTree>
    <p:extLst>
      <p:ext uri="{BB962C8B-B14F-4D97-AF65-F5344CB8AC3E}">
        <p14:creationId xmlns:p14="http://schemas.microsoft.com/office/powerpoint/2010/main" val="107154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2400" y="3182779"/>
            <a:ext cx="6172201" cy="492443"/>
          </a:xfrm>
        </p:spPr>
        <p:txBody>
          <a:bodyPr/>
          <a:lstStyle/>
          <a:p>
            <a:r>
              <a:rPr lang="ru-RU" dirty="0"/>
              <a:t>Это точно не пройдёт</a:t>
            </a:r>
          </a:p>
        </p:txBody>
      </p:sp>
    </p:spTree>
    <p:extLst>
      <p:ext uri="{BB962C8B-B14F-4D97-AF65-F5344CB8AC3E}">
        <p14:creationId xmlns:p14="http://schemas.microsoft.com/office/powerpoint/2010/main" val="3178639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1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71499" y="1305342"/>
            <a:ext cx="11050589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/>
              <a:t>Критичное несоответствие - </a:t>
            </a:r>
            <a:r>
              <a:rPr lang="ru-RU" dirty="0">
                <a:latin typeface="Verdana (Основной текст)"/>
              </a:rPr>
              <a:t>критическое несоответствие пищевым стандартам, влекущее выпуск не безопасной продукции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/>
          </a:p>
          <a:p>
            <a:pPr marL="0" lvl="1" algn="just"/>
            <a:r>
              <a:rPr lang="ru-RU" sz="1600" dirty="0"/>
              <a:t>Оценка риска проводится по методике «Дерево принятия решения»:</a:t>
            </a:r>
          </a:p>
          <a:p>
            <a:pPr marL="0" lvl="1" algn="just"/>
            <a:endParaRPr lang="ru-RU" sz="1600" dirty="0"/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является ли несоответствие нарушением законодательных требований;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может ли несоответствие привести к риску контаминации (загрязнения) продукции и создать угрозу/оказать вредное воздействие на человека; 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является ли несоответствие систематическим, постоянным, многократным;</a:t>
            </a:r>
          </a:p>
          <a:p>
            <a:endParaRPr lang="ru-RU" sz="1600" dirty="0"/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latin typeface="Verdana (Основной текст)"/>
              </a:rPr>
              <a:t>внутренняя среда организации (возможность организации с точки зрения ресурсов) для быстрого устранения несоответствия.</a:t>
            </a:r>
          </a:p>
        </p:txBody>
      </p:sp>
    </p:spTree>
    <p:extLst>
      <p:ext uri="{BB962C8B-B14F-4D97-AF65-F5344CB8AC3E}">
        <p14:creationId xmlns:p14="http://schemas.microsoft.com/office/powerpoint/2010/main" val="2127425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34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1499" y="3182780"/>
            <a:ext cx="6172201" cy="492443"/>
          </a:xfrm>
        </p:spPr>
        <p:txBody>
          <a:bodyPr vert="horz"/>
          <a:lstStyle/>
          <a:p>
            <a:r>
              <a:rPr lang="ru-RU" dirty="0" smtClean="0"/>
              <a:t>Вопрос - ответ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2877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58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1499" y="2936559"/>
            <a:ext cx="6172201" cy="984885"/>
          </a:xfrm>
        </p:spPr>
        <p:txBody>
          <a:bodyPr vert="horz"/>
          <a:lstStyle/>
          <a:p>
            <a:r>
              <a:rPr lang="ru-RU" dirty="0"/>
              <a:t>Что делать если аудит провален? </a:t>
            </a:r>
          </a:p>
        </p:txBody>
      </p:sp>
    </p:spTree>
    <p:extLst>
      <p:ext uri="{BB962C8B-B14F-4D97-AF65-F5344CB8AC3E}">
        <p14:creationId xmlns:p14="http://schemas.microsoft.com/office/powerpoint/2010/main" val="3029439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82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53</a:t>
            </a:fld>
            <a:endParaRPr lang="en-US" dirty="0"/>
          </a:p>
        </p:txBody>
      </p:sp>
      <p:grpSp>
        <p:nvGrpSpPr>
          <p:cNvPr id="12" name="Группа 11"/>
          <p:cNvGrpSpPr/>
          <p:nvPr/>
        </p:nvGrpSpPr>
        <p:grpSpPr>
          <a:xfrm>
            <a:off x="466326" y="810461"/>
            <a:ext cx="10996541" cy="1397234"/>
            <a:chOff x="571159" y="4768210"/>
            <a:chExt cx="11059057" cy="1468799"/>
          </a:xfrm>
        </p:grpSpPr>
        <p:grpSp>
          <p:nvGrpSpPr>
            <p:cNvPr id="25" name="Группа 24">
              <a:extLst>
                <a:ext uri="{FF2B5EF4-FFF2-40B4-BE49-F238E27FC236}">
                  <a16:creationId xmlns:a16="http://schemas.microsoft.com/office/drawing/2014/main" id="{2F357D3A-E9EE-4AA6-ACEA-225E6641D560}"/>
                </a:ext>
              </a:extLst>
            </p:cNvPr>
            <p:cNvGrpSpPr/>
            <p:nvPr/>
          </p:nvGrpSpPr>
          <p:grpSpPr>
            <a:xfrm>
              <a:off x="571159" y="4768210"/>
              <a:ext cx="11059057" cy="1468799"/>
              <a:chOff x="571159" y="4815789"/>
              <a:chExt cx="11059057" cy="1468799"/>
            </a:xfrm>
          </p:grpSpPr>
          <p:sp>
            <p:nvSpPr>
              <p:cNvPr id="26" name="Прямоугольник 25">
                <a:extLst>
                  <a:ext uri="{FF2B5EF4-FFF2-40B4-BE49-F238E27FC236}">
                    <a16:creationId xmlns:a16="http://schemas.microsoft.com/office/drawing/2014/main" id="{8B8B9ED1-D49E-4518-B247-07658EFDCA48}"/>
                  </a:ext>
                </a:extLst>
              </p:cNvPr>
              <p:cNvSpPr/>
              <p:nvPr/>
            </p:nvSpPr>
            <p:spPr>
              <a:xfrm>
                <a:off x="571501" y="4817679"/>
                <a:ext cx="11050587" cy="146690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8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7" name="Прямая соединительная линия 26">
                <a:extLst>
                  <a:ext uri="{FF2B5EF4-FFF2-40B4-BE49-F238E27FC236}">
                    <a16:creationId xmlns:a16="http://schemas.microsoft.com/office/drawing/2014/main" id="{5BF8EF13-9018-4834-AFBA-260DD9FECA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159" y="4815789"/>
                <a:ext cx="11059057" cy="0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C934D1D-9D3C-550A-B763-40D8AB2BE5D2}"/>
                </a:ext>
              </a:extLst>
            </p:cNvPr>
            <p:cNvSpPr txBox="1"/>
            <p:nvPr/>
          </p:nvSpPr>
          <p:spPr>
            <a:xfrm>
              <a:off x="2053523" y="5223893"/>
              <a:ext cx="8405195" cy="258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b="1" dirty="0"/>
                <a:t>Аудит считается успешно пройденным, если результат 70% и более.</a:t>
              </a:r>
            </a:p>
          </p:txBody>
        </p:sp>
      </p:grpSp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5693" y="556080"/>
            <a:ext cx="499915" cy="506012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41" name="Прямоугольник 40"/>
          <p:cNvSpPr/>
          <p:nvPr/>
        </p:nvSpPr>
        <p:spPr>
          <a:xfrm>
            <a:off x="466326" y="2893862"/>
            <a:ext cx="10980330" cy="299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Аудит может быть провален в случаях</a:t>
            </a:r>
            <a:r>
              <a:rPr lang="ru-RU" sz="1600" b="1" dirty="0" smtClean="0"/>
              <a:t>:</a:t>
            </a:r>
          </a:p>
          <a:p>
            <a:endParaRPr lang="ru-RU" sz="1600" b="1" dirty="0"/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Если производственная площадка на момент аудита не функционировала.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 Если на предприятии не разработаны, не внедрены  и не поддерживаются обязательные процедуры, основанные на принципах ХАССП, установленные ТР ТС 021/2011 «О БЕЗОПАСНОСТИ ПИЩЕВОЙ ПРОДУКЦИИ»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 Если выявлено «критичное несоответствие» - критическое несоответствие пищевым стандартам, влекущее выпуск небезопасной продукции.</a:t>
            </a:r>
          </a:p>
          <a:p>
            <a:endParaRPr lang="ru-RU" sz="1600" dirty="0"/>
          </a:p>
          <a:p>
            <a:pPr>
              <a:lnSpc>
                <a:spcPct val="90000"/>
              </a:lnSpc>
            </a:pPr>
            <a:endParaRPr lang="ru-RU" sz="1400" b="1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320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06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54</a:t>
            </a:fld>
            <a:endParaRPr lang="en-US" dirty="0"/>
          </a:p>
        </p:txBody>
      </p:sp>
      <p:grpSp>
        <p:nvGrpSpPr>
          <p:cNvPr id="12" name="Группа 11"/>
          <p:cNvGrpSpPr/>
          <p:nvPr/>
        </p:nvGrpSpPr>
        <p:grpSpPr>
          <a:xfrm>
            <a:off x="482537" y="5258832"/>
            <a:ext cx="10996541" cy="1218970"/>
            <a:chOff x="571159" y="4768210"/>
            <a:chExt cx="11059057" cy="1468799"/>
          </a:xfrm>
        </p:grpSpPr>
        <p:grpSp>
          <p:nvGrpSpPr>
            <p:cNvPr id="25" name="Группа 24">
              <a:extLst>
                <a:ext uri="{FF2B5EF4-FFF2-40B4-BE49-F238E27FC236}">
                  <a16:creationId xmlns:a16="http://schemas.microsoft.com/office/drawing/2014/main" id="{2F357D3A-E9EE-4AA6-ACEA-225E6641D560}"/>
                </a:ext>
              </a:extLst>
            </p:cNvPr>
            <p:cNvGrpSpPr/>
            <p:nvPr/>
          </p:nvGrpSpPr>
          <p:grpSpPr>
            <a:xfrm>
              <a:off x="571159" y="4768210"/>
              <a:ext cx="11059057" cy="1468799"/>
              <a:chOff x="571159" y="4815789"/>
              <a:chExt cx="11059057" cy="1468799"/>
            </a:xfrm>
          </p:grpSpPr>
          <p:sp>
            <p:nvSpPr>
              <p:cNvPr id="26" name="Прямоугольник 25">
                <a:extLst>
                  <a:ext uri="{FF2B5EF4-FFF2-40B4-BE49-F238E27FC236}">
                    <a16:creationId xmlns:a16="http://schemas.microsoft.com/office/drawing/2014/main" id="{8B8B9ED1-D49E-4518-B247-07658EFDCA48}"/>
                  </a:ext>
                </a:extLst>
              </p:cNvPr>
              <p:cNvSpPr/>
              <p:nvPr/>
            </p:nvSpPr>
            <p:spPr>
              <a:xfrm>
                <a:off x="571501" y="4817679"/>
                <a:ext cx="11050587" cy="146690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8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7" name="Прямая соединительная линия 26">
                <a:extLst>
                  <a:ext uri="{FF2B5EF4-FFF2-40B4-BE49-F238E27FC236}">
                    <a16:creationId xmlns:a16="http://schemas.microsoft.com/office/drawing/2014/main" id="{5BF8EF13-9018-4834-AFBA-260DD9FECA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159" y="4815789"/>
                <a:ext cx="11059057" cy="0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C934D1D-9D3C-550A-B763-40D8AB2BE5D2}"/>
                </a:ext>
              </a:extLst>
            </p:cNvPr>
            <p:cNvSpPr txBox="1"/>
            <p:nvPr/>
          </p:nvSpPr>
          <p:spPr>
            <a:xfrm>
              <a:off x="2053523" y="5223894"/>
              <a:ext cx="8405195" cy="5933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b="1" dirty="0"/>
                <a:t>При устранении выявленных в ходе аудита несоответствий возможно продолжение  </a:t>
              </a:r>
              <a:r>
                <a:rPr lang="ru-RU" sz="1600" b="1" dirty="0" smtClean="0"/>
                <a:t>сотрудничества.</a:t>
              </a:r>
              <a:endParaRPr lang="ru-RU" sz="1600" b="1" dirty="0"/>
            </a:p>
          </p:txBody>
        </p:sp>
      </p:grpSp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26807" y="4944604"/>
            <a:ext cx="499915" cy="506012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41" name="Прямоугольник 40"/>
          <p:cNvSpPr/>
          <p:nvPr/>
        </p:nvSpPr>
        <p:spPr>
          <a:xfrm>
            <a:off x="571692" y="2942330"/>
            <a:ext cx="1098033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предоставляются </a:t>
            </a:r>
            <a:r>
              <a:rPr lang="ru-RU" sz="1600" dirty="0"/>
              <a:t>в течение 14 дней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указываются конкретные мероприятия, планируемые для устранения выявленных слабых сторон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комментарии указываются по каждому пункту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указываются даты практического устранения выявленных несоответствий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утверждаются руководителем предприятия, ставится печать организации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6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482536" y="578484"/>
            <a:ext cx="10988459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/>
              <a:t>Корректирующие действия </a:t>
            </a:r>
            <a:r>
              <a:rPr lang="ru-RU" sz="2000" dirty="0">
                <a:latin typeface="Futura PT Book" panose="020B0502020204020303" pitchFamily="34" charset="-52"/>
              </a:rPr>
              <a:t>– </a:t>
            </a:r>
            <a:r>
              <a:rPr lang="ru-RU" dirty="0">
                <a:latin typeface="Verdana (Основной текст)"/>
              </a:rPr>
              <a:t>действия,  направленные на устранение причин выявленного несоответствия и предотвращения его повторного возникновения в дальнейшем.</a:t>
            </a:r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/>
          </p:nvPr>
        </p:nvGraphicFramePr>
        <p:xfrm>
          <a:off x="608164" y="1326134"/>
          <a:ext cx="10907386" cy="1417363"/>
        </p:xfrm>
        <a:graphic>
          <a:graphicData uri="http://schemas.openxmlformats.org/drawingml/2006/table">
            <a:tbl>
              <a:tblPr/>
              <a:tblGrid>
                <a:gridCol w="3843242">
                  <a:extLst>
                    <a:ext uri="{9D8B030D-6E8A-4147-A177-3AD203B41FA5}">
                      <a16:colId xmlns:a16="http://schemas.microsoft.com/office/drawing/2014/main" val="3125820196"/>
                    </a:ext>
                  </a:extLst>
                </a:gridCol>
                <a:gridCol w="4425553">
                  <a:extLst>
                    <a:ext uri="{9D8B030D-6E8A-4147-A177-3AD203B41FA5}">
                      <a16:colId xmlns:a16="http://schemas.microsoft.com/office/drawing/2014/main" val="2161799832"/>
                    </a:ext>
                  </a:extLst>
                </a:gridCol>
                <a:gridCol w="1251966">
                  <a:extLst>
                    <a:ext uri="{9D8B030D-6E8A-4147-A177-3AD203B41FA5}">
                      <a16:colId xmlns:a16="http://schemas.microsoft.com/office/drawing/2014/main" val="51409989"/>
                    </a:ext>
                  </a:extLst>
                </a:gridCol>
                <a:gridCol w="1386625">
                  <a:extLst>
                    <a:ext uri="{9D8B030D-6E8A-4147-A177-3AD203B41FA5}">
                      <a16:colId xmlns:a16="http://schemas.microsoft.com/office/drawing/2014/main" val="2566055005"/>
                    </a:ext>
                  </a:extLst>
                </a:gridCol>
              </a:tblGrid>
              <a:tr h="438094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 (Основной текст)"/>
                        </a:rPr>
                        <a:t>Корректирующие действия по устранению несоответств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7792359"/>
                  </a:ext>
                </a:extLst>
              </a:tr>
              <a:tr h="4509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 (Основной текст)"/>
                        </a:rPr>
                        <a:t>Слабые стороны: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 (Основной текст)"/>
                        </a:rPr>
                        <a:t>Устранение несоответствия </a:t>
                      </a:r>
                      <a:b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 (Основной текст)"/>
                        </a:rPr>
                      </a:b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 (Основной текст)"/>
                        </a:rPr>
                        <a:t>(какие действия будут предприняты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 (Основной текст)"/>
                        </a:rPr>
                        <a:t>Ответственны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 (Основной текст)"/>
                        </a:rPr>
                        <a:t>Дата устран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821427"/>
                  </a:ext>
                </a:extLst>
              </a:tr>
              <a:tr h="27058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8915519"/>
                  </a:ext>
                </a:extLst>
              </a:tr>
              <a:tr h="257702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2005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1637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30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482536" y="1575542"/>
            <a:ext cx="109803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600" dirty="0" smtClean="0">
              <a:solidFill>
                <a:schemeClr val="tx2"/>
              </a:solidFill>
              <a:hlinkClick r:id="rId6"/>
            </a:endParaRPr>
          </a:p>
          <a:p>
            <a:pPr algn="just"/>
            <a:r>
              <a:rPr lang="en-US" sz="1600" dirty="0" smtClean="0">
                <a:solidFill>
                  <a:schemeClr val="tx2"/>
                </a:solidFill>
                <a:hlinkClick r:id="rId6"/>
              </a:rPr>
              <a:t>https://lenta.com/i/postavshchikam/kontrol-kachestva/</a:t>
            </a:r>
            <a:endParaRPr lang="ru-RU" sz="1600" dirty="0" smtClean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600" dirty="0" smtClean="0"/>
          </a:p>
        </p:txBody>
      </p:sp>
      <p:sp>
        <p:nvSpPr>
          <p:cNvPr id="2" name="Прямоугольник 1">
            <a:hlinkClick r:id="rId6"/>
          </p:cNvPr>
          <p:cNvSpPr/>
          <p:nvPr/>
        </p:nvSpPr>
        <p:spPr>
          <a:xfrm>
            <a:off x="482536" y="578484"/>
            <a:ext cx="10988459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 smtClean="0">
                <a:latin typeface="Verdana (Основной текст)"/>
              </a:rPr>
              <a:t>Информация для поставщиков</a:t>
            </a:r>
            <a:r>
              <a:rPr lang="ru-RU" sz="2000" b="1" dirty="0" smtClean="0">
                <a:latin typeface="Futura PT Book" panose="020B0502020204020303" pitchFamily="34" charset="-52"/>
              </a:rPr>
              <a:t>.</a:t>
            </a:r>
          </a:p>
          <a:p>
            <a:pPr algn="just"/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3531" y="2480267"/>
            <a:ext cx="5605513" cy="319999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83531" y="1255593"/>
            <a:ext cx="1103855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ru-RU" sz="1600" dirty="0" smtClean="0"/>
              <a:t>Актуальная информация по аудитам поставщиков размещена на официальном сайте:</a:t>
            </a:r>
            <a:r>
              <a:rPr lang="en-US" sz="1600" dirty="0" smtClean="0"/>
              <a:t> lenta.com</a:t>
            </a:r>
            <a:endParaRPr lang="ru-RU" sz="1600" dirty="0" smtClean="0"/>
          </a:p>
        </p:txBody>
      </p:sp>
    </p:spTree>
    <p:extLst>
      <p:ext uri="{BB962C8B-B14F-4D97-AF65-F5344CB8AC3E}">
        <p14:creationId xmlns:p14="http://schemas.microsoft.com/office/powerpoint/2010/main" val="2778031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1498" y="1815904"/>
            <a:ext cx="8995021" cy="553998"/>
          </a:xfrm>
        </p:spPr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54816" y="2965839"/>
            <a:ext cx="8995021" cy="1554272"/>
          </a:xfrm>
        </p:spPr>
        <p:txBody>
          <a:bodyPr/>
          <a:lstStyle/>
          <a:p>
            <a:r>
              <a:rPr lang="ru-RU" dirty="0"/>
              <a:t>Ольга </a:t>
            </a:r>
            <a:r>
              <a:rPr lang="ru-RU" dirty="0" smtClean="0"/>
              <a:t>Афонина</a:t>
            </a:r>
          </a:p>
          <a:p>
            <a:r>
              <a:rPr lang="ru-RU" dirty="0" smtClean="0"/>
              <a:t>Ведущий эксперт-аудитор</a:t>
            </a:r>
          </a:p>
          <a:p>
            <a:r>
              <a:rPr lang="ru-RU" dirty="0" smtClean="0"/>
              <a:t>ООО «Лента»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950517" y="2445437"/>
            <a:ext cx="15536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tx2"/>
                </a:solidFill>
              </a:rPr>
              <a:t>Контакты:</a:t>
            </a:r>
            <a:endParaRPr lang="en-RU" b="1" dirty="0">
              <a:solidFill>
                <a:schemeClr val="tx2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054816" y="3999709"/>
            <a:ext cx="28007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tx2"/>
                </a:solidFill>
              </a:rPr>
              <a:t>+</a:t>
            </a:r>
            <a:r>
              <a:rPr lang="ru-RU" b="1" dirty="0">
                <a:solidFill>
                  <a:schemeClr val="tx2"/>
                </a:solidFill>
              </a:rPr>
              <a:t>7 (921) 766-08-5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54816" y="4520111"/>
            <a:ext cx="32960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olga.afonina@lenta.com</a:t>
            </a:r>
          </a:p>
        </p:txBody>
      </p:sp>
    </p:spTree>
    <p:extLst>
      <p:ext uri="{BB962C8B-B14F-4D97-AF65-F5344CB8AC3E}">
        <p14:creationId xmlns:p14="http://schemas.microsoft.com/office/powerpoint/2010/main" val="2813917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Заголовок 33">
            <a:extLst>
              <a:ext uri="{FF2B5EF4-FFF2-40B4-BE49-F238E27FC236}">
                <a16:creationId xmlns:a16="http://schemas.microsoft.com/office/drawing/2014/main" id="{DFE19F94-644B-42C1-AD3F-8528C51CFA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ru-RU" sz="4000" dirty="0" smtClean="0"/>
              <a:t>Управляем качеством вместе?</a:t>
            </a:r>
            <a:endParaRPr lang="ru-RU" sz="4000" dirty="0">
              <a:solidFill>
                <a:schemeClr val="tx2"/>
              </a:solidFill>
            </a:endParaRPr>
          </a:p>
        </p:txBody>
      </p:sp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>
          <a:xfrm>
            <a:off x="571499" y="3837164"/>
            <a:ext cx="8995021" cy="1228028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2"/>
                </a:solidFill>
              </a:rPr>
              <a:t>03.10.2025</a:t>
            </a:r>
          </a:p>
          <a:p>
            <a:pPr algn="r"/>
            <a:r>
              <a:rPr lang="ru-RU" dirty="0" smtClean="0"/>
              <a:t>Юлия Ли</a:t>
            </a:r>
          </a:p>
          <a:p>
            <a:pPr algn="r"/>
            <a:r>
              <a:rPr lang="ru-RU" dirty="0"/>
              <a:t>Менеджер по претензионной работе</a:t>
            </a:r>
            <a:endParaRPr lang="ru-RU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dirty="0">
              <a:solidFill>
                <a:schemeClr val="bg2"/>
              </a:solidFill>
            </a:endParaRP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C8C12EE-F6E3-DC38-EC5D-561226AB2A87}"/>
              </a:ext>
            </a:extLst>
          </p:cNvPr>
          <p:cNvGrpSpPr/>
          <p:nvPr/>
        </p:nvGrpSpPr>
        <p:grpSpPr>
          <a:xfrm>
            <a:off x="0" y="4895068"/>
            <a:ext cx="5700035" cy="1962956"/>
            <a:chOff x="0" y="4895068"/>
            <a:chExt cx="5700035" cy="1962956"/>
          </a:xfrm>
        </p:grpSpPr>
        <p:sp>
          <p:nvSpPr>
            <p:cNvPr id="125" name="Полилиния: фигура 7">
              <a:extLst>
                <a:ext uri="{FF2B5EF4-FFF2-40B4-BE49-F238E27FC236}">
                  <a16:creationId xmlns:a16="http://schemas.microsoft.com/office/drawing/2014/main" id="{3789CB51-94F1-F8FA-A79F-06A57F1C8DF4}"/>
                </a:ext>
              </a:extLst>
            </p:cNvPr>
            <p:cNvSpPr/>
            <p:nvPr userDrawn="1"/>
          </p:nvSpPr>
          <p:spPr>
            <a:xfrm rot="16200000">
              <a:off x="979714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Полилиния: фигура 8">
              <a:extLst>
                <a:ext uri="{FF2B5EF4-FFF2-40B4-BE49-F238E27FC236}">
                  <a16:creationId xmlns:a16="http://schemas.microsoft.com/office/drawing/2014/main" id="{A6ACED56-6CF8-39E8-A8FB-2A87C0231D3C}"/>
                </a:ext>
              </a:extLst>
            </p:cNvPr>
            <p:cNvSpPr/>
            <p:nvPr userDrawn="1"/>
          </p:nvSpPr>
          <p:spPr>
            <a:xfrm>
              <a:off x="1224642" y="6123239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Полилиния: фигура 11">
              <a:extLst>
                <a:ext uri="{FF2B5EF4-FFF2-40B4-BE49-F238E27FC236}">
                  <a16:creationId xmlns:a16="http://schemas.microsoft.com/office/drawing/2014/main" id="{5DB7683A-9BD5-4464-68F8-5EDE8AF6796A}"/>
                </a:ext>
              </a:extLst>
            </p:cNvPr>
            <p:cNvSpPr/>
            <p:nvPr userDrawn="1"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Полилиния: фигура 12">
              <a:extLst>
                <a:ext uri="{FF2B5EF4-FFF2-40B4-BE49-F238E27FC236}">
                  <a16:creationId xmlns:a16="http://schemas.microsoft.com/office/drawing/2014/main" id="{F57E5213-5C20-6A07-918A-83451D3052F3}"/>
                </a:ext>
              </a:extLst>
            </p:cNvPr>
            <p:cNvSpPr/>
            <p:nvPr userDrawn="1"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Полилиния: фигура 13">
              <a:extLst>
                <a:ext uri="{FF2B5EF4-FFF2-40B4-BE49-F238E27FC236}">
                  <a16:creationId xmlns:a16="http://schemas.microsoft.com/office/drawing/2014/main" id="{EEC48DA5-7A77-6D8F-679C-6B23C76D5E64}"/>
                </a:ext>
              </a:extLst>
            </p:cNvPr>
            <p:cNvSpPr/>
            <p:nvPr userDrawn="1"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Полилиния: фигура 14">
              <a:extLst>
                <a:ext uri="{FF2B5EF4-FFF2-40B4-BE49-F238E27FC236}">
                  <a16:creationId xmlns:a16="http://schemas.microsoft.com/office/drawing/2014/main" id="{1613629D-47BB-7796-0553-499C6821CA59}"/>
                </a:ext>
              </a:extLst>
            </p:cNvPr>
            <p:cNvSpPr/>
            <p:nvPr userDrawn="1"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Полилиния: фигура 15">
              <a:extLst>
                <a:ext uri="{FF2B5EF4-FFF2-40B4-BE49-F238E27FC236}">
                  <a16:creationId xmlns:a16="http://schemas.microsoft.com/office/drawing/2014/main" id="{C85BD5F8-F7C8-28E1-BFDB-DDC8307360F7}"/>
                </a:ext>
              </a:extLst>
            </p:cNvPr>
            <p:cNvSpPr/>
            <p:nvPr userDrawn="1"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17">
              <a:extLst>
                <a:ext uri="{FF2B5EF4-FFF2-40B4-BE49-F238E27FC236}">
                  <a16:creationId xmlns:a16="http://schemas.microsoft.com/office/drawing/2014/main" id="{0355DC7A-A024-569E-0B8D-DDEEE1CADB03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Полилиния: фигура 18">
              <a:extLst>
                <a:ext uri="{FF2B5EF4-FFF2-40B4-BE49-F238E27FC236}">
                  <a16:creationId xmlns:a16="http://schemas.microsoft.com/office/drawing/2014/main" id="{26A08EE6-873F-5FF3-69E5-49E927186F08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Полилиния: фигура 19">
              <a:extLst>
                <a:ext uri="{FF2B5EF4-FFF2-40B4-BE49-F238E27FC236}">
                  <a16:creationId xmlns:a16="http://schemas.microsoft.com/office/drawing/2014/main" id="{18ED321C-6A84-4D58-AD6B-4E8876929C0F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Полилиния: фигура 21">
              <a:extLst>
                <a:ext uri="{FF2B5EF4-FFF2-40B4-BE49-F238E27FC236}">
                  <a16:creationId xmlns:a16="http://schemas.microsoft.com/office/drawing/2014/main" id="{1D4D272C-D9B3-B449-31B4-629820975AD7}"/>
                </a:ext>
              </a:extLst>
            </p:cNvPr>
            <p:cNvSpPr/>
            <p:nvPr/>
          </p:nvSpPr>
          <p:spPr>
            <a:xfrm>
              <a:off x="1959428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Полилиния: фигура 22">
              <a:extLst>
                <a:ext uri="{FF2B5EF4-FFF2-40B4-BE49-F238E27FC236}">
                  <a16:creationId xmlns:a16="http://schemas.microsoft.com/office/drawing/2014/main" id="{4553FED2-7C22-3A82-5723-3CB1B665DA29}"/>
                </a:ext>
              </a:extLst>
            </p:cNvPr>
            <p:cNvSpPr/>
            <p:nvPr/>
          </p:nvSpPr>
          <p:spPr>
            <a:xfrm>
              <a:off x="1959428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Полилиния: фигура 23">
              <a:extLst>
                <a:ext uri="{FF2B5EF4-FFF2-40B4-BE49-F238E27FC236}">
                  <a16:creationId xmlns:a16="http://schemas.microsoft.com/office/drawing/2014/main" id="{92BE6DE7-1F2A-EC43-8771-8E2CCF1F4233}"/>
                </a:ext>
              </a:extLst>
            </p:cNvPr>
            <p:cNvSpPr/>
            <p:nvPr/>
          </p:nvSpPr>
          <p:spPr>
            <a:xfrm>
              <a:off x="2449285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Полилиния: фигура 24">
              <a:extLst>
                <a:ext uri="{FF2B5EF4-FFF2-40B4-BE49-F238E27FC236}">
                  <a16:creationId xmlns:a16="http://schemas.microsoft.com/office/drawing/2014/main" id="{EEED14F5-BCFF-9854-C273-6F2CDA8A487B}"/>
                </a:ext>
              </a:extLst>
            </p:cNvPr>
            <p:cNvSpPr/>
            <p:nvPr/>
          </p:nvSpPr>
          <p:spPr>
            <a:xfrm>
              <a:off x="2449285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Полилиния: фигура 26">
              <a:extLst>
                <a:ext uri="{FF2B5EF4-FFF2-40B4-BE49-F238E27FC236}">
                  <a16:creationId xmlns:a16="http://schemas.microsoft.com/office/drawing/2014/main" id="{99B323CD-8E61-4B69-EA1D-5DCA632F6E66}"/>
                </a:ext>
              </a:extLst>
            </p:cNvPr>
            <p:cNvSpPr/>
            <p:nvPr/>
          </p:nvSpPr>
          <p:spPr>
            <a:xfrm>
              <a:off x="3268046" y="6171445"/>
              <a:ext cx="432445" cy="432445"/>
            </a:xfrm>
            <a:custGeom>
              <a:avLst/>
              <a:gdLst>
                <a:gd name="connsiteX0" fmla="*/ 432446 w 432445"/>
                <a:gd name="connsiteY0" fmla="*/ 216223 h 432445"/>
                <a:gd name="connsiteX1" fmla="*/ 216223 w 432445"/>
                <a:gd name="connsiteY1" fmla="*/ 432446 h 432445"/>
                <a:gd name="connsiteX2" fmla="*/ 0 w 432445"/>
                <a:gd name="connsiteY2" fmla="*/ 216223 h 432445"/>
                <a:gd name="connsiteX3" fmla="*/ 216223 w 432445"/>
                <a:gd name="connsiteY3" fmla="*/ 0 h 432445"/>
                <a:gd name="connsiteX4" fmla="*/ 432446 w 432445"/>
                <a:gd name="connsiteY4" fmla="*/ 216223 h 4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445" h="432445">
                  <a:moveTo>
                    <a:pt x="432446" y="216223"/>
                  </a:moveTo>
                  <a:cubicBezTo>
                    <a:pt x="432446" y="335639"/>
                    <a:pt x="335640" y="432446"/>
                    <a:pt x="216223" y="432446"/>
                  </a:cubicBezTo>
                  <a:cubicBezTo>
                    <a:pt x="96806" y="432446"/>
                    <a:pt x="0" y="335639"/>
                    <a:pt x="0" y="216223"/>
                  </a:cubicBezTo>
                  <a:cubicBezTo>
                    <a:pt x="0" y="96806"/>
                    <a:pt x="96806" y="0"/>
                    <a:pt x="216223" y="0"/>
                  </a:cubicBezTo>
                  <a:cubicBezTo>
                    <a:pt x="335640" y="0"/>
                    <a:pt x="432446" y="96806"/>
                    <a:pt x="432446" y="216223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Полилиния: фигура 27">
              <a:extLst>
                <a:ext uri="{FF2B5EF4-FFF2-40B4-BE49-F238E27FC236}">
                  <a16:creationId xmlns:a16="http://schemas.microsoft.com/office/drawing/2014/main" id="{436C948C-C636-AD72-AEAA-7147655F72E7}"/>
                </a:ext>
              </a:extLst>
            </p:cNvPr>
            <p:cNvSpPr/>
            <p:nvPr/>
          </p:nvSpPr>
          <p:spPr>
            <a:xfrm>
              <a:off x="3484268" y="6011751"/>
              <a:ext cx="159988" cy="159987"/>
            </a:xfrm>
            <a:custGeom>
              <a:avLst/>
              <a:gdLst>
                <a:gd name="connsiteX0" fmla="*/ -3207 w 159988"/>
                <a:gd name="connsiteY0" fmla="*/ 159748 h 159987"/>
                <a:gd name="connsiteX1" fmla="*/ 156781 w 159988"/>
                <a:gd name="connsiteY1" fmla="*/ -240 h 159987"/>
                <a:gd name="connsiteX2" fmla="*/ -3207 w 159988"/>
                <a:gd name="connsiteY2" fmla="*/ 159748 h 15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88" h="159987">
                  <a:moveTo>
                    <a:pt x="-3207" y="159748"/>
                  </a:moveTo>
                  <a:cubicBezTo>
                    <a:pt x="85163" y="159748"/>
                    <a:pt x="156781" y="88121"/>
                    <a:pt x="156781" y="-240"/>
                  </a:cubicBezTo>
                  <a:cubicBezTo>
                    <a:pt x="68410" y="-240"/>
                    <a:pt x="-3207" y="71387"/>
                    <a:pt x="-3207" y="159748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4" name="Группа 48">
              <a:extLst>
                <a:ext uri="{FF2B5EF4-FFF2-40B4-BE49-F238E27FC236}">
                  <a16:creationId xmlns:a16="http://schemas.microsoft.com/office/drawing/2014/main" id="{A344F5CA-3BFA-949C-3A3C-50FC4802C112}"/>
                </a:ext>
              </a:extLst>
            </p:cNvPr>
            <p:cNvGrpSpPr/>
            <p:nvPr/>
          </p:nvGrpSpPr>
          <p:grpSpPr>
            <a:xfrm>
              <a:off x="5094572" y="6068734"/>
              <a:ext cx="605463" cy="605463"/>
              <a:chOff x="5094572" y="6068734"/>
              <a:chExt cx="605463" cy="605463"/>
            </a:xfrm>
          </p:grpSpPr>
          <p:sp>
            <p:nvSpPr>
              <p:cNvPr id="159" name="Полилиния: фигура 49">
                <a:extLst>
                  <a:ext uri="{FF2B5EF4-FFF2-40B4-BE49-F238E27FC236}">
                    <a16:creationId xmlns:a16="http://schemas.microsoft.com/office/drawing/2014/main" id="{D0C567A5-1393-2D50-08F3-F4763D871D24}"/>
                  </a:ext>
                </a:extLst>
              </p:cNvPr>
              <p:cNvSpPr/>
              <p:nvPr userDrawn="1"/>
            </p:nvSpPr>
            <p:spPr>
              <a:xfrm>
                <a:off x="5226343" y="6200506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2" y="341920"/>
                      <a:pt x="0" y="265379"/>
                      <a:pt x="0" y="170960"/>
                    </a:cubicBezTo>
                    <a:cubicBezTo>
                      <a:pt x="0" y="76541"/>
                      <a:pt x="76542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Полилиния: фигура 50">
                <a:extLst>
                  <a:ext uri="{FF2B5EF4-FFF2-40B4-BE49-F238E27FC236}">
                    <a16:creationId xmlns:a16="http://schemas.microsoft.com/office/drawing/2014/main" id="{A1867F93-FB8B-B633-D8E3-07D0B8ADBE26}"/>
                  </a:ext>
                </a:extLst>
              </p:cNvPr>
              <p:cNvSpPr/>
              <p:nvPr userDrawn="1"/>
            </p:nvSpPr>
            <p:spPr>
              <a:xfrm>
                <a:off x="5094572" y="6068734"/>
                <a:ext cx="605463" cy="605463"/>
              </a:xfrm>
              <a:custGeom>
                <a:avLst/>
                <a:gdLst>
                  <a:gd name="connsiteX0" fmla="*/ 299524 w 605463"/>
                  <a:gd name="connsiteY0" fmla="*/ -240 h 605463"/>
                  <a:gd name="connsiteX1" fmla="*/ 270132 w 605463"/>
                  <a:gd name="connsiteY1" fmla="*/ 29151 h 605463"/>
                  <a:gd name="connsiteX2" fmla="*/ 270132 w 605463"/>
                  <a:gd name="connsiteY2" fmla="*/ 72847 h 605463"/>
                  <a:gd name="connsiteX3" fmla="*/ 299524 w 605463"/>
                  <a:gd name="connsiteY3" fmla="*/ 102238 h 605463"/>
                  <a:gd name="connsiteX4" fmla="*/ 328915 w 605463"/>
                  <a:gd name="connsiteY4" fmla="*/ 72847 h 605463"/>
                  <a:gd name="connsiteX5" fmla="*/ 328915 w 605463"/>
                  <a:gd name="connsiteY5" fmla="*/ 29151 h 605463"/>
                  <a:gd name="connsiteX6" fmla="*/ 299524 w 605463"/>
                  <a:gd name="connsiteY6" fmla="*/ -240 h 605463"/>
                  <a:gd name="connsiteX7" fmla="*/ 299524 w 605463"/>
                  <a:gd name="connsiteY7" fmla="*/ 502745 h 605463"/>
                  <a:gd name="connsiteX8" fmla="*/ 270132 w 605463"/>
                  <a:gd name="connsiteY8" fmla="*/ 532137 h 605463"/>
                  <a:gd name="connsiteX9" fmla="*/ 270132 w 605463"/>
                  <a:gd name="connsiteY9" fmla="*/ 575832 h 605463"/>
                  <a:gd name="connsiteX10" fmla="*/ 299524 w 605463"/>
                  <a:gd name="connsiteY10" fmla="*/ 605223 h 605463"/>
                  <a:gd name="connsiteX11" fmla="*/ 328915 w 605463"/>
                  <a:gd name="connsiteY11" fmla="*/ 575832 h 605463"/>
                  <a:gd name="connsiteX12" fmla="*/ 328915 w 605463"/>
                  <a:gd name="connsiteY12" fmla="*/ 532137 h 605463"/>
                  <a:gd name="connsiteX13" fmla="*/ 299524 w 605463"/>
                  <a:gd name="connsiteY13" fmla="*/ 502745 h 605463"/>
                  <a:gd name="connsiteX14" fmla="*/ 99271 w 605463"/>
                  <a:gd name="connsiteY14" fmla="*/ 302492 h 605463"/>
                  <a:gd name="connsiteX15" fmla="*/ 69879 w 605463"/>
                  <a:gd name="connsiteY15" fmla="*/ 273100 h 605463"/>
                  <a:gd name="connsiteX16" fmla="*/ 26184 w 605463"/>
                  <a:gd name="connsiteY16" fmla="*/ 273100 h 605463"/>
                  <a:gd name="connsiteX17" fmla="*/ -3207 w 605463"/>
                  <a:gd name="connsiteY17" fmla="*/ 302492 h 605463"/>
                  <a:gd name="connsiteX18" fmla="*/ 26184 w 605463"/>
                  <a:gd name="connsiteY18" fmla="*/ 331883 h 605463"/>
                  <a:gd name="connsiteX19" fmla="*/ 69879 w 605463"/>
                  <a:gd name="connsiteY19" fmla="*/ 331883 h 605463"/>
                  <a:gd name="connsiteX20" fmla="*/ 99271 w 605463"/>
                  <a:gd name="connsiteY20" fmla="*/ 302492 h 605463"/>
                  <a:gd name="connsiteX21" fmla="*/ 572865 w 605463"/>
                  <a:gd name="connsiteY21" fmla="*/ 273100 h 605463"/>
                  <a:gd name="connsiteX22" fmla="*/ 529168 w 605463"/>
                  <a:gd name="connsiteY22" fmla="*/ 273100 h 605463"/>
                  <a:gd name="connsiteX23" fmla="*/ 499777 w 605463"/>
                  <a:gd name="connsiteY23" fmla="*/ 302492 h 605463"/>
                  <a:gd name="connsiteX24" fmla="*/ 529168 w 605463"/>
                  <a:gd name="connsiteY24" fmla="*/ 331883 h 605463"/>
                  <a:gd name="connsiteX25" fmla="*/ 572865 w 605463"/>
                  <a:gd name="connsiteY25" fmla="*/ 331883 h 605463"/>
                  <a:gd name="connsiteX26" fmla="*/ 602257 w 605463"/>
                  <a:gd name="connsiteY26" fmla="*/ 302492 h 605463"/>
                  <a:gd name="connsiteX27" fmla="*/ 572865 w 605463"/>
                  <a:gd name="connsiteY27" fmla="*/ 273100 h 605463"/>
                  <a:gd name="connsiteX28" fmla="*/ 126997 w 605463"/>
                  <a:gd name="connsiteY28" fmla="*/ 88424 h 605463"/>
                  <a:gd name="connsiteX29" fmla="*/ 85457 w 605463"/>
                  <a:gd name="connsiteY29" fmla="*/ 86955 h 605463"/>
                  <a:gd name="connsiteX30" fmla="*/ 83986 w 605463"/>
                  <a:gd name="connsiteY30" fmla="*/ 128494 h 605463"/>
                  <a:gd name="connsiteX31" fmla="*/ 85457 w 605463"/>
                  <a:gd name="connsiteY31" fmla="*/ 129964 h 605463"/>
                  <a:gd name="connsiteX32" fmla="*/ 116317 w 605463"/>
                  <a:gd name="connsiteY32" fmla="*/ 160923 h 605463"/>
                  <a:gd name="connsiteX33" fmla="*/ 157955 w 605463"/>
                  <a:gd name="connsiteY33" fmla="*/ 160923 h 605463"/>
                  <a:gd name="connsiteX34" fmla="*/ 157955 w 605463"/>
                  <a:gd name="connsiteY34" fmla="*/ 119285 h 605463"/>
                  <a:gd name="connsiteX35" fmla="*/ 482730 w 605463"/>
                  <a:gd name="connsiteY35" fmla="*/ 444061 h 605463"/>
                  <a:gd name="connsiteX36" fmla="*/ 441092 w 605463"/>
                  <a:gd name="connsiteY36" fmla="*/ 444061 h 605463"/>
                  <a:gd name="connsiteX37" fmla="*/ 441092 w 605463"/>
                  <a:gd name="connsiteY37" fmla="*/ 485698 h 605463"/>
                  <a:gd name="connsiteX38" fmla="*/ 472052 w 605463"/>
                  <a:gd name="connsiteY38" fmla="*/ 516559 h 605463"/>
                  <a:gd name="connsiteX39" fmla="*/ 513592 w 605463"/>
                  <a:gd name="connsiteY39" fmla="*/ 516559 h 605463"/>
                  <a:gd name="connsiteX40" fmla="*/ 513592 w 605463"/>
                  <a:gd name="connsiteY40" fmla="*/ 475019 h 605463"/>
                  <a:gd name="connsiteX41" fmla="*/ 116317 w 605463"/>
                  <a:gd name="connsiteY41" fmla="*/ 444061 h 605463"/>
                  <a:gd name="connsiteX42" fmla="*/ 85457 w 605463"/>
                  <a:gd name="connsiteY42" fmla="*/ 475019 h 605463"/>
                  <a:gd name="connsiteX43" fmla="*/ 85457 w 605463"/>
                  <a:gd name="connsiteY43" fmla="*/ 516589 h 605463"/>
                  <a:gd name="connsiteX44" fmla="*/ 106226 w 605463"/>
                  <a:gd name="connsiteY44" fmla="*/ 525181 h 605463"/>
                  <a:gd name="connsiteX45" fmla="*/ 126997 w 605463"/>
                  <a:gd name="connsiteY45" fmla="*/ 516559 h 605463"/>
                  <a:gd name="connsiteX46" fmla="*/ 157955 w 605463"/>
                  <a:gd name="connsiteY46" fmla="*/ 485698 h 605463"/>
                  <a:gd name="connsiteX47" fmla="*/ 157955 w 605463"/>
                  <a:gd name="connsiteY47" fmla="*/ 444061 h 605463"/>
                  <a:gd name="connsiteX48" fmla="*/ 116317 w 605463"/>
                  <a:gd name="connsiteY48" fmla="*/ 444061 h 605463"/>
                  <a:gd name="connsiteX49" fmla="*/ 461961 w 605463"/>
                  <a:gd name="connsiteY49" fmla="*/ 169740 h 605463"/>
                  <a:gd name="connsiteX50" fmla="*/ 482730 w 605463"/>
                  <a:gd name="connsiteY50" fmla="*/ 161217 h 605463"/>
                  <a:gd name="connsiteX51" fmla="*/ 513592 w 605463"/>
                  <a:gd name="connsiteY51" fmla="*/ 130258 h 605463"/>
                  <a:gd name="connsiteX52" fmla="*/ 512121 w 605463"/>
                  <a:gd name="connsiteY52" fmla="*/ 88718 h 605463"/>
                  <a:gd name="connsiteX53" fmla="*/ 472052 w 605463"/>
                  <a:gd name="connsiteY53" fmla="*/ 88718 h 605463"/>
                  <a:gd name="connsiteX54" fmla="*/ 441092 w 605463"/>
                  <a:gd name="connsiteY54" fmla="*/ 119579 h 605463"/>
                  <a:gd name="connsiteX55" fmla="*/ 441092 w 605463"/>
                  <a:gd name="connsiteY55" fmla="*/ 161148 h 605463"/>
                  <a:gd name="connsiteX56" fmla="*/ 461961 w 605463"/>
                  <a:gd name="connsiteY56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5463" h="605463">
                    <a:moveTo>
                      <a:pt x="299524" y="-240"/>
                    </a:moveTo>
                    <a:cubicBezTo>
                      <a:pt x="283261" y="-240"/>
                      <a:pt x="270132" y="12917"/>
                      <a:pt x="270132" y="29151"/>
                    </a:cubicBezTo>
                    <a:lnTo>
                      <a:pt x="270132" y="72847"/>
                    </a:lnTo>
                    <a:cubicBezTo>
                      <a:pt x="270132" y="89081"/>
                      <a:pt x="283261" y="102238"/>
                      <a:pt x="299524" y="102238"/>
                    </a:cubicBezTo>
                    <a:cubicBezTo>
                      <a:pt x="315786" y="102238"/>
                      <a:pt x="328915" y="89081"/>
                      <a:pt x="328915" y="72847"/>
                    </a:cubicBezTo>
                    <a:lnTo>
                      <a:pt x="328915" y="29151"/>
                    </a:lnTo>
                    <a:cubicBezTo>
                      <a:pt x="328915" y="12917"/>
                      <a:pt x="315786" y="-240"/>
                      <a:pt x="299524" y="-240"/>
                    </a:cubicBezTo>
                    <a:close/>
                    <a:moveTo>
                      <a:pt x="299524" y="502745"/>
                    </a:moveTo>
                    <a:cubicBezTo>
                      <a:pt x="283261" y="502745"/>
                      <a:pt x="270132" y="515903"/>
                      <a:pt x="270132" y="532137"/>
                    </a:cubicBezTo>
                    <a:lnTo>
                      <a:pt x="270132" y="575832"/>
                    </a:lnTo>
                    <a:cubicBezTo>
                      <a:pt x="270132" y="592066"/>
                      <a:pt x="283261" y="605223"/>
                      <a:pt x="299524" y="605223"/>
                    </a:cubicBezTo>
                    <a:cubicBezTo>
                      <a:pt x="315786" y="605223"/>
                      <a:pt x="328915" y="592066"/>
                      <a:pt x="328915" y="575832"/>
                    </a:cubicBezTo>
                    <a:lnTo>
                      <a:pt x="328915" y="532137"/>
                    </a:lnTo>
                    <a:cubicBezTo>
                      <a:pt x="328915" y="515903"/>
                      <a:pt x="315786" y="502745"/>
                      <a:pt x="299524" y="502745"/>
                    </a:cubicBezTo>
                    <a:close/>
                    <a:moveTo>
                      <a:pt x="99271" y="302492"/>
                    </a:moveTo>
                    <a:cubicBezTo>
                      <a:pt x="99271" y="286258"/>
                      <a:pt x="86141" y="273100"/>
                      <a:pt x="69879" y="273100"/>
                    </a:cubicBezTo>
                    <a:lnTo>
                      <a:pt x="26184" y="273100"/>
                    </a:lnTo>
                    <a:cubicBezTo>
                      <a:pt x="9919" y="273100"/>
                      <a:pt x="-3207" y="286258"/>
                      <a:pt x="-3207" y="302492"/>
                    </a:cubicBezTo>
                    <a:cubicBezTo>
                      <a:pt x="-3207" y="318726"/>
                      <a:pt x="9919" y="331883"/>
                      <a:pt x="26184" y="331883"/>
                    </a:cubicBezTo>
                    <a:lnTo>
                      <a:pt x="69879" y="331883"/>
                    </a:lnTo>
                    <a:cubicBezTo>
                      <a:pt x="86141" y="331883"/>
                      <a:pt x="99271" y="318726"/>
                      <a:pt x="99271" y="302492"/>
                    </a:cubicBezTo>
                    <a:close/>
                    <a:moveTo>
                      <a:pt x="572865" y="273100"/>
                    </a:moveTo>
                    <a:lnTo>
                      <a:pt x="529168" y="273100"/>
                    </a:lnTo>
                    <a:cubicBezTo>
                      <a:pt x="512906" y="273100"/>
                      <a:pt x="499777" y="286258"/>
                      <a:pt x="499777" y="302492"/>
                    </a:cubicBezTo>
                    <a:cubicBezTo>
                      <a:pt x="499777" y="318726"/>
                      <a:pt x="512906" y="331883"/>
                      <a:pt x="529168" y="331883"/>
                    </a:cubicBezTo>
                    <a:lnTo>
                      <a:pt x="572865" y="331883"/>
                    </a:lnTo>
                    <a:cubicBezTo>
                      <a:pt x="589128" y="331883"/>
                      <a:pt x="602257" y="318726"/>
                      <a:pt x="602257" y="302492"/>
                    </a:cubicBezTo>
                    <a:cubicBezTo>
                      <a:pt x="602257" y="286258"/>
                      <a:pt x="589128" y="273100"/>
                      <a:pt x="572865" y="273100"/>
                    </a:cubicBezTo>
                    <a:close/>
                    <a:moveTo>
                      <a:pt x="126997" y="88424"/>
                    </a:moveTo>
                    <a:cubicBezTo>
                      <a:pt x="115925" y="76550"/>
                      <a:pt x="97312" y="75894"/>
                      <a:pt x="85457" y="86955"/>
                    </a:cubicBezTo>
                    <a:cubicBezTo>
                      <a:pt x="73601" y="98025"/>
                      <a:pt x="72917" y="116620"/>
                      <a:pt x="83986" y="128494"/>
                    </a:cubicBezTo>
                    <a:cubicBezTo>
                      <a:pt x="84477" y="129004"/>
                      <a:pt x="84967" y="129494"/>
                      <a:pt x="85457" y="129964"/>
                    </a:cubicBezTo>
                    <a:lnTo>
                      <a:pt x="116317" y="160923"/>
                    </a:lnTo>
                    <a:cubicBezTo>
                      <a:pt x="127779" y="172425"/>
                      <a:pt x="146493" y="172425"/>
                      <a:pt x="157955" y="160923"/>
                    </a:cubicBezTo>
                    <a:cubicBezTo>
                      <a:pt x="169417" y="149421"/>
                      <a:pt x="169417" y="130787"/>
                      <a:pt x="157955" y="119285"/>
                    </a:cubicBezTo>
                    <a:close/>
                    <a:moveTo>
                      <a:pt x="482730" y="444061"/>
                    </a:moveTo>
                    <a:cubicBezTo>
                      <a:pt x="471268" y="432559"/>
                      <a:pt x="452556" y="432559"/>
                      <a:pt x="441092" y="444061"/>
                    </a:cubicBezTo>
                    <a:cubicBezTo>
                      <a:pt x="429630" y="455562"/>
                      <a:pt x="429630" y="474196"/>
                      <a:pt x="441092" y="485698"/>
                    </a:cubicBezTo>
                    <a:lnTo>
                      <a:pt x="472052" y="516559"/>
                    </a:lnTo>
                    <a:cubicBezTo>
                      <a:pt x="483514" y="528022"/>
                      <a:pt x="502128" y="528022"/>
                      <a:pt x="513592" y="516559"/>
                    </a:cubicBezTo>
                    <a:cubicBezTo>
                      <a:pt x="525054" y="505087"/>
                      <a:pt x="525054" y="486492"/>
                      <a:pt x="513592" y="475019"/>
                    </a:cubicBezTo>
                    <a:close/>
                    <a:moveTo>
                      <a:pt x="116317" y="444061"/>
                    </a:moveTo>
                    <a:lnTo>
                      <a:pt x="85457" y="475019"/>
                    </a:lnTo>
                    <a:cubicBezTo>
                      <a:pt x="73993" y="486502"/>
                      <a:pt x="73993" y="505116"/>
                      <a:pt x="85457" y="516589"/>
                    </a:cubicBezTo>
                    <a:cubicBezTo>
                      <a:pt x="90942" y="522085"/>
                      <a:pt x="98486" y="525171"/>
                      <a:pt x="106226" y="525181"/>
                    </a:cubicBezTo>
                    <a:cubicBezTo>
                      <a:pt x="114064" y="525171"/>
                      <a:pt x="121510" y="522075"/>
                      <a:pt x="126997" y="516559"/>
                    </a:cubicBezTo>
                    <a:lnTo>
                      <a:pt x="157955" y="485698"/>
                    </a:lnTo>
                    <a:cubicBezTo>
                      <a:pt x="169417" y="474196"/>
                      <a:pt x="169417" y="455562"/>
                      <a:pt x="157955" y="444061"/>
                    </a:cubicBezTo>
                    <a:cubicBezTo>
                      <a:pt x="146493" y="432559"/>
                      <a:pt x="127779" y="432559"/>
                      <a:pt x="116317" y="444061"/>
                    </a:cubicBezTo>
                    <a:close/>
                    <a:moveTo>
                      <a:pt x="461961" y="169740"/>
                    </a:moveTo>
                    <a:cubicBezTo>
                      <a:pt x="469701" y="169760"/>
                      <a:pt x="477245" y="166694"/>
                      <a:pt x="482730" y="161217"/>
                    </a:cubicBezTo>
                    <a:lnTo>
                      <a:pt x="513592" y="130258"/>
                    </a:lnTo>
                    <a:cubicBezTo>
                      <a:pt x="524662" y="118384"/>
                      <a:pt x="523975" y="99789"/>
                      <a:pt x="512121" y="88718"/>
                    </a:cubicBezTo>
                    <a:cubicBezTo>
                      <a:pt x="500855" y="78196"/>
                      <a:pt x="483318" y="78196"/>
                      <a:pt x="472052" y="88718"/>
                    </a:cubicBezTo>
                    <a:lnTo>
                      <a:pt x="441092" y="119579"/>
                    </a:lnTo>
                    <a:cubicBezTo>
                      <a:pt x="429630" y="131061"/>
                      <a:pt x="429630" y="149676"/>
                      <a:pt x="441092" y="161148"/>
                    </a:cubicBezTo>
                    <a:cubicBezTo>
                      <a:pt x="446677" y="166664"/>
                      <a:pt x="454123" y="169760"/>
                      <a:pt x="461961" y="1697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5" name="Полилиния: фигура 52">
              <a:extLst>
                <a:ext uri="{FF2B5EF4-FFF2-40B4-BE49-F238E27FC236}">
                  <a16:creationId xmlns:a16="http://schemas.microsoft.com/office/drawing/2014/main" id="{2BEBA008-9D8E-B612-6D74-7BA0ED06E2B4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Полилиния: фигура 53">
              <a:extLst>
                <a:ext uri="{FF2B5EF4-FFF2-40B4-BE49-F238E27FC236}">
                  <a16:creationId xmlns:a16="http://schemas.microsoft.com/office/drawing/2014/main" id="{EBFCDC05-7D2B-F87E-3430-3371007F1F4F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Полилиния: фигура 54">
              <a:extLst>
                <a:ext uri="{FF2B5EF4-FFF2-40B4-BE49-F238E27FC236}">
                  <a16:creationId xmlns:a16="http://schemas.microsoft.com/office/drawing/2014/main" id="{044E6A5C-147D-9D07-B80F-DC0BF76FAD0D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55">
              <a:extLst>
                <a:ext uri="{FF2B5EF4-FFF2-40B4-BE49-F238E27FC236}">
                  <a16:creationId xmlns:a16="http://schemas.microsoft.com/office/drawing/2014/main" id="{6A1BF84E-F638-1593-8342-EEBE750D39CF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4BF8E173-FACE-ED4C-FDD4-55EC1D155F37}"/>
              </a:ext>
            </a:extLst>
          </p:cNvPr>
          <p:cNvGrpSpPr/>
          <p:nvPr/>
        </p:nvGrpSpPr>
        <p:grpSpPr>
          <a:xfrm>
            <a:off x="6436154" y="-838"/>
            <a:ext cx="5755846" cy="6858838"/>
            <a:chOff x="6436154" y="-838"/>
            <a:chExt cx="5755846" cy="6858838"/>
          </a:xfrm>
        </p:grpSpPr>
        <p:sp>
          <p:nvSpPr>
            <p:cNvPr id="162" name="Полилиния: фигура 29">
              <a:extLst>
                <a:ext uri="{FF2B5EF4-FFF2-40B4-BE49-F238E27FC236}">
                  <a16:creationId xmlns:a16="http://schemas.microsoft.com/office/drawing/2014/main" id="{7AE37D25-279B-FAD5-AEE7-483751C79B9B}"/>
                </a:ext>
              </a:extLst>
            </p:cNvPr>
            <p:cNvSpPr/>
            <p:nvPr/>
          </p:nvSpPr>
          <p:spPr>
            <a:xfrm>
              <a:off x="9306282" y="5879124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Полилиния: фигура 30">
              <a:extLst>
                <a:ext uri="{FF2B5EF4-FFF2-40B4-BE49-F238E27FC236}">
                  <a16:creationId xmlns:a16="http://schemas.microsoft.com/office/drawing/2014/main" id="{AC1D7F98-B9D9-57B7-CC22-7DF1DAED54CF}"/>
                </a:ext>
              </a:extLst>
            </p:cNvPr>
            <p:cNvSpPr/>
            <p:nvPr/>
          </p:nvSpPr>
          <p:spPr>
            <a:xfrm>
              <a:off x="9795720" y="5879124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35">
              <a:extLst>
                <a:ext uri="{FF2B5EF4-FFF2-40B4-BE49-F238E27FC236}">
                  <a16:creationId xmlns:a16="http://schemas.microsoft.com/office/drawing/2014/main" id="{1EC629B3-F129-7CF7-A2BD-42A84E922D3C}"/>
                </a:ext>
              </a:extLst>
            </p:cNvPr>
            <p:cNvSpPr/>
            <p:nvPr/>
          </p:nvSpPr>
          <p:spPr>
            <a:xfrm rot="16200000">
              <a:off x="11213124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noFill/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Полилиния: фигура 32">
              <a:extLst>
                <a:ext uri="{FF2B5EF4-FFF2-40B4-BE49-F238E27FC236}">
                  <a16:creationId xmlns:a16="http://schemas.microsoft.com/office/drawing/2014/main" id="{9399CA00-A682-3BD2-C663-F3FEA23DE7A8}"/>
                </a:ext>
              </a:extLst>
            </p:cNvPr>
            <p:cNvSpPr/>
            <p:nvPr/>
          </p:nvSpPr>
          <p:spPr>
            <a:xfrm rot="5400000">
              <a:off x="10234009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Полилиния: фигура 37">
              <a:extLst>
                <a:ext uri="{FF2B5EF4-FFF2-40B4-BE49-F238E27FC236}">
                  <a16:creationId xmlns:a16="http://schemas.microsoft.com/office/drawing/2014/main" id="{771D2AE4-D7A7-37B7-2A9F-C9F8B9B1DF1A}"/>
                </a:ext>
              </a:extLst>
            </p:cNvPr>
            <p:cNvSpPr/>
            <p:nvPr/>
          </p:nvSpPr>
          <p:spPr>
            <a:xfrm>
              <a:off x="10478966" y="6123843"/>
              <a:ext cx="489438" cy="489438"/>
            </a:xfrm>
            <a:custGeom>
              <a:avLst/>
              <a:gdLst>
                <a:gd name="connsiteX0" fmla="*/ 489438 w 489438"/>
                <a:gd name="connsiteY0" fmla="*/ 244719 h 489438"/>
                <a:gd name="connsiteX1" fmla="*/ 244719 w 489438"/>
                <a:gd name="connsiteY1" fmla="*/ 489438 h 489438"/>
                <a:gd name="connsiteX2" fmla="*/ 0 w 489438"/>
                <a:gd name="connsiteY2" fmla="*/ 244719 h 489438"/>
                <a:gd name="connsiteX3" fmla="*/ 244719 w 489438"/>
                <a:gd name="connsiteY3" fmla="*/ 0 h 489438"/>
                <a:gd name="connsiteX4" fmla="*/ 489438 w 489438"/>
                <a:gd name="connsiteY4" fmla="*/ 244719 h 48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438" h="489438">
                  <a:moveTo>
                    <a:pt x="489438" y="244719"/>
                  </a:moveTo>
                  <a:cubicBezTo>
                    <a:pt x="489438" y="379874"/>
                    <a:pt x="379874" y="489438"/>
                    <a:pt x="244719" y="489438"/>
                  </a:cubicBezTo>
                  <a:cubicBezTo>
                    <a:pt x="109564" y="489438"/>
                    <a:pt x="0" y="379874"/>
                    <a:pt x="0" y="244719"/>
                  </a:cubicBezTo>
                  <a:cubicBezTo>
                    <a:pt x="0" y="109564"/>
                    <a:pt x="109564" y="0"/>
                    <a:pt x="244719" y="0"/>
                  </a:cubicBezTo>
                  <a:cubicBezTo>
                    <a:pt x="379874" y="0"/>
                    <a:pt x="489438" y="109564"/>
                    <a:pt x="489438" y="244719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Полилиния: фигура 36">
              <a:extLst>
                <a:ext uri="{FF2B5EF4-FFF2-40B4-BE49-F238E27FC236}">
                  <a16:creationId xmlns:a16="http://schemas.microsoft.com/office/drawing/2014/main" id="{97BFECD6-3F78-D810-D06D-4DB788A24550}"/>
                </a:ext>
              </a:extLst>
            </p:cNvPr>
            <p:cNvSpPr/>
            <p:nvPr/>
          </p:nvSpPr>
          <p:spPr>
            <a:xfrm rot="5400000">
              <a:off x="10234247" y="4900247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38">
              <a:extLst>
                <a:ext uri="{FF2B5EF4-FFF2-40B4-BE49-F238E27FC236}">
                  <a16:creationId xmlns:a16="http://schemas.microsoft.com/office/drawing/2014/main" id="{541C9ACD-568F-8637-D608-4D98DE612750}"/>
                </a:ext>
              </a:extLst>
            </p:cNvPr>
            <p:cNvSpPr/>
            <p:nvPr/>
          </p:nvSpPr>
          <p:spPr>
            <a:xfrm>
              <a:off x="10234247" y="4900247"/>
              <a:ext cx="978876" cy="978876"/>
            </a:xfrm>
            <a:custGeom>
              <a:avLst/>
              <a:gdLst>
                <a:gd name="connsiteX0" fmla="*/ 978567 w 978876"/>
                <a:gd name="connsiteY0" fmla="*/ -240 h 978876"/>
                <a:gd name="connsiteX1" fmla="*/ -310 w 978876"/>
                <a:gd name="connsiteY1" fmla="*/ 978637 h 978876"/>
                <a:gd name="connsiteX2" fmla="*/ 978567 w 978876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8876" h="978876">
                  <a:moveTo>
                    <a:pt x="978567" y="-240"/>
                  </a:moveTo>
                  <a:cubicBezTo>
                    <a:pt x="437953" y="-240"/>
                    <a:pt x="-310" y="438022"/>
                    <a:pt x="-310" y="978637"/>
                  </a:cubicBezTo>
                  <a:cubicBezTo>
                    <a:pt x="540304" y="978637"/>
                    <a:pt x="978567" y="540374"/>
                    <a:pt x="978567" y="-240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Полилиния: фигура 39">
              <a:extLst>
                <a:ext uri="{FF2B5EF4-FFF2-40B4-BE49-F238E27FC236}">
                  <a16:creationId xmlns:a16="http://schemas.microsoft.com/office/drawing/2014/main" id="{2CEFE2E8-C801-B2DF-C309-266491FD61D3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Полилиния: фигура 40">
              <a:extLst>
                <a:ext uri="{FF2B5EF4-FFF2-40B4-BE49-F238E27FC236}">
                  <a16:creationId xmlns:a16="http://schemas.microsoft.com/office/drawing/2014/main" id="{5A76BE50-F569-D366-7AB1-3FACC18FC8FD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Полилиния: фигура 41">
              <a:extLst>
                <a:ext uri="{FF2B5EF4-FFF2-40B4-BE49-F238E27FC236}">
                  <a16:creationId xmlns:a16="http://schemas.microsoft.com/office/drawing/2014/main" id="{FE22727D-1C1D-4E79-495B-FC295573D98A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Полилиния: фигура 42">
              <a:extLst>
                <a:ext uri="{FF2B5EF4-FFF2-40B4-BE49-F238E27FC236}">
                  <a16:creationId xmlns:a16="http://schemas.microsoft.com/office/drawing/2014/main" id="{77B5FFA8-6C14-166E-0498-93163BC1066B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Полилиния: фигура 43">
              <a:extLst>
                <a:ext uri="{FF2B5EF4-FFF2-40B4-BE49-F238E27FC236}">
                  <a16:creationId xmlns:a16="http://schemas.microsoft.com/office/drawing/2014/main" id="{DFC74432-806C-FE9B-3172-74E47A38D527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2"/>
                </a:solidFill>
              </a:endParaRPr>
            </a:p>
          </p:txBody>
        </p:sp>
        <p:grpSp>
          <p:nvGrpSpPr>
            <p:cNvPr id="174" name="Группа 145">
              <a:extLst>
                <a:ext uri="{FF2B5EF4-FFF2-40B4-BE49-F238E27FC236}">
                  <a16:creationId xmlns:a16="http://schemas.microsoft.com/office/drawing/2014/main" id="{BBD5BFD8-DD3E-902E-5832-1A201C6D220F}"/>
                </a:ext>
              </a:extLst>
            </p:cNvPr>
            <p:cNvGrpSpPr/>
            <p:nvPr/>
          </p:nvGrpSpPr>
          <p:grpSpPr>
            <a:xfrm>
              <a:off x="11482993" y="6055615"/>
              <a:ext cx="204201" cy="625502"/>
              <a:chOff x="11482993" y="6055615"/>
              <a:chExt cx="204201" cy="625502"/>
            </a:xfrm>
          </p:grpSpPr>
          <p:sp>
            <p:nvSpPr>
              <p:cNvPr id="244" name="Полилиния: фигура 44">
                <a:extLst>
                  <a:ext uri="{FF2B5EF4-FFF2-40B4-BE49-F238E27FC236}">
                    <a16:creationId xmlns:a16="http://schemas.microsoft.com/office/drawing/2014/main" id="{BBA50A16-7AD7-629F-F2D8-D5EC976D3A5E}"/>
                  </a:ext>
                </a:extLst>
              </p:cNvPr>
              <p:cNvSpPr/>
              <p:nvPr/>
            </p:nvSpPr>
            <p:spPr>
              <a:xfrm>
                <a:off x="11547704" y="6327156"/>
                <a:ext cx="74786" cy="353961"/>
              </a:xfrm>
              <a:custGeom>
                <a:avLst/>
                <a:gdLst>
                  <a:gd name="connsiteX0" fmla="*/ 37083 w 74786"/>
                  <a:gd name="connsiteY0" fmla="*/ 353722 h 353961"/>
                  <a:gd name="connsiteX1" fmla="*/ 37083 w 74786"/>
                  <a:gd name="connsiteY1" fmla="*/ 353722 h 353961"/>
                  <a:gd name="connsiteX2" fmla="*/ 74476 w 74786"/>
                  <a:gd name="connsiteY2" fmla="*/ 316328 h 353961"/>
                  <a:gd name="connsiteX3" fmla="*/ 74476 w 74786"/>
                  <a:gd name="connsiteY3" fmla="*/ -240 h 353961"/>
                  <a:gd name="connsiteX4" fmla="*/ -310 w 74786"/>
                  <a:gd name="connsiteY4" fmla="*/ -240 h 353961"/>
                  <a:gd name="connsiteX5" fmla="*/ -310 w 74786"/>
                  <a:gd name="connsiteY5" fmla="*/ 316328 h 353961"/>
                  <a:gd name="connsiteX6" fmla="*/ 37083 w 74786"/>
                  <a:gd name="connsiteY6" fmla="*/ 353722 h 353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353961">
                    <a:moveTo>
                      <a:pt x="37083" y="353722"/>
                    </a:moveTo>
                    <a:lnTo>
                      <a:pt x="37083" y="353722"/>
                    </a:lnTo>
                    <a:cubicBezTo>
                      <a:pt x="57737" y="353722"/>
                      <a:pt x="74476" y="336983"/>
                      <a:pt x="74476" y="316328"/>
                    </a:cubicBezTo>
                    <a:lnTo>
                      <a:pt x="74476" y="-240"/>
                    </a:lnTo>
                    <a:lnTo>
                      <a:pt x="-310" y="-240"/>
                    </a:lnTo>
                    <a:lnTo>
                      <a:pt x="-310" y="316328"/>
                    </a:lnTo>
                    <a:cubicBezTo>
                      <a:pt x="-310" y="336983"/>
                      <a:pt x="16429" y="353722"/>
                      <a:pt x="37083" y="353722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Полилиния: фигура 45">
                <a:extLst>
                  <a:ext uri="{FF2B5EF4-FFF2-40B4-BE49-F238E27FC236}">
                    <a16:creationId xmlns:a16="http://schemas.microsoft.com/office/drawing/2014/main" id="{D5720F4F-4224-CC6B-B843-E58AA10355BA}"/>
                  </a:ext>
                </a:extLst>
              </p:cNvPr>
              <p:cNvSpPr/>
              <p:nvPr/>
            </p:nvSpPr>
            <p:spPr>
              <a:xfrm>
                <a:off x="11482993" y="6055615"/>
                <a:ext cx="204201" cy="288885"/>
              </a:xfrm>
              <a:custGeom>
                <a:avLst/>
                <a:gdLst>
                  <a:gd name="connsiteX0" fmla="*/ 162974 w 204201"/>
                  <a:gd name="connsiteY0" fmla="*/ 20512 h 288885"/>
                  <a:gd name="connsiteX1" fmla="*/ 162974 w 204201"/>
                  <a:gd name="connsiteY1" fmla="*/ 165875 h 288885"/>
                  <a:gd name="connsiteX2" fmla="*/ 143984 w 204201"/>
                  <a:gd name="connsiteY2" fmla="*/ 187694 h 288885"/>
                  <a:gd name="connsiteX3" fmla="*/ 122155 w 204201"/>
                  <a:gd name="connsiteY3" fmla="*/ 168704 h 288885"/>
                  <a:gd name="connsiteX4" fmla="*/ 122155 w 204201"/>
                  <a:gd name="connsiteY4" fmla="*/ 165875 h 288885"/>
                  <a:gd name="connsiteX5" fmla="*/ 122155 w 204201"/>
                  <a:gd name="connsiteY5" fmla="*/ 20512 h 288885"/>
                  <a:gd name="connsiteX6" fmla="*/ 101794 w 204201"/>
                  <a:gd name="connsiteY6" fmla="*/ 151 h 288885"/>
                  <a:gd name="connsiteX7" fmla="*/ 101794 w 204201"/>
                  <a:gd name="connsiteY7" fmla="*/ 151 h 288885"/>
                  <a:gd name="connsiteX8" fmla="*/ 81336 w 204201"/>
                  <a:gd name="connsiteY8" fmla="*/ 20512 h 288885"/>
                  <a:gd name="connsiteX9" fmla="*/ 81336 w 204201"/>
                  <a:gd name="connsiteY9" fmla="*/ 165875 h 288885"/>
                  <a:gd name="connsiteX10" fmla="*/ 62336 w 204201"/>
                  <a:gd name="connsiteY10" fmla="*/ 187694 h 288885"/>
                  <a:gd name="connsiteX11" fmla="*/ 40517 w 204201"/>
                  <a:gd name="connsiteY11" fmla="*/ 168704 h 288885"/>
                  <a:gd name="connsiteX12" fmla="*/ 40517 w 204201"/>
                  <a:gd name="connsiteY12" fmla="*/ 165875 h 288885"/>
                  <a:gd name="connsiteX13" fmla="*/ 40517 w 204201"/>
                  <a:gd name="connsiteY13" fmla="*/ 20512 h 288885"/>
                  <a:gd name="connsiteX14" fmla="*/ 18688 w 204201"/>
                  <a:gd name="connsiteY14" fmla="*/ 1522 h 288885"/>
                  <a:gd name="connsiteX15" fmla="*/ -302 w 204201"/>
                  <a:gd name="connsiteY15" fmla="*/ 20512 h 288885"/>
                  <a:gd name="connsiteX16" fmla="*/ -302 w 204201"/>
                  <a:gd name="connsiteY16" fmla="*/ 183201 h 288885"/>
                  <a:gd name="connsiteX17" fmla="*/ 99837 w 204201"/>
                  <a:gd name="connsiteY17" fmla="*/ 288626 h 288885"/>
                  <a:gd name="connsiteX18" fmla="*/ 203871 w 204201"/>
                  <a:gd name="connsiteY18" fmla="*/ 188507 h 288885"/>
                  <a:gd name="connsiteX19" fmla="*/ 203891 w 204201"/>
                  <a:gd name="connsiteY19" fmla="*/ 186627 h 288885"/>
                  <a:gd name="connsiteX20" fmla="*/ 203891 w 204201"/>
                  <a:gd name="connsiteY20" fmla="*/ 20218 h 288885"/>
                  <a:gd name="connsiteX21" fmla="*/ 183433 w 204201"/>
                  <a:gd name="connsiteY21" fmla="*/ -240 h 288885"/>
                  <a:gd name="connsiteX22" fmla="*/ 162974 w 204201"/>
                  <a:gd name="connsiteY22" fmla="*/ 20218 h 28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201" h="288885">
                    <a:moveTo>
                      <a:pt x="162974" y="20512"/>
                    </a:moveTo>
                    <a:lnTo>
                      <a:pt x="162974" y="165875"/>
                    </a:lnTo>
                    <a:cubicBezTo>
                      <a:pt x="163757" y="177142"/>
                      <a:pt x="155251" y="186921"/>
                      <a:pt x="143984" y="187694"/>
                    </a:cubicBezTo>
                    <a:cubicBezTo>
                      <a:pt x="132708" y="188478"/>
                      <a:pt x="122938" y="179971"/>
                      <a:pt x="122155" y="168704"/>
                    </a:cubicBezTo>
                    <a:cubicBezTo>
                      <a:pt x="122087" y="167764"/>
                      <a:pt x="122087" y="166815"/>
                      <a:pt x="122155" y="165875"/>
                    </a:cubicBezTo>
                    <a:lnTo>
                      <a:pt x="122155" y="20512"/>
                    </a:lnTo>
                    <a:cubicBezTo>
                      <a:pt x="122155" y="9264"/>
                      <a:pt x="113042" y="151"/>
                      <a:pt x="101794" y="151"/>
                    </a:cubicBezTo>
                    <a:lnTo>
                      <a:pt x="101794" y="151"/>
                    </a:lnTo>
                    <a:cubicBezTo>
                      <a:pt x="90537" y="151"/>
                      <a:pt x="81395" y="9255"/>
                      <a:pt x="81336" y="20512"/>
                    </a:cubicBezTo>
                    <a:lnTo>
                      <a:pt x="81336" y="165875"/>
                    </a:lnTo>
                    <a:cubicBezTo>
                      <a:pt x="82119" y="177142"/>
                      <a:pt x="73612" y="186921"/>
                      <a:pt x="62336" y="187694"/>
                    </a:cubicBezTo>
                    <a:cubicBezTo>
                      <a:pt x="51069" y="188478"/>
                      <a:pt x="41300" y="179971"/>
                      <a:pt x="40517" y="168704"/>
                    </a:cubicBezTo>
                    <a:cubicBezTo>
                      <a:pt x="40448" y="167764"/>
                      <a:pt x="40448" y="166815"/>
                      <a:pt x="40517" y="165875"/>
                    </a:cubicBezTo>
                    <a:lnTo>
                      <a:pt x="40517" y="20512"/>
                    </a:lnTo>
                    <a:cubicBezTo>
                      <a:pt x="39733" y="9245"/>
                      <a:pt x="29964" y="739"/>
                      <a:pt x="18688" y="1522"/>
                    </a:cubicBezTo>
                    <a:cubicBezTo>
                      <a:pt x="8507" y="2226"/>
                      <a:pt x="403" y="10331"/>
                      <a:pt x="-302" y="20512"/>
                    </a:cubicBezTo>
                    <a:lnTo>
                      <a:pt x="-302" y="183201"/>
                    </a:lnTo>
                    <a:cubicBezTo>
                      <a:pt x="-978" y="239663"/>
                      <a:pt x="43414" y="286404"/>
                      <a:pt x="99837" y="288626"/>
                    </a:cubicBezTo>
                    <a:cubicBezTo>
                      <a:pt x="156210" y="289713"/>
                      <a:pt x="202795" y="244880"/>
                      <a:pt x="203871" y="188507"/>
                    </a:cubicBezTo>
                    <a:cubicBezTo>
                      <a:pt x="203882" y="187880"/>
                      <a:pt x="203891" y="187254"/>
                      <a:pt x="203891" y="186627"/>
                    </a:cubicBezTo>
                    <a:lnTo>
                      <a:pt x="203891" y="20218"/>
                    </a:lnTo>
                    <a:cubicBezTo>
                      <a:pt x="203891" y="8922"/>
                      <a:pt x="194729" y="-240"/>
                      <a:pt x="183433" y="-240"/>
                    </a:cubicBezTo>
                    <a:cubicBezTo>
                      <a:pt x="172136" y="-240"/>
                      <a:pt x="162974" y="8922"/>
                      <a:pt x="162974" y="20218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75" name="Группа 146">
              <a:extLst>
                <a:ext uri="{FF2B5EF4-FFF2-40B4-BE49-F238E27FC236}">
                  <a16:creationId xmlns:a16="http://schemas.microsoft.com/office/drawing/2014/main" id="{3EC56F36-211F-8B4D-FCF9-75345C83DEBB}"/>
                </a:ext>
              </a:extLst>
            </p:cNvPr>
            <p:cNvGrpSpPr/>
            <p:nvPr/>
          </p:nvGrpSpPr>
          <p:grpSpPr>
            <a:xfrm>
              <a:off x="11717931" y="6056007"/>
              <a:ext cx="204193" cy="625110"/>
              <a:chOff x="11717931" y="6056007"/>
              <a:chExt cx="204193" cy="625110"/>
            </a:xfrm>
          </p:grpSpPr>
          <p:sp>
            <p:nvSpPr>
              <p:cNvPr id="242" name="Полилиния: фигура 46">
                <a:extLst>
                  <a:ext uri="{FF2B5EF4-FFF2-40B4-BE49-F238E27FC236}">
                    <a16:creationId xmlns:a16="http://schemas.microsoft.com/office/drawing/2014/main" id="{EE5E528E-80B1-3D17-9DD3-FCB9DE83E1B3}"/>
                  </a:ext>
                </a:extLst>
              </p:cNvPr>
              <p:cNvSpPr/>
              <p:nvPr/>
            </p:nvSpPr>
            <p:spPr>
              <a:xfrm>
                <a:off x="11782635" y="6056007"/>
                <a:ext cx="74786" cy="425224"/>
              </a:xfrm>
              <a:custGeom>
                <a:avLst/>
                <a:gdLst>
                  <a:gd name="connsiteX0" fmla="*/ 37083 w 74786"/>
                  <a:gd name="connsiteY0" fmla="*/ -240 h 425224"/>
                  <a:gd name="connsiteX1" fmla="*/ 37083 w 74786"/>
                  <a:gd name="connsiteY1" fmla="*/ -240 h 425224"/>
                  <a:gd name="connsiteX2" fmla="*/ -310 w 74786"/>
                  <a:gd name="connsiteY2" fmla="*/ 37153 h 425224"/>
                  <a:gd name="connsiteX3" fmla="*/ -310 w 74786"/>
                  <a:gd name="connsiteY3" fmla="*/ 424984 h 425224"/>
                  <a:gd name="connsiteX4" fmla="*/ 74476 w 74786"/>
                  <a:gd name="connsiteY4" fmla="*/ 424984 h 425224"/>
                  <a:gd name="connsiteX5" fmla="*/ 74476 w 74786"/>
                  <a:gd name="connsiteY5" fmla="*/ 37153 h 425224"/>
                  <a:gd name="connsiteX6" fmla="*/ 37083 w 74786"/>
                  <a:gd name="connsiteY6" fmla="*/ -240 h 42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425224">
                    <a:moveTo>
                      <a:pt x="37083" y="-240"/>
                    </a:moveTo>
                    <a:lnTo>
                      <a:pt x="37083" y="-240"/>
                    </a:lnTo>
                    <a:cubicBezTo>
                      <a:pt x="16429" y="-240"/>
                      <a:pt x="-310" y="16499"/>
                      <a:pt x="-310" y="37153"/>
                    </a:cubicBezTo>
                    <a:lnTo>
                      <a:pt x="-310" y="424984"/>
                    </a:lnTo>
                    <a:lnTo>
                      <a:pt x="74476" y="424984"/>
                    </a:lnTo>
                    <a:lnTo>
                      <a:pt x="74476" y="37153"/>
                    </a:lnTo>
                    <a:cubicBezTo>
                      <a:pt x="74476" y="16499"/>
                      <a:pt x="57737" y="-240"/>
                      <a:pt x="37083" y="-240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Полилиния: фигура 47">
                <a:extLst>
                  <a:ext uri="{FF2B5EF4-FFF2-40B4-BE49-F238E27FC236}">
                    <a16:creationId xmlns:a16="http://schemas.microsoft.com/office/drawing/2014/main" id="{9EC87D7A-39AB-4CD3-0F1C-31B70D227BE8}"/>
                  </a:ext>
                </a:extLst>
              </p:cNvPr>
              <p:cNvSpPr/>
              <p:nvPr/>
            </p:nvSpPr>
            <p:spPr>
              <a:xfrm>
                <a:off x="11717931" y="6392545"/>
                <a:ext cx="204193" cy="288572"/>
              </a:xfrm>
              <a:custGeom>
                <a:avLst/>
                <a:gdLst>
                  <a:gd name="connsiteX0" fmla="*/ 101787 w 204193"/>
                  <a:gd name="connsiteY0" fmla="*/ 288333 h 288572"/>
                  <a:gd name="connsiteX1" fmla="*/ 203884 w 204193"/>
                  <a:gd name="connsiteY1" fmla="*/ 186236 h 288572"/>
                  <a:gd name="connsiteX2" fmla="*/ 203884 w 204193"/>
                  <a:gd name="connsiteY2" fmla="*/ 101857 h 288572"/>
                  <a:gd name="connsiteX3" fmla="*/ 101787 w 204193"/>
                  <a:gd name="connsiteY3" fmla="*/ -240 h 288572"/>
                  <a:gd name="connsiteX4" fmla="*/ -310 w 204193"/>
                  <a:gd name="connsiteY4" fmla="*/ 101857 h 288572"/>
                  <a:gd name="connsiteX5" fmla="*/ -310 w 204193"/>
                  <a:gd name="connsiteY5" fmla="*/ 186236 h 288572"/>
                  <a:gd name="connsiteX6" fmla="*/ 101787 w 204193"/>
                  <a:gd name="connsiteY6" fmla="*/ 288333 h 28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193" h="288572">
                    <a:moveTo>
                      <a:pt x="101787" y="288333"/>
                    </a:moveTo>
                    <a:cubicBezTo>
                      <a:pt x="158170" y="288333"/>
                      <a:pt x="203884" y="242619"/>
                      <a:pt x="203884" y="186236"/>
                    </a:cubicBezTo>
                    <a:lnTo>
                      <a:pt x="203884" y="101857"/>
                    </a:lnTo>
                    <a:cubicBezTo>
                      <a:pt x="203884" y="45473"/>
                      <a:pt x="158170" y="-240"/>
                      <a:pt x="101787" y="-240"/>
                    </a:cubicBezTo>
                    <a:cubicBezTo>
                      <a:pt x="45403" y="-240"/>
                      <a:pt x="-310" y="45473"/>
                      <a:pt x="-310" y="101857"/>
                    </a:cubicBezTo>
                    <a:lnTo>
                      <a:pt x="-310" y="186236"/>
                    </a:lnTo>
                    <a:cubicBezTo>
                      <a:pt x="-310" y="242619"/>
                      <a:pt x="45403" y="288333"/>
                      <a:pt x="101787" y="288333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6" name="Полилиния: фигура 56">
              <a:extLst>
                <a:ext uri="{FF2B5EF4-FFF2-40B4-BE49-F238E27FC236}">
                  <a16:creationId xmlns:a16="http://schemas.microsoft.com/office/drawing/2014/main" id="{6E6199AE-034D-751B-0B41-16843783D52E}"/>
                </a:ext>
              </a:extLst>
            </p:cNvPr>
            <p:cNvSpPr/>
            <p:nvPr/>
          </p:nvSpPr>
          <p:spPr>
            <a:xfrm>
              <a:off x="9252833" y="0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Полилиния: фигура 57">
              <a:extLst>
                <a:ext uri="{FF2B5EF4-FFF2-40B4-BE49-F238E27FC236}">
                  <a16:creationId xmlns:a16="http://schemas.microsoft.com/office/drawing/2014/main" id="{9B637539-34B8-C902-670F-61DA69B52B5E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Полилиния: фигура 59">
              <a:extLst>
                <a:ext uri="{FF2B5EF4-FFF2-40B4-BE49-F238E27FC236}">
                  <a16:creationId xmlns:a16="http://schemas.microsoft.com/office/drawing/2014/main" id="{F5129B11-D1CB-5277-B291-BC940C69B3B7}"/>
                </a:ext>
              </a:extLst>
            </p:cNvPr>
            <p:cNvSpPr/>
            <p:nvPr/>
          </p:nvSpPr>
          <p:spPr>
            <a:xfrm rot="16200000">
              <a:off x="7297491" y="4107"/>
              <a:ext cx="978852" cy="972412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Полилиния: фигура 60">
              <a:extLst>
                <a:ext uri="{FF2B5EF4-FFF2-40B4-BE49-F238E27FC236}">
                  <a16:creationId xmlns:a16="http://schemas.microsoft.com/office/drawing/2014/main" id="{974EF996-E4A2-7F1D-39E1-C0E93962FF0D}"/>
                </a:ext>
              </a:extLst>
            </p:cNvPr>
            <p:cNvSpPr/>
            <p:nvPr/>
          </p:nvSpPr>
          <p:spPr>
            <a:xfrm>
              <a:off x="7288368" y="489882"/>
              <a:ext cx="494894" cy="495482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Полилиния: фигура 61">
              <a:extLst>
                <a:ext uri="{FF2B5EF4-FFF2-40B4-BE49-F238E27FC236}">
                  <a16:creationId xmlns:a16="http://schemas.microsoft.com/office/drawing/2014/main" id="{2109B157-2DB2-D42E-0D05-727A20A19A9C}"/>
                </a:ext>
              </a:extLst>
            </p:cNvPr>
            <p:cNvSpPr/>
            <p:nvPr/>
          </p:nvSpPr>
          <p:spPr>
            <a:xfrm>
              <a:off x="7284210" y="25"/>
              <a:ext cx="499051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Полилиния: фигура 62">
              <a:extLst>
                <a:ext uri="{FF2B5EF4-FFF2-40B4-BE49-F238E27FC236}">
                  <a16:creationId xmlns:a16="http://schemas.microsoft.com/office/drawing/2014/main" id="{1DF63EB9-998D-F6DC-0EA8-B1427C621F3D}"/>
                </a:ext>
              </a:extLst>
            </p:cNvPr>
            <p:cNvSpPr/>
            <p:nvPr/>
          </p:nvSpPr>
          <p:spPr>
            <a:xfrm>
              <a:off x="7774067" y="25"/>
              <a:ext cx="499051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Полилиния: фигура 63">
              <a:extLst>
                <a:ext uri="{FF2B5EF4-FFF2-40B4-BE49-F238E27FC236}">
                  <a16:creationId xmlns:a16="http://schemas.microsoft.com/office/drawing/2014/main" id="{D859794D-6835-2E5D-0A71-C4015F66C477}"/>
                </a:ext>
              </a:extLst>
            </p:cNvPr>
            <p:cNvSpPr/>
            <p:nvPr/>
          </p:nvSpPr>
          <p:spPr>
            <a:xfrm>
              <a:off x="7778225" y="489882"/>
              <a:ext cx="494894" cy="495482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Полилиния: фигура 65">
              <a:extLst>
                <a:ext uri="{FF2B5EF4-FFF2-40B4-BE49-F238E27FC236}">
                  <a16:creationId xmlns:a16="http://schemas.microsoft.com/office/drawing/2014/main" id="{8D146B39-1CF3-38A2-02D7-8EEE1021B295}"/>
                </a:ext>
              </a:extLst>
            </p:cNvPr>
            <p:cNvSpPr/>
            <p:nvPr/>
          </p:nvSpPr>
          <p:spPr>
            <a:xfrm rot="16200000">
              <a:off x="10229303" y="2406"/>
              <a:ext cx="986202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66">
              <a:extLst>
                <a:ext uri="{FF2B5EF4-FFF2-40B4-BE49-F238E27FC236}">
                  <a16:creationId xmlns:a16="http://schemas.microsoft.com/office/drawing/2014/main" id="{808F38F4-0E60-680B-48D4-095F2B513E1F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Полилиния: фигура 67">
              <a:extLst>
                <a:ext uri="{FF2B5EF4-FFF2-40B4-BE49-F238E27FC236}">
                  <a16:creationId xmlns:a16="http://schemas.microsoft.com/office/drawing/2014/main" id="{C89429AF-71A5-1284-B6E1-D71AABE0B71D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Полилиния: фигура 68">
              <a:extLst>
                <a:ext uri="{FF2B5EF4-FFF2-40B4-BE49-F238E27FC236}">
                  <a16:creationId xmlns:a16="http://schemas.microsoft.com/office/drawing/2014/main" id="{C405CC03-1321-0681-8E46-9ED5F4699D77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Полилиния: фигура 69">
              <a:extLst>
                <a:ext uri="{FF2B5EF4-FFF2-40B4-BE49-F238E27FC236}">
                  <a16:creationId xmlns:a16="http://schemas.microsoft.com/office/drawing/2014/main" id="{47E90767-1CD4-229E-F8B8-B9F62694FD46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Полилиния: фигура 71">
              <a:extLst>
                <a:ext uri="{FF2B5EF4-FFF2-40B4-BE49-F238E27FC236}">
                  <a16:creationId xmlns:a16="http://schemas.microsoft.com/office/drawing/2014/main" id="{7577D1C3-34C5-3C69-A9A7-CC93CEC67644}"/>
                </a:ext>
              </a:extLst>
            </p:cNvPr>
            <p:cNvSpPr/>
            <p:nvPr/>
          </p:nvSpPr>
          <p:spPr>
            <a:xfrm rot="16200000">
              <a:off x="8273043" y="4107"/>
              <a:ext cx="978852" cy="972411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9" name="Группа 133">
              <a:extLst>
                <a:ext uri="{FF2B5EF4-FFF2-40B4-BE49-F238E27FC236}">
                  <a16:creationId xmlns:a16="http://schemas.microsoft.com/office/drawing/2014/main" id="{038C248A-533D-7B45-7FF8-783145FF53E9}"/>
                </a:ext>
              </a:extLst>
            </p:cNvPr>
            <p:cNvGrpSpPr/>
            <p:nvPr/>
          </p:nvGrpSpPr>
          <p:grpSpPr>
            <a:xfrm>
              <a:off x="8460243" y="187150"/>
              <a:ext cx="605463" cy="605463"/>
              <a:chOff x="8460243" y="187150"/>
              <a:chExt cx="605463" cy="605463"/>
            </a:xfrm>
          </p:grpSpPr>
          <p:sp>
            <p:nvSpPr>
              <p:cNvPr id="240" name="Полилиния: фигура 72">
                <a:extLst>
                  <a:ext uri="{FF2B5EF4-FFF2-40B4-BE49-F238E27FC236}">
                    <a16:creationId xmlns:a16="http://schemas.microsoft.com/office/drawing/2014/main" id="{94AE1B0D-F2A2-80E9-FDB9-FB89DE377F2C}"/>
                  </a:ext>
                </a:extLst>
              </p:cNvPr>
              <p:cNvSpPr/>
              <p:nvPr userDrawn="1"/>
            </p:nvSpPr>
            <p:spPr>
              <a:xfrm>
                <a:off x="8592015" y="318922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1" y="341920"/>
                      <a:pt x="0" y="265379"/>
                      <a:pt x="0" y="170960"/>
                    </a:cubicBezTo>
                    <a:cubicBezTo>
                      <a:pt x="0" y="76541"/>
                      <a:pt x="76541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Полилиния: фигура 73">
                <a:extLst>
                  <a:ext uri="{FF2B5EF4-FFF2-40B4-BE49-F238E27FC236}">
                    <a16:creationId xmlns:a16="http://schemas.microsoft.com/office/drawing/2014/main" id="{C3CE0353-B3A6-B07F-A4F3-82D85DE782BE}"/>
                  </a:ext>
                </a:extLst>
              </p:cNvPr>
              <p:cNvSpPr/>
              <p:nvPr userDrawn="1"/>
            </p:nvSpPr>
            <p:spPr>
              <a:xfrm>
                <a:off x="8460243" y="187150"/>
                <a:ext cx="605463" cy="605463"/>
              </a:xfrm>
              <a:custGeom>
                <a:avLst/>
                <a:gdLst>
                  <a:gd name="connsiteX0" fmla="*/ 302422 w 605463"/>
                  <a:gd name="connsiteY0" fmla="*/ -240 h 605463"/>
                  <a:gd name="connsiteX1" fmla="*/ 273031 w 605463"/>
                  <a:gd name="connsiteY1" fmla="*/ 29151 h 605463"/>
                  <a:gd name="connsiteX2" fmla="*/ 273031 w 605463"/>
                  <a:gd name="connsiteY2" fmla="*/ 72847 h 605463"/>
                  <a:gd name="connsiteX3" fmla="*/ 302422 w 605463"/>
                  <a:gd name="connsiteY3" fmla="*/ 102238 h 605463"/>
                  <a:gd name="connsiteX4" fmla="*/ 331813 w 605463"/>
                  <a:gd name="connsiteY4" fmla="*/ 72847 h 605463"/>
                  <a:gd name="connsiteX5" fmla="*/ 331813 w 605463"/>
                  <a:gd name="connsiteY5" fmla="*/ 29151 h 605463"/>
                  <a:gd name="connsiteX6" fmla="*/ 302422 w 605463"/>
                  <a:gd name="connsiteY6" fmla="*/ -240 h 605463"/>
                  <a:gd name="connsiteX7" fmla="*/ 302422 w 605463"/>
                  <a:gd name="connsiteY7" fmla="*/ 502745 h 605463"/>
                  <a:gd name="connsiteX8" fmla="*/ 273031 w 605463"/>
                  <a:gd name="connsiteY8" fmla="*/ 532137 h 605463"/>
                  <a:gd name="connsiteX9" fmla="*/ 273031 w 605463"/>
                  <a:gd name="connsiteY9" fmla="*/ 575832 h 605463"/>
                  <a:gd name="connsiteX10" fmla="*/ 302422 w 605463"/>
                  <a:gd name="connsiteY10" fmla="*/ 605223 h 605463"/>
                  <a:gd name="connsiteX11" fmla="*/ 331813 w 605463"/>
                  <a:gd name="connsiteY11" fmla="*/ 575832 h 605463"/>
                  <a:gd name="connsiteX12" fmla="*/ 331813 w 605463"/>
                  <a:gd name="connsiteY12" fmla="*/ 532137 h 605463"/>
                  <a:gd name="connsiteX13" fmla="*/ 302422 w 605463"/>
                  <a:gd name="connsiteY13" fmla="*/ 502745 h 605463"/>
                  <a:gd name="connsiteX14" fmla="*/ 102169 w 605463"/>
                  <a:gd name="connsiteY14" fmla="*/ 302492 h 605463"/>
                  <a:gd name="connsiteX15" fmla="*/ 72778 w 605463"/>
                  <a:gd name="connsiteY15" fmla="*/ 273100 h 605463"/>
                  <a:gd name="connsiteX16" fmla="*/ 29081 w 605463"/>
                  <a:gd name="connsiteY16" fmla="*/ 273100 h 605463"/>
                  <a:gd name="connsiteX17" fmla="*/ -310 w 605463"/>
                  <a:gd name="connsiteY17" fmla="*/ 302492 h 605463"/>
                  <a:gd name="connsiteX18" fmla="*/ 29081 w 605463"/>
                  <a:gd name="connsiteY18" fmla="*/ 331883 h 605463"/>
                  <a:gd name="connsiteX19" fmla="*/ 72778 w 605463"/>
                  <a:gd name="connsiteY19" fmla="*/ 331883 h 605463"/>
                  <a:gd name="connsiteX20" fmla="*/ 102169 w 605463"/>
                  <a:gd name="connsiteY20" fmla="*/ 302492 h 605463"/>
                  <a:gd name="connsiteX21" fmla="*/ 575763 w 605463"/>
                  <a:gd name="connsiteY21" fmla="*/ 273100 h 605463"/>
                  <a:gd name="connsiteX22" fmla="*/ 532066 w 605463"/>
                  <a:gd name="connsiteY22" fmla="*/ 273100 h 605463"/>
                  <a:gd name="connsiteX23" fmla="*/ 502675 w 605463"/>
                  <a:gd name="connsiteY23" fmla="*/ 302492 h 605463"/>
                  <a:gd name="connsiteX24" fmla="*/ 532066 w 605463"/>
                  <a:gd name="connsiteY24" fmla="*/ 331883 h 605463"/>
                  <a:gd name="connsiteX25" fmla="*/ 575763 w 605463"/>
                  <a:gd name="connsiteY25" fmla="*/ 331883 h 605463"/>
                  <a:gd name="connsiteX26" fmla="*/ 605154 w 605463"/>
                  <a:gd name="connsiteY26" fmla="*/ 302492 h 605463"/>
                  <a:gd name="connsiteX27" fmla="*/ 575763 w 605463"/>
                  <a:gd name="connsiteY27" fmla="*/ 273100 h 605463"/>
                  <a:gd name="connsiteX28" fmla="*/ 129894 w 605463"/>
                  <a:gd name="connsiteY28" fmla="*/ 88424 h 605463"/>
                  <a:gd name="connsiteX29" fmla="*/ 88355 w 605463"/>
                  <a:gd name="connsiteY29" fmla="*/ 86955 h 605463"/>
                  <a:gd name="connsiteX30" fmla="*/ 86885 w 605463"/>
                  <a:gd name="connsiteY30" fmla="*/ 128494 h 605463"/>
                  <a:gd name="connsiteX31" fmla="*/ 88355 w 605463"/>
                  <a:gd name="connsiteY31" fmla="*/ 129964 h 605463"/>
                  <a:gd name="connsiteX32" fmla="*/ 119216 w 605463"/>
                  <a:gd name="connsiteY32" fmla="*/ 160923 h 605463"/>
                  <a:gd name="connsiteX33" fmla="*/ 160854 w 605463"/>
                  <a:gd name="connsiteY33" fmla="*/ 160923 h 605463"/>
                  <a:gd name="connsiteX34" fmla="*/ 160854 w 605463"/>
                  <a:gd name="connsiteY34" fmla="*/ 119285 h 605463"/>
                  <a:gd name="connsiteX35" fmla="*/ 485628 w 605463"/>
                  <a:gd name="connsiteY35" fmla="*/ 444061 h 605463"/>
                  <a:gd name="connsiteX36" fmla="*/ 443990 w 605463"/>
                  <a:gd name="connsiteY36" fmla="*/ 444061 h 605463"/>
                  <a:gd name="connsiteX37" fmla="*/ 443990 w 605463"/>
                  <a:gd name="connsiteY37" fmla="*/ 485698 h 605463"/>
                  <a:gd name="connsiteX38" fmla="*/ 474950 w 605463"/>
                  <a:gd name="connsiteY38" fmla="*/ 516559 h 605463"/>
                  <a:gd name="connsiteX39" fmla="*/ 516489 w 605463"/>
                  <a:gd name="connsiteY39" fmla="*/ 516559 h 605463"/>
                  <a:gd name="connsiteX40" fmla="*/ 516489 w 605463"/>
                  <a:gd name="connsiteY40" fmla="*/ 475019 h 605463"/>
                  <a:gd name="connsiteX41" fmla="*/ 119216 w 605463"/>
                  <a:gd name="connsiteY41" fmla="*/ 444061 h 605463"/>
                  <a:gd name="connsiteX42" fmla="*/ 88355 w 605463"/>
                  <a:gd name="connsiteY42" fmla="*/ 475019 h 605463"/>
                  <a:gd name="connsiteX43" fmla="*/ 88355 w 605463"/>
                  <a:gd name="connsiteY43" fmla="*/ 516589 h 605463"/>
                  <a:gd name="connsiteX44" fmla="*/ 109125 w 605463"/>
                  <a:gd name="connsiteY44" fmla="*/ 525181 h 605463"/>
                  <a:gd name="connsiteX45" fmla="*/ 129894 w 605463"/>
                  <a:gd name="connsiteY45" fmla="*/ 516559 h 605463"/>
                  <a:gd name="connsiteX46" fmla="*/ 160854 w 605463"/>
                  <a:gd name="connsiteY46" fmla="*/ 485698 h 605463"/>
                  <a:gd name="connsiteX47" fmla="*/ 160854 w 605463"/>
                  <a:gd name="connsiteY47" fmla="*/ 444061 h 605463"/>
                  <a:gd name="connsiteX48" fmla="*/ 119216 w 605463"/>
                  <a:gd name="connsiteY48" fmla="*/ 444061 h 605463"/>
                  <a:gd name="connsiteX49" fmla="*/ 464858 w 605463"/>
                  <a:gd name="connsiteY49" fmla="*/ 169740 h 605463"/>
                  <a:gd name="connsiteX50" fmla="*/ 485628 w 605463"/>
                  <a:gd name="connsiteY50" fmla="*/ 161217 h 605463"/>
                  <a:gd name="connsiteX51" fmla="*/ 516489 w 605463"/>
                  <a:gd name="connsiteY51" fmla="*/ 130258 h 605463"/>
                  <a:gd name="connsiteX52" fmla="*/ 517959 w 605463"/>
                  <a:gd name="connsiteY52" fmla="*/ 88718 h 605463"/>
                  <a:gd name="connsiteX53" fmla="*/ 476419 w 605463"/>
                  <a:gd name="connsiteY53" fmla="*/ 87248 h 605463"/>
                  <a:gd name="connsiteX54" fmla="*/ 474950 w 605463"/>
                  <a:gd name="connsiteY54" fmla="*/ 88718 h 605463"/>
                  <a:gd name="connsiteX55" fmla="*/ 443990 w 605463"/>
                  <a:gd name="connsiteY55" fmla="*/ 119579 h 605463"/>
                  <a:gd name="connsiteX56" fmla="*/ 443990 w 605463"/>
                  <a:gd name="connsiteY56" fmla="*/ 161148 h 605463"/>
                  <a:gd name="connsiteX57" fmla="*/ 464858 w 605463"/>
                  <a:gd name="connsiteY57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605463" h="605463">
                    <a:moveTo>
                      <a:pt x="302422" y="-240"/>
                    </a:moveTo>
                    <a:cubicBezTo>
                      <a:pt x="286158" y="-240"/>
                      <a:pt x="273031" y="12917"/>
                      <a:pt x="273031" y="29151"/>
                    </a:cubicBezTo>
                    <a:lnTo>
                      <a:pt x="273031" y="72847"/>
                    </a:lnTo>
                    <a:cubicBezTo>
                      <a:pt x="273031" y="89081"/>
                      <a:pt x="286158" y="102238"/>
                      <a:pt x="302422" y="102238"/>
                    </a:cubicBezTo>
                    <a:cubicBezTo>
                      <a:pt x="318686" y="102238"/>
                      <a:pt x="331813" y="89081"/>
                      <a:pt x="331813" y="72847"/>
                    </a:cubicBezTo>
                    <a:lnTo>
                      <a:pt x="331813" y="29151"/>
                    </a:lnTo>
                    <a:cubicBezTo>
                      <a:pt x="331813" y="12917"/>
                      <a:pt x="318686" y="-240"/>
                      <a:pt x="302422" y="-240"/>
                    </a:cubicBezTo>
                    <a:close/>
                    <a:moveTo>
                      <a:pt x="302422" y="502745"/>
                    </a:moveTo>
                    <a:cubicBezTo>
                      <a:pt x="286158" y="502745"/>
                      <a:pt x="273031" y="515903"/>
                      <a:pt x="273031" y="532137"/>
                    </a:cubicBezTo>
                    <a:lnTo>
                      <a:pt x="273031" y="575832"/>
                    </a:lnTo>
                    <a:cubicBezTo>
                      <a:pt x="273031" y="592066"/>
                      <a:pt x="286158" y="605223"/>
                      <a:pt x="302422" y="605223"/>
                    </a:cubicBezTo>
                    <a:cubicBezTo>
                      <a:pt x="318686" y="605223"/>
                      <a:pt x="331813" y="592066"/>
                      <a:pt x="331813" y="575832"/>
                    </a:cubicBezTo>
                    <a:lnTo>
                      <a:pt x="331813" y="532137"/>
                    </a:lnTo>
                    <a:cubicBezTo>
                      <a:pt x="331813" y="515903"/>
                      <a:pt x="318686" y="502745"/>
                      <a:pt x="302422" y="502745"/>
                    </a:cubicBezTo>
                    <a:close/>
                    <a:moveTo>
                      <a:pt x="102169" y="302492"/>
                    </a:moveTo>
                    <a:cubicBezTo>
                      <a:pt x="102169" y="286258"/>
                      <a:pt x="89040" y="273100"/>
                      <a:pt x="72778" y="273100"/>
                    </a:cubicBezTo>
                    <a:lnTo>
                      <a:pt x="29081" y="273100"/>
                    </a:lnTo>
                    <a:cubicBezTo>
                      <a:pt x="12818" y="273100"/>
                      <a:pt x="-310" y="286258"/>
                      <a:pt x="-310" y="302492"/>
                    </a:cubicBezTo>
                    <a:cubicBezTo>
                      <a:pt x="-310" y="318726"/>
                      <a:pt x="12818" y="331883"/>
                      <a:pt x="29081" y="331883"/>
                    </a:cubicBezTo>
                    <a:lnTo>
                      <a:pt x="72778" y="331883"/>
                    </a:lnTo>
                    <a:cubicBezTo>
                      <a:pt x="89040" y="331883"/>
                      <a:pt x="102169" y="318726"/>
                      <a:pt x="102169" y="302492"/>
                    </a:cubicBezTo>
                    <a:close/>
                    <a:moveTo>
                      <a:pt x="575763" y="273100"/>
                    </a:moveTo>
                    <a:lnTo>
                      <a:pt x="532066" y="273100"/>
                    </a:lnTo>
                    <a:cubicBezTo>
                      <a:pt x="515804" y="273100"/>
                      <a:pt x="502675" y="286258"/>
                      <a:pt x="502675" y="302492"/>
                    </a:cubicBezTo>
                    <a:cubicBezTo>
                      <a:pt x="502675" y="318726"/>
                      <a:pt x="515804" y="331883"/>
                      <a:pt x="532066" y="331883"/>
                    </a:cubicBezTo>
                    <a:lnTo>
                      <a:pt x="575763" y="331883"/>
                    </a:lnTo>
                    <a:cubicBezTo>
                      <a:pt x="592026" y="331883"/>
                      <a:pt x="605154" y="318726"/>
                      <a:pt x="605154" y="302492"/>
                    </a:cubicBezTo>
                    <a:cubicBezTo>
                      <a:pt x="605154" y="286258"/>
                      <a:pt x="592026" y="273100"/>
                      <a:pt x="575763" y="273100"/>
                    </a:cubicBezTo>
                    <a:close/>
                    <a:moveTo>
                      <a:pt x="129894" y="88424"/>
                    </a:moveTo>
                    <a:cubicBezTo>
                      <a:pt x="118824" y="76550"/>
                      <a:pt x="100209" y="75894"/>
                      <a:pt x="88355" y="86955"/>
                    </a:cubicBezTo>
                    <a:cubicBezTo>
                      <a:pt x="76499" y="98025"/>
                      <a:pt x="75814" y="116620"/>
                      <a:pt x="86885" y="128494"/>
                    </a:cubicBezTo>
                    <a:cubicBezTo>
                      <a:pt x="87375" y="129004"/>
                      <a:pt x="87864" y="129494"/>
                      <a:pt x="88355" y="129964"/>
                    </a:cubicBezTo>
                    <a:lnTo>
                      <a:pt x="119216" y="160923"/>
                    </a:lnTo>
                    <a:cubicBezTo>
                      <a:pt x="130678" y="172425"/>
                      <a:pt x="149391" y="172425"/>
                      <a:pt x="160854" y="160923"/>
                    </a:cubicBezTo>
                    <a:cubicBezTo>
                      <a:pt x="172316" y="149421"/>
                      <a:pt x="172316" y="130787"/>
                      <a:pt x="160854" y="119285"/>
                    </a:cubicBezTo>
                    <a:close/>
                    <a:moveTo>
                      <a:pt x="485628" y="444061"/>
                    </a:moveTo>
                    <a:cubicBezTo>
                      <a:pt x="474166" y="432559"/>
                      <a:pt x="455453" y="432559"/>
                      <a:pt x="443990" y="444061"/>
                    </a:cubicBezTo>
                    <a:cubicBezTo>
                      <a:pt x="432528" y="455562"/>
                      <a:pt x="432528" y="474196"/>
                      <a:pt x="443990" y="485698"/>
                    </a:cubicBezTo>
                    <a:lnTo>
                      <a:pt x="474950" y="516559"/>
                    </a:lnTo>
                    <a:cubicBezTo>
                      <a:pt x="486413" y="528022"/>
                      <a:pt x="505027" y="528022"/>
                      <a:pt x="516489" y="516559"/>
                    </a:cubicBezTo>
                    <a:cubicBezTo>
                      <a:pt x="527952" y="505087"/>
                      <a:pt x="527952" y="486492"/>
                      <a:pt x="516489" y="475019"/>
                    </a:cubicBezTo>
                    <a:close/>
                    <a:moveTo>
                      <a:pt x="119216" y="444061"/>
                    </a:moveTo>
                    <a:lnTo>
                      <a:pt x="88355" y="475019"/>
                    </a:lnTo>
                    <a:cubicBezTo>
                      <a:pt x="76892" y="486502"/>
                      <a:pt x="76892" y="505116"/>
                      <a:pt x="88355" y="516589"/>
                    </a:cubicBezTo>
                    <a:cubicBezTo>
                      <a:pt x="93840" y="522085"/>
                      <a:pt x="101384" y="525171"/>
                      <a:pt x="109125" y="525181"/>
                    </a:cubicBezTo>
                    <a:cubicBezTo>
                      <a:pt x="116962" y="525171"/>
                      <a:pt x="124407" y="522075"/>
                      <a:pt x="129894" y="516559"/>
                    </a:cubicBezTo>
                    <a:lnTo>
                      <a:pt x="160854" y="485698"/>
                    </a:lnTo>
                    <a:cubicBezTo>
                      <a:pt x="172316" y="474196"/>
                      <a:pt x="172316" y="455562"/>
                      <a:pt x="160854" y="444061"/>
                    </a:cubicBezTo>
                    <a:cubicBezTo>
                      <a:pt x="149391" y="432559"/>
                      <a:pt x="130678" y="432559"/>
                      <a:pt x="119216" y="444061"/>
                    </a:cubicBezTo>
                    <a:close/>
                    <a:moveTo>
                      <a:pt x="464858" y="169740"/>
                    </a:moveTo>
                    <a:cubicBezTo>
                      <a:pt x="472598" y="169760"/>
                      <a:pt x="480142" y="166694"/>
                      <a:pt x="485628" y="161217"/>
                    </a:cubicBezTo>
                    <a:lnTo>
                      <a:pt x="516489" y="130258"/>
                    </a:lnTo>
                    <a:cubicBezTo>
                      <a:pt x="528345" y="119187"/>
                      <a:pt x="529030" y="100592"/>
                      <a:pt x="517959" y="88718"/>
                    </a:cubicBezTo>
                    <a:cubicBezTo>
                      <a:pt x="506888" y="76844"/>
                      <a:pt x="488273" y="76187"/>
                      <a:pt x="476419" y="87248"/>
                    </a:cubicBezTo>
                    <a:cubicBezTo>
                      <a:pt x="475929" y="87719"/>
                      <a:pt x="475440" y="88208"/>
                      <a:pt x="474950" y="88718"/>
                    </a:cubicBezTo>
                    <a:lnTo>
                      <a:pt x="443990" y="119579"/>
                    </a:lnTo>
                    <a:cubicBezTo>
                      <a:pt x="432528" y="131061"/>
                      <a:pt x="432528" y="149676"/>
                      <a:pt x="443990" y="161148"/>
                    </a:cubicBezTo>
                    <a:cubicBezTo>
                      <a:pt x="449575" y="166664"/>
                      <a:pt x="457021" y="169760"/>
                      <a:pt x="464858" y="1697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0" name="Полилиния: фигура 75">
              <a:extLst>
                <a:ext uri="{FF2B5EF4-FFF2-40B4-BE49-F238E27FC236}">
                  <a16:creationId xmlns:a16="http://schemas.microsoft.com/office/drawing/2014/main" id="{81F99469-47F3-5E7C-6CA4-6DCEB846CA29}"/>
                </a:ext>
              </a:extLst>
            </p:cNvPr>
            <p:cNvSpPr/>
            <p:nvPr/>
          </p:nvSpPr>
          <p:spPr>
            <a:xfrm>
              <a:off x="6926011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Полилиния: фигура 76">
              <a:extLst>
                <a:ext uri="{FF2B5EF4-FFF2-40B4-BE49-F238E27FC236}">
                  <a16:creationId xmlns:a16="http://schemas.microsoft.com/office/drawing/2014/main" id="{7AE61898-43E7-4DE4-6129-B22B7D9A3DC4}"/>
                </a:ext>
              </a:extLst>
            </p:cNvPr>
            <p:cNvSpPr/>
            <p:nvPr/>
          </p:nvSpPr>
          <p:spPr>
            <a:xfrm>
              <a:off x="6436154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Полилиния: фигура 77">
              <a:extLst>
                <a:ext uri="{FF2B5EF4-FFF2-40B4-BE49-F238E27FC236}">
                  <a16:creationId xmlns:a16="http://schemas.microsoft.com/office/drawing/2014/main" id="{547CF65D-CEAE-C352-5A85-FFF9189150B5}"/>
                </a:ext>
              </a:extLst>
            </p:cNvPr>
            <p:cNvSpPr/>
            <p:nvPr/>
          </p:nvSpPr>
          <p:spPr>
            <a:xfrm>
              <a:off x="6926011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Полилиния: фигура 78">
              <a:extLst>
                <a:ext uri="{FF2B5EF4-FFF2-40B4-BE49-F238E27FC236}">
                  <a16:creationId xmlns:a16="http://schemas.microsoft.com/office/drawing/2014/main" id="{23CAF896-8BE7-B71B-77DA-6D0B1FB876E5}"/>
                </a:ext>
              </a:extLst>
            </p:cNvPr>
            <p:cNvSpPr/>
            <p:nvPr/>
          </p:nvSpPr>
          <p:spPr>
            <a:xfrm>
              <a:off x="6681083" y="367417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Полилиния: фигура 79">
              <a:extLst>
                <a:ext uri="{FF2B5EF4-FFF2-40B4-BE49-F238E27FC236}">
                  <a16:creationId xmlns:a16="http://schemas.microsoft.com/office/drawing/2014/main" id="{2B37F7E8-E89D-8459-5373-131DADF7A792}"/>
                </a:ext>
              </a:extLst>
            </p:cNvPr>
            <p:cNvSpPr/>
            <p:nvPr/>
          </p:nvSpPr>
          <p:spPr>
            <a:xfrm>
              <a:off x="6436154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Полилиния: фигура 81">
              <a:extLst>
                <a:ext uri="{FF2B5EF4-FFF2-40B4-BE49-F238E27FC236}">
                  <a16:creationId xmlns:a16="http://schemas.microsoft.com/office/drawing/2014/main" id="{C1A6FAE4-111D-E1CF-5EA3-53F0E6708016}"/>
                </a:ext>
              </a:extLst>
            </p:cNvPr>
            <p:cNvSpPr/>
            <p:nvPr/>
          </p:nvSpPr>
          <p:spPr>
            <a:xfrm rot="5400000">
              <a:off x="11210613" y="-2508"/>
              <a:ext cx="978877" cy="98389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Полилиния: фигура 82">
              <a:extLst>
                <a:ext uri="{FF2B5EF4-FFF2-40B4-BE49-F238E27FC236}">
                  <a16:creationId xmlns:a16="http://schemas.microsoft.com/office/drawing/2014/main" id="{09EB9843-1497-0BF8-D6D3-8895C82F1CFF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Полилиния: фигура 83">
              <a:extLst>
                <a:ext uri="{FF2B5EF4-FFF2-40B4-BE49-F238E27FC236}">
                  <a16:creationId xmlns:a16="http://schemas.microsoft.com/office/drawing/2014/main" id="{A7960E16-D3C6-7C19-B284-9D6891D41091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Полилиния: фигура 84">
              <a:extLst>
                <a:ext uri="{FF2B5EF4-FFF2-40B4-BE49-F238E27FC236}">
                  <a16:creationId xmlns:a16="http://schemas.microsoft.com/office/drawing/2014/main" id="{7E7243CA-C318-CFBD-752B-3ECB9C85005E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Полилиния: фигура 85">
              <a:extLst>
                <a:ext uri="{FF2B5EF4-FFF2-40B4-BE49-F238E27FC236}">
                  <a16:creationId xmlns:a16="http://schemas.microsoft.com/office/drawing/2014/main" id="{C0D6D19C-8414-5B25-9FF2-68CCA3C32376}"/>
                </a:ext>
              </a:extLst>
            </p:cNvPr>
            <p:cNvSpPr/>
            <p:nvPr/>
          </p:nvSpPr>
          <p:spPr>
            <a:xfrm>
              <a:off x="10477475" y="122466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Полилиния: фигура 87">
              <a:extLst>
                <a:ext uri="{FF2B5EF4-FFF2-40B4-BE49-F238E27FC236}">
                  <a16:creationId xmlns:a16="http://schemas.microsoft.com/office/drawing/2014/main" id="{9318107F-7C68-343C-164E-A2DABF4D6B11}"/>
                </a:ext>
              </a:extLst>
            </p:cNvPr>
            <p:cNvSpPr/>
            <p:nvPr/>
          </p:nvSpPr>
          <p:spPr>
            <a:xfrm rot="5400000">
              <a:off x="1121212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Полилиния: фигура 91">
              <a:extLst>
                <a:ext uri="{FF2B5EF4-FFF2-40B4-BE49-F238E27FC236}">
                  <a16:creationId xmlns:a16="http://schemas.microsoft.com/office/drawing/2014/main" id="{8F76CF08-4CE0-BDAB-FAC1-DEA5A1118CE7}"/>
                </a:ext>
              </a:extLst>
            </p:cNvPr>
            <p:cNvSpPr/>
            <p:nvPr/>
          </p:nvSpPr>
          <p:spPr>
            <a:xfrm>
              <a:off x="1144945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2" name="Группа 136">
              <a:extLst>
                <a:ext uri="{FF2B5EF4-FFF2-40B4-BE49-F238E27FC236}">
                  <a16:creationId xmlns:a16="http://schemas.microsoft.com/office/drawing/2014/main" id="{4748D860-3CD8-49C3-3166-E2B8CE443A34}"/>
                </a:ext>
              </a:extLst>
            </p:cNvPr>
            <p:cNvGrpSpPr/>
            <p:nvPr/>
          </p:nvGrpSpPr>
          <p:grpSpPr>
            <a:xfrm>
              <a:off x="11393801" y="1597449"/>
              <a:ext cx="523658" cy="198686"/>
              <a:chOff x="11393801" y="1597449"/>
              <a:chExt cx="523658" cy="198686"/>
            </a:xfrm>
          </p:grpSpPr>
          <p:sp>
            <p:nvSpPr>
              <p:cNvPr id="238" name="Полилиния: фигура 90">
                <a:extLst>
                  <a:ext uri="{FF2B5EF4-FFF2-40B4-BE49-F238E27FC236}">
                    <a16:creationId xmlns:a16="http://schemas.microsoft.com/office/drawing/2014/main" id="{33AE071A-B5EC-184F-2257-0BE906262B02}"/>
                  </a:ext>
                </a:extLst>
              </p:cNvPr>
              <p:cNvSpPr/>
              <p:nvPr userDrawn="1"/>
            </p:nvSpPr>
            <p:spPr>
              <a:xfrm>
                <a:off x="11393801" y="1597449"/>
                <a:ext cx="300576" cy="198686"/>
              </a:xfrm>
              <a:custGeom>
                <a:avLst/>
                <a:gdLst>
                  <a:gd name="connsiteX0" fmla="*/ -310 w 300576"/>
                  <a:gd name="connsiteY0" fmla="*/ -240 h 198686"/>
                  <a:gd name="connsiteX1" fmla="*/ 300267 w 300576"/>
                  <a:gd name="connsiteY1" fmla="*/ 198446 h 198686"/>
                  <a:gd name="connsiteX2" fmla="*/ -310 w 300576"/>
                  <a:gd name="connsiteY2" fmla="*/ -240 h 19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576" h="198686">
                    <a:moveTo>
                      <a:pt x="-310" y="-240"/>
                    </a:moveTo>
                    <a:cubicBezTo>
                      <a:pt x="51028" y="120255"/>
                      <a:pt x="169279" y="198466"/>
                      <a:pt x="300267" y="198446"/>
                    </a:cubicBezTo>
                    <a:cubicBezTo>
                      <a:pt x="248930" y="77951"/>
                      <a:pt x="130678" y="-259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Полилиния: фигура 92">
                <a:extLst>
                  <a:ext uri="{FF2B5EF4-FFF2-40B4-BE49-F238E27FC236}">
                    <a16:creationId xmlns:a16="http://schemas.microsoft.com/office/drawing/2014/main" id="{7F605E93-15E8-0197-4A45-5CB6613358C5}"/>
                  </a:ext>
                </a:extLst>
              </p:cNvPr>
              <p:cNvSpPr/>
              <p:nvPr userDrawn="1"/>
            </p:nvSpPr>
            <p:spPr>
              <a:xfrm>
                <a:off x="11694378" y="1652509"/>
                <a:ext cx="223081" cy="143625"/>
              </a:xfrm>
              <a:custGeom>
                <a:avLst/>
                <a:gdLst>
                  <a:gd name="connsiteX0" fmla="*/ -310 w 223081"/>
                  <a:gd name="connsiteY0" fmla="*/ 143386 h 143625"/>
                  <a:gd name="connsiteX1" fmla="*/ 222771 w 223081"/>
                  <a:gd name="connsiteY1" fmla="*/ -240 h 143625"/>
                  <a:gd name="connsiteX2" fmla="*/ -310 w 223081"/>
                  <a:gd name="connsiteY2" fmla="*/ 143386 h 14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081" h="143625">
                    <a:moveTo>
                      <a:pt x="-310" y="143386"/>
                    </a:moveTo>
                    <a:cubicBezTo>
                      <a:pt x="95801" y="143415"/>
                      <a:pt x="182994" y="87248"/>
                      <a:pt x="222771" y="-240"/>
                    </a:cubicBezTo>
                    <a:cubicBezTo>
                      <a:pt x="126661" y="-270"/>
                      <a:pt x="39467" y="55897"/>
                      <a:pt x="-310" y="143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" name="Полилиния: фигура 89">
              <a:extLst>
                <a:ext uri="{FF2B5EF4-FFF2-40B4-BE49-F238E27FC236}">
                  <a16:creationId xmlns:a16="http://schemas.microsoft.com/office/drawing/2014/main" id="{54DC7FAB-EE34-8839-AD62-9DFA1B0EDFB3}"/>
                </a:ext>
              </a:extLst>
            </p:cNvPr>
            <p:cNvSpPr/>
            <p:nvPr/>
          </p:nvSpPr>
          <p:spPr>
            <a:xfrm>
              <a:off x="1157191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Полилиния: фигура 94">
              <a:extLst>
                <a:ext uri="{FF2B5EF4-FFF2-40B4-BE49-F238E27FC236}">
                  <a16:creationId xmlns:a16="http://schemas.microsoft.com/office/drawing/2014/main" id="{07126D8E-FA74-0C18-3599-8D18AC06DC1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Полилиния: фигура 95">
              <a:extLst>
                <a:ext uri="{FF2B5EF4-FFF2-40B4-BE49-F238E27FC236}">
                  <a16:creationId xmlns:a16="http://schemas.microsoft.com/office/drawing/2014/main" id="{9A1A78D4-29DC-474D-98E7-A92F4B0A90CD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Полилиния: фигура 96">
              <a:extLst>
                <a:ext uri="{FF2B5EF4-FFF2-40B4-BE49-F238E27FC236}">
                  <a16:creationId xmlns:a16="http://schemas.microsoft.com/office/drawing/2014/main" id="{D6A7AA67-C7B4-4520-EBCD-AF8BE1AD1198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Полилиния: фигура 97">
              <a:extLst>
                <a:ext uri="{FF2B5EF4-FFF2-40B4-BE49-F238E27FC236}">
                  <a16:creationId xmlns:a16="http://schemas.microsoft.com/office/drawing/2014/main" id="{D20415EB-ED5E-5235-0EAE-2EAF652432C0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Полилиния: фигура 99">
              <a:extLst>
                <a:ext uri="{FF2B5EF4-FFF2-40B4-BE49-F238E27FC236}">
                  <a16:creationId xmlns:a16="http://schemas.microsoft.com/office/drawing/2014/main" id="{152FC6B9-D657-0563-6A0C-099048BB738D}"/>
                </a:ext>
              </a:extLst>
            </p:cNvPr>
            <p:cNvSpPr/>
            <p:nvPr/>
          </p:nvSpPr>
          <p:spPr>
            <a:xfrm>
              <a:off x="8886079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Полилиния: фигура 100">
              <a:extLst>
                <a:ext uri="{FF2B5EF4-FFF2-40B4-BE49-F238E27FC236}">
                  <a16:creationId xmlns:a16="http://schemas.microsoft.com/office/drawing/2014/main" id="{68FA2434-9773-3100-E7E8-ABFD1A4CE02B}"/>
                </a:ext>
              </a:extLst>
            </p:cNvPr>
            <p:cNvSpPr/>
            <p:nvPr/>
          </p:nvSpPr>
          <p:spPr>
            <a:xfrm>
              <a:off x="8396222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Полилиния: фигура 101">
              <a:extLst>
                <a:ext uri="{FF2B5EF4-FFF2-40B4-BE49-F238E27FC236}">
                  <a16:creationId xmlns:a16="http://schemas.microsoft.com/office/drawing/2014/main" id="{98DB10FD-4F0D-930E-0BEB-87ED4C7A2599}"/>
                </a:ext>
              </a:extLst>
            </p:cNvPr>
            <p:cNvSpPr/>
            <p:nvPr/>
          </p:nvSpPr>
          <p:spPr>
            <a:xfrm>
              <a:off x="8886079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Полилиния: фигура 102">
              <a:extLst>
                <a:ext uri="{FF2B5EF4-FFF2-40B4-BE49-F238E27FC236}">
                  <a16:creationId xmlns:a16="http://schemas.microsoft.com/office/drawing/2014/main" id="{804A6F9D-B6D0-ABAE-F6D4-C39115C3EE49}"/>
                </a:ext>
              </a:extLst>
            </p:cNvPr>
            <p:cNvSpPr/>
            <p:nvPr/>
          </p:nvSpPr>
          <p:spPr>
            <a:xfrm>
              <a:off x="8641150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Полилиния: фигура 103">
              <a:extLst>
                <a:ext uri="{FF2B5EF4-FFF2-40B4-BE49-F238E27FC236}">
                  <a16:creationId xmlns:a16="http://schemas.microsoft.com/office/drawing/2014/main" id="{DBE9AE2F-8403-94CC-6FA2-45F66F486747}"/>
                </a:ext>
              </a:extLst>
            </p:cNvPr>
            <p:cNvSpPr/>
            <p:nvPr/>
          </p:nvSpPr>
          <p:spPr>
            <a:xfrm>
              <a:off x="8396222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Полилиния: фигура 105">
              <a:extLst>
                <a:ext uri="{FF2B5EF4-FFF2-40B4-BE49-F238E27FC236}">
                  <a16:creationId xmlns:a16="http://schemas.microsoft.com/office/drawing/2014/main" id="{221F817F-7EC3-54E3-C932-F09C8401708B}"/>
                </a:ext>
              </a:extLst>
            </p:cNvPr>
            <p:cNvSpPr/>
            <p:nvPr userDrawn="1"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Полилиния: фигура 106">
              <a:extLst>
                <a:ext uri="{FF2B5EF4-FFF2-40B4-BE49-F238E27FC236}">
                  <a16:creationId xmlns:a16="http://schemas.microsoft.com/office/drawing/2014/main" id="{CF9A9883-D805-017B-FC4D-85501BEA2102}"/>
                </a:ext>
              </a:extLst>
            </p:cNvPr>
            <p:cNvSpPr/>
            <p:nvPr userDrawn="1"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Полилиния: фигура 107">
              <a:extLst>
                <a:ext uri="{FF2B5EF4-FFF2-40B4-BE49-F238E27FC236}">
                  <a16:creationId xmlns:a16="http://schemas.microsoft.com/office/drawing/2014/main" id="{DC063878-F546-B7EE-03D8-FB173F2E2DC5}"/>
                </a:ext>
              </a:extLst>
            </p:cNvPr>
            <p:cNvSpPr/>
            <p:nvPr userDrawn="1"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Полилиния: фигура 108">
              <a:extLst>
                <a:ext uri="{FF2B5EF4-FFF2-40B4-BE49-F238E27FC236}">
                  <a16:creationId xmlns:a16="http://schemas.microsoft.com/office/drawing/2014/main" id="{B1DD7367-C17C-4447-675A-13AE0E3EAFE8}"/>
                </a:ext>
              </a:extLst>
            </p:cNvPr>
            <p:cNvSpPr/>
            <p:nvPr userDrawn="1"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Полилиния: фигура 110">
              <a:extLst>
                <a:ext uri="{FF2B5EF4-FFF2-40B4-BE49-F238E27FC236}">
                  <a16:creationId xmlns:a16="http://schemas.microsoft.com/office/drawing/2014/main" id="{11C01802-A229-F95E-4D88-5A0B0E4362C3}"/>
                </a:ext>
              </a:extLst>
            </p:cNvPr>
            <p:cNvSpPr/>
            <p:nvPr/>
          </p:nvSpPr>
          <p:spPr>
            <a:xfrm rot="16200000">
              <a:off x="10229248" y="1955232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Полилиния: фигура 111">
              <a:extLst>
                <a:ext uri="{FF2B5EF4-FFF2-40B4-BE49-F238E27FC236}">
                  <a16:creationId xmlns:a16="http://schemas.microsoft.com/office/drawing/2014/main" id="{4CF64195-5C84-6E06-EA28-632701FF62FA}"/>
                </a:ext>
              </a:extLst>
            </p:cNvPr>
            <p:cNvSpPr/>
            <p:nvPr/>
          </p:nvSpPr>
          <p:spPr>
            <a:xfrm>
              <a:off x="10218043" y="2449310"/>
              <a:ext cx="499188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Полилиния: фигура 112">
              <a:extLst>
                <a:ext uri="{FF2B5EF4-FFF2-40B4-BE49-F238E27FC236}">
                  <a16:creationId xmlns:a16="http://schemas.microsoft.com/office/drawing/2014/main" id="{A232DDF6-FFE9-4A7C-95FA-78B6B0B68787}"/>
                </a:ext>
              </a:extLst>
            </p:cNvPr>
            <p:cNvSpPr/>
            <p:nvPr/>
          </p:nvSpPr>
          <p:spPr>
            <a:xfrm>
              <a:off x="10218043" y="1956342"/>
              <a:ext cx="499188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Полилиния: фигура 113">
              <a:extLst>
                <a:ext uri="{FF2B5EF4-FFF2-40B4-BE49-F238E27FC236}">
                  <a16:creationId xmlns:a16="http://schemas.microsoft.com/office/drawing/2014/main" id="{F87E652F-7893-9F92-6C7A-03C586308241}"/>
                </a:ext>
              </a:extLst>
            </p:cNvPr>
            <p:cNvSpPr/>
            <p:nvPr/>
          </p:nvSpPr>
          <p:spPr>
            <a:xfrm>
              <a:off x="10722404" y="195634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Полилиния: фигура 114">
              <a:extLst>
                <a:ext uri="{FF2B5EF4-FFF2-40B4-BE49-F238E27FC236}">
                  <a16:creationId xmlns:a16="http://schemas.microsoft.com/office/drawing/2014/main" id="{E52A84F5-A190-3CBA-533E-1D627B7406C3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Полилиния: фигура 116">
              <a:extLst>
                <a:ext uri="{FF2B5EF4-FFF2-40B4-BE49-F238E27FC236}">
                  <a16:creationId xmlns:a16="http://schemas.microsoft.com/office/drawing/2014/main" id="{8020401A-CB1E-7102-5C24-F4A4AA6155A6}"/>
                </a:ext>
              </a:extLst>
            </p:cNvPr>
            <p:cNvSpPr/>
            <p:nvPr/>
          </p:nvSpPr>
          <p:spPr>
            <a:xfrm rot="16200000">
              <a:off x="10229248" y="2927837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3" name="Группа 142">
              <a:extLst>
                <a:ext uri="{FF2B5EF4-FFF2-40B4-BE49-F238E27FC236}">
                  <a16:creationId xmlns:a16="http://schemas.microsoft.com/office/drawing/2014/main" id="{55BFAE82-8F16-9F3B-4729-653EB69CB0F7}"/>
                </a:ext>
              </a:extLst>
            </p:cNvPr>
            <p:cNvGrpSpPr/>
            <p:nvPr/>
          </p:nvGrpSpPr>
          <p:grpSpPr>
            <a:xfrm>
              <a:off x="10562417" y="3072801"/>
              <a:ext cx="240030" cy="160281"/>
              <a:chOff x="10562417" y="3072801"/>
              <a:chExt cx="240030" cy="160281"/>
            </a:xfrm>
          </p:grpSpPr>
          <p:sp>
            <p:nvSpPr>
              <p:cNvPr id="236" name="Полилиния: фигура 117">
                <a:extLst>
                  <a:ext uri="{FF2B5EF4-FFF2-40B4-BE49-F238E27FC236}">
                    <a16:creationId xmlns:a16="http://schemas.microsoft.com/office/drawing/2014/main" id="{A881E735-97A3-0633-9C8E-4D7471867FE6}"/>
                  </a:ext>
                </a:extLst>
              </p:cNvPr>
              <p:cNvSpPr/>
              <p:nvPr userDrawn="1"/>
            </p:nvSpPr>
            <p:spPr>
              <a:xfrm>
                <a:off x="10722404" y="3152843"/>
                <a:ext cx="80043" cy="80238"/>
              </a:xfrm>
              <a:custGeom>
                <a:avLst/>
                <a:gdLst>
                  <a:gd name="connsiteX0" fmla="*/ 79733 w 80043"/>
                  <a:gd name="connsiteY0" fmla="*/ -240 h 80238"/>
                  <a:gd name="connsiteX1" fmla="*/ -310 w 80043"/>
                  <a:gd name="connsiteY1" fmla="*/ 79607 h 80238"/>
                  <a:gd name="connsiteX2" fmla="*/ -310 w 80043"/>
                  <a:gd name="connsiteY2" fmla="*/ 79999 h 80238"/>
                  <a:gd name="connsiteX3" fmla="*/ 79733 w 80043"/>
                  <a:gd name="connsiteY3" fmla="*/ 152 h 80238"/>
                  <a:gd name="connsiteX4" fmla="*/ 79733 w 80043"/>
                  <a:gd name="connsiteY4" fmla="*/ -240 h 8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43" h="80238">
                    <a:moveTo>
                      <a:pt x="79733" y="-240"/>
                    </a:moveTo>
                    <a:cubicBezTo>
                      <a:pt x="35548" y="-299"/>
                      <a:pt x="-212" y="35451"/>
                      <a:pt x="-310" y="79607"/>
                    </a:cubicBezTo>
                    <a:cubicBezTo>
                      <a:pt x="-310" y="79734"/>
                      <a:pt x="-310" y="79871"/>
                      <a:pt x="-310" y="79999"/>
                    </a:cubicBezTo>
                    <a:cubicBezTo>
                      <a:pt x="43875" y="80057"/>
                      <a:pt x="79635" y="44308"/>
                      <a:pt x="79733" y="152"/>
                    </a:cubicBezTo>
                    <a:cubicBezTo>
                      <a:pt x="79733" y="24"/>
                      <a:pt x="79733" y="-113"/>
                      <a:pt x="79733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Полилиния: фигура 118">
                <a:extLst>
                  <a:ext uri="{FF2B5EF4-FFF2-40B4-BE49-F238E27FC236}">
                    <a16:creationId xmlns:a16="http://schemas.microsoft.com/office/drawing/2014/main" id="{DB7BD1C1-1207-FF95-3C79-C6385CC944E7}"/>
                  </a:ext>
                </a:extLst>
              </p:cNvPr>
              <p:cNvSpPr/>
              <p:nvPr userDrawn="1"/>
            </p:nvSpPr>
            <p:spPr>
              <a:xfrm>
                <a:off x="10562417" y="3072801"/>
                <a:ext cx="159987" cy="160281"/>
              </a:xfrm>
              <a:custGeom>
                <a:avLst/>
                <a:gdLst>
                  <a:gd name="connsiteX0" fmla="*/ -310 w 159987"/>
                  <a:gd name="connsiteY0" fmla="*/ -240 h 160281"/>
                  <a:gd name="connsiteX1" fmla="*/ 159383 w 159987"/>
                  <a:gd name="connsiteY1" fmla="*/ 160041 h 160281"/>
                  <a:gd name="connsiteX2" fmla="*/ 159677 w 159987"/>
                  <a:gd name="connsiteY2" fmla="*/ 160041 h 160281"/>
                  <a:gd name="connsiteX3" fmla="*/ -17 w 159987"/>
                  <a:gd name="connsiteY3" fmla="*/ -240 h 160281"/>
                  <a:gd name="connsiteX4" fmla="*/ -310 w 159987"/>
                  <a:gd name="connsiteY4" fmla="*/ -240 h 1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987" h="160281">
                    <a:moveTo>
                      <a:pt x="-310" y="-240"/>
                    </a:moveTo>
                    <a:cubicBezTo>
                      <a:pt x="-506" y="88120"/>
                      <a:pt x="71013" y="159874"/>
                      <a:pt x="159383" y="160041"/>
                    </a:cubicBezTo>
                    <a:cubicBezTo>
                      <a:pt x="159481" y="160041"/>
                      <a:pt x="159579" y="160041"/>
                      <a:pt x="159677" y="160041"/>
                    </a:cubicBezTo>
                    <a:cubicBezTo>
                      <a:pt x="159873" y="71681"/>
                      <a:pt x="88354" y="-74"/>
                      <a:pt x="-17" y="-240"/>
                    </a:cubicBezTo>
                    <a:cubicBezTo>
                      <a:pt x="-115" y="-240"/>
                      <a:pt x="-212" y="-240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4" name="Полилиния: фигура 119">
              <a:extLst>
                <a:ext uri="{FF2B5EF4-FFF2-40B4-BE49-F238E27FC236}">
                  <a16:creationId xmlns:a16="http://schemas.microsoft.com/office/drawing/2014/main" id="{9AB5CFF2-BC5D-D96E-96E9-9F3FEBE273D3}"/>
                </a:ext>
              </a:extLst>
            </p:cNvPr>
            <p:cNvSpPr/>
            <p:nvPr/>
          </p:nvSpPr>
          <p:spPr>
            <a:xfrm>
              <a:off x="10579947" y="3232812"/>
              <a:ext cx="284927" cy="503156"/>
            </a:xfrm>
            <a:custGeom>
              <a:avLst/>
              <a:gdLst>
                <a:gd name="connsiteX0" fmla="*/ 142147 w 284927"/>
                <a:gd name="connsiteY0" fmla="*/ 502917 h 503156"/>
                <a:gd name="connsiteX1" fmla="*/ 284206 w 284927"/>
                <a:gd name="connsiteY1" fmla="*/ 134152 h 503156"/>
                <a:gd name="connsiteX2" fmla="*/ 89 w 284927"/>
                <a:gd name="connsiteY2" fmla="*/ 134152 h 503156"/>
                <a:gd name="connsiteX3" fmla="*/ 142147 w 284927"/>
                <a:gd name="connsiteY3" fmla="*/ 502917 h 5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27" h="503156">
                  <a:moveTo>
                    <a:pt x="142147" y="502917"/>
                  </a:moveTo>
                  <a:cubicBezTo>
                    <a:pt x="238355" y="404857"/>
                    <a:pt x="289790" y="271410"/>
                    <a:pt x="284206" y="134152"/>
                  </a:cubicBezTo>
                  <a:cubicBezTo>
                    <a:pt x="277543" y="-45037"/>
                    <a:pt x="6848" y="-45037"/>
                    <a:pt x="89" y="134152"/>
                  </a:cubicBezTo>
                  <a:cubicBezTo>
                    <a:pt x="-5398" y="271400"/>
                    <a:pt x="45940" y="404837"/>
                    <a:pt x="142147" y="502917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Полилиния: фигура 121">
              <a:extLst>
                <a:ext uri="{FF2B5EF4-FFF2-40B4-BE49-F238E27FC236}">
                  <a16:creationId xmlns:a16="http://schemas.microsoft.com/office/drawing/2014/main" id="{5724ABB9-23F9-557B-640F-4EDA08185EA2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Полилиния: фигура 122">
              <a:extLst>
                <a:ext uri="{FF2B5EF4-FFF2-40B4-BE49-F238E27FC236}">
                  <a16:creationId xmlns:a16="http://schemas.microsoft.com/office/drawing/2014/main" id="{2E6D9482-2CA0-8F16-ADC6-1839E26E999F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Полилиния: фигура 123">
              <a:extLst>
                <a:ext uri="{FF2B5EF4-FFF2-40B4-BE49-F238E27FC236}">
                  <a16:creationId xmlns:a16="http://schemas.microsoft.com/office/drawing/2014/main" id="{32880002-40DF-0E72-E8B9-259EBD329D29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Полилиния: фигура 125">
              <a:extLst>
                <a:ext uri="{FF2B5EF4-FFF2-40B4-BE49-F238E27FC236}">
                  <a16:creationId xmlns:a16="http://schemas.microsoft.com/office/drawing/2014/main" id="{7C23478D-CA78-9564-4653-E6EE3B7F9873}"/>
                </a:ext>
              </a:extLst>
            </p:cNvPr>
            <p:cNvSpPr/>
            <p:nvPr/>
          </p:nvSpPr>
          <p:spPr>
            <a:xfrm>
              <a:off x="11701548" y="440093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Полилиния: фигура 126">
              <a:extLst>
                <a:ext uri="{FF2B5EF4-FFF2-40B4-BE49-F238E27FC236}">
                  <a16:creationId xmlns:a16="http://schemas.microsoft.com/office/drawing/2014/main" id="{880455E5-D941-01B7-2E0B-428B3E1168AF}"/>
                </a:ext>
              </a:extLst>
            </p:cNvPr>
            <p:cNvSpPr/>
            <p:nvPr/>
          </p:nvSpPr>
          <p:spPr>
            <a:xfrm>
              <a:off x="11211691" y="391107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Полилиния: фигура 127">
              <a:extLst>
                <a:ext uri="{FF2B5EF4-FFF2-40B4-BE49-F238E27FC236}">
                  <a16:creationId xmlns:a16="http://schemas.microsoft.com/office/drawing/2014/main" id="{97F171CD-74ED-E86B-FCA3-2D8AB57BCA8F}"/>
                </a:ext>
              </a:extLst>
            </p:cNvPr>
            <p:cNvSpPr/>
            <p:nvPr/>
          </p:nvSpPr>
          <p:spPr>
            <a:xfrm>
              <a:off x="11701548" y="391107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Полилиния: фигура 128">
              <a:extLst>
                <a:ext uri="{FF2B5EF4-FFF2-40B4-BE49-F238E27FC236}">
                  <a16:creationId xmlns:a16="http://schemas.microsoft.com/office/drawing/2014/main" id="{6B5C7B98-9AF3-A3C5-CC56-1F8415A3BBFA}"/>
                </a:ext>
              </a:extLst>
            </p:cNvPr>
            <p:cNvSpPr/>
            <p:nvPr/>
          </p:nvSpPr>
          <p:spPr>
            <a:xfrm>
              <a:off x="11211691" y="440093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Полилиния: фигура 130">
              <a:extLst>
                <a:ext uri="{FF2B5EF4-FFF2-40B4-BE49-F238E27FC236}">
                  <a16:creationId xmlns:a16="http://schemas.microsoft.com/office/drawing/2014/main" id="{E7E3018D-75B7-25D3-F819-65B4866C5B11}"/>
                </a:ext>
              </a:extLst>
            </p:cNvPr>
            <p:cNvSpPr/>
            <p:nvPr/>
          </p:nvSpPr>
          <p:spPr>
            <a:xfrm>
              <a:off x="7564294" y="1321178"/>
              <a:ext cx="437931" cy="274907"/>
            </a:xfrm>
            <a:custGeom>
              <a:avLst/>
              <a:gdLst>
                <a:gd name="connsiteX0" fmla="*/ 297270 w 437931"/>
                <a:gd name="connsiteY0" fmla="*/ 274668 h 274907"/>
                <a:gd name="connsiteX1" fmla="*/ 134245 w 437931"/>
                <a:gd name="connsiteY1" fmla="*/ 274668 h 274907"/>
                <a:gd name="connsiteX2" fmla="*/ -3207 w 437931"/>
                <a:gd name="connsiteY2" fmla="*/ 137214 h 274907"/>
                <a:gd name="connsiteX3" fmla="*/ 134245 w 437931"/>
                <a:gd name="connsiteY3" fmla="*/ -240 h 274907"/>
                <a:gd name="connsiteX4" fmla="*/ 297270 w 437931"/>
                <a:gd name="connsiteY4" fmla="*/ -240 h 274907"/>
                <a:gd name="connsiteX5" fmla="*/ 434725 w 437931"/>
                <a:gd name="connsiteY5" fmla="*/ 137214 h 274907"/>
                <a:gd name="connsiteX6" fmla="*/ 297270 w 437931"/>
                <a:gd name="connsiteY6" fmla="*/ 274668 h 27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931" h="274907">
                  <a:moveTo>
                    <a:pt x="297270" y="274668"/>
                  </a:moveTo>
                  <a:lnTo>
                    <a:pt x="134245" y="274668"/>
                  </a:lnTo>
                  <a:cubicBezTo>
                    <a:pt x="58317" y="274668"/>
                    <a:pt x="-3207" y="213132"/>
                    <a:pt x="-3207" y="137214"/>
                  </a:cubicBezTo>
                  <a:cubicBezTo>
                    <a:pt x="-3207" y="61296"/>
                    <a:pt x="58317" y="-240"/>
                    <a:pt x="134245" y="-240"/>
                  </a:cubicBezTo>
                  <a:lnTo>
                    <a:pt x="297270" y="-240"/>
                  </a:lnTo>
                  <a:cubicBezTo>
                    <a:pt x="373198" y="-240"/>
                    <a:pt x="434725" y="61296"/>
                    <a:pt x="434725" y="137214"/>
                  </a:cubicBezTo>
                  <a:cubicBezTo>
                    <a:pt x="434725" y="213132"/>
                    <a:pt x="373198" y="274668"/>
                    <a:pt x="297270" y="274668"/>
                  </a:cubicBezTo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3" name="Группа 139">
              <a:extLst>
                <a:ext uri="{FF2B5EF4-FFF2-40B4-BE49-F238E27FC236}">
                  <a16:creationId xmlns:a16="http://schemas.microsoft.com/office/drawing/2014/main" id="{C1B504CE-0FB3-5DDF-21DE-5E26A943F780}"/>
                </a:ext>
              </a:extLst>
            </p:cNvPr>
            <p:cNvGrpSpPr/>
            <p:nvPr/>
          </p:nvGrpSpPr>
          <p:grpSpPr>
            <a:xfrm>
              <a:off x="7431641" y="1321766"/>
              <a:ext cx="703239" cy="274320"/>
              <a:chOff x="7431641" y="1321766"/>
              <a:chExt cx="703239" cy="274320"/>
            </a:xfrm>
          </p:grpSpPr>
          <p:sp>
            <p:nvSpPr>
              <p:cNvPr id="234" name="Полилиния: фигура 131">
                <a:extLst>
                  <a:ext uri="{FF2B5EF4-FFF2-40B4-BE49-F238E27FC236}">
                    <a16:creationId xmlns:a16="http://schemas.microsoft.com/office/drawing/2014/main" id="{50082B8F-F977-7DDB-6F97-4532406ECC27}"/>
                  </a:ext>
                </a:extLst>
              </p:cNvPr>
              <p:cNvSpPr/>
              <p:nvPr userDrawn="1"/>
            </p:nvSpPr>
            <p:spPr>
              <a:xfrm>
                <a:off x="7997720" y="1321766"/>
                <a:ext cx="137160" cy="274320"/>
              </a:xfrm>
              <a:custGeom>
                <a:avLst/>
                <a:gdLst>
                  <a:gd name="connsiteX0" fmla="*/ 133953 w 137160"/>
                  <a:gd name="connsiteY0" fmla="*/ -240 h 274320"/>
                  <a:gd name="connsiteX1" fmla="*/ -3207 w 137160"/>
                  <a:gd name="connsiteY1" fmla="*/ 136920 h 274320"/>
                  <a:gd name="connsiteX2" fmla="*/ 133953 w 137160"/>
                  <a:gd name="connsiteY2" fmla="*/ 27408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133953" y="-240"/>
                    </a:moveTo>
                    <a:cubicBezTo>
                      <a:pt x="58219" y="-240"/>
                      <a:pt x="-3207" y="61169"/>
                      <a:pt x="-3207" y="136920"/>
                    </a:cubicBezTo>
                    <a:cubicBezTo>
                      <a:pt x="-3207" y="212671"/>
                      <a:pt x="58219" y="274080"/>
                      <a:pt x="133953" y="27408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Полилиния: фигура 132">
                <a:extLst>
                  <a:ext uri="{FF2B5EF4-FFF2-40B4-BE49-F238E27FC236}">
                    <a16:creationId xmlns:a16="http://schemas.microsoft.com/office/drawing/2014/main" id="{3A232097-AB6A-7375-0DA6-83BC51B54CD8}"/>
                  </a:ext>
                </a:extLst>
              </p:cNvPr>
              <p:cNvSpPr/>
              <p:nvPr userDrawn="1"/>
            </p:nvSpPr>
            <p:spPr>
              <a:xfrm>
                <a:off x="7431641" y="1321766"/>
                <a:ext cx="137160" cy="274320"/>
              </a:xfrm>
              <a:custGeom>
                <a:avLst/>
                <a:gdLst>
                  <a:gd name="connsiteX0" fmla="*/ -3207 w 137160"/>
                  <a:gd name="connsiteY0" fmla="*/ 274080 h 274320"/>
                  <a:gd name="connsiteX1" fmla="*/ 133953 w 137160"/>
                  <a:gd name="connsiteY1" fmla="*/ 136920 h 274320"/>
                  <a:gd name="connsiteX2" fmla="*/ -3207 w 137160"/>
                  <a:gd name="connsiteY2" fmla="*/ -24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-3207" y="274080"/>
                    </a:moveTo>
                    <a:cubicBezTo>
                      <a:pt x="72525" y="274080"/>
                      <a:pt x="133953" y="212671"/>
                      <a:pt x="133953" y="136920"/>
                    </a:cubicBezTo>
                    <a:cubicBezTo>
                      <a:pt x="133953" y="61169"/>
                      <a:pt x="72525" y="-240"/>
                      <a:pt x="-3207" y="-2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7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Заголовок 33">
            <a:extLst>
              <a:ext uri="{FF2B5EF4-FFF2-40B4-BE49-F238E27FC236}">
                <a16:creationId xmlns:a16="http://schemas.microsoft.com/office/drawing/2014/main" id="{DFE19F94-644B-42C1-AD3F-8528C51CFA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ru-RU" dirty="0"/>
              <a:t>На страже стандартов качества</a:t>
            </a:r>
            <a:endParaRPr lang="ru-RU" dirty="0">
              <a:solidFill>
                <a:schemeClr val="tx2"/>
              </a:solidFill>
            </a:endParaRP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C8C12EE-F6E3-DC38-EC5D-561226AB2A87}"/>
              </a:ext>
            </a:extLst>
          </p:cNvPr>
          <p:cNvGrpSpPr/>
          <p:nvPr/>
        </p:nvGrpSpPr>
        <p:grpSpPr>
          <a:xfrm>
            <a:off x="0" y="4895068"/>
            <a:ext cx="5700035" cy="1962956"/>
            <a:chOff x="0" y="4895068"/>
            <a:chExt cx="5700035" cy="1962956"/>
          </a:xfrm>
        </p:grpSpPr>
        <p:sp>
          <p:nvSpPr>
            <p:cNvPr id="125" name="Полилиния: фигура 7">
              <a:extLst>
                <a:ext uri="{FF2B5EF4-FFF2-40B4-BE49-F238E27FC236}">
                  <a16:creationId xmlns:a16="http://schemas.microsoft.com/office/drawing/2014/main" id="{3789CB51-94F1-F8FA-A79F-06A57F1C8DF4}"/>
                </a:ext>
              </a:extLst>
            </p:cNvPr>
            <p:cNvSpPr/>
            <p:nvPr userDrawn="1"/>
          </p:nvSpPr>
          <p:spPr>
            <a:xfrm rot="16200000">
              <a:off x="979714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Полилиния: фигура 8">
              <a:extLst>
                <a:ext uri="{FF2B5EF4-FFF2-40B4-BE49-F238E27FC236}">
                  <a16:creationId xmlns:a16="http://schemas.microsoft.com/office/drawing/2014/main" id="{A6ACED56-6CF8-39E8-A8FB-2A87C0231D3C}"/>
                </a:ext>
              </a:extLst>
            </p:cNvPr>
            <p:cNvSpPr/>
            <p:nvPr userDrawn="1"/>
          </p:nvSpPr>
          <p:spPr>
            <a:xfrm>
              <a:off x="1224642" y="6123239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Полилиния: фигура 11">
              <a:extLst>
                <a:ext uri="{FF2B5EF4-FFF2-40B4-BE49-F238E27FC236}">
                  <a16:creationId xmlns:a16="http://schemas.microsoft.com/office/drawing/2014/main" id="{5DB7683A-9BD5-4464-68F8-5EDE8AF6796A}"/>
                </a:ext>
              </a:extLst>
            </p:cNvPr>
            <p:cNvSpPr/>
            <p:nvPr userDrawn="1"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Полилиния: фигура 12">
              <a:extLst>
                <a:ext uri="{FF2B5EF4-FFF2-40B4-BE49-F238E27FC236}">
                  <a16:creationId xmlns:a16="http://schemas.microsoft.com/office/drawing/2014/main" id="{F57E5213-5C20-6A07-918A-83451D3052F3}"/>
                </a:ext>
              </a:extLst>
            </p:cNvPr>
            <p:cNvSpPr/>
            <p:nvPr userDrawn="1"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Полилиния: фигура 13">
              <a:extLst>
                <a:ext uri="{FF2B5EF4-FFF2-40B4-BE49-F238E27FC236}">
                  <a16:creationId xmlns:a16="http://schemas.microsoft.com/office/drawing/2014/main" id="{EEC48DA5-7A77-6D8F-679C-6B23C76D5E64}"/>
                </a:ext>
              </a:extLst>
            </p:cNvPr>
            <p:cNvSpPr/>
            <p:nvPr userDrawn="1"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Полилиния: фигура 14">
              <a:extLst>
                <a:ext uri="{FF2B5EF4-FFF2-40B4-BE49-F238E27FC236}">
                  <a16:creationId xmlns:a16="http://schemas.microsoft.com/office/drawing/2014/main" id="{1613629D-47BB-7796-0553-499C6821CA59}"/>
                </a:ext>
              </a:extLst>
            </p:cNvPr>
            <p:cNvSpPr/>
            <p:nvPr userDrawn="1"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Полилиния: фигура 15">
              <a:extLst>
                <a:ext uri="{FF2B5EF4-FFF2-40B4-BE49-F238E27FC236}">
                  <a16:creationId xmlns:a16="http://schemas.microsoft.com/office/drawing/2014/main" id="{C85BD5F8-F7C8-28E1-BFDB-DDC8307360F7}"/>
                </a:ext>
              </a:extLst>
            </p:cNvPr>
            <p:cNvSpPr/>
            <p:nvPr userDrawn="1"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17">
              <a:extLst>
                <a:ext uri="{FF2B5EF4-FFF2-40B4-BE49-F238E27FC236}">
                  <a16:creationId xmlns:a16="http://schemas.microsoft.com/office/drawing/2014/main" id="{0355DC7A-A024-569E-0B8D-DDEEE1CADB03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Полилиния: фигура 18">
              <a:extLst>
                <a:ext uri="{FF2B5EF4-FFF2-40B4-BE49-F238E27FC236}">
                  <a16:creationId xmlns:a16="http://schemas.microsoft.com/office/drawing/2014/main" id="{26A08EE6-873F-5FF3-69E5-49E927186F08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Полилиния: фигура 19">
              <a:extLst>
                <a:ext uri="{FF2B5EF4-FFF2-40B4-BE49-F238E27FC236}">
                  <a16:creationId xmlns:a16="http://schemas.microsoft.com/office/drawing/2014/main" id="{18ED321C-6A84-4D58-AD6B-4E8876929C0F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Полилиния: фигура 21">
              <a:extLst>
                <a:ext uri="{FF2B5EF4-FFF2-40B4-BE49-F238E27FC236}">
                  <a16:creationId xmlns:a16="http://schemas.microsoft.com/office/drawing/2014/main" id="{1D4D272C-D9B3-B449-31B4-629820975AD7}"/>
                </a:ext>
              </a:extLst>
            </p:cNvPr>
            <p:cNvSpPr/>
            <p:nvPr/>
          </p:nvSpPr>
          <p:spPr>
            <a:xfrm>
              <a:off x="1959428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Полилиния: фигура 22">
              <a:extLst>
                <a:ext uri="{FF2B5EF4-FFF2-40B4-BE49-F238E27FC236}">
                  <a16:creationId xmlns:a16="http://schemas.microsoft.com/office/drawing/2014/main" id="{4553FED2-7C22-3A82-5723-3CB1B665DA29}"/>
                </a:ext>
              </a:extLst>
            </p:cNvPr>
            <p:cNvSpPr/>
            <p:nvPr/>
          </p:nvSpPr>
          <p:spPr>
            <a:xfrm>
              <a:off x="1959428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Полилиния: фигура 23">
              <a:extLst>
                <a:ext uri="{FF2B5EF4-FFF2-40B4-BE49-F238E27FC236}">
                  <a16:creationId xmlns:a16="http://schemas.microsoft.com/office/drawing/2014/main" id="{92BE6DE7-1F2A-EC43-8771-8E2CCF1F4233}"/>
                </a:ext>
              </a:extLst>
            </p:cNvPr>
            <p:cNvSpPr/>
            <p:nvPr/>
          </p:nvSpPr>
          <p:spPr>
            <a:xfrm>
              <a:off x="2449285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Полилиния: фигура 24">
              <a:extLst>
                <a:ext uri="{FF2B5EF4-FFF2-40B4-BE49-F238E27FC236}">
                  <a16:creationId xmlns:a16="http://schemas.microsoft.com/office/drawing/2014/main" id="{EEED14F5-BCFF-9854-C273-6F2CDA8A487B}"/>
                </a:ext>
              </a:extLst>
            </p:cNvPr>
            <p:cNvSpPr/>
            <p:nvPr/>
          </p:nvSpPr>
          <p:spPr>
            <a:xfrm>
              <a:off x="2449285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Полилиния: фигура 26">
              <a:extLst>
                <a:ext uri="{FF2B5EF4-FFF2-40B4-BE49-F238E27FC236}">
                  <a16:creationId xmlns:a16="http://schemas.microsoft.com/office/drawing/2014/main" id="{99B323CD-8E61-4B69-EA1D-5DCA632F6E66}"/>
                </a:ext>
              </a:extLst>
            </p:cNvPr>
            <p:cNvSpPr/>
            <p:nvPr/>
          </p:nvSpPr>
          <p:spPr>
            <a:xfrm>
              <a:off x="3268046" y="6171445"/>
              <a:ext cx="432445" cy="432445"/>
            </a:xfrm>
            <a:custGeom>
              <a:avLst/>
              <a:gdLst>
                <a:gd name="connsiteX0" fmla="*/ 432446 w 432445"/>
                <a:gd name="connsiteY0" fmla="*/ 216223 h 432445"/>
                <a:gd name="connsiteX1" fmla="*/ 216223 w 432445"/>
                <a:gd name="connsiteY1" fmla="*/ 432446 h 432445"/>
                <a:gd name="connsiteX2" fmla="*/ 0 w 432445"/>
                <a:gd name="connsiteY2" fmla="*/ 216223 h 432445"/>
                <a:gd name="connsiteX3" fmla="*/ 216223 w 432445"/>
                <a:gd name="connsiteY3" fmla="*/ 0 h 432445"/>
                <a:gd name="connsiteX4" fmla="*/ 432446 w 432445"/>
                <a:gd name="connsiteY4" fmla="*/ 216223 h 4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445" h="432445">
                  <a:moveTo>
                    <a:pt x="432446" y="216223"/>
                  </a:moveTo>
                  <a:cubicBezTo>
                    <a:pt x="432446" y="335639"/>
                    <a:pt x="335640" y="432446"/>
                    <a:pt x="216223" y="432446"/>
                  </a:cubicBezTo>
                  <a:cubicBezTo>
                    <a:pt x="96806" y="432446"/>
                    <a:pt x="0" y="335639"/>
                    <a:pt x="0" y="216223"/>
                  </a:cubicBezTo>
                  <a:cubicBezTo>
                    <a:pt x="0" y="96806"/>
                    <a:pt x="96806" y="0"/>
                    <a:pt x="216223" y="0"/>
                  </a:cubicBezTo>
                  <a:cubicBezTo>
                    <a:pt x="335640" y="0"/>
                    <a:pt x="432446" y="96806"/>
                    <a:pt x="432446" y="216223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Полилиния: фигура 27">
              <a:extLst>
                <a:ext uri="{FF2B5EF4-FFF2-40B4-BE49-F238E27FC236}">
                  <a16:creationId xmlns:a16="http://schemas.microsoft.com/office/drawing/2014/main" id="{436C948C-C636-AD72-AEAA-7147655F72E7}"/>
                </a:ext>
              </a:extLst>
            </p:cNvPr>
            <p:cNvSpPr/>
            <p:nvPr/>
          </p:nvSpPr>
          <p:spPr>
            <a:xfrm>
              <a:off x="3484268" y="6011751"/>
              <a:ext cx="159988" cy="159987"/>
            </a:xfrm>
            <a:custGeom>
              <a:avLst/>
              <a:gdLst>
                <a:gd name="connsiteX0" fmla="*/ -3207 w 159988"/>
                <a:gd name="connsiteY0" fmla="*/ 159748 h 159987"/>
                <a:gd name="connsiteX1" fmla="*/ 156781 w 159988"/>
                <a:gd name="connsiteY1" fmla="*/ -240 h 159987"/>
                <a:gd name="connsiteX2" fmla="*/ -3207 w 159988"/>
                <a:gd name="connsiteY2" fmla="*/ 159748 h 15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88" h="159987">
                  <a:moveTo>
                    <a:pt x="-3207" y="159748"/>
                  </a:moveTo>
                  <a:cubicBezTo>
                    <a:pt x="85163" y="159748"/>
                    <a:pt x="156781" y="88121"/>
                    <a:pt x="156781" y="-240"/>
                  </a:cubicBezTo>
                  <a:cubicBezTo>
                    <a:pt x="68410" y="-240"/>
                    <a:pt x="-3207" y="71387"/>
                    <a:pt x="-3207" y="159748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4" name="Группа 48">
              <a:extLst>
                <a:ext uri="{FF2B5EF4-FFF2-40B4-BE49-F238E27FC236}">
                  <a16:creationId xmlns:a16="http://schemas.microsoft.com/office/drawing/2014/main" id="{A344F5CA-3BFA-949C-3A3C-50FC4802C112}"/>
                </a:ext>
              </a:extLst>
            </p:cNvPr>
            <p:cNvGrpSpPr/>
            <p:nvPr/>
          </p:nvGrpSpPr>
          <p:grpSpPr>
            <a:xfrm>
              <a:off x="5094572" y="6068734"/>
              <a:ext cx="605463" cy="605463"/>
              <a:chOff x="5094572" y="6068734"/>
              <a:chExt cx="605463" cy="605463"/>
            </a:xfrm>
          </p:grpSpPr>
          <p:sp>
            <p:nvSpPr>
              <p:cNvPr id="159" name="Полилиния: фигура 49">
                <a:extLst>
                  <a:ext uri="{FF2B5EF4-FFF2-40B4-BE49-F238E27FC236}">
                    <a16:creationId xmlns:a16="http://schemas.microsoft.com/office/drawing/2014/main" id="{D0C567A5-1393-2D50-08F3-F4763D871D24}"/>
                  </a:ext>
                </a:extLst>
              </p:cNvPr>
              <p:cNvSpPr/>
              <p:nvPr userDrawn="1"/>
            </p:nvSpPr>
            <p:spPr>
              <a:xfrm>
                <a:off x="5226343" y="6200506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2" y="341920"/>
                      <a:pt x="0" y="265379"/>
                      <a:pt x="0" y="170960"/>
                    </a:cubicBezTo>
                    <a:cubicBezTo>
                      <a:pt x="0" y="76541"/>
                      <a:pt x="76542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Полилиния: фигура 50">
                <a:extLst>
                  <a:ext uri="{FF2B5EF4-FFF2-40B4-BE49-F238E27FC236}">
                    <a16:creationId xmlns:a16="http://schemas.microsoft.com/office/drawing/2014/main" id="{A1867F93-FB8B-B633-D8E3-07D0B8ADBE26}"/>
                  </a:ext>
                </a:extLst>
              </p:cNvPr>
              <p:cNvSpPr/>
              <p:nvPr userDrawn="1"/>
            </p:nvSpPr>
            <p:spPr>
              <a:xfrm>
                <a:off x="5094572" y="6068734"/>
                <a:ext cx="605463" cy="605463"/>
              </a:xfrm>
              <a:custGeom>
                <a:avLst/>
                <a:gdLst>
                  <a:gd name="connsiteX0" fmla="*/ 299524 w 605463"/>
                  <a:gd name="connsiteY0" fmla="*/ -240 h 605463"/>
                  <a:gd name="connsiteX1" fmla="*/ 270132 w 605463"/>
                  <a:gd name="connsiteY1" fmla="*/ 29151 h 605463"/>
                  <a:gd name="connsiteX2" fmla="*/ 270132 w 605463"/>
                  <a:gd name="connsiteY2" fmla="*/ 72847 h 605463"/>
                  <a:gd name="connsiteX3" fmla="*/ 299524 w 605463"/>
                  <a:gd name="connsiteY3" fmla="*/ 102238 h 605463"/>
                  <a:gd name="connsiteX4" fmla="*/ 328915 w 605463"/>
                  <a:gd name="connsiteY4" fmla="*/ 72847 h 605463"/>
                  <a:gd name="connsiteX5" fmla="*/ 328915 w 605463"/>
                  <a:gd name="connsiteY5" fmla="*/ 29151 h 605463"/>
                  <a:gd name="connsiteX6" fmla="*/ 299524 w 605463"/>
                  <a:gd name="connsiteY6" fmla="*/ -240 h 605463"/>
                  <a:gd name="connsiteX7" fmla="*/ 299524 w 605463"/>
                  <a:gd name="connsiteY7" fmla="*/ 502745 h 605463"/>
                  <a:gd name="connsiteX8" fmla="*/ 270132 w 605463"/>
                  <a:gd name="connsiteY8" fmla="*/ 532137 h 605463"/>
                  <a:gd name="connsiteX9" fmla="*/ 270132 w 605463"/>
                  <a:gd name="connsiteY9" fmla="*/ 575832 h 605463"/>
                  <a:gd name="connsiteX10" fmla="*/ 299524 w 605463"/>
                  <a:gd name="connsiteY10" fmla="*/ 605223 h 605463"/>
                  <a:gd name="connsiteX11" fmla="*/ 328915 w 605463"/>
                  <a:gd name="connsiteY11" fmla="*/ 575832 h 605463"/>
                  <a:gd name="connsiteX12" fmla="*/ 328915 w 605463"/>
                  <a:gd name="connsiteY12" fmla="*/ 532137 h 605463"/>
                  <a:gd name="connsiteX13" fmla="*/ 299524 w 605463"/>
                  <a:gd name="connsiteY13" fmla="*/ 502745 h 605463"/>
                  <a:gd name="connsiteX14" fmla="*/ 99271 w 605463"/>
                  <a:gd name="connsiteY14" fmla="*/ 302492 h 605463"/>
                  <a:gd name="connsiteX15" fmla="*/ 69879 w 605463"/>
                  <a:gd name="connsiteY15" fmla="*/ 273100 h 605463"/>
                  <a:gd name="connsiteX16" fmla="*/ 26184 w 605463"/>
                  <a:gd name="connsiteY16" fmla="*/ 273100 h 605463"/>
                  <a:gd name="connsiteX17" fmla="*/ -3207 w 605463"/>
                  <a:gd name="connsiteY17" fmla="*/ 302492 h 605463"/>
                  <a:gd name="connsiteX18" fmla="*/ 26184 w 605463"/>
                  <a:gd name="connsiteY18" fmla="*/ 331883 h 605463"/>
                  <a:gd name="connsiteX19" fmla="*/ 69879 w 605463"/>
                  <a:gd name="connsiteY19" fmla="*/ 331883 h 605463"/>
                  <a:gd name="connsiteX20" fmla="*/ 99271 w 605463"/>
                  <a:gd name="connsiteY20" fmla="*/ 302492 h 605463"/>
                  <a:gd name="connsiteX21" fmla="*/ 572865 w 605463"/>
                  <a:gd name="connsiteY21" fmla="*/ 273100 h 605463"/>
                  <a:gd name="connsiteX22" fmla="*/ 529168 w 605463"/>
                  <a:gd name="connsiteY22" fmla="*/ 273100 h 605463"/>
                  <a:gd name="connsiteX23" fmla="*/ 499777 w 605463"/>
                  <a:gd name="connsiteY23" fmla="*/ 302492 h 605463"/>
                  <a:gd name="connsiteX24" fmla="*/ 529168 w 605463"/>
                  <a:gd name="connsiteY24" fmla="*/ 331883 h 605463"/>
                  <a:gd name="connsiteX25" fmla="*/ 572865 w 605463"/>
                  <a:gd name="connsiteY25" fmla="*/ 331883 h 605463"/>
                  <a:gd name="connsiteX26" fmla="*/ 602257 w 605463"/>
                  <a:gd name="connsiteY26" fmla="*/ 302492 h 605463"/>
                  <a:gd name="connsiteX27" fmla="*/ 572865 w 605463"/>
                  <a:gd name="connsiteY27" fmla="*/ 273100 h 605463"/>
                  <a:gd name="connsiteX28" fmla="*/ 126997 w 605463"/>
                  <a:gd name="connsiteY28" fmla="*/ 88424 h 605463"/>
                  <a:gd name="connsiteX29" fmla="*/ 85457 w 605463"/>
                  <a:gd name="connsiteY29" fmla="*/ 86955 h 605463"/>
                  <a:gd name="connsiteX30" fmla="*/ 83986 w 605463"/>
                  <a:gd name="connsiteY30" fmla="*/ 128494 h 605463"/>
                  <a:gd name="connsiteX31" fmla="*/ 85457 w 605463"/>
                  <a:gd name="connsiteY31" fmla="*/ 129964 h 605463"/>
                  <a:gd name="connsiteX32" fmla="*/ 116317 w 605463"/>
                  <a:gd name="connsiteY32" fmla="*/ 160923 h 605463"/>
                  <a:gd name="connsiteX33" fmla="*/ 157955 w 605463"/>
                  <a:gd name="connsiteY33" fmla="*/ 160923 h 605463"/>
                  <a:gd name="connsiteX34" fmla="*/ 157955 w 605463"/>
                  <a:gd name="connsiteY34" fmla="*/ 119285 h 605463"/>
                  <a:gd name="connsiteX35" fmla="*/ 482730 w 605463"/>
                  <a:gd name="connsiteY35" fmla="*/ 444061 h 605463"/>
                  <a:gd name="connsiteX36" fmla="*/ 441092 w 605463"/>
                  <a:gd name="connsiteY36" fmla="*/ 444061 h 605463"/>
                  <a:gd name="connsiteX37" fmla="*/ 441092 w 605463"/>
                  <a:gd name="connsiteY37" fmla="*/ 485698 h 605463"/>
                  <a:gd name="connsiteX38" fmla="*/ 472052 w 605463"/>
                  <a:gd name="connsiteY38" fmla="*/ 516559 h 605463"/>
                  <a:gd name="connsiteX39" fmla="*/ 513592 w 605463"/>
                  <a:gd name="connsiteY39" fmla="*/ 516559 h 605463"/>
                  <a:gd name="connsiteX40" fmla="*/ 513592 w 605463"/>
                  <a:gd name="connsiteY40" fmla="*/ 475019 h 605463"/>
                  <a:gd name="connsiteX41" fmla="*/ 116317 w 605463"/>
                  <a:gd name="connsiteY41" fmla="*/ 444061 h 605463"/>
                  <a:gd name="connsiteX42" fmla="*/ 85457 w 605463"/>
                  <a:gd name="connsiteY42" fmla="*/ 475019 h 605463"/>
                  <a:gd name="connsiteX43" fmla="*/ 85457 w 605463"/>
                  <a:gd name="connsiteY43" fmla="*/ 516589 h 605463"/>
                  <a:gd name="connsiteX44" fmla="*/ 106226 w 605463"/>
                  <a:gd name="connsiteY44" fmla="*/ 525181 h 605463"/>
                  <a:gd name="connsiteX45" fmla="*/ 126997 w 605463"/>
                  <a:gd name="connsiteY45" fmla="*/ 516559 h 605463"/>
                  <a:gd name="connsiteX46" fmla="*/ 157955 w 605463"/>
                  <a:gd name="connsiteY46" fmla="*/ 485698 h 605463"/>
                  <a:gd name="connsiteX47" fmla="*/ 157955 w 605463"/>
                  <a:gd name="connsiteY47" fmla="*/ 444061 h 605463"/>
                  <a:gd name="connsiteX48" fmla="*/ 116317 w 605463"/>
                  <a:gd name="connsiteY48" fmla="*/ 444061 h 605463"/>
                  <a:gd name="connsiteX49" fmla="*/ 461961 w 605463"/>
                  <a:gd name="connsiteY49" fmla="*/ 169740 h 605463"/>
                  <a:gd name="connsiteX50" fmla="*/ 482730 w 605463"/>
                  <a:gd name="connsiteY50" fmla="*/ 161217 h 605463"/>
                  <a:gd name="connsiteX51" fmla="*/ 513592 w 605463"/>
                  <a:gd name="connsiteY51" fmla="*/ 130258 h 605463"/>
                  <a:gd name="connsiteX52" fmla="*/ 512121 w 605463"/>
                  <a:gd name="connsiteY52" fmla="*/ 88718 h 605463"/>
                  <a:gd name="connsiteX53" fmla="*/ 472052 w 605463"/>
                  <a:gd name="connsiteY53" fmla="*/ 88718 h 605463"/>
                  <a:gd name="connsiteX54" fmla="*/ 441092 w 605463"/>
                  <a:gd name="connsiteY54" fmla="*/ 119579 h 605463"/>
                  <a:gd name="connsiteX55" fmla="*/ 441092 w 605463"/>
                  <a:gd name="connsiteY55" fmla="*/ 161148 h 605463"/>
                  <a:gd name="connsiteX56" fmla="*/ 461961 w 605463"/>
                  <a:gd name="connsiteY56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5463" h="605463">
                    <a:moveTo>
                      <a:pt x="299524" y="-240"/>
                    </a:moveTo>
                    <a:cubicBezTo>
                      <a:pt x="283261" y="-240"/>
                      <a:pt x="270132" y="12917"/>
                      <a:pt x="270132" y="29151"/>
                    </a:cubicBezTo>
                    <a:lnTo>
                      <a:pt x="270132" y="72847"/>
                    </a:lnTo>
                    <a:cubicBezTo>
                      <a:pt x="270132" y="89081"/>
                      <a:pt x="283261" y="102238"/>
                      <a:pt x="299524" y="102238"/>
                    </a:cubicBezTo>
                    <a:cubicBezTo>
                      <a:pt x="315786" y="102238"/>
                      <a:pt x="328915" y="89081"/>
                      <a:pt x="328915" y="72847"/>
                    </a:cubicBezTo>
                    <a:lnTo>
                      <a:pt x="328915" y="29151"/>
                    </a:lnTo>
                    <a:cubicBezTo>
                      <a:pt x="328915" y="12917"/>
                      <a:pt x="315786" y="-240"/>
                      <a:pt x="299524" y="-240"/>
                    </a:cubicBezTo>
                    <a:close/>
                    <a:moveTo>
                      <a:pt x="299524" y="502745"/>
                    </a:moveTo>
                    <a:cubicBezTo>
                      <a:pt x="283261" y="502745"/>
                      <a:pt x="270132" y="515903"/>
                      <a:pt x="270132" y="532137"/>
                    </a:cubicBezTo>
                    <a:lnTo>
                      <a:pt x="270132" y="575832"/>
                    </a:lnTo>
                    <a:cubicBezTo>
                      <a:pt x="270132" y="592066"/>
                      <a:pt x="283261" y="605223"/>
                      <a:pt x="299524" y="605223"/>
                    </a:cubicBezTo>
                    <a:cubicBezTo>
                      <a:pt x="315786" y="605223"/>
                      <a:pt x="328915" y="592066"/>
                      <a:pt x="328915" y="575832"/>
                    </a:cubicBezTo>
                    <a:lnTo>
                      <a:pt x="328915" y="532137"/>
                    </a:lnTo>
                    <a:cubicBezTo>
                      <a:pt x="328915" y="515903"/>
                      <a:pt x="315786" y="502745"/>
                      <a:pt x="299524" y="502745"/>
                    </a:cubicBezTo>
                    <a:close/>
                    <a:moveTo>
                      <a:pt x="99271" y="302492"/>
                    </a:moveTo>
                    <a:cubicBezTo>
                      <a:pt x="99271" y="286258"/>
                      <a:pt x="86141" y="273100"/>
                      <a:pt x="69879" y="273100"/>
                    </a:cubicBezTo>
                    <a:lnTo>
                      <a:pt x="26184" y="273100"/>
                    </a:lnTo>
                    <a:cubicBezTo>
                      <a:pt x="9919" y="273100"/>
                      <a:pt x="-3207" y="286258"/>
                      <a:pt x="-3207" y="302492"/>
                    </a:cubicBezTo>
                    <a:cubicBezTo>
                      <a:pt x="-3207" y="318726"/>
                      <a:pt x="9919" y="331883"/>
                      <a:pt x="26184" y="331883"/>
                    </a:cubicBezTo>
                    <a:lnTo>
                      <a:pt x="69879" y="331883"/>
                    </a:lnTo>
                    <a:cubicBezTo>
                      <a:pt x="86141" y="331883"/>
                      <a:pt x="99271" y="318726"/>
                      <a:pt x="99271" y="302492"/>
                    </a:cubicBezTo>
                    <a:close/>
                    <a:moveTo>
                      <a:pt x="572865" y="273100"/>
                    </a:moveTo>
                    <a:lnTo>
                      <a:pt x="529168" y="273100"/>
                    </a:lnTo>
                    <a:cubicBezTo>
                      <a:pt x="512906" y="273100"/>
                      <a:pt x="499777" y="286258"/>
                      <a:pt x="499777" y="302492"/>
                    </a:cubicBezTo>
                    <a:cubicBezTo>
                      <a:pt x="499777" y="318726"/>
                      <a:pt x="512906" y="331883"/>
                      <a:pt x="529168" y="331883"/>
                    </a:cubicBezTo>
                    <a:lnTo>
                      <a:pt x="572865" y="331883"/>
                    </a:lnTo>
                    <a:cubicBezTo>
                      <a:pt x="589128" y="331883"/>
                      <a:pt x="602257" y="318726"/>
                      <a:pt x="602257" y="302492"/>
                    </a:cubicBezTo>
                    <a:cubicBezTo>
                      <a:pt x="602257" y="286258"/>
                      <a:pt x="589128" y="273100"/>
                      <a:pt x="572865" y="273100"/>
                    </a:cubicBezTo>
                    <a:close/>
                    <a:moveTo>
                      <a:pt x="126997" y="88424"/>
                    </a:moveTo>
                    <a:cubicBezTo>
                      <a:pt x="115925" y="76550"/>
                      <a:pt x="97312" y="75894"/>
                      <a:pt x="85457" y="86955"/>
                    </a:cubicBezTo>
                    <a:cubicBezTo>
                      <a:pt x="73601" y="98025"/>
                      <a:pt x="72917" y="116620"/>
                      <a:pt x="83986" y="128494"/>
                    </a:cubicBezTo>
                    <a:cubicBezTo>
                      <a:pt x="84477" y="129004"/>
                      <a:pt x="84967" y="129494"/>
                      <a:pt x="85457" y="129964"/>
                    </a:cubicBezTo>
                    <a:lnTo>
                      <a:pt x="116317" y="160923"/>
                    </a:lnTo>
                    <a:cubicBezTo>
                      <a:pt x="127779" y="172425"/>
                      <a:pt x="146493" y="172425"/>
                      <a:pt x="157955" y="160923"/>
                    </a:cubicBezTo>
                    <a:cubicBezTo>
                      <a:pt x="169417" y="149421"/>
                      <a:pt x="169417" y="130787"/>
                      <a:pt x="157955" y="119285"/>
                    </a:cubicBezTo>
                    <a:close/>
                    <a:moveTo>
                      <a:pt x="482730" y="444061"/>
                    </a:moveTo>
                    <a:cubicBezTo>
                      <a:pt x="471268" y="432559"/>
                      <a:pt x="452556" y="432559"/>
                      <a:pt x="441092" y="444061"/>
                    </a:cubicBezTo>
                    <a:cubicBezTo>
                      <a:pt x="429630" y="455562"/>
                      <a:pt x="429630" y="474196"/>
                      <a:pt x="441092" y="485698"/>
                    </a:cubicBezTo>
                    <a:lnTo>
                      <a:pt x="472052" y="516559"/>
                    </a:lnTo>
                    <a:cubicBezTo>
                      <a:pt x="483514" y="528022"/>
                      <a:pt x="502128" y="528022"/>
                      <a:pt x="513592" y="516559"/>
                    </a:cubicBezTo>
                    <a:cubicBezTo>
                      <a:pt x="525054" y="505087"/>
                      <a:pt x="525054" y="486492"/>
                      <a:pt x="513592" y="475019"/>
                    </a:cubicBezTo>
                    <a:close/>
                    <a:moveTo>
                      <a:pt x="116317" y="444061"/>
                    </a:moveTo>
                    <a:lnTo>
                      <a:pt x="85457" y="475019"/>
                    </a:lnTo>
                    <a:cubicBezTo>
                      <a:pt x="73993" y="486502"/>
                      <a:pt x="73993" y="505116"/>
                      <a:pt x="85457" y="516589"/>
                    </a:cubicBezTo>
                    <a:cubicBezTo>
                      <a:pt x="90942" y="522085"/>
                      <a:pt x="98486" y="525171"/>
                      <a:pt x="106226" y="525181"/>
                    </a:cubicBezTo>
                    <a:cubicBezTo>
                      <a:pt x="114064" y="525171"/>
                      <a:pt x="121510" y="522075"/>
                      <a:pt x="126997" y="516559"/>
                    </a:cubicBezTo>
                    <a:lnTo>
                      <a:pt x="157955" y="485698"/>
                    </a:lnTo>
                    <a:cubicBezTo>
                      <a:pt x="169417" y="474196"/>
                      <a:pt x="169417" y="455562"/>
                      <a:pt x="157955" y="444061"/>
                    </a:cubicBezTo>
                    <a:cubicBezTo>
                      <a:pt x="146493" y="432559"/>
                      <a:pt x="127779" y="432559"/>
                      <a:pt x="116317" y="444061"/>
                    </a:cubicBezTo>
                    <a:close/>
                    <a:moveTo>
                      <a:pt x="461961" y="169740"/>
                    </a:moveTo>
                    <a:cubicBezTo>
                      <a:pt x="469701" y="169760"/>
                      <a:pt x="477245" y="166694"/>
                      <a:pt x="482730" y="161217"/>
                    </a:cubicBezTo>
                    <a:lnTo>
                      <a:pt x="513592" y="130258"/>
                    </a:lnTo>
                    <a:cubicBezTo>
                      <a:pt x="524662" y="118384"/>
                      <a:pt x="523975" y="99789"/>
                      <a:pt x="512121" y="88718"/>
                    </a:cubicBezTo>
                    <a:cubicBezTo>
                      <a:pt x="500855" y="78196"/>
                      <a:pt x="483318" y="78196"/>
                      <a:pt x="472052" y="88718"/>
                    </a:cubicBezTo>
                    <a:lnTo>
                      <a:pt x="441092" y="119579"/>
                    </a:lnTo>
                    <a:cubicBezTo>
                      <a:pt x="429630" y="131061"/>
                      <a:pt x="429630" y="149676"/>
                      <a:pt x="441092" y="161148"/>
                    </a:cubicBezTo>
                    <a:cubicBezTo>
                      <a:pt x="446677" y="166664"/>
                      <a:pt x="454123" y="169760"/>
                      <a:pt x="461961" y="1697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5" name="Полилиния: фигура 52">
              <a:extLst>
                <a:ext uri="{FF2B5EF4-FFF2-40B4-BE49-F238E27FC236}">
                  <a16:creationId xmlns:a16="http://schemas.microsoft.com/office/drawing/2014/main" id="{2BEBA008-9D8E-B612-6D74-7BA0ED06E2B4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Полилиния: фигура 53">
              <a:extLst>
                <a:ext uri="{FF2B5EF4-FFF2-40B4-BE49-F238E27FC236}">
                  <a16:creationId xmlns:a16="http://schemas.microsoft.com/office/drawing/2014/main" id="{EBFCDC05-7D2B-F87E-3430-3371007F1F4F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Полилиния: фигура 54">
              <a:extLst>
                <a:ext uri="{FF2B5EF4-FFF2-40B4-BE49-F238E27FC236}">
                  <a16:creationId xmlns:a16="http://schemas.microsoft.com/office/drawing/2014/main" id="{044E6A5C-147D-9D07-B80F-DC0BF76FAD0D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55">
              <a:extLst>
                <a:ext uri="{FF2B5EF4-FFF2-40B4-BE49-F238E27FC236}">
                  <a16:creationId xmlns:a16="http://schemas.microsoft.com/office/drawing/2014/main" id="{6A1BF84E-F638-1593-8342-EEBE750D39CF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4BF8E173-FACE-ED4C-FDD4-55EC1D155F37}"/>
              </a:ext>
            </a:extLst>
          </p:cNvPr>
          <p:cNvGrpSpPr/>
          <p:nvPr/>
        </p:nvGrpSpPr>
        <p:grpSpPr>
          <a:xfrm>
            <a:off x="6436154" y="-838"/>
            <a:ext cx="5755846" cy="6858838"/>
            <a:chOff x="6436154" y="-838"/>
            <a:chExt cx="5755846" cy="6858838"/>
          </a:xfrm>
        </p:grpSpPr>
        <p:sp>
          <p:nvSpPr>
            <p:cNvPr id="162" name="Полилиния: фигура 29">
              <a:extLst>
                <a:ext uri="{FF2B5EF4-FFF2-40B4-BE49-F238E27FC236}">
                  <a16:creationId xmlns:a16="http://schemas.microsoft.com/office/drawing/2014/main" id="{7AE37D25-279B-FAD5-AEE7-483751C79B9B}"/>
                </a:ext>
              </a:extLst>
            </p:cNvPr>
            <p:cNvSpPr/>
            <p:nvPr/>
          </p:nvSpPr>
          <p:spPr>
            <a:xfrm>
              <a:off x="9306282" y="5879124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Полилиния: фигура 30">
              <a:extLst>
                <a:ext uri="{FF2B5EF4-FFF2-40B4-BE49-F238E27FC236}">
                  <a16:creationId xmlns:a16="http://schemas.microsoft.com/office/drawing/2014/main" id="{AC1D7F98-B9D9-57B7-CC22-7DF1DAED54CF}"/>
                </a:ext>
              </a:extLst>
            </p:cNvPr>
            <p:cNvSpPr/>
            <p:nvPr/>
          </p:nvSpPr>
          <p:spPr>
            <a:xfrm>
              <a:off x="9795720" y="5879124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35">
              <a:extLst>
                <a:ext uri="{FF2B5EF4-FFF2-40B4-BE49-F238E27FC236}">
                  <a16:creationId xmlns:a16="http://schemas.microsoft.com/office/drawing/2014/main" id="{1EC629B3-F129-7CF7-A2BD-42A84E922D3C}"/>
                </a:ext>
              </a:extLst>
            </p:cNvPr>
            <p:cNvSpPr/>
            <p:nvPr/>
          </p:nvSpPr>
          <p:spPr>
            <a:xfrm rot="16200000">
              <a:off x="11213124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noFill/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Полилиния: фигура 32">
              <a:extLst>
                <a:ext uri="{FF2B5EF4-FFF2-40B4-BE49-F238E27FC236}">
                  <a16:creationId xmlns:a16="http://schemas.microsoft.com/office/drawing/2014/main" id="{9399CA00-A682-3BD2-C663-F3FEA23DE7A8}"/>
                </a:ext>
              </a:extLst>
            </p:cNvPr>
            <p:cNvSpPr/>
            <p:nvPr/>
          </p:nvSpPr>
          <p:spPr>
            <a:xfrm rot="5400000">
              <a:off x="10234009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Полилиния: фигура 37">
              <a:extLst>
                <a:ext uri="{FF2B5EF4-FFF2-40B4-BE49-F238E27FC236}">
                  <a16:creationId xmlns:a16="http://schemas.microsoft.com/office/drawing/2014/main" id="{771D2AE4-D7A7-37B7-2A9F-C9F8B9B1DF1A}"/>
                </a:ext>
              </a:extLst>
            </p:cNvPr>
            <p:cNvSpPr/>
            <p:nvPr/>
          </p:nvSpPr>
          <p:spPr>
            <a:xfrm>
              <a:off x="10478966" y="6123843"/>
              <a:ext cx="489438" cy="489438"/>
            </a:xfrm>
            <a:custGeom>
              <a:avLst/>
              <a:gdLst>
                <a:gd name="connsiteX0" fmla="*/ 489438 w 489438"/>
                <a:gd name="connsiteY0" fmla="*/ 244719 h 489438"/>
                <a:gd name="connsiteX1" fmla="*/ 244719 w 489438"/>
                <a:gd name="connsiteY1" fmla="*/ 489438 h 489438"/>
                <a:gd name="connsiteX2" fmla="*/ 0 w 489438"/>
                <a:gd name="connsiteY2" fmla="*/ 244719 h 489438"/>
                <a:gd name="connsiteX3" fmla="*/ 244719 w 489438"/>
                <a:gd name="connsiteY3" fmla="*/ 0 h 489438"/>
                <a:gd name="connsiteX4" fmla="*/ 489438 w 489438"/>
                <a:gd name="connsiteY4" fmla="*/ 244719 h 48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438" h="489438">
                  <a:moveTo>
                    <a:pt x="489438" y="244719"/>
                  </a:moveTo>
                  <a:cubicBezTo>
                    <a:pt x="489438" y="379874"/>
                    <a:pt x="379874" y="489438"/>
                    <a:pt x="244719" y="489438"/>
                  </a:cubicBezTo>
                  <a:cubicBezTo>
                    <a:pt x="109564" y="489438"/>
                    <a:pt x="0" y="379874"/>
                    <a:pt x="0" y="244719"/>
                  </a:cubicBezTo>
                  <a:cubicBezTo>
                    <a:pt x="0" y="109564"/>
                    <a:pt x="109564" y="0"/>
                    <a:pt x="244719" y="0"/>
                  </a:cubicBezTo>
                  <a:cubicBezTo>
                    <a:pt x="379874" y="0"/>
                    <a:pt x="489438" y="109564"/>
                    <a:pt x="489438" y="244719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Полилиния: фигура 36">
              <a:extLst>
                <a:ext uri="{FF2B5EF4-FFF2-40B4-BE49-F238E27FC236}">
                  <a16:creationId xmlns:a16="http://schemas.microsoft.com/office/drawing/2014/main" id="{97BFECD6-3F78-D810-D06D-4DB788A24550}"/>
                </a:ext>
              </a:extLst>
            </p:cNvPr>
            <p:cNvSpPr/>
            <p:nvPr/>
          </p:nvSpPr>
          <p:spPr>
            <a:xfrm rot="5400000">
              <a:off x="10234247" y="4900247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38">
              <a:extLst>
                <a:ext uri="{FF2B5EF4-FFF2-40B4-BE49-F238E27FC236}">
                  <a16:creationId xmlns:a16="http://schemas.microsoft.com/office/drawing/2014/main" id="{541C9ACD-568F-8637-D608-4D98DE612750}"/>
                </a:ext>
              </a:extLst>
            </p:cNvPr>
            <p:cNvSpPr/>
            <p:nvPr/>
          </p:nvSpPr>
          <p:spPr>
            <a:xfrm>
              <a:off x="10234247" y="4900247"/>
              <a:ext cx="978876" cy="978876"/>
            </a:xfrm>
            <a:custGeom>
              <a:avLst/>
              <a:gdLst>
                <a:gd name="connsiteX0" fmla="*/ 978567 w 978876"/>
                <a:gd name="connsiteY0" fmla="*/ -240 h 978876"/>
                <a:gd name="connsiteX1" fmla="*/ -310 w 978876"/>
                <a:gd name="connsiteY1" fmla="*/ 978637 h 978876"/>
                <a:gd name="connsiteX2" fmla="*/ 978567 w 978876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8876" h="978876">
                  <a:moveTo>
                    <a:pt x="978567" y="-240"/>
                  </a:moveTo>
                  <a:cubicBezTo>
                    <a:pt x="437953" y="-240"/>
                    <a:pt x="-310" y="438022"/>
                    <a:pt x="-310" y="978637"/>
                  </a:cubicBezTo>
                  <a:cubicBezTo>
                    <a:pt x="540304" y="978637"/>
                    <a:pt x="978567" y="540374"/>
                    <a:pt x="978567" y="-240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Полилиния: фигура 39">
              <a:extLst>
                <a:ext uri="{FF2B5EF4-FFF2-40B4-BE49-F238E27FC236}">
                  <a16:creationId xmlns:a16="http://schemas.microsoft.com/office/drawing/2014/main" id="{2CEFE2E8-C801-B2DF-C309-266491FD61D3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Полилиния: фигура 40">
              <a:extLst>
                <a:ext uri="{FF2B5EF4-FFF2-40B4-BE49-F238E27FC236}">
                  <a16:creationId xmlns:a16="http://schemas.microsoft.com/office/drawing/2014/main" id="{5A76BE50-F569-D366-7AB1-3FACC18FC8FD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Полилиния: фигура 41">
              <a:extLst>
                <a:ext uri="{FF2B5EF4-FFF2-40B4-BE49-F238E27FC236}">
                  <a16:creationId xmlns:a16="http://schemas.microsoft.com/office/drawing/2014/main" id="{FE22727D-1C1D-4E79-495B-FC295573D98A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Полилиния: фигура 42">
              <a:extLst>
                <a:ext uri="{FF2B5EF4-FFF2-40B4-BE49-F238E27FC236}">
                  <a16:creationId xmlns:a16="http://schemas.microsoft.com/office/drawing/2014/main" id="{77B5FFA8-6C14-166E-0498-93163BC1066B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Полилиния: фигура 43">
              <a:extLst>
                <a:ext uri="{FF2B5EF4-FFF2-40B4-BE49-F238E27FC236}">
                  <a16:creationId xmlns:a16="http://schemas.microsoft.com/office/drawing/2014/main" id="{DFC74432-806C-FE9B-3172-74E47A38D527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2"/>
                </a:solidFill>
              </a:endParaRPr>
            </a:p>
          </p:txBody>
        </p:sp>
        <p:grpSp>
          <p:nvGrpSpPr>
            <p:cNvPr id="174" name="Группа 145">
              <a:extLst>
                <a:ext uri="{FF2B5EF4-FFF2-40B4-BE49-F238E27FC236}">
                  <a16:creationId xmlns:a16="http://schemas.microsoft.com/office/drawing/2014/main" id="{BBD5BFD8-DD3E-902E-5832-1A201C6D220F}"/>
                </a:ext>
              </a:extLst>
            </p:cNvPr>
            <p:cNvGrpSpPr/>
            <p:nvPr/>
          </p:nvGrpSpPr>
          <p:grpSpPr>
            <a:xfrm>
              <a:off x="11482993" y="6055615"/>
              <a:ext cx="204201" cy="625502"/>
              <a:chOff x="11482993" y="6055615"/>
              <a:chExt cx="204201" cy="625502"/>
            </a:xfrm>
          </p:grpSpPr>
          <p:sp>
            <p:nvSpPr>
              <p:cNvPr id="244" name="Полилиния: фигура 44">
                <a:extLst>
                  <a:ext uri="{FF2B5EF4-FFF2-40B4-BE49-F238E27FC236}">
                    <a16:creationId xmlns:a16="http://schemas.microsoft.com/office/drawing/2014/main" id="{BBA50A16-7AD7-629F-F2D8-D5EC976D3A5E}"/>
                  </a:ext>
                </a:extLst>
              </p:cNvPr>
              <p:cNvSpPr/>
              <p:nvPr/>
            </p:nvSpPr>
            <p:spPr>
              <a:xfrm>
                <a:off x="11547704" y="6327156"/>
                <a:ext cx="74786" cy="353961"/>
              </a:xfrm>
              <a:custGeom>
                <a:avLst/>
                <a:gdLst>
                  <a:gd name="connsiteX0" fmla="*/ 37083 w 74786"/>
                  <a:gd name="connsiteY0" fmla="*/ 353722 h 353961"/>
                  <a:gd name="connsiteX1" fmla="*/ 37083 w 74786"/>
                  <a:gd name="connsiteY1" fmla="*/ 353722 h 353961"/>
                  <a:gd name="connsiteX2" fmla="*/ 74476 w 74786"/>
                  <a:gd name="connsiteY2" fmla="*/ 316328 h 353961"/>
                  <a:gd name="connsiteX3" fmla="*/ 74476 w 74786"/>
                  <a:gd name="connsiteY3" fmla="*/ -240 h 353961"/>
                  <a:gd name="connsiteX4" fmla="*/ -310 w 74786"/>
                  <a:gd name="connsiteY4" fmla="*/ -240 h 353961"/>
                  <a:gd name="connsiteX5" fmla="*/ -310 w 74786"/>
                  <a:gd name="connsiteY5" fmla="*/ 316328 h 353961"/>
                  <a:gd name="connsiteX6" fmla="*/ 37083 w 74786"/>
                  <a:gd name="connsiteY6" fmla="*/ 353722 h 353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353961">
                    <a:moveTo>
                      <a:pt x="37083" y="353722"/>
                    </a:moveTo>
                    <a:lnTo>
                      <a:pt x="37083" y="353722"/>
                    </a:lnTo>
                    <a:cubicBezTo>
                      <a:pt x="57737" y="353722"/>
                      <a:pt x="74476" y="336983"/>
                      <a:pt x="74476" y="316328"/>
                    </a:cubicBezTo>
                    <a:lnTo>
                      <a:pt x="74476" y="-240"/>
                    </a:lnTo>
                    <a:lnTo>
                      <a:pt x="-310" y="-240"/>
                    </a:lnTo>
                    <a:lnTo>
                      <a:pt x="-310" y="316328"/>
                    </a:lnTo>
                    <a:cubicBezTo>
                      <a:pt x="-310" y="336983"/>
                      <a:pt x="16429" y="353722"/>
                      <a:pt x="37083" y="353722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Полилиния: фигура 45">
                <a:extLst>
                  <a:ext uri="{FF2B5EF4-FFF2-40B4-BE49-F238E27FC236}">
                    <a16:creationId xmlns:a16="http://schemas.microsoft.com/office/drawing/2014/main" id="{D5720F4F-4224-CC6B-B843-E58AA10355BA}"/>
                  </a:ext>
                </a:extLst>
              </p:cNvPr>
              <p:cNvSpPr/>
              <p:nvPr/>
            </p:nvSpPr>
            <p:spPr>
              <a:xfrm>
                <a:off x="11482993" y="6055615"/>
                <a:ext cx="204201" cy="288885"/>
              </a:xfrm>
              <a:custGeom>
                <a:avLst/>
                <a:gdLst>
                  <a:gd name="connsiteX0" fmla="*/ 162974 w 204201"/>
                  <a:gd name="connsiteY0" fmla="*/ 20512 h 288885"/>
                  <a:gd name="connsiteX1" fmla="*/ 162974 w 204201"/>
                  <a:gd name="connsiteY1" fmla="*/ 165875 h 288885"/>
                  <a:gd name="connsiteX2" fmla="*/ 143984 w 204201"/>
                  <a:gd name="connsiteY2" fmla="*/ 187694 h 288885"/>
                  <a:gd name="connsiteX3" fmla="*/ 122155 w 204201"/>
                  <a:gd name="connsiteY3" fmla="*/ 168704 h 288885"/>
                  <a:gd name="connsiteX4" fmla="*/ 122155 w 204201"/>
                  <a:gd name="connsiteY4" fmla="*/ 165875 h 288885"/>
                  <a:gd name="connsiteX5" fmla="*/ 122155 w 204201"/>
                  <a:gd name="connsiteY5" fmla="*/ 20512 h 288885"/>
                  <a:gd name="connsiteX6" fmla="*/ 101794 w 204201"/>
                  <a:gd name="connsiteY6" fmla="*/ 151 h 288885"/>
                  <a:gd name="connsiteX7" fmla="*/ 101794 w 204201"/>
                  <a:gd name="connsiteY7" fmla="*/ 151 h 288885"/>
                  <a:gd name="connsiteX8" fmla="*/ 81336 w 204201"/>
                  <a:gd name="connsiteY8" fmla="*/ 20512 h 288885"/>
                  <a:gd name="connsiteX9" fmla="*/ 81336 w 204201"/>
                  <a:gd name="connsiteY9" fmla="*/ 165875 h 288885"/>
                  <a:gd name="connsiteX10" fmla="*/ 62336 w 204201"/>
                  <a:gd name="connsiteY10" fmla="*/ 187694 h 288885"/>
                  <a:gd name="connsiteX11" fmla="*/ 40517 w 204201"/>
                  <a:gd name="connsiteY11" fmla="*/ 168704 h 288885"/>
                  <a:gd name="connsiteX12" fmla="*/ 40517 w 204201"/>
                  <a:gd name="connsiteY12" fmla="*/ 165875 h 288885"/>
                  <a:gd name="connsiteX13" fmla="*/ 40517 w 204201"/>
                  <a:gd name="connsiteY13" fmla="*/ 20512 h 288885"/>
                  <a:gd name="connsiteX14" fmla="*/ 18688 w 204201"/>
                  <a:gd name="connsiteY14" fmla="*/ 1522 h 288885"/>
                  <a:gd name="connsiteX15" fmla="*/ -302 w 204201"/>
                  <a:gd name="connsiteY15" fmla="*/ 20512 h 288885"/>
                  <a:gd name="connsiteX16" fmla="*/ -302 w 204201"/>
                  <a:gd name="connsiteY16" fmla="*/ 183201 h 288885"/>
                  <a:gd name="connsiteX17" fmla="*/ 99837 w 204201"/>
                  <a:gd name="connsiteY17" fmla="*/ 288626 h 288885"/>
                  <a:gd name="connsiteX18" fmla="*/ 203871 w 204201"/>
                  <a:gd name="connsiteY18" fmla="*/ 188507 h 288885"/>
                  <a:gd name="connsiteX19" fmla="*/ 203891 w 204201"/>
                  <a:gd name="connsiteY19" fmla="*/ 186627 h 288885"/>
                  <a:gd name="connsiteX20" fmla="*/ 203891 w 204201"/>
                  <a:gd name="connsiteY20" fmla="*/ 20218 h 288885"/>
                  <a:gd name="connsiteX21" fmla="*/ 183433 w 204201"/>
                  <a:gd name="connsiteY21" fmla="*/ -240 h 288885"/>
                  <a:gd name="connsiteX22" fmla="*/ 162974 w 204201"/>
                  <a:gd name="connsiteY22" fmla="*/ 20218 h 28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201" h="288885">
                    <a:moveTo>
                      <a:pt x="162974" y="20512"/>
                    </a:moveTo>
                    <a:lnTo>
                      <a:pt x="162974" y="165875"/>
                    </a:lnTo>
                    <a:cubicBezTo>
                      <a:pt x="163757" y="177142"/>
                      <a:pt x="155251" y="186921"/>
                      <a:pt x="143984" y="187694"/>
                    </a:cubicBezTo>
                    <a:cubicBezTo>
                      <a:pt x="132708" y="188478"/>
                      <a:pt x="122938" y="179971"/>
                      <a:pt x="122155" y="168704"/>
                    </a:cubicBezTo>
                    <a:cubicBezTo>
                      <a:pt x="122087" y="167764"/>
                      <a:pt x="122087" y="166815"/>
                      <a:pt x="122155" y="165875"/>
                    </a:cubicBezTo>
                    <a:lnTo>
                      <a:pt x="122155" y="20512"/>
                    </a:lnTo>
                    <a:cubicBezTo>
                      <a:pt x="122155" y="9264"/>
                      <a:pt x="113042" y="151"/>
                      <a:pt x="101794" y="151"/>
                    </a:cubicBezTo>
                    <a:lnTo>
                      <a:pt x="101794" y="151"/>
                    </a:lnTo>
                    <a:cubicBezTo>
                      <a:pt x="90537" y="151"/>
                      <a:pt x="81395" y="9255"/>
                      <a:pt x="81336" y="20512"/>
                    </a:cubicBezTo>
                    <a:lnTo>
                      <a:pt x="81336" y="165875"/>
                    </a:lnTo>
                    <a:cubicBezTo>
                      <a:pt x="82119" y="177142"/>
                      <a:pt x="73612" y="186921"/>
                      <a:pt x="62336" y="187694"/>
                    </a:cubicBezTo>
                    <a:cubicBezTo>
                      <a:pt x="51069" y="188478"/>
                      <a:pt x="41300" y="179971"/>
                      <a:pt x="40517" y="168704"/>
                    </a:cubicBezTo>
                    <a:cubicBezTo>
                      <a:pt x="40448" y="167764"/>
                      <a:pt x="40448" y="166815"/>
                      <a:pt x="40517" y="165875"/>
                    </a:cubicBezTo>
                    <a:lnTo>
                      <a:pt x="40517" y="20512"/>
                    </a:lnTo>
                    <a:cubicBezTo>
                      <a:pt x="39733" y="9245"/>
                      <a:pt x="29964" y="739"/>
                      <a:pt x="18688" y="1522"/>
                    </a:cubicBezTo>
                    <a:cubicBezTo>
                      <a:pt x="8507" y="2226"/>
                      <a:pt x="403" y="10331"/>
                      <a:pt x="-302" y="20512"/>
                    </a:cubicBezTo>
                    <a:lnTo>
                      <a:pt x="-302" y="183201"/>
                    </a:lnTo>
                    <a:cubicBezTo>
                      <a:pt x="-978" y="239663"/>
                      <a:pt x="43414" y="286404"/>
                      <a:pt x="99837" y="288626"/>
                    </a:cubicBezTo>
                    <a:cubicBezTo>
                      <a:pt x="156210" y="289713"/>
                      <a:pt x="202795" y="244880"/>
                      <a:pt x="203871" y="188507"/>
                    </a:cubicBezTo>
                    <a:cubicBezTo>
                      <a:pt x="203882" y="187880"/>
                      <a:pt x="203891" y="187254"/>
                      <a:pt x="203891" y="186627"/>
                    </a:cubicBezTo>
                    <a:lnTo>
                      <a:pt x="203891" y="20218"/>
                    </a:lnTo>
                    <a:cubicBezTo>
                      <a:pt x="203891" y="8922"/>
                      <a:pt x="194729" y="-240"/>
                      <a:pt x="183433" y="-240"/>
                    </a:cubicBezTo>
                    <a:cubicBezTo>
                      <a:pt x="172136" y="-240"/>
                      <a:pt x="162974" y="8922"/>
                      <a:pt x="162974" y="20218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75" name="Группа 146">
              <a:extLst>
                <a:ext uri="{FF2B5EF4-FFF2-40B4-BE49-F238E27FC236}">
                  <a16:creationId xmlns:a16="http://schemas.microsoft.com/office/drawing/2014/main" id="{3EC56F36-211F-8B4D-FCF9-75345C83DEBB}"/>
                </a:ext>
              </a:extLst>
            </p:cNvPr>
            <p:cNvGrpSpPr/>
            <p:nvPr/>
          </p:nvGrpSpPr>
          <p:grpSpPr>
            <a:xfrm>
              <a:off x="11717931" y="6056007"/>
              <a:ext cx="204193" cy="625110"/>
              <a:chOff x="11717931" y="6056007"/>
              <a:chExt cx="204193" cy="625110"/>
            </a:xfrm>
          </p:grpSpPr>
          <p:sp>
            <p:nvSpPr>
              <p:cNvPr id="242" name="Полилиния: фигура 46">
                <a:extLst>
                  <a:ext uri="{FF2B5EF4-FFF2-40B4-BE49-F238E27FC236}">
                    <a16:creationId xmlns:a16="http://schemas.microsoft.com/office/drawing/2014/main" id="{EE5E528E-80B1-3D17-9DD3-FCB9DE83E1B3}"/>
                  </a:ext>
                </a:extLst>
              </p:cNvPr>
              <p:cNvSpPr/>
              <p:nvPr/>
            </p:nvSpPr>
            <p:spPr>
              <a:xfrm>
                <a:off x="11782635" y="6056007"/>
                <a:ext cx="74786" cy="425224"/>
              </a:xfrm>
              <a:custGeom>
                <a:avLst/>
                <a:gdLst>
                  <a:gd name="connsiteX0" fmla="*/ 37083 w 74786"/>
                  <a:gd name="connsiteY0" fmla="*/ -240 h 425224"/>
                  <a:gd name="connsiteX1" fmla="*/ 37083 w 74786"/>
                  <a:gd name="connsiteY1" fmla="*/ -240 h 425224"/>
                  <a:gd name="connsiteX2" fmla="*/ -310 w 74786"/>
                  <a:gd name="connsiteY2" fmla="*/ 37153 h 425224"/>
                  <a:gd name="connsiteX3" fmla="*/ -310 w 74786"/>
                  <a:gd name="connsiteY3" fmla="*/ 424984 h 425224"/>
                  <a:gd name="connsiteX4" fmla="*/ 74476 w 74786"/>
                  <a:gd name="connsiteY4" fmla="*/ 424984 h 425224"/>
                  <a:gd name="connsiteX5" fmla="*/ 74476 w 74786"/>
                  <a:gd name="connsiteY5" fmla="*/ 37153 h 425224"/>
                  <a:gd name="connsiteX6" fmla="*/ 37083 w 74786"/>
                  <a:gd name="connsiteY6" fmla="*/ -240 h 42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425224">
                    <a:moveTo>
                      <a:pt x="37083" y="-240"/>
                    </a:moveTo>
                    <a:lnTo>
                      <a:pt x="37083" y="-240"/>
                    </a:lnTo>
                    <a:cubicBezTo>
                      <a:pt x="16429" y="-240"/>
                      <a:pt x="-310" y="16499"/>
                      <a:pt x="-310" y="37153"/>
                    </a:cubicBezTo>
                    <a:lnTo>
                      <a:pt x="-310" y="424984"/>
                    </a:lnTo>
                    <a:lnTo>
                      <a:pt x="74476" y="424984"/>
                    </a:lnTo>
                    <a:lnTo>
                      <a:pt x="74476" y="37153"/>
                    </a:lnTo>
                    <a:cubicBezTo>
                      <a:pt x="74476" y="16499"/>
                      <a:pt x="57737" y="-240"/>
                      <a:pt x="37083" y="-240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Полилиния: фигура 47">
                <a:extLst>
                  <a:ext uri="{FF2B5EF4-FFF2-40B4-BE49-F238E27FC236}">
                    <a16:creationId xmlns:a16="http://schemas.microsoft.com/office/drawing/2014/main" id="{9EC87D7A-39AB-4CD3-0F1C-31B70D227BE8}"/>
                  </a:ext>
                </a:extLst>
              </p:cNvPr>
              <p:cNvSpPr/>
              <p:nvPr/>
            </p:nvSpPr>
            <p:spPr>
              <a:xfrm>
                <a:off x="11717931" y="6392545"/>
                <a:ext cx="204193" cy="288572"/>
              </a:xfrm>
              <a:custGeom>
                <a:avLst/>
                <a:gdLst>
                  <a:gd name="connsiteX0" fmla="*/ 101787 w 204193"/>
                  <a:gd name="connsiteY0" fmla="*/ 288333 h 288572"/>
                  <a:gd name="connsiteX1" fmla="*/ 203884 w 204193"/>
                  <a:gd name="connsiteY1" fmla="*/ 186236 h 288572"/>
                  <a:gd name="connsiteX2" fmla="*/ 203884 w 204193"/>
                  <a:gd name="connsiteY2" fmla="*/ 101857 h 288572"/>
                  <a:gd name="connsiteX3" fmla="*/ 101787 w 204193"/>
                  <a:gd name="connsiteY3" fmla="*/ -240 h 288572"/>
                  <a:gd name="connsiteX4" fmla="*/ -310 w 204193"/>
                  <a:gd name="connsiteY4" fmla="*/ 101857 h 288572"/>
                  <a:gd name="connsiteX5" fmla="*/ -310 w 204193"/>
                  <a:gd name="connsiteY5" fmla="*/ 186236 h 288572"/>
                  <a:gd name="connsiteX6" fmla="*/ 101787 w 204193"/>
                  <a:gd name="connsiteY6" fmla="*/ 288333 h 28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193" h="288572">
                    <a:moveTo>
                      <a:pt x="101787" y="288333"/>
                    </a:moveTo>
                    <a:cubicBezTo>
                      <a:pt x="158170" y="288333"/>
                      <a:pt x="203884" y="242619"/>
                      <a:pt x="203884" y="186236"/>
                    </a:cubicBezTo>
                    <a:lnTo>
                      <a:pt x="203884" y="101857"/>
                    </a:lnTo>
                    <a:cubicBezTo>
                      <a:pt x="203884" y="45473"/>
                      <a:pt x="158170" y="-240"/>
                      <a:pt x="101787" y="-240"/>
                    </a:cubicBezTo>
                    <a:cubicBezTo>
                      <a:pt x="45403" y="-240"/>
                      <a:pt x="-310" y="45473"/>
                      <a:pt x="-310" y="101857"/>
                    </a:cubicBezTo>
                    <a:lnTo>
                      <a:pt x="-310" y="186236"/>
                    </a:lnTo>
                    <a:cubicBezTo>
                      <a:pt x="-310" y="242619"/>
                      <a:pt x="45403" y="288333"/>
                      <a:pt x="101787" y="288333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6" name="Полилиния: фигура 56">
              <a:extLst>
                <a:ext uri="{FF2B5EF4-FFF2-40B4-BE49-F238E27FC236}">
                  <a16:creationId xmlns:a16="http://schemas.microsoft.com/office/drawing/2014/main" id="{6E6199AE-034D-751B-0B41-16843783D52E}"/>
                </a:ext>
              </a:extLst>
            </p:cNvPr>
            <p:cNvSpPr/>
            <p:nvPr/>
          </p:nvSpPr>
          <p:spPr>
            <a:xfrm>
              <a:off x="9252833" y="0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Полилиния: фигура 57">
              <a:extLst>
                <a:ext uri="{FF2B5EF4-FFF2-40B4-BE49-F238E27FC236}">
                  <a16:creationId xmlns:a16="http://schemas.microsoft.com/office/drawing/2014/main" id="{9B637539-34B8-C902-670F-61DA69B52B5E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Полилиния: фигура 59">
              <a:extLst>
                <a:ext uri="{FF2B5EF4-FFF2-40B4-BE49-F238E27FC236}">
                  <a16:creationId xmlns:a16="http://schemas.microsoft.com/office/drawing/2014/main" id="{F5129B11-D1CB-5277-B291-BC940C69B3B7}"/>
                </a:ext>
              </a:extLst>
            </p:cNvPr>
            <p:cNvSpPr/>
            <p:nvPr/>
          </p:nvSpPr>
          <p:spPr>
            <a:xfrm rot="16200000">
              <a:off x="7297491" y="4107"/>
              <a:ext cx="978852" cy="972412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Полилиния: фигура 60">
              <a:extLst>
                <a:ext uri="{FF2B5EF4-FFF2-40B4-BE49-F238E27FC236}">
                  <a16:creationId xmlns:a16="http://schemas.microsoft.com/office/drawing/2014/main" id="{974EF996-E4A2-7F1D-39E1-C0E93962FF0D}"/>
                </a:ext>
              </a:extLst>
            </p:cNvPr>
            <p:cNvSpPr/>
            <p:nvPr/>
          </p:nvSpPr>
          <p:spPr>
            <a:xfrm>
              <a:off x="7288368" y="489882"/>
              <a:ext cx="494894" cy="495482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Полилиния: фигура 61">
              <a:extLst>
                <a:ext uri="{FF2B5EF4-FFF2-40B4-BE49-F238E27FC236}">
                  <a16:creationId xmlns:a16="http://schemas.microsoft.com/office/drawing/2014/main" id="{2109B157-2DB2-D42E-0D05-727A20A19A9C}"/>
                </a:ext>
              </a:extLst>
            </p:cNvPr>
            <p:cNvSpPr/>
            <p:nvPr/>
          </p:nvSpPr>
          <p:spPr>
            <a:xfrm>
              <a:off x="7284210" y="25"/>
              <a:ext cx="499051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Полилиния: фигура 62">
              <a:extLst>
                <a:ext uri="{FF2B5EF4-FFF2-40B4-BE49-F238E27FC236}">
                  <a16:creationId xmlns:a16="http://schemas.microsoft.com/office/drawing/2014/main" id="{1DF63EB9-998D-F6DC-0EA8-B1427C621F3D}"/>
                </a:ext>
              </a:extLst>
            </p:cNvPr>
            <p:cNvSpPr/>
            <p:nvPr/>
          </p:nvSpPr>
          <p:spPr>
            <a:xfrm>
              <a:off x="7774067" y="25"/>
              <a:ext cx="499051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Полилиния: фигура 63">
              <a:extLst>
                <a:ext uri="{FF2B5EF4-FFF2-40B4-BE49-F238E27FC236}">
                  <a16:creationId xmlns:a16="http://schemas.microsoft.com/office/drawing/2014/main" id="{D859794D-6835-2E5D-0A71-C4015F66C477}"/>
                </a:ext>
              </a:extLst>
            </p:cNvPr>
            <p:cNvSpPr/>
            <p:nvPr/>
          </p:nvSpPr>
          <p:spPr>
            <a:xfrm>
              <a:off x="7778225" y="489882"/>
              <a:ext cx="494894" cy="495482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Полилиния: фигура 65">
              <a:extLst>
                <a:ext uri="{FF2B5EF4-FFF2-40B4-BE49-F238E27FC236}">
                  <a16:creationId xmlns:a16="http://schemas.microsoft.com/office/drawing/2014/main" id="{8D146B39-1CF3-38A2-02D7-8EEE1021B295}"/>
                </a:ext>
              </a:extLst>
            </p:cNvPr>
            <p:cNvSpPr/>
            <p:nvPr/>
          </p:nvSpPr>
          <p:spPr>
            <a:xfrm rot="16200000">
              <a:off x="10229303" y="2406"/>
              <a:ext cx="986202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66">
              <a:extLst>
                <a:ext uri="{FF2B5EF4-FFF2-40B4-BE49-F238E27FC236}">
                  <a16:creationId xmlns:a16="http://schemas.microsoft.com/office/drawing/2014/main" id="{808F38F4-0E60-680B-48D4-095F2B513E1F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Полилиния: фигура 67">
              <a:extLst>
                <a:ext uri="{FF2B5EF4-FFF2-40B4-BE49-F238E27FC236}">
                  <a16:creationId xmlns:a16="http://schemas.microsoft.com/office/drawing/2014/main" id="{C89429AF-71A5-1284-B6E1-D71AABE0B71D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Полилиния: фигура 68">
              <a:extLst>
                <a:ext uri="{FF2B5EF4-FFF2-40B4-BE49-F238E27FC236}">
                  <a16:creationId xmlns:a16="http://schemas.microsoft.com/office/drawing/2014/main" id="{C405CC03-1321-0681-8E46-9ED5F4699D77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Полилиния: фигура 69">
              <a:extLst>
                <a:ext uri="{FF2B5EF4-FFF2-40B4-BE49-F238E27FC236}">
                  <a16:creationId xmlns:a16="http://schemas.microsoft.com/office/drawing/2014/main" id="{47E90767-1CD4-229E-F8B8-B9F62694FD46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Полилиния: фигура 71">
              <a:extLst>
                <a:ext uri="{FF2B5EF4-FFF2-40B4-BE49-F238E27FC236}">
                  <a16:creationId xmlns:a16="http://schemas.microsoft.com/office/drawing/2014/main" id="{7577D1C3-34C5-3C69-A9A7-CC93CEC67644}"/>
                </a:ext>
              </a:extLst>
            </p:cNvPr>
            <p:cNvSpPr/>
            <p:nvPr/>
          </p:nvSpPr>
          <p:spPr>
            <a:xfrm rot="16200000">
              <a:off x="8273043" y="4107"/>
              <a:ext cx="978852" cy="972411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9" name="Группа 133">
              <a:extLst>
                <a:ext uri="{FF2B5EF4-FFF2-40B4-BE49-F238E27FC236}">
                  <a16:creationId xmlns:a16="http://schemas.microsoft.com/office/drawing/2014/main" id="{038C248A-533D-7B45-7FF8-783145FF53E9}"/>
                </a:ext>
              </a:extLst>
            </p:cNvPr>
            <p:cNvGrpSpPr/>
            <p:nvPr/>
          </p:nvGrpSpPr>
          <p:grpSpPr>
            <a:xfrm>
              <a:off x="8460243" y="187150"/>
              <a:ext cx="605463" cy="605463"/>
              <a:chOff x="8460243" y="187150"/>
              <a:chExt cx="605463" cy="605463"/>
            </a:xfrm>
          </p:grpSpPr>
          <p:sp>
            <p:nvSpPr>
              <p:cNvPr id="240" name="Полилиния: фигура 72">
                <a:extLst>
                  <a:ext uri="{FF2B5EF4-FFF2-40B4-BE49-F238E27FC236}">
                    <a16:creationId xmlns:a16="http://schemas.microsoft.com/office/drawing/2014/main" id="{94AE1B0D-F2A2-80E9-FDB9-FB89DE377F2C}"/>
                  </a:ext>
                </a:extLst>
              </p:cNvPr>
              <p:cNvSpPr/>
              <p:nvPr userDrawn="1"/>
            </p:nvSpPr>
            <p:spPr>
              <a:xfrm>
                <a:off x="8592015" y="318922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1" y="341920"/>
                      <a:pt x="0" y="265379"/>
                      <a:pt x="0" y="170960"/>
                    </a:cubicBezTo>
                    <a:cubicBezTo>
                      <a:pt x="0" y="76541"/>
                      <a:pt x="76541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Полилиния: фигура 73">
                <a:extLst>
                  <a:ext uri="{FF2B5EF4-FFF2-40B4-BE49-F238E27FC236}">
                    <a16:creationId xmlns:a16="http://schemas.microsoft.com/office/drawing/2014/main" id="{C3CE0353-B3A6-B07F-A4F3-82D85DE782BE}"/>
                  </a:ext>
                </a:extLst>
              </p:cNvPr>
              <p:cNvSpPr/>
              <p:nvPr userDrawn="1"/>
            </p:nvSpPr>
            <p:spPr>
              <a:xfrm>
                <a:off x="8460243" y="187150"/>
                <a:ext cx="605463" cy="605463"/>
              </a:xfrm>
              <a:custGeom>
                <a:avLst/>
                <a:gdLst>
                  <a:gd name="connsiteX0" fmla="*/ 302422 w 605463"/>
                  <a:gd name="connsiteY0" fmla="*/ -240 h 605463"/>
                  <a:gd name="connsiteX1" fmla="*/ 273031 w 605463"/>
                  <a:gd name="connsiteY1" fmla="*/ 29151 h 605463"/>
                  <a:gd name="connsiteX2" fmla="*/ 273031 w 605463"/>
                  <a:gd name="connsiteY2" fmla="*/ 72847 h 605463"/>
                  <a:gd name="connsiteX3" fmla="*/ 302422 w 605463"/>
                  <a:gd name="connsiteY3" fmla="*/ 102238 h 605463"/>
                  <a:gd name="connsiteX4" fmla="*/ 331813 w 605463"/>
                  <a:gd name="connsiteY4" fmla="*/ 72847 h 605463"/>
                  <a:gd name="connsiteX5" fmla="*/ 331813 w 605463"/>
                  <a:gd name="connsiteY5" fmla="*/ 29151 h 605463"/>
                  <a:gd name="connsiteX6" fmla="*/ 302422 w 605463"/>
                  <a:gd name="connsiteY6" fmla="*/ -240 h 605463"/>
                  <a:gd name="connsiteX7" fmla="*/ 302422 w 605463"/>
                  <a:gd name="connsiteY7" fmla="*/ 502745 h 605463"/>
                  <a:gd name="connsiteX8" fmla="*/ 273031 w 605463"/>
                  <a:gd name="connsiteY8" fmla="*/ 532137 h 605463"/>
                  <a:gd name="connsiteX9" fmla="*/ 273031 w 605463"/>
                  <a:gd name="connsiteY9" fmla="*/ 575832 h 605463"/>
                  <a:gd name="connsiteX10" fmla="*/ 302422 w 605463"/>
                  <a:gd name="connsiteY10" fmla="*/ 605223 h 605463"/>
                  <a:gd name="connsiteX11" fmla="*/ 331813 w 605463"/>
                  <a:gd name="connsiteY11" fmla="*/ 575832 h 605463"/>
                  <a:gd name="connsiteX12" fmla="*/ 331813 w 605463"/>
                  <a:gd name="connsiteY12" fmla="*/ 532137 h 605463"/>
                  <a:gd name="connsiteX13" fmla="*/ 302422 w 605463"/>
                  <a:gd name="connsiteY13" fmla="*/ 502745 h 605463"/>
                  <a:gd name="connsiteX14" fmla="*/ 102169 w 605463"/>
                  <a:gd name="connsiteY14" fmla="*/ 302492 h 605463"/>
                  <a:gd name="connsiteX15" fmla="*/ 72778 w 605463"/>
                  <a:gd name="connsiteY15" fmla="*/ 273100 h 605463"/>
                  <a:gd name="connsiteX16" fmla="*/ 29081 w 605463"/>
                  <a:gd name="connsiteY16" fmla="*/ 273100 h 605463"/>
                  <a:gd name="connsiteX17" fmla="*/ -310 w 605463"/>
                  <a:gd name="connsiteY17" fmla="*/ 302492 h 605463"/>
                  <a:gd name="connsiteX18" fmla="*/ 29081 w 605463"/>
                  <a:gd name="connsiteY18" fmla="*/ 331883 h 605463"/>
                  <a:gd name="connsiteX19" fmla="*/ 72778 w 605463"/>
                  <a:gd name="connsiteY19" fmla="*/ 331883 h 605463"/>
                  <a:gd name="connsiteX20" fmla="*/ 102169 w 605463"/>
                  <a:gd name="connsiteY20" fmla="*/ 302492 h 605463"/>
                  <a:gd name="connsiteX21" fmla="*/ 575763 w 605463"/>
                  <a:gd name="connsiteY21" fmla="*/ 273100 h 605463"/>
                  <a:gd name="connsiteX22" fmla="*/ 532066 w 605463"/>
                  <a:gd name="connsiteY22" fmla="*/ 273100 h 605463"/>
                  <a:gd name="connsiteX23" fmla="*/ 502675 w 605463"/>
                  <a:gd name="connsiteY23" fmla="*/ 302492 h 605463"/>
                  <a:gd name="connsiteX24" fmla="*/ 532066 w 605463"/>
                  <a:gd name="connsiteY24" fmla="*/ 331883 h 605463"/>
                  <a:gd name="connsiteX25" fmla="*/ 575763 w 605463"/>
                  <a:gd name="connsiteY25" fmla="*/ 331883 h 605463"/>
                  <a:gd name="connsiteX26" fmla="*/ 605154 w 605463"/>
                  <a:gd name="connsiteY26" fmla="*/ 302492 h 605463"/>
                  <a:gd name="connsiteX27" fmla="*/ 575763 w 605463"/>
                  <a:gd name="connsiteY27" fmla="*/ 273100 h 605463"/>
                  <a:gd name="connsiteX28" fmla="*/ 129894 w 605463"/>
                  <a:gd name="connsiteY28" fmla="*/ 88424 h 605463"/>
                  <a:gd name="connsiteX29" fmla="*/ 88355 w 605463"/>
                  <a:gd name="connsiteY29" fmla="*/ 86955 h 605463"/>
                  <a:gd name="connsiteX30" fmla="*/ 86885 w 605463"/>
                  <a:gd name="connsiteY30" fmla="*/ 128494 h 605463"/>
                  <a:gd name="connsiteX31" fmla="*/ 88355 w 605463"/>
                  <a:gd name="connsiteY31" fmla="*/ 129964 h 605463"/>
                  <a:gd name="connsiteX32" fmla="*/ 119216 w 605463"/>
                  <a:gd name="connsiteY32" fmla="*/ 160923 h 605463"/>
                  <a:gd name="connsiteX33" fmla="*/ 160854 w 605463"/>
                  <a:gd name="connsiteY33" fmla="*/ 160923 h 605463"/>
                  <a:gd name="connsiteX34" fmla="*/ 160854 w 605463"/>
                  <a:gd name="connsiteY34" fmla="*/ 119285 h 605463"/>
                  <a:gd name="connsiteX35" fmla="*/ 485628 w 605463"/>
                  <a:gd name="connsiteY35" fmla="*/ 444061 h 605463"/>
                  <a:gd name="connsiteX36" fmla="*/ 443990 w 605463"/>
                  <a:gd name="connsiteY36" fmla="*/ 444061 h 605463"/>
                  <a:gd name="connsiteX37" fmla="*/ 443990 w 605463"/>
                  <a:gd name="connsiteY37" fmla="*/ 485698 h 605463"/>
                  <a:gd name="connsiteX38" fmla="*/ 474950 w 605463"/>
                  <a:gd name="connsiteY38" fmla="*/ 516559 h 605463"/>
                  <a:gd name="connsiteX39" fmla="*/ 516489 w 605463"/>
                  <a:gd name="connsiteY39" fmla="*/ 516559 h 605463"/>
                  <a:gd name="connsiteX40" fmla="*/ 516489 w 605463"/>
                  <a:gd name="connsiteY40" fmla="*/ 475019 h 605463"/>
                  <a:gd name="connsiteX41" fmla="*/ 119216 w 605463"/>
                  <a:gd name="connsiteY41" fmla="*/ 444061 h 605463"/>
                  <a:gd name="connsiteX42" fmla="*/ 88355 w 605463"/>
                  <a:gd name="connsiteY42" fmla="*/ 475019 h 605463"/>
                  <a:gd name="connsiteX43" fmla="*/ 88355 w 605463"/>
                  <a:gd name="connsiteY43" fmla="*/ 516589 h 605463"/>
                  <a:gd name="connsiteX44" fmla="*/ 109125 w 605463"/>
                  <a:gd name="connsiteY44" fmla="*/ 525181 h 605463"/>
                  <a:gd name="connsiteX45" fmla="*/ 129894 w 605463"/>
                  <a:gd name="connsiteY45" fmla="*/ 516559 h 605463"/>
                  <a:gd name="connsiteX46" fmla="*/ 160854 w 605463"/>
                  <a:gd name="connsiteY46" fmla="*/ 485698 h 605463"/>
                  <a:gd name="connsiteX47" fmla="*/ 160854 w 605463"/>
                  <a:gd name="connsiteY47" fmla="*/ 444061 h 605463"/>
                  <a:gd name="connsiteX48" fmla="*/ 119216 w 605463"/>
                  <a:gd name="connsiteY48" fmla="*/ 444061 h 605463"/>
                  <a:gd name="connsiteX49" fmla="*/ 464858 w 605463"/>
                  <a:gd name="connsiteY49" fmla="*/ 169740 h 605463"/>
                  <a:gd name="connsiteX50" fmla="*/ 485628 w 605463"/>
                  <a:gd name="connsiteY50" fmla="*/ 161217 h 605463"/>
                  <a:gd name="connsiteX51" fmla="*/ 516489 w 605463"/>
                  <a:gd name="connsiteY51" fmla="*/ 130258 h 605463"/>
                  <a:gd name="connsiteX52" fmla="*/ 517959 w 605463"/>
                  <a:gd name="connsiteY52" fmla="*/ 88718 h 605463"/>
                  <a:gd name="connsiteX53" fmla="*/ 476419 w 605463"/>
                  <a:gd name="connsiteY53" fmla="*/ 87248 h 605463"/>
                  <a:gd name="connsiteX54" fmla="*/ 474950 w 605463"/>
                  <a:gd name="connsiteY54" fmla="*/ 88718 h 605463"/>
                  <a:gd name="connsiteX55" fmla="*/ 443990 w 605463"/>
                  <a:gd name="connsiteY55" fmla="*/ 119579 h 605463"/>
                  <a:gd name="connsiteX56" fmla="*/ 443990 w 605463"/>
                  <a:gd name="connsiteY56" fmla="*/ 161148 h 605463"/>
                  <a:gd name="connsiteX57" fmla="*/ 464858 w 605463"/>
                  <a:gd name="connsiteY57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605463" h="605463">
                    <a:moveTo>
                      <a:pt x="302422" y="-240"/>
                    </a:moveTo>
                    <a:cubicBezTo>
                      <a:pt x="286158" y="-240"/>
                      <a:pt x="273031" y="12917"/>
                      <a:pt x="273031" y="29151"/>
                    </a:cubicBezTo>
                    <a:lnTo>
                      <a:pt x="273031" y="72847"/>
                    </a:lnTo>
                    <a:cubicBezTo>
                      <a:pt x="273031" y="89081"/>
                      <a:pt x="286158" y="102238"/>
                      <a:pt x="302422" y="102238"/>
                    </a:cubicBezTo>
                    <a:cubicBezTo>
                      <a:pt x="318686" y="102238"/>
                      <a:pt x="331813" y="89081"/>
                      <a:pt x="331813" y="72847"/>
                    </a:cubicBezTo>
                    <a:lnTo>
                      <a:pt x="331813" y="29151"/>
                    </a:lnTo>
                    <a:cubicBezTo>
                      <a:pt x="331813" y="12917"/>
                      <a:pt x="318686" y="-240"/>
                      <a:pt x="302422" y="-240"/>
                    </a:cubicBezTo>
                    <a:close/>
                    <a:moveTo>
                      <a:pt x="302422" y="502745"/>
                    </a:moveTo>
                    <a:cubicBezTo>
                      <a:pt x="286158" y="502745"/>
                      <a:pt x="273031" y="515903"/>
                      <a:pt x="273031" y="532137"/>
                    </a:cubicBezTo>
                    <a:lnTo>
                      <a:pt x="273031" y="575832"/>
                    </a:lnTo>
                    <a:cubicBezTo>
                      <a:pt x="273031" y="592066"/>
                      <a:pt x="286158" y="605223"/>
                      <a:pt x="302422" y="605223"/>
                    </a:cubicBezTo>
                    <a:cubicBezTo>
                      <a:pt x="318686" y="605223"/>
                      <a:pt x="331813" y="592066"/>
                      <a:pt x="331813" y="575832"/>
                    </a:cubicBezTo>
                    <a:lnTo>
                      <a:pt x="331813" y="532137"/>
                    </a:lnTo>
                    <a:cubicBezTo>
                      <a:pt x="331813" y="515903"/>
                      <a:pt x="318686" y="502745"/>
                      <a:pt x="302422" y="502745"/>
                    </a:cubicBezTo>
                    <a:close/>
                    <a:moveTo>
                      <a:pt x="102169" y="302492"/>
                    </a:moveTo>
                    <a:cubicBezTo>
                      <a:pt x="102169" y="286258"/>
                      <a:pt x="89040" y="273100"/>
                      <a:pt x="72778" y="273100"/>
                    </a:cubicBezTo>
                    <a:lnTo>
                      <a:pt x="29081" y="273100"/>
                    </a:lnTo>
                    <a:cubicBezTo>
                      <a:pt x="12818" y="273100"/>
                      <a:pt x="-310" y="286258"/>
                      <a:pt x="-310" y="302492"/>
                    </a:cubicBezTo>
                    <a:cubicBezTo>
                      <a:pt x="-310" y="318726"/>
                      <a:pt x="12818" y="331883"/>
                      <a:pt x="29081" y="331883"/>
                    </a:cubicBezTo>
                    <a:lnTo>
                      <a:pt x="72778" y="331883"/>
                    </a:lnTo>
                    <a:cubicBezTo>
                      <a:pt x="89040" y="331883"/>
                      <a:pt x="102169" y="318726"/>
                      <a:pt x="102169" y="302492"/>
                    </a:cubicBezTo>
                    <a:close/>
                    <a:moveTo>
                      <a:pt x="575763" y="273100"/>
                    </a:moveTo>
                    <a:lnTo>
                      <a:pt x="532066" y="273100"/>
                    </a:lnTo>
                    <a:cubicBezTo>
                      <a:pt x="515804" y="273100"/>
                      <a:pt x="502675" y="286258"/>
                      <a:pt x="502675" y="302492"/>
                    </a:cubicBezTo>
                    <a:cubicBezTo>
                      <a:pt x="502675" y="318726"/>
                      <a:pt x="515804" y="331883"/>
                      <a:pt x="532066" y="331883"/>
                    </a:cubicBezTo>
                    <a:lnTo>
                      <a:pt x="575763" y="331883"/>
                    </a:lnTo>
                    <a:cubicBezTo>
                      <a:pt x="592026" y="331883"/>
                      <a:pt x="605154" y="318726"/>
                      <a:pt x="605154" y="302492"/>
                    </a:cubicBezTo>
                    <a:cubicBezTo>
                      <a:pt x="605154" y="286258"/>
                      <a:pt x="592026" y="273100"/>
                      <a:pt x="575763" y="273100"/>
                    </a:cubicBezTo>
                    <a:close/>
                    <a:moveTo>
                      <a:pt x="129894" y="88424"/>
                    </a:moveTo>
                    <a:cubicBezTo>
                      <a:pt x="118824" y="76550"/>
                      <a:pt x="100209" y="75894"/>
                      <a:pt x="88355" y="86955"/>
                    </a:cubicBezTo>
                    <a:cubicBezTo>
                      <a:pt x="76499" y="98025"/>
                      <a:pt x="75814" y="116620"/>
                      <a:pt x="86885" y="128494"/>
                    </a:cubicBezTo>
                    <a:cubicBezTo>
                      <a:pt x="87375" y="129004"/>
                      <a:pt x="87864" y="129494"/>
                      <a:pt x="88355" y="129964"/>
                    </a:cubicBezTo>
                    <a:lnTo>
                      <a:pt x="119216" y="160923"/>
                    </a:lnTo>
                    <a:cubicBezTo>
                      <a:pt x="130678" y="172425"/>
                      <a:pt x="149391" y="172425"/>
                      <a:pt x="160854" y="160923"/>
                    </a:cubicBezTo>
                    <a:cubicBezTo>
                      <a:pt x="172316" y="149421"/>
                      <a:pt x="172316" y="130787"/>
                      <a:pt x="160854" y="119285"/>
                    </a:cubicBezTo>
                    <a:close/>
                    <a:moveTo>
                      <a:pt x="485628" y="444061"/>
                    </a:moveTo>
                    <a:cubicBezTo>
                      <a:pt x="474166" y="432559"/>
                      <a:pt x="455453" y="432559"/>
                      <a:pt x="443990" y="444061"/>
                    </a:cubicBezTo>
                    <a:cubicBezTo>
                      <a:pt x="432528" y="455562"/>
                      <a:pt x="432528" y="474196"/>
                      <a:pt x="443990" y="485698"/>
                    </a:cubicBezTo>
                    <a:lnTo>
                      <a:pt x="474950" y="516559"/>
                    </a:lnTo>
                    <a:cubicBezTo>
                      <a:pt x="486413" y="528022"/>
                      <a:pt x="505027" y="528022"/>
                      <a:pt x="516489" y="516559"/>
                    </a:cubicBezTo>
                    <a:cubicBezTo>
                      <a:pt x="527952" y="505087"/>
                      <a:pt x="527952" y="486492"/>
                      <a:pt x="516489" y="475019"/>
                    </a:cubicBezTo>
                    <a:close/>
                    <a:moveTo>
                      <a:pt x="119216" y="444061"/>
                    </a:moveTo>
                    <a:lnTo>
                      <a:pt x="88355" y="475019"/>
                    </a:lnTo>
                    <a:cubicBezTo>
                      <a:pt x="76892" y="486502"/>
                      <a:pt x="76892" y="505116"/>
                      <a:pt x="88355" y="516589"/>
                    </a:cubicBezTo>
                    <a:cubicBezTo>
                      <a:pt x="93840" y="522085"/>
                      <a:pt x="101384" y="525171"/>
                      <a:pt x="109125" y="525181"/>
                    </a:cubicBezTo>
                    <a:cubicBezTo>
                      <a:pt x="116962" y="525171"/>
                      <a:pt x="124407" y="522075"/>
                      <a:pt x="129894" y="516559"/>
                    </a:cubicBezTo>
                    <a:lnTo>
                      <a:pt x="160854" y="485698"/>
                    </a:lnTo>
                    <a:cubicBezTo>
                      <a:pt x="172316" y="474196"/>
                      <a:pt x="172316" y="455562"/>
                      <a:pt x="160854" y="444061"/>
                    </a:cubicBezTo>
                    <a:cubicBezTo>
                      <a:pt x="149391" y="432559"/>
                      <a:pt x="130678" y="432559"/>
                      <a:pt x="119216" y="444061"/>
                    </a:cubicBezTo>
                    <a:close/>
                    <a:moveTo>
                      <a:pt x="464858" y="169740"/>
                    </a:moveTo>
                    <a:cubicBezTo>
                      <a:pt x="472598" y="169760"/>
                      <a:pt x="480142" y="166694"/>
                      <a:pt x="485628" y="161217"/>
                    </a:cubicBezTo>
                    <a:lnTo>
                      <a:pt x="516489" y="130258"/>
                    </a:lnTo>
                    <a:cubicBezTo>
                      <a:pt x="528345" y="119187"/>
                      <a:pt x="529030" y="100592"/>
                      <a:pt x="517959" y="88718"/>
                    </a:cubicBezTo>
                    <a:cubicBezTo>
                      <a:pt x="506888" y="76844"/>
                      <a:pt x="488273" y="76187"/>
                      <a:pt x="476419" y="87248"/>
                    </a:cubicBezTo>
                    <a:cubicBezTo>
                      <a:pt x="475929" y="87719"/>
                      <a:pt x="475440" y="88208"/>
                      <a:pt x="474950" y="88718"/>
                    </a:cubicBezTo>
                    <a:lnTo>
                      <a:pt x="443990" y="119579"/>
                    </a:lnTo>
                    <a:cubicBezTo>
                      <a:pt x="432528" y="131061"/>
                      <a:pt x="432528" y="149676"/>
                      <a:pt x="443990" y="161148"/>
                    </a:cubicBezTo>
                    <a:cubicBezTo>
                      <a:pt x="449575" y="166664"/>
                      <a:pt x="457021" y="169760"/>
                      <a:pt x="464858" y="1697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0" name="Полилиния: фигура 75">
              <a:extLst>
                <a:ext uri="{FF2B5EF4-FFF2-40B4-BE49-F238E27FC236}">
                  <a16:creationId xmlns:a16="http://schemas.microsoft.com/office/drawing/2014/main" id="{81F99469-47F3-5E7C-6CA4-6DCEB846CA29}"/>
                </a:ext>
              </a:extLst>
            </p:cNvPr>
            <p:cNvSpPr/>
            <p:nvPr/>
          </p:nvSpPr>
          <p:spPr>
            <a:xfrm>
              <a:off x="6926011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Полилиния: фигура 76">
              <a:extLst>
                <a:ext uri="{FF2B5EF4-FFF2-40B4-BE49-F238E27FC236}">
                  <a16:creationId xmlns:a16="http://schemas.microsoft.com/office/drawing/2014/main" id="{7AE61898-43E7-4DE4-6129-B22B7D9A3DC4}"/>
                </a:ext>
              </a:extLst>
            </p:cNvPr>
            <p:cNvSpPr/>
            <p:nvPr/>
          </p:nvSpPr>
          <p:spPr>
            <a:xfrm>
              <a:off x="6436154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Полилиния: фигура 77">
              <a:extLst>
                <a:ext uri="{FF2B5EF4-FFF2-40B4-BE49-F238E27FC236}">
                  <a16:creationId xmlns:a16="http://schemas.microsoft.com/office/drawing/2014/main" id="{547CF65D-CEAE-C352-5A85-FFF9189150B5}"/>
                </a:ext>
              </a:extLst>
            </p:cNvPr>
            <p:cNvSpPr/>
            <p:nvPr/>
          </p:nvSpPr>
          <p:spPr>
            <a:xfrm>
              <a:off x="6926011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Полилиния: фигура 78">
              <a:extLst>
                <a:ext uri="{FF2B5EF4-FFF2-40B4-BE49-F238E27FC236}">
                  <a16:creationId xmlns:a16="http://schemas.microsoft.com/office/drawing/2014/main" id="{23CAF896-8BE7-B71B-77DA-6D0B1FB876E5}"/>
                </a:ext>
              </a:extLst>
            </p:cNvPr>
            <p:cNvSpPr/>
            <p:nvPr/>
          </p:nvSpPr>
          <p:spPr>
            <a:xfrm>
              <a:off x="6681083" y="367417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Полилиния: фигура 79">
              <a:extLst>
                <a:ext uri="{FF2B5EF4-FFF2-40B4-BE49-F238E27FC236}">
                  <a16:creationId xmlns:a16="http://schemas.microsoft.com/office/drawing/2014/main" id="{2B37F7E8-E89D-8459-5373-131DADF7A792}"/>
                </a:ext>
              </a:extLst>
            </p:cNvPr>
            <p:cNvSpPr/>
            <p:nvPr/>
          </p:nvSpPr>
          <p:spPr>
            <a:xfrm>
              <a:off x="6436154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Полилиния: фигура 81">
              <a:extLst>
                <a:ext uri="{FF2B5EF4-FFF2-40B4-BE49-F238E27FC236}">
                  <a16:creationId xmlns:a16="http://schemas.microsoft.com/office/drawing/2014/main" id="{C1A6FAE4-111D-E1CF-5EA3-53F0E6708016}"/>
                </a:ext>
              </a:extLst>
            </p:cNvPr>
            <p:cNvSpPr/>
            <p:nvPr/>
          </p:nvSpPr>
          <p:spPr>
            <a:xfrm rot="5400000">
              <a:off x="11210613" y="-2508"/>
              <a:ext cx="978877" cy="98389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Полилиния: фигура 82">
              <a:extLst>
                <a:ext uri="{FF2B5EF4-FFF2-40B4-BE49-F238E27FC236}">
                  <a16:creationId xmlns:a16="http://schemas.microsoft.com/office/drawing/2014/main" id="{09EB9843-1497-0BF8-D6D3-8895C82F1CFF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Полилиния: фигура 83">
              <a:extLst>
                <a:ext uri="{FF2B5EF4-FFF2-40B4-BE49-F238E27FC236}">
                  <a16:creationId xmlns:a16="http://schemas.microsoft.com/office/drawing/2014/main" id="{A7960E16-D3C6-7C19-B284-9D6891D41091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Полилиния: фигура 84">
              <a:extLst>
                <a:ext uri="{FF2B5EF4-FFF2-40B4-BE49-F238E27FC236}">
                  <a16:creationId xmlns:a16="http://schemas.microsoft.com/office/drawing/2014/main" id="{7E7243CA-C318-CFBD-752B-3ECB9C85005E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Полилиния: фигура 85">
              <a:extLst>
                <a:ext uri="{FF2B5EF4-FFF2-40B4-BE49-F238E27FC236}">
                  <a16:creationId xmlns:a16="http://schemas.microsoft.com/office/drawing/2014/main" id="{C0D6D19C-8414-5B25-9FF2-68CCA3C32376}"/>
                </a:ext>
              </a:extLst>
            </p:cNvPr>
            <p:cNvSpPr/>
            <p:nvPr/>
          </p:nvSpPr>
          <p:spPr>
            <a:xfrm>
              <a:off x="10477475" y="122466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Полилиния: фигура 87">
              <a:extLst>
                <a:ext uri="{FF2B5EF4-FFF2-40B4-BE49-F238E27FC236}">
                  <a16:creationId xmlns:a16="http://schemas.microsoft.com/office/drawing/2014/main" id="{9318107F-7C68-343C-164E-A2DABF4D6B11}"/>
                </a:ext>
              </a:extLst>
            </p:cNvPr>
            <p:cNvSpPr/>
            <p:nvPr/>
          </p:nvSpPr>
          <p:spPr>
            <a:xfrm rot="5400000">
              <a:off x="1121212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Полилиния: фигура 91">
              <a:extLst>
                <a:ext uri="{FF2B5EF4-FFF2-40B4-BE49-F238E27FC236}">
                  <a16:creationId xmlns:a16="http://schemas.microsoft.com/office/drawing/2014/main" id="{8F76CF08-4CE0-BDAB-FAC1-DEA5A1118CE7}"/>
                </a:ext>
              </a:extLst>
            </p:cNvPr>
            <p:cNvSpPr/>
            <p:nvPr/>
          </p:nvSpPr>
          <p:spPr>
            <a:xfrm>
              <a:off x="1144945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2" name="Группа 136">
              <a:extLst>
                <a:ext uri="{FF2B5EF4-FFF2-40B4-BE49-F238E27FC236}">
                  <a16:creationId xmlns:a16="http://schemas.microsoft.com/office/drawing/2014/main" id="{4748D860-3CD8-49C3-3166-E2B8CE443A34}"/>
                </a:ext>
              </a:extLst>
            </p:cNvPr>
            <p:cNvGrpSpPr/>
            <p:nvPr/>
          </p:nvGrpSpPr>
          <p:grpSpPr>
            <a:xfrm>
              <a:off x="11393801" y="1597449"/>
              <a:ext cx="523658" cy="198686"/>
              <a:chOff x="11393801" y="1597449"/>
              <a:chExt cx="523658" cy="198686"/>
            </a:xfrm>
          </p:grpSpPr>
          <p:sp>
            <p:nvSpPr>
              <p:cNvPr id="238" name="Полилиния: фигура 90">
                <a:extLst>
                  <a:ext uri="{FF2B5EF4-FFF2-40B4-BE49-F238E27FC236}">
                    <a16:creationId xmlns:a16="http://schemas.microsoft.com/office/drawing/2014/main" id="{33AE071A-B5EC-184F-2257-0BE906262B02}"/>
                  </a:ext>
                </a:extLst>
              </p:cNvPr>
              <p:cNvSpPr/>
              <p:nvPr userDrawn="1"/>
            </p:nvSpPr>
            <p:spPr>
              <a:xfrm>
                <a:off x="11393801" y="1597449"/>
                <a:ext cx="300576" cy="198686"/>
              </a:xfrm>
              <a:custGeom>
                <a:avLst/>
                <a:gdLst>
                  <a:gd name="connsiteX0" fmla="*/ -310 w 300576"/>
                  <a:gd name="connsiteY0" fmla="*/ -240 h 198686"/>
                  <a:gd name="connsiteX1" fmla="*/ 300267 w 300576"/>
                  <a:gd name="connsiteY1" fmla="*/ 198446 h 198686"/>
                  <a:gd name="connsiteX2" fmla="*/ -310 w 300576"/>
                  <a:gd name="connsiteY2" fmla="*/ -240 h 19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576" h="198686">
                    <a:moveTo>
                      <a:pt x="-310" y="-240"/>
                    </a:moveTo>
                    <a:cubicBezTo>
                      <a:pt x="51028" y="120255"/>
                      <a:pt x="169279" y="198466"/>
                      <a:pt x="300267" y="198446"/>
                    </a:cubicBezTo>
                    <a:cubicBezTo>
                      <a:pt x="248930" y="77951"/>
                      <a:pt x="130678" y="-259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Полилиния: фигура 92">
                <a:extLst>
                  <a:ext uri="{FF2B5EF4-FFF2-40B4-BE49-F238E27FC236}">
                    <a16:creationId xmlns:a16="http://schemas.microsoft.com/office/drawing/2014/main" id="{7F605E93-15E8-0197-4A45-5CB6613358C5}"/>
                  </a:ext>
                </a:extLst>
              </p:cNvPr>
              <p:cNvSpPr/>
              <p:nvPr userDrawn="1"/>
            </p:nvSpPr>
            <p:spPr>
              <a:xfrm>
                <a:off x="11694378" y="1652509"/>
                <a:ext cx="223081" cy="143625"/>
              </a:xfrm>
              <a:custGeom>
                <a:avLst/>
                <a:gdLst>
                  <a:gd name="connsiteX0" fmla="*/ -310 w 223081"/>
                  <a:gd name="connsiteY0" fmla="*/ 143386 h 143625"/>
                  <a:gd name="connsiteX1" fmla="*/ 222771 w 223081"/>
                  <a:gd name="connsiteY1" fmla="*/ -240 h 143625"/>
                  <a:gd name="connsiteX2" fmla="*/ -310 w 223081"/>
                  <a:gd name="connsiteY2" fmla="*/ 143386 h 14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081" h="143625">
                    <a:moveTo>
                      <a:pt x="-310" y="143386"/>
                    </a:moveTo>
                    <a:cubicBezTo>
                      <a:pt x="95801" y="143415"/>
                      <a:pt x="182994" y="87248"/>
                      <a:pt x="222771" y="-240"/>
                    </a:cubicBezTo>
                    <a:cubicBezTo>
                      <a:pt x="126661" y="-270"/>
                      <a:pt x="39467" y="55897"/>
                      <a:pt x="-310" y="143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" name="Полилиния: фигура 89">
              <a:extLst>
                <a:ext uri="{FF2B5EF4-FFF2-40B4-BE49-F238E27FC236}">
                  <a16:creationId xmlns:a16="http://schemas.microsoft.com/office/drawing/2014/main" id="{54DC7FAB-EE34-8839-AD62-9DFA1B0EDFB3}"/>
                </a:ext>
              </a:extLst>
            </p:cNvPr>
            <p:cNvSpPr/>
            <p:nvPr/>
          </p:nvSpPr>
          <p:spPr>
            <a:xfrm>
              <a:off x="1157191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Полилиния: фигура 94">
              <a:extLst>
                <a:ext uri="{FF2B5EF4-FFF2-40B4-BE49-F238E27FC236}">
                  <a16:creationId xmlns:a16="http://schemas.microsoft.com/office/drawing/2014/main" id="{07126D8E-FA74-0C18-3599-8D18AC06DC1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Полилиния: фигура 95">
              <a:extLst>
                <a:ext uri="{FF2B5EF4-FFF2-40B4-BE49-F238E27FC236}">
                  <a16:creationId xmlns:a16="http://schemas.microsoft.com/office/drawing/2014/main" id="{9A1A78D4-29DC-474D-98E7-A92F4B0A90CD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Полилиния: фигура 96">
              <a:extLst>
                <a:ext uri="{FF2B5EF4-FFF2-40B4-BE49-F238E27FC236}">
                  <a16:creationId xmlns:a16="http://schemas.microsoft.com/office/drawing/2014/main" id="{D6A7AA67-C7B4-4520-EBCD-AF8BE1AD1198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Полилиния: фигура 97">
              <a:extLst>
                <a:ext uri="{FF2B5EF4-FFF2-40B4-BE49-F238E27FC236}">
                  <a16:creationId xmlns:a16="http://schemas.microsoft.com/office/drawing/2014/main" id="{D20415EB-ED5E-5235-0EAE-2EAF652432C0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Полилиния: фигура 99">
              <a:extLst>
                <a:ext uri="{FF2B5EF4-FFF2-40B4-BE49-F238E27FC236}">
                  <a16:creationId xmlns:a16="http://schemas.microsoft.com/office/drawing/2014/main" id="{152FC6B9-D657-0563-6A0C-099048BB738D}"/>
                </a:ext>
              </a:extLst>
            </p:cNvPr>
            <p:cNvSpPr/>
            <p:nvPr/>
          </p:nvSpPr>
          <p:spPr>
            <a:xfrm>
              <a:off x="8886079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Полилиния: фигура 100">
              <a:extLst>
                <a:ext uri="{FF2B5EF4-FFF2-40B4-BE49-F238E27FC236}">
                  <a16:creationId xmlns:a16="http://schemas.microsoft.com/office/drawing/2014/main" id="{68FA2434-9773-3100-E7E8-ABFD1A4CE02B}"/>
                </a:ext>
              </a:extLst>
            </p:cNvPr>
            <p:cNvSpPr/>
            <p:nvPr/>
          </p:nvSpPr>
          <p:spPr>
            <a:xfrm>
              <a:off x="8396222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Полилиния: фигура 101">
              <a:extLst>
                <a:ext uri="{FF2B5EF4-FFF2-40B4-BE49-F238E27FC236}">
                  <a16:creationId xmlns:a16="http://schemas.microsoft.com/office/drawing/2014/main" id="{98DB10FD-4F0D-930E-0BEB-87ED4C7A2599}"/>
                </a:ext>
              </a:extLst>
            </p:cNvPr>
            <p:cNvSpPr/>
            <p:nvPr/>
          </p:nvSpPr>
          <p:spPr>
            <a:xfrm>
              <a:off x="8886079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Полилиния: фигура 102">
              <a:extLst>
                <a:ext uri="{FF2B5EF4-FFF2-40B4-BE49-F238E27FC236}">
                  <a16:creationId xmlns:a16="http://schemas.microsoft.com/office/drawing/2014/main" id="{804A6F9D-B6D0-ABAE-F6D4-C39115C3EE49}"/>
                </a:ext>
              </a:extLst>
            </p:cNvPr>
            <p:cNvSpPr/>
            <p:nvPr/>
          </p:nvSpPr>
          <p:spPr>
            <a:xfrm>
              <a:off x="8641150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Полилиния: фигура 103">
              <a:extLst>
                <a:ext uri="{FF2B5EF4-FFF2-40B4-BE49-F238E27FC236}">
                  <a16:creationId xmlns:a16="http://schemas.microsoft.com/office/drawing/2014/main" id="{DBE9AE2F-8403-94CC-6FA2-45F66F486747}"/>
                </a:ext>
              </a:extLst>
            </p:cNvPr>
            <p:cNvSpPr/>
            <p:nvPr/>
          </p:nvSpPr>
          <p:spPr>
            <a:xfrm>
              <a:off x="8396222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Полилиния: фигура 105">
              <a:extLst>
                <a:ext uri="{FF2B5EF4-FFF2-40B4-BE49-F238E27FC236}">
                  <a16:creationId xmlns:a16="http://schemas.microsoft.com/office/drawing/2014/main" id="{221F817F-7EC3-54E3-C932-F09C8401708B}"/>
                </a:ext>
              </a:extLst>
            </p:cNvPr>
            <p:cNvSpPr/>
            <p:nvPr userDrawn="1"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Полилиния: фигура 106">
              <a:extLst>
                <a:ext uri="{FF2B5EF4-FFF2-40B4-BE49-F238E27FC236}">
                  <a16:creationId xmlns:a16="http://schemas.microsoft.com/office/drawing/2014/main" id="{CF9A9883-D805-017B-FC4D-85501BEA2102}"/>
                </a:ext>
              </a:extLst>
            </p:cNvPr>
            <p:cNvSpPr/>
            <p:nvPr userDrawn="1"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Полилиния: фигура 107">
              <a:extLst>
                <a:ext uri="{FF2B5EF4-FFF2-40B4-BE49-F238E27FC236}">
                  <a16:creationId xmlns:a16="http://schemas.microsoft.com/office/drawing/2014/main" id="{DC063878-F546-B7EE-03D8-FB173F2E2DC5}"/>
                </a:ext>
              </a:extLst>
            </p:cNvPr>
            <p:cNvSpPr/>
            <p:nvPr userDrawn="1"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Полилиния: фигура 108">
              <a:extLst>
                <a:ext uri="{FF2B5EF4-FFF2-40B4-BE49-F238E27FC236}">
                  <a16:creationId xmlns:a16="http://schemas.microsoft.com/office/drawing/2014/main" id="{B1DD7367-C17C-4447-675A-13AE0E3EAFE8}"/>
                </a:ext>
              </a:extLst>
            </p:cNvPr>
            <p:cNvSpPr/>
            <p:nvPr userDrawn="1"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Полилиния: фигура 110">
              <a:extLst>
                <a:ext uri="{FF2B5EF4-FFF2-40B4-BE49-F238E27FC236}">
                  <a16:creationId xmlns:a16="http://schemas.microsoft.com/office/drawing/2014/main" id="{11C01802-A229-F95E-4D88-5A0B0E4362C3}"/>
                </a:ext>
              </a:extLst>
            </p:cNvPr>
            <p:cNvSpPr/>
            <p:nvPr/>
          </p:nvSpPr>
          <p:spPr>
            <a:xfrm rot="16200000">
              <a:off x="10229248" y="1955232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Полилиния: фигура 111">
              <a:extLst>
                <a:ext uri="{FF2B5EF4-FFF2-40B4-BE49-F238E27FC236}">
                  <a16:creationId xmlns:a16="http://schemas.microsoft.com/office/drawing/2014/main" id="{4CF64195-5C84-6E06-EA28-632701FF62FA}"/>
                </a:ext>
              </a:extLst>
            </p:cNvPr>
            <p:cNvSpPr/>
            <p:nvPr/>
          </p:nvSpPr>
          <p:spPr>
            <a:xfrm>
              <a:off x="10218043" y="2449310"/>
              <a:ext cx="499188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Полилиния: фигура 112">
              <a:extLst>
                <a:ext uri="{FF2B5EF4-FFF2-40B4-BE49-F238E27FC236}">
                  <a16:creationId xmlns:a16="http://schemas.microsoft.com/office/drawing/2014/main" id="{A232DDF6-FFE9-4A7C-95FA-78B6B0B68787}"/>
                </a:ext>
              </a:extLst>
            </p:cNvPr>
            <p:cNvSpPr/>
            <p:nvPr/>
          </p:nvSpPr>
          <p:spPr>
            <a:xfrm>
              <a:off x="10218043" y="1956342"/>
              <a:ext cx="499188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Полилиния: фигура 113">
              <a:extLst>
                <a:ext uri="{FF2B5EF4-FFF2-40B4-BE49-F238E27FC236}">
                  <a16:creationId xmlns:a16="http://schemas.microsoft.com/office/drawing/2014/main" id="{F87E652F-7893-9F92-6C7A-03C586308241}"/>
                </a:ext>
              </a:extLst>
            </p:cNvPr>
            <p:cNvSpPr/>
            <p:nvPr/>
          </p:nvSpPr>
          <p:spPr>
            <a:xfrm>
              <a:off x="10722404" y="195634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Полилиния: фигура 114">
              <a:extLst>
                <a:ext uri="{FF2B5EF4-FFF2-40B4-BE49-F238E27FC236}">
                  <a16:creationId xmlns:a16="http://schemas.microsoft.com/office/drawing/2014/main" id="{E52A84F5-A190-3CBA-533E-1D627B7406C3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Полилиния: фигура 116">
              <a:extLst>
                <a:ext uri="{FF2B5EF4-FFF2-40B4-BE49-F238E27FC236}">
                  <a16:creationId xmlns:a16="http://schemas.microsoft.com/office/drawing/2014/main" id="{8020401A-CB1E-7102-5C24-F4A4AA6155A6}"/>
                </a:ext>
              </a:extLst>
            </p:cNvPr>
            <p:cNvSpPr/>
            <p:nvPr/>
          </p:nvSpPr>
          <p:spPr>
            <a:xfrm rot="16200000">
              <a:off x="10229248" y="2927837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3" name="Группа 142">
              <a:extLst>
                <a:ext uri="{FF2B5EF4-FFF2-40B4-BE49-F238E27FC236}">
                  <a16:creationId xmlns:a16="http://schemas.microsoft.com/office/drawing/2014/main" id="{55BFAE82-8F16-9F3B-4729-653EB69CB0F7}"/>
                </a:ext>
              </a:extLst>
            </p:cNvPr>
            <p:cNvGrpSpPr/>
            <p:nvPr/>
          </p:nvGrpSpPr>
          <p:grpSpPr>
            <a:xfrm>
              <a:off x="10562417" y="3072801"/>
              <a:ext cx="240030" cy="160281"/>
              <a:chOff x="10562417" y="3072801"/>
              <a:chExt cx="240030" cy="160281"/>
            </a:xfrm>
          </p:grpSpPr>
          <p:sp>
            <p:nvSpPr>
              <p:cNvPr id="236" name="Полилиния: фигура 117">
                <a:extLst>
                  <a:ext uri="{FF2B5EF4-FFF2-40B4-BE49-F238E27FC236}">
                    <a16:creationId xmlns:a16="http://schemas.microsoft.com/office/drawing/2014/main" id="{A881E735-97A3-0633-9C8E-4D7471867FE6}"/>
                  </a:ext>
                </a:extLst>
              </p:cNvPr>
              <p:cNvSpPr/>
              <p:nvPr userDrawn="1"/>
            </p:nvSpPr>
            <p:spPr>
              <a:xfrm>
                <a:off x="10722404" y="3152843"/>
                <a:ext cx="80043" cy="80238"/>
              </a:xfrm>
              <a:custGeom>
                <a:avLst/>
                <a:gdLst>
                  <a:gd name="connsiteX0" fmla="*/ 79733 w 80043"/>
                  <a:gd name="connsiteY0" fmla="*/ -240 h 80238"/>
                  <a:gd name="connsiteX1" fmla="*/ -310 w 80043"/>
                  <a:gd name="connsiteY1" fmla="*/ 79607 h 80238"/>
                  <a:gd name="connsiteX2" fmla="*/ -310 w 80043"/>
                  <a:gd name="connsiteY2" fmla="*/ 79999 h 80238"/>
                  <a:gd name="connsiteX3" fmla="*/ 79733 w 80043"/>
                  <a:gd name="connsiteY3" fmla="*/ 152 h 80238"/>
                  <a:gd name="connsiteX4" fmla="*/ 79733 w 80043"/>
                  <a:gd name="connsiteY4" fmla="*/ -240 h 8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43" h="80238">
                    <a:moveTo>
                      <a:pt x="79733" y="-240"/>
                    </a:moveTo>
                    <a:cubicBezTo>
                      <a:pt x="35548" y="-299"/>
                      <a:pt x="-212" y="35451"/>
                      <a:pt x="-310" y="79607"/>
                    </a:cubicBezTo>
                    <a:cubicBezTo>
                      <a:pt x="-310" y="79734"/>
                      <a:pt x="-310" y="79871"/>
                      <a:pt x="-310" y="79999"/>
                    </a:cubicBezTo>
                    <a:cubicBezTo>
                      <a:pt x="43875" y="80057"/>
                      <a:pt x="79635" y="44308"/>
                      <a:pt x="79733" y="152"/>
                    </a:cubicBezTo>
                    <a:cubicBezTo>
                      <a:pt x="79733" y="24"/>
                      <a:pt x="79733" y="-113"/>
                      <a:pt x="79733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Полилиния: фигура 118">
                <a:extLst>
                  <a:ext uri="{FF2B5EF4-FFF2-40B4-BE49-F238E27FC236}">
                    <a16:creationId xmlns:a16="http://schemas.microsoft.com/office/drawing/2014/main" id="{DB7BD1C1-1207-FF95-3C79-C6385CC944E7}"/>
                  </a:ext>
                </a:extLst>
              </p:cNvPr>
              <p:cNvSpPr/>
              <p:nvPr userDrawn="1"/>
            </p:nvSpPr>
            <p:spPr>
              <a:xfrm>
                <a:off x="10562417" y="3072801"/>
                <a:ext cx="159987" cy="160281"/>
              </a:xfrm>
              <a:custGeom>
                <a:avLst/>
                <a:gdLst>
                  <a:gd name="connsiteX0" fmla="*/ -310 w 159987"/>
                  <a:gd name="connsiteY0" fmla="*/ -240 h 160281"/>
                  <a:gd name="connsiteX1" fmla="*/ 159383 w 159987"/>
                  <a:gd name="connsiteY1" fmla="*/ 160041 h 160281"/>
                  <a:gd name="connsiteX2" fmla="*/ 159677 w 159987"/>
                  <a:gd name="connsiteY2" fmla="*/ 160041 h 160281"/>
                  <a:gd name="connsiteX3" fmla="*/ -17 w 159987"/>
                  <a:gd name="connsiteY3" fmla="*/ -240 h 160281"/>
                  <a:gd name="connsiteX4" fmla="*/ -310 w 159987"/>
                  <a:gd name="connsiteY4" fmla="*/ -240 h 1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987" h="160281">
                    <a:moveTo>
                      <a:pt x="-310" y="-240"/>
                    </a:moveTo>
                    <a:cubicBezTo>
                      <a:pt x="-506" y="88120"/>
                      <a:pt x="71013" y="159874"/>
                      <a:pt x="159383" y="160041"/>
                    </a:cubicBezTo>
                    <a:cubicBezTo>
                      <a:pt x="159481" y="160041"/>
                      <a:pt x="159579" y="160041"/>
                      <a:pt x="159677" y="160041"/>
                    </a:cubicBezTo>
                    <a:cubicBezTo>
                      <a:pt x="159873" y="71681"/>
                      <a:pt x="88354" y="-74"/>
                      <a:pt x="-17" y="-240"/>
                    </a:cubicBezTo>
                    <a:cubicBezTo>
                      <a:pt x="-115" y="-240"/>
                      <a:pt x="-212" y="-240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4" name="Полилиния: фигура 119">
              <a:extLst>
                <a:ext uri="{FF2B5EF4-FFF2-40B4-BE49-F238E27FC236}">
                  <a16:creationId xmlns:a16="http://schemas.microsoft.com/office/drawing/2014/main" id="{9AB5CFF2-BC5D-D96E-96E9-9F3FEBE273D3}"/>
                </a:ext>
              </a:extLst>
            </p:cNvPr>
            <p:cNvSpPr/>
            <p:nvPr/>
          </p:nvSpPr>
          <p:spPr>
            <a:xfrm>
              <a:off x="10579947" y="3232812"/>
              <a:ext cx="284927" cy="503156"/>
            </a:xfrm>
            <a:custGeom>
              <a:avLst/>
              <a:gdLst>
                <a:gd name="connsiteX0" fmla="*/ 142147 w 284927"/>
                <a:gd name="connsiteY0" fmla="*/ 502917 h 503156"/>
                <a:gd name="connsiteX1" fmla="*/ 284206 w 284927"/>
                <a:gd name="connsiteY1" fmla="*/ 134152 h 503156"/>
                <a:gd name="connsiteX2" fmla="*/ 89 w 284927"/>
                <a:gd name="connsiteY2" fmla="*/ 134152 h 503156"/>
                <a:gd name="connsiteX3" fmla="*/ 142147 w 284927"/>
                <a:gd name="connsiteY3" fmla="*/ 502917 h 5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27" h="503156">
                  <a:moveTo>
                    <a:pt x="142147" y="502917"/>
                  </a:moveTo>
                  <a:cubicBezTo>
                    <a:pt x="238355" y="404857"/>
                    <a:pt x="289790" y="271410"/>
                    <a:pt x="284206" y="134152"/>
                  </a:cubicBezTo>
                  <a:cubicBezTo>
                    <a:pt x="277543" y="-45037"/>
                    <a:pt x="6848" y="-45037"/>
                    <a:pt x="89" y="134152"/>
                  </a:cubicBezTo>
                  <a:cubicBezTo>
                    <a:pt x="-5398" y="271400"/>
                    <a:pt x="45940" y="404837"/>
                    <a:pt x="142147" y="502917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Полилиния: фигура 121">
              <a:extLst>
                <a:ext uri="{FF2B5EF4-FFF2-40B4-BE49-F238E27FC236}">
                  <a16:creationId xmlns:a16="http://schemas.microsoft.com/office/drawing/2014/main" id="{5724ABB9-23F9-557B-640F-4EDA08185EA2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Полилиния: фигура 122">
              <a:extLst>
                <a:ext uri="{FF2B5EF4-FFF2-40B4-BE49-F238E27FC236}">
                  <a16:creationId xmlns:a16="http://schemas.microsoft.com/office/drawing/2014/main" id="{2E6D9482-2CA0-8F16-ADC6-1839E26E999F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Полилиния: фигура 123">
              <a:extLst>
                <a:ext uri="{FF2B5EF4-FFF2-40B4-BE49-F238E27FC236}">
                  <a16:creationId xmlns:a16="http://schemas.microsoft.com/office/drawing/2014/main" id="{32880002-40DF-0E72-E8B9-259EBD329D29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Полилиния: фигура 125">
              <a:extLst>
                <a:ext uri="{FF2B5EF4-FFF2-40B4-BE49-F238E27FC236}">
                  <a16:creationId xmlns:a16="http://schemas.microsoft.com/office/drawing/2014/main" id="{7C23478D-CA78-9564-4653-E6EE3B7F9873}"/>
                </a:ext>
              </a:extLst>
            </p:cNvPr>
            <p:cNvSpPr/>
            <p:nvPr/>
          </p:nvSpPr>
          <p:spPr>
            <a:xfrm>
              <a:off x="11701548" y="440093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Полилиния: фигура 126">
              <a:extLst>
                <a:ext uri="{FF2B5EF4-FFF2-40B4-BE49-F238E27FC236}">
                  <a16:creationId xmlns:a16="http://schemas.microsoft.com/office/drawing/2014/main" id="{880455E5-D941-01B7-2E0B-428B3E1168AF}"/>
                </a:ext>
              </a:extLst>
            </p:cNvPr>
            <p:cNvSpPr/>
            <p:nvPr/>
          </p:nvSpPr>
          <p:spPr>
            <a:xfrm>
              <a:off x="11211691" y="391107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Полилиния: фигура 127">
              <a:extLst>
                <a:ext uri="{FF2B5EF4-FFF2-40B4-BE49-F238E27FC236}">
                  <a16:creationId xmlns:a16="http://schemas.microsoft.com/office/drawing/2014/main" id="{97F171CD-74ED-E86B-FCA3-2D8AB57BCA8F}"/>
                </a:ext>
              </a:extLst>
            </p:cNvPr>
            <p:cNvSpPr/>
            <p:nvPr/>
          </p:nvSpPr>
          <p:spPr>
            <a:xfrm>
              <a:off x="11701548" y="391107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Полилиния: фигура 128">
              <a:extLst>
                <a:ext uri="{FF2B5EF4-FFF2-40B4-BE49-F238E27FC236}">
                  <a16:creationId xmlns:a16="http://schemas.microsoft.com/office/drawing/2014/main" id="{6B5C7B98-9AF3-A3C5-CC56-1F8415A3BBFA}"/>
                </a:ext>
              </a:extLst>
            </p:cNvPr>
            <p:cNvSpPr/>
            <p:nvPr/>
          </p:nvSpPr>
          <p:spPr>
            <a:xfrm>
              <a:off x="11211691" y="440093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Полилиния: фигура 130">
              <a:extLst>
                <a:ext uri="{FF2B5EF4-FFF2-40B4-BE49-F238E27FC236}">
                  <a16:creationId xmlns:a16="http://schemas.microsoft.com/office/drawing/2014/main" id="{E7E3018D-75B7-25D3-F819-65B4866C5B11}"/>
                </a:ext>
              </a:extLst>
            </p:cNvPr>
            <p:cNvSpPr/>
            <p:nvPr/>
          </p:nvSpPr>
          <p:spPr>
            <a:xfrm>
              <a:off x="7564294" y="1321178"/>
              <a:ext cx="437931" cy="274907"/>
            </a:xfrm>
            <a:custGeom>
              <a:avLst/>
              <a:gdLst>
                <a:gd name="connsiteX0" fmla="*/ 297270 w 437931"/>
                <a:gd name="connsiteY0" fmla="*/ 274668 h 274907"/>
                <a:gd name="connsiteX1" fmla="*/ 134245 w 437931"/>
                <a:gd name="connsiteY1" fmla="*/ 274668 h 274907"/>
                <a:gd name="connsiteX2" fmla="*/ -3207 w 437931"/>
                <a:gd name="connsiteY2" fmla="*/ 137214 h 274907"/>
                <a:gd name="connsiteX3" fmla="*/ 134245 w 437931"/>
                <a:gd name="connsiteY3" fmla="*/ -240 h 274907"/>
                <a:gd name="connsiteX4" fmla="*/ 297270 w 437931"/>
                <a:gd name="connsiteY4" fmla="*/ -240 h 274907"/>
                <a:gd name="connsiteX5" fmla="*/ 434725 w 437931"/>
                <a:gd name="connsiteY5" fmla="*/ 137214 h 274907"/>
                <a:gd name="connsiteX6" fmla="*/ 297270 w 437931"/>
                <a:gd name="connsiteY6" fmla="*/ 274668 h 27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931" h="274907">
                  <a:moveTo>
                    <a:pt x="297270" y="274668"/>
                  </a:moveTo>
                  <a:lnTo>
                    <a:pt x="134245" y="274668"/>
                  </a:lnTo>
                  <a:cubicBezTo>
                    <a:pt x="58317" y="274668"/>
                    <a:pt x="-3207" y="213132"/>
                    <a:pt x="-3207" y="137214"/>
                  </a:cubicBezTo>
                  <a:cubicBezTo>
                    <a:pt x="-3207" y="61296"/>
                    <a:pt x="58317" y="-240"/>
                    <a:pt x="134245" y="-240"/>
                  </a:cubicBezTo>
                  <a:lnTo>
                    <a:pt x="297270" y="-240"/>
                  </a:lnTo>
                  <a:cubicBezTo>
                    <a:pt x="373198" y="-240"/>
                    <a:pt x="434725" y="61296"/>
                    <a:pt x="434725" y="137214"/>
                  </a:cubicBezTo>
                  <a:cubicBezTo>
                    <a:pt x="434725" y="213132"/>
                    <a:pt x="373198" y="274668"/>
                    <a:pt x="297270" y="274668"/>
                  </a:cubicBezTo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3" name="Группа 139">
              <a:extLst>
                <a:ext uri="{FF2B5EF4-FFF2-40B4-BE49-F238E27FC236}">
                  <a16:creationId xmlns:a16="http://schemas.microsoft.com/office/drawing/2014/main" id="{C1B504CE-0FB3-5DDF-21DE-5E26A943F780}"/>
                </a:ext>
              </a:extLst>
            </p:cNvPr>
            <p:cNvGrpSpPr/>
            <p:nvPr/>
          </p:nvGrpSpPr>
          <p:grpSpPr>
            <a:xfrm>
              <a:off x="7431641" y="1321766"/>
              <a:ext cx="703239" cy="274320"/>
              <a:chOff x="7431641" y="1321766"/>
              <a:chExt cx="703239" cy="274320"/>
            </a:xfrm>
          </p:grpSpPr>
          <p:sp>
            <p:nvSpPr>
              <p:cNvPr id="234" name="Полилиния: фигура 131">
                <a:extLst>
                  <a:ext uri="{FF2B5EF4-FFF2-40B4-BE49-F238E27FC236}">
                    <a16:creationId xmlns:a16="http://schemas.microsoft.com/office/drawing/2014/main" id="{50082B8F-F977-7DDB-6F97-4532406ECC27}"/>
                  </a:ext>
                </a:extLst>
              </p:cNvPr>
              <p:cNvSpPr/>
              <p:nvPr userDrawn="1"/>
            </p:nvSpPr>
            <p:spPr>
              <a:xfrm>
                <a:off x="7997720" y="1321766"/>
                <a:ext cx="137160" cy="274320"/>
              </a:xfrm>
              <a:custGeom>
                <a:avLst/>
                <a:gdLst>
                  <a:gd name="connsiteX0" fmla="*/ 133953 w 137160"/>
                  <a:gd name="connsiteY0" fmla="*/ -240 h 274320"/>
                  <a:gd name="connsiteX1" fmla="*/ -3207 w 137160"/>
                  <a:gd name="connsiteY1" fmla="*/ 136920 h 274320"/>
                  <a:gd name="connsiteX2" fmla="*/ 133953 w 137160"/>
                  <a:gd name="connsiteY2" fmla="*/ 27408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133953" y="-240"/>
                    </a:moveTo>
                    <a:cubicBezTo>
                      <a:pt x="58219" y="-240"/>
                      <a:pt x="-3207" y="61169"/>
                      <a:pt x="-3207" y="136920"/>
                    </a:cubicBezTo>
                    <a:cubicBezTo>
                      <a:pt x="-3207" y="212671"/>
                      <a:pt x="58219" y="274080"/>
                      <a:pt x="133953" y="27408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Полилиния: фигура 132">
                <a:extLst>
                  <a:ext uri="{FF2B5EF4-FFF2-40B4-BE49-F238E27FC236}">
                    <a16:creationId xmlns:a16="http://schemas.microsoft.com/office/drawing/2014/main" id="{3A232097-AB6A-7375-0DA6-83BC51B54CD8}"/>
                  </a:ext>
                </a:extLst>
              </p:cNvPr>
              <p:cNvSpPr/>
              <p:nvPr userDrawn="1"/>
            </p:nvSpPr>
            <p:spPr>
              <a:xfrm>
                <a:off x="7431641" y="1321766"/>
                <a:ext cx="137160" cy="274320"/>
              </a:xfrm>
              <a:custGeom>
                <a:avLst/>
                <a:gdLst>
                  <a:gd name="connsiteX0" fmla="*/ -3207 w 137160"/>
                  <a:gd name="connsiteY0" fmla="*/ 274080 h 274320"/>
                  <a:gd name="connsiteX1" fmla="*/ 133953 w 137160"/>
                  <a:gd name="connsiteY1" fmla="*/ 136920 h 274320"/>
                  <a:gd name="connsiteX2" fmla="*/ -3207 w 137160"/>
                  <a:gd name="connsiteY2" fmla="*/ -24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-3207" y="274080"/>
                    </a:moveTo>
                    <a:cubicBezTo>
                      <a:pt x="72525" y="274080"/>
                      <a:pt x="133953" y="212671"/>
                      <a:pt x="133953" y="136920"/>
                    </a:cubicBezTo>
                    <a:cubicBezTo>
                      <a:pt x="133953" y="61169"/>
                      <a:pt x="72525" y="-240"/>
                      <a:pt x="-3207" y="-2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5024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59</a:t>
            </a:fld>
            <a:endParaRPr lang="en-US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0462" y="1460388"/>
            <a:ext cx="5408999" cy="391462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55415" y="2532224"/>
            <a:ext cx="578021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dirty="0"/>
              <a:t> </a:t>
            </a:r>
            <a:endParaRPr lang="ru-RU" dirty="0" smtClean="0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0C63AE83-3655-4706-87F3-FE4BE48A95B2}"/>
              </a:ext>
            </a:extLst>
          </p:cNvPr>
          <p:cNvGrpSpPr/>
          <p:nvPr/>
        </p:nvGrpSpPr>
        <p:grpSpPr>
          <a:xfrm>
            <a:off x="564747" y="1632052"/>
            <a:ext cx="429260" cy="814387"/>
            <a:chOff x="571500" y="1170623"/>
            <a:chExt cx="429260" cy="81438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6A0747A-AF9C-49F9-A9B2-46C29C84476B}"/>
                </a:ext>
              </a:extLst>
            </p:cNvPr>
            <p:cNvSpPr txBox="1"/>
            <p:nvPr/>
          </p:nvSpPr>
          <p:spPr>
            <a:xfrm>
              <a:off x="571500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083">
                <a:defRPr/>
              </a:pPr>
              <a:endParaRPr lang="ru-RU" b="1" dirty="0">
                <a:solidFill>
                  <a:schemeClr val="tx2"/>
                </a:solidFill>
              </a:endParaRPr>
            </a:p>
          </p:txBody>
        </p: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1299959B-9B4A-424C-89AA-AC008015B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0C63AE83-3655-4706-87F3-FE4BE48A95B2}"/>
              </a:ext>
            </a:extLst>
          </p:cNvPr>
          <p:cNvGrpSpPr/>
          <p:nvPr/>
        </p:nvGrpSpPr>
        <p:grpSpPr>
          <a:xfrm>
            <a:off x="577175" y="4025493"/>
            <a:ext cx="429260" cy="814387"/>
            <a:chOff x="571500" y="1170623"/>
            <a:chExt cx="429260" cy="814387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6A0747A-AF9C-49F9-A9B2-46C29C84476B}"/>
                </a:ext>
              </a:extLst>
            </p:cNvPr>
            <p:cNvSpPr txBox="1"/>
            <p:nvPr/>
          </p:nvSpPr>
          <p:spPr>
            <a:xfrm>
              <a:off x="571500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083">
                <a:defRPr/>
              </a:pPr>
              <a:endParaRPr lang="ru-RU" b="1" dirty="0">
                <a:solidFill>
                  <a:schemeClr val="tx2"/>
                </a:solidFill>
              </a:endParaRPr>
            </a:p>
          </p:txBody>
        </p: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1299959B-9B4A-424C-89AA-AC008015B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0C63AE83-3655-4706-87F3-FE4BE48A95B2}"/>
              </a:ext>
            </a:extLst>
          </p:cNvPr>
          <p:cNvGrpSpPr/>
          <p:nvPr/>
        </p:nvGrpSpPr>
        <p:grpSpPr>
          <a:xfrm>
            <a:off x="589241" y="2716362"/>
            <a:ext cx="429260" cy="814387"/>
            <a:chOff x="571500" y="1170623"/>
            <a:chExt cx="429260" cy="814387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6A0747A-AF9C-49F9-A9B2-46C29C84476B}"/>
                </a:ext>
              </a:extLst>
            </p:cNvPr>
            <p:cNvSpPr txBox="1"/>
            <p:nvPr/>
          </p:nvSpPr>
          <p:spPr>
            <a:xfrm>
              <a:off x="571500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083">
                <a:defRPr/>
              </a:pPr>
              <a:endParaRPr lang="ru-RU" b="1" dirty="0">
                <a:solidFill>
                  <a:schemeClr val="tx2"/>
                </a:solidFill>
              </a:endParaRPr>
            </a:p>
          </p:txBody>
        </p: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1299959B-9B4A-424C-89AA-AC008015B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98509EA-83BE-45AD-BA7B-3A8738D7A8EC}"/>
              </a:ext>
            </a:extLst>
          </p:cNvPr>
          <p:cNvSpPr txBox="1"/>
          <p:nvPr/>
        </p:nvSpPr>
        <p:spPr>
          <a:xfrm>
            <a:off x="1222455" y="1678969"/>
            <a:ext cx="3833597" cy="55399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r>
              <a:rPr lang="ru-RU" sz="1200" b="1" dirty="0"/>
              <a:t>Отдел качества </a:t>
            </a:r>
            <a:r>
              <a:rPr lang="ru-RU" sz="1200" dirty="0"/>
              <a:t>– гарант высоких стандартов качества и безопасности     продукции  для наших покупателей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F8DB45D-91EB-4803-9AED-4D05590C0ADF}"/>
              </a:ext>
            </a:extLst>
          </p:cNvPr>
          <p:cNvSpPr txBox="1"/>
          <p:nvPr/>
        </p:nvSpPr>
        <p:spPr>
          <a:xfrm>
            <a:off x="1231688" y="2763204"/>
            <a:ext cx="3831708" cy="73866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r>
              <a:rPr lang="ru-RU" sz="1200" b="1" dirty="0"/>
              <a:t>Качество продукции </a:t>
            </a:r>
            <a:r>
              <a:rPr lang="ru-RU" sz="1200" dirty="0"/>
              <a:t>- это совокупность свойств продукции, обусловливающих её способность удовлетворять определённые потребности в соответствии с её назначением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51776A-78A9-49C0-8121-E69A44674E55}"/>
              </a:ext>
            </a:extLst>
          </p:cNvPr>
          <p:cNvSpPr txBox="1"/>
          <p:nvPr/>
        </p:nvSpPr>
        <p:spPr>
          <a:xfrm>
            <a:off x="1175368" y="3998969"/>
            <a:ext cx="3833597" cy="923330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r>
              <a:rPr lang="ru-RU" sz="1200" b="1" dirty="0"/>
              <a:t>Претензионный отдел </a:t>
            </a:r>
            <a:r>
              <a:rPr lang="ru-RU" sz="1200" dirty="0"/>
              <a:t>выполняет роль связующего звена между </a:t>
            </a:r>
            <a:r>
              <a:rPr lang="ru-RU" sz="1200" dirty="0" smtClean="0"/>
              <a:t>покупателями </a:t>
            </a:r>
            <a:r>
              <a:rPr lang="ru-RU" sz="1200" dirty="0"/>
              <a:t>и </a:t>
            </a:r>
            <a:r>
              <a:rPr lang="ru-RU" sz="1200" dirty="0" smtClean="0"/>
              <a:t>поставщиками, </a:t>
            </a:r>
            <a:r>
              <a:rPr lang="ru-RU" sz="1200" dirty="0"/>
              <a:t>обеспечивая обратную связь, способствуя улучшению качества </a:t>
            </a:r>
            <a:r>
              <a:rPr lang="ru-RU" sz="1200" dirty="0" smtClean="0"/>
              <a:t>продукции реализуемой в наших магазинах.</a:t>
            </a:r>
            <a:endParaRPr lang="ru-RU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0A4B627-C332-413B-8378-456924CA4290}"/>
              </a:ext>
            </a:extLst>
          </p:cNvPr>
          <p:cNvSpPr txBox="1"/>
          <p:nvPr/>
        </p:nvSpPr>
        <p:spPr>
          <a:xfrm>
            <a:off x="1018414" y="845827"/>
            <a:ext cx="4179252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685800"/>
            <a:r>
              <a:rPr lang="ru-RU" sz="1400" b="1" dirty="0" smtClean="0">
                <a:solidFill>
                  <a:schemeClr val="tx2"/>
                </a:solidFill>
                <a:cs typeface="Calibri" panose="020F0502020204030204" pitchFamily="34" charset="0"/>
              </a:rPr>
              <a:t>Общие тезисы</a:t>
            </a:r>
            <a:endParaRPr lang="ru-RU" sz="1400" b="1" kern="1200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8D339BE9-332A-C03D-7F64-F371E29AA4B0}"/>
              </a:ext>
            </a:extLst>
          </p:cNvPr>
          <p:cNvGrpSpPr/>
          <p:nvPr/>
        </p:nvGrpSpPr>
        <p:grpSpPr>
          <a:xfrm>
            <a:off x="736189" y="598205"/>
            <a:ext cx="4868540" cy="5807326"/>
            <a:chOff x="8103066" y="1198563"/>
            <a:chExt cx="3519022" cy="5083175"/>
          </a:xfrm>
        </p:grpSpPr>
        <p:grpSp>
          <p:nvGrpSpPr>
            <p:cNvPr id="28" name="Группа 27">
              <a:extLst>
                <a:ext uri="{FF2B5EF4-FFF2-40B4-BE49-F238E27FC236}">
                  <a16:creationId xmlns:a16="http://schemas.microsoft.com/office/drawing/2014/main" id="{CEBCF1FF-2E3F-4857-B85A-AF691CDFB51D}"/>
                </a:ext>
              </a:extLst>
            </p:cNvPr>
            <p:cNvGrpSpPr/>
            <p:nvPr/>
          </p:nvGrpSpPr>
          <p:grpSpPr>
            <a:xfrm>
              <a:off x="8103066" y="1198563"/>
              <a:ext cx="3519022" cy="5083175"/>
              <a:chOff x="568790" y="1198563"/>
              <a:chExt cx="3519022" cy="3338710"/>
            </a:xfrm>
          </p:grpSpPr>
          <p:sp>
            <p:nvSpPr>
              <p:cNvPr id="30" name="Прямоугольник 29">
                <a:extLst>
                  <a:ext uri="{FF2B5EF4-FFF2-40B4-BE49-F238E27FC236}">
                    <a16:creationId xmlns:a16="http://schemas.microsoft.com/office/drawing/2014/main" id="{0DFF724E-DFED-4B88-881F-49D1B408FB99}"/>
                  </a:ext>
                </a:extLst>
              </p:cNvPr>
              <p:cNvSpPr/>
              <p:nvPr/>
            </p:nvSpPr>
            <p:spPr>
              <a:xfrm>
                <a:off x="575959" y="1198563"/>
                <a:ext cx="3511853" cy="333871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ru-RU" sz="1400" dirty="0">
                  <a:latin typeface="+mj-lt"/>
                </a:endParaRPr>
              </a:p>
            </p:txBody>
          </p:sp>
          <p:cxnSp>
            <p:nvCxnSpPr>
              <p:cNvPr id="31" name="Прямая соединительная линия 30">
                <a:extLst>
                  <a:ext uri="{FF2B5EF4-FFF2-40B4-BE49-F238E27FC236}">
                    <a16:creationId xmlns:a16="http://schemas.microsoft.com/office/drawing/2014/main" id="{EEEAFE08-AE25-4568-9858-5374494EAC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8790" y="1198563"/>
                <a:ext cx="3519022" cy="0"/>
              </a:xfrm>
              <a:prstGeom prst="line">
                <a:avLst/>
              </a:prstGeom>
              <a:ln w="285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id="{A746D731-4668-B2E0-F8F8-5FEF4054438D}"/>
                </a:ext>
              </a:extLst>
            </p:cNvPr>
            <p:cNvCxnSpPr>
              <a:cxnSpLocks/>
            </p:cNvCxnSpPr>
            <p:nvPr/>
          </p:nvCxnSpPr>
          <p:spPr>
            <a:xfrm>
              <a:off x="8103066" y="1780587"/>
              <a:ext cx="351902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A746D731-4668-B2E0-F8F8-5FEF4054438D}"/>
              </a:ext>
            </a:extLst>
          </p:cNvPr>
          <p:cNvCxnSpPr>
            <a:cxnSpLocks/>
          </p:cNvCxnSpPr>
          <p:nvPr/>
        </p:nvCxnSpPr>
        <p:spPr>
          <a:xfrm>
            <a:off x="746107" y="2532224"/>
            <a:ext cx="486854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A746D731-4668-B2E0-F8F8-5FEF4054438D}"/>
              </a:ext>
            </a:extLst>
          </p:cNvPr>
          <p:cNvCxnSpPr>
            <a:cxnSpLocks/>
          </p:cNvCxnSpPr>
          <p:nvPr/>
        </p:nvCxnSpPr>
        <p:spPr>
          <a:xfrm>
            <a:off x="767311" y="3836132"/>
            <a:ext cx="486854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A746D731-4668-B2E0-F8F8-5FEF4054438D}"/>
              </a:ext>
            </a:extLst>
          </p:cNvPr>
          <p:cNvCxnSpPr>
            <a:cxnSpLocks/>
          </p:cNvCxnSpPr>
          <p:nvPr/>
        </p:nvCxnSpPr>
        <p:spPr>
          <a:xfrm>
            <a:off x="736189" y="5014250"/>
            <a:ext cx="486854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0C63AE83-3655-4706-87F3-FE4BE48A95B2}"/>
              </a:ext>
            </a:extLst>
          </p:cNvPr>
          <p:cNvGrpSpPr/>
          <p:nvPr/>
        </p:nvGrpSpPr>
        <p:grpSpPr>
          <a:xfrm>
            <a:off x="589154" y="5079211"/>
            <a:ext cx="429260" cy="1276745"/>
            <a:chOff x="571500" y="1170623"/>
            <a:chExt cx="429260" cy="814387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6A0747A-AF9C-49F9-A9B2-46C29C84476B}"/>
                </a:ext>
              </a:extLst>
            </p:cNvPr>
            <p:cNvSpPr txBox="1"/>
            <p:nvPr/>
          </p:nvSpPr>
          <p:spPr>
            <a:xfrm>
              <a:off x="571500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083">
                <a:defRPr/>
              </a:pPr>
              <a:endParaRPr lang="ru-RU" b="1" dirty="0">
                <a:solidFill>
                  <a:schemeClr val="tx2"/>
                </a:solidFill>
              </a:endParaRPr>
            </a:p>
          </p:txBody>
        </p: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1299959B-9B4A-424C-89AA-AC008015B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56A0747A-AF9C-49F9-A9B2-46C29C84476B}"/>
              </a:ext>
            </a:extLst>
          </p:cNvPr>
          <p:cNvSpPr txBox="1"/>
          <p:nvPr/>
        </p:nvSpPr>
        <p:spPr>
          <a:xfrm>
            <a:off x="1435697" y="5098011"/>
            <a:ext cx="34237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44083">
              <a:defRPr/>
            </a:pP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75281" y="5111923"/>
            <a:ext cx="4176481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sz="1200" b="1" dirty="0"/>
              <a:t>Производственный брак </a:t>
            </a:r>
            <a:r>
              <a:rPr lang="ru-RU" sz="1200" dirty="0"/>
              <a:t>– </a:t>
            </a:r>
            <a:r>
              <a:rPr lang="ru-RU" sz="1200" dirty="0" smtClean="0"/>
              <a:t>продукция, </a:t>
            </a:r>
            <a:r>
              <a:rPr lang="ru-RU" sz="1200" dirty="0"/>
              <a:t>не соответствующая по качеству стандартам, техническим условиям и др. нормативно-технической документации, образующаяся на стадии производства</a:t>
            </a:r>
            <a:r>
              <a:rPr lang="ru-RU" dirty="0"/>
              <a:t>.</a:t>
            </a:r>
            <a:endParaRPr lang="ru-RU" b="1" dirty="0"/>
          </a:p>
          <a:p>
            <a:pPr algn="l"/>
            <a:endParaRPr lang="ru-RU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7748655" y="986145"/>
            <a:ext cx="251261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ru-RU" dirty="0" smtClean="0"/>
              <a:t>Пирамида качества</a:t>
            </a:r>
          </a:p>
        </p:txBody>
      </p:sp>
    </p:spTree>
    <p:extLst>
      <p:ext uri="{BB962C8B-B14F-4D97-AF65-F5344CB8AC3E}">
        <p14:creationId xmlns:p14="http://schemas.microsoft.com/office/powerpoint/2010/main" val="824816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09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126BD4-7026-48F1-B716-35B9F4737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866" y="360244"/>
            <a:ext cx="10002539" cy="677108"/>
          </a:xfrm>
        </p:spPr>
        <p:txBody>
          <a:bodyPr vert="horz"/>
          <a:lstStyle/>
          <a:p>
            <a:r>
              <a:rPr lang="ru-RU" dirty="0"/>
              <a:t>ТР ТС 022/2011 «Пищевая продукция в части </a:t>
            </a:r>
            <a:r>
              <a:rPr lang="ru-RU" dirty="0" smtClean="0"/>
              <a:t>её </a:t>
            </a:r>
            <a:r>
              <a:rPr lang="ru-RU" dirty="0"/>
              <a:t>маркировки</a:t>
            </a: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6863BC82-91CA-428C-B8DB-4FD01771815B}"/>
              </a:ext>
            </a:extLst>
          </p:cNvPr>
          <p:cNvSpPr/>
          <p:nvPr/>
        </p:nvSpPr>
        <p:spPr>
          <a:xfrm>
            <a:off x="4036785" y="2105720"/>
            <a:ext cx="4029308" cy="4029306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Овал 98">
            <a:extLst>
              <a:ext uri="{FF2B5EF4-FFF2-40B4-BE49-F238E27FC236}">
                <a16:creationId xmlns:a16="http://schemas.microsoft.com/office/drawing/2014/main" id="{D8FF0F98-6196-4219-B5B5-74B06BCC448C}"/>
              </a:ext>
            </a:extLst>
          </p:cNvPr>
          <p:cNvSpPr/>
          <p:nvPr/>
        </p:nvSpPr>
        <p:spPr>
          <a:xfrm>
            <a:off x="4580187" y="5496966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102" name="Овал 101">
            <a:extLst>
              <a:ext uri="{FF2B5EF4-FFF2-40B4-BE49-F238E27FC236}">
                <a16:creationId xmlns:a16="http://schemas.microsoft.com/office/drawing/2014/main" id="{1369001F-8F89-462B-8659-6B2ACD42EE71}"/>
              </a:ext>
            </a:extLst>
          </p:cNvPr>
          <p:cNvSpPr/>
          <p:nvPr/>
        </p:nvSpPr>
        <p:spPr>
          <a:xfrm>
            <a:off x="6898624" y="5443702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93" name="Овал 92">
            <a:extLst>
              <a:ext uri="{FF2B5EF4-FFF2-40B4-BE49-F238E27FC236}">
                <a16:creationId xmlns:a16="http://schemas.microsoft.com/office/drawing/2014/main" id="{2072F540-F939-4299-8D19-CEACB8726927}"/>
              </a:ext>
            </a:extLst>
          </p:cNvPr>
          <p:cNvSpPr/>
          <p:nvPr/>
        </p:nvSpPr>
        <p:spPr>
          <a:xfrm>
            <a:off x="3713062" y="4204648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96" name="Овал 95">
            <a:extLst>
              <a:ext uri="{FF2B5EF4-FFF2-40B4-BE49-F238E27FC236}">
                <a16:creationId xmlns:a16="http://schemas.microsoft.com/office/drawing/2014/main" id="{D87D4C82-0B02-4F6D-9CA6-2F99842A0404}"/>
              </a:ext>
            </a:extLst>
          </p:cNvPr>
          <p:cNvSpPr/>
          <p:nvPr/>
        </p:nvSpPr>
        <p:spPr>
          <a:xfrm>
            <a:off x="7729054" y="4382530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83" name="Овал 82">
            <a:extLst>
              <a:ext uri="{FF2B5EF4-FFF2-40B4-BE49-F238E27FC236}">
                <a16:creationId xmlns:a16="http://schemas.microsoft.com/office/drawing/2014/main" id="{3E27C24D-26E0-427B-9081-D7A40DBE75AE}"/>
              </a:ext>
            </a:extLst>
          </p:cNvPr>
          <p:cNvSpPr/>
          <p:nvPr/>
        </p:nvSpPr>
        <p:spPr>
          <a:xfrm>
            <a:off x="3827073" y="2911465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73" name="Овал 72">
            <a:extLst>
              <a:ext uri="{FF2B5EF4-FFF2-40B4-BE49-F238E27FC236}">
                <a16:creationId xmlns:a16="http://schemas.microsoft.com/office/drawing/2014/main" id="{A6FCD3A6-3FE7-465D-BBE4-33B7733D8A08}"/>
              </a:ext>
            </a:extLst>
          </p:cNvPr>
          <p:cNvSpPr/>
          <p:nvPr/>
        </p:nvSpPr>
        <p:spPr>
          <a:xfrm>
            <a:off x="7591516" y="2910564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70" name="Овал 69">
            <a:extLst>
              <a:ext uri="{FF2B5EF4-FFF2-40B4-BE49-F238E27FC236}">
                <a16:creationId xmlns:a16="http://schemas.microsoft.com/office/drawing/2014/main" id="{29C351A9-947A-4755-9787-107EC7A154FE}"/>
              </a:ext>
            </a:extLst>
          </p:cNvPr>
          <p:cNvSpPr/>
          <p:nvPr/>
        </p:nvSpPr>
        <p:spPr>
          <a:xfrm>
            <a:off x="4969069" y="1871704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E746A09E-A8E3-4130-A39D-1BF44C176BA8}"/>
              </a:ext>
            </a:extLst>
          </p:cNvPr>
          <p:cNvSpPr/>
          <p:nvPr/>
        </p:nvSpPr>
        <p:spPr>
          <a:xfrm>
            <a:off x="6452967" y="1871706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E79F39FD-3584-4CD2-9352-CDADF6689926}"/>
              </a:ext>
            </a:extLst>
          </p:cNvPr>
          <p:cNvSpPr/>
          <p:nvPr/>
        </p:nvSpPr>
        <p:spPr>
          <a:xfrm>
            <a:off x="7391462" y="1508815"/>
            <a:ext cx="3034346" cy="639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Наименование пищевой продукции</a:t>
            </a: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D6706DE7-A32B-4EB7-8261-954713B1BA52}"/>
              </a:ext>
            </a:extLst>
          </p:cNvPr>
          <p:cNvSpPr/>
          <p:nvPr/>
        </p:nvSpPr>
        <p:spPr>
          <a:xfrm>
            <a:off x="4384360" y="2494676"/>
            <a:ext cx="3320842" cy="3229862"/>
          </a:xfrm>
          <a:prstGeom prst="ellipse">
            <a:avLst/>
          </a:prstGeom>
          <a:noFill/>
          <a:ln w="2857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/>
              <a:t>Маркировка должна быть</a:t>
            </a:r>
            <a:r>
              <a:rPr lang="ru-RU" sz="1100" b="1" dirty="0"/>
              <a:t>:</a:t>
            </a:r>
            <a:endParaRPr lang="ru-RU" sz="1100" dirty="0"/>
          </a:p>
          <a:p>
            <a:pPr marL="171450" lvl="0" indent="-171450" algn="ctr">
              <a:buFont typeface="Wingdings" panose="05000000000000000000" pitchFamily="2" charset="2"/>
              <a:buChar char="ü"/>
            </a:pPr>
            <a:r>
              <a:rPr lang="ru-RU" sz="1200" dirty="0"/>
              <a:t>Понятной, легкочитаемой, достоверной и не вводить в заблуждение потребителя</a:t>
            </a:r>
          </a:p>
          <a:p>
            <a:pPr marL="171450" lvl="0" indent="-171450" algn="ctr">
              <a:buFont typeface="Wingdings" panose="05000000000000000000" pitchFamily="2" charset="2"/>
              <a:buChar char="ü"/>
            </a:pPr>
            <a:r>
              <a:rPr lang="ru-RU" sz="1200" dirty="0"/>
              <a:t>Надписи, знаки, символы должны быть контрастными фону</a:t>
            </a:r>
          </a:p>
          <a:p>
            <a:pPr marL="171450" lvl="0" indent="-171450" algn="ctr">
              <a:buFont typeface="Wingdings" panose="05000000000000000000" pitchFamily="2" charset="2"/>
              <a:buChar char="ü"/>
            </a:pPr>
            <a:r>
              <a:rPr lang="ru-RU" sz="1200" dirty="0"/>
              <a:t>Способ нанесения должен обеспечивать ее сохранность </a:t>
            </a:r>
          </a:p>
          <a:p>
            <a:pPr algn="ctr"/>
            <a:endParaRPr lang="ru-RU" sz="1200" dirty="0"/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29FBCC7-1A29-4A68-9FF0-6AF1A54DD3AD}"/>
              </a:ext>
            </a:extLst>
          </p:cNvPr>
          <p:cNvSpPr/>
          <p:nvPr/>
        </p:nvSpPr>
        <p:spPr>
          <a:xfrm>
            <a:off x="8113865" y="2143079"/>
            <a:ext cx="303434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Состав пищевой продукции (при необходимости)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D74206BE-B2C8-4AB9-AB2D-5D4EA15FEA38}"/>
              </a:ext>
            </a:extLst>
          </p:cNvPr>
          <p:cNvSpPr/>
          <p:nvPr/>
        </p:nvSpPr>
        <p:spPr>
          <a:xfrm>
            <a:off x="8411831" y="3069240"/>
            <a:ext cx="3034346" cy="802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Количество </a:t>
            </a:r>
            <a:r>
              <a:rPr lang="ru-RU" sz="12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пищевой продукции </a:t>
            </a:r>
            <a:r>
              <a:rPr lang="ru-RU" dirty="0"/>
              <a:t>продукции;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7AD61EB6-3998-44EE-A399-6C202128D036}"/>
              </a:ext>
            </a:extLst>
          </p:cNvPr>
          <p:cNvSpPr/>
          <p:nvPr/>
        </p:nvSpPr>
        <p:spPr>
          <a:xfrm>
            <a:off x="8370280" y="4611783"/>
            <a:ext cx="303434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Срок годности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440BDD07-ACAA-41C1-9F4D-A0A1FB184241}"/>
              </a:ext>
            </a:extLst>
          </p:cNvPr>
          <p:cNvSpPr/>
          <p:nvPr/>
        </p:nvSpPr>
        <p:spPr>
          <a:xfrm>
            <a:off x="495147" y="3730084"/>
            <a:ext cx="3034347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 defTabSz="685817"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Показатели пищевой ценности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DF392D7E-1EED-452C-A6D9-06D6A71D513A}"/>
              </a:ext>
            </a:extLst>
          </p:cNvPr>
          <p:cNvSpPr/>
          <p:nvPr/>
        </p:nvSpPr>
        <p:spPr>
          <a:xfrm>
            <a:off x="7679735" y="5427736"/>
            <a:ext cx="1787298" cy="6857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 defTabSz="685817"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Условия хранения 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7B9F8127-4453-4511-B618-1F304D1C188A}"/>
              </a:ext>
            </a:extLst>
          </p:cNvPr>
          <p:cNvSpPr/>
          <p:nvPr/>
        </p:nvSpPr>
        <p:spPr>
          <a:xfrm>
            <a:off x="777784" y="4566155"/>
            <a:ext cx="3034347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 defTabSz="685817"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Рекомендации и (или) ограничения по использованию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CC02A529-6DD5-45FD-B503-48342F6BCCCC}"/>
              </a:ext>
            </a:extLst>
          </p:cNvPr>
          <p:cNvSpPr/>
          <p:nvPr/>
        </p:nvSpPr>
        <p:spPr>
          <a:xfrm>
            <a:off x="1274139" y="5211444"/>
            <a:ext cx="3034347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 defTabSz="685817"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Наименование и место нахождения изготовителя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440BDD07-ACAA-41C1-9F4D-A0A1FB184241}"/>
              </a:ext>
            </a:extLst>
          </p:cNvPr>
          <p:cNvSpPr/>
          <p:nvPr/>
        </p:nvSpPr>
        <p:spPr>
          <a:xfrm>
            <a:off x="656700" y="3011266"/>
            <a:ext cx="3034347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ru-RU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Сведения о наличии компонентов, полученных с применением ГМО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8315831" y="3995199"/>
            <a:ext cx="192392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+mj-lt"/>
                <a:cs typeface="Arial" panose="020B0604020202020204" pitchFamily="34" charset="0"/>
              </a:rPr>
              <a:t>Дата изготовления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71866" y="1483563"/>
            <a:ext cx="419858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1200" b="1" dirty="0">
                <a:latin typeface="+mj-lt"/>
                <a:cs typeface="Arial" panose="020B0604020202020204" pitchFamily="34" charset="0"/>
              </a:rPr>
              <a:t>Дополнительные требования к </a:t>
            </a:r>
            <a:r>
              <a:rPr lang="ru-RU" sz="1200" b="1" dirty="0" smtClean="0">
                <a:latin typeface="+mj-lt"/>
                <a:cs typeface="Arial" panose="020B0604020202020204" pitchFamily="34" charset="0"/>
              </a:rPr>
              <a:t>маркировке </a:t>
            </a:r>
            <a:endParaRPr lang="ru-RU" sz="1200" b="1" dirty="0">
              <a:latin typeface="+mj-lt"/>
              <a:cs typeface="Arial" panose="020B0604020202020204" pitchFamily="34" charset="0"/>
            </a:endParaRPr>
          </a:p>
          <a:p>
            <a:pPr algn="r"/>
            <a:r>
              <a:rPr lang="ru-RU" sz="1200" b="1" dirty="0">
                <a:latin typeface="+mj-lt"/>
                <a:cs typeface="Arial" panose="020B0604020202020204" pitchFamily="34" charset="0"/>
              </a:rPr>
              <a:t>установлены в </a:t>
            </a:r>
          </a:p>
          <a:p>
            <a:pPr algn="r"/>
            <a:r>
              <a:rPr lang="ru-RU" sz="1200" b="1" dirty="0">
                <a:latin typeface="+mj-lt"/>
                <a:cs typeface="Arial" panose="020B0604020202020204" pitchFamily="34" charset="0"/>
              </a:rPr>
              <a:t>ТР ТС на отдельные виды </a:t>
            </a:r>
          </a:p>
          <a:p>
            <a:pPr algn="r"/>
            <a:r>
              <a:rPr lang="ru-RU" sz="1200" b="1" dirty="0">
                <a:latin typeface="+mj-lt"/>
                <a:cs typeface="Arial" panose="020B0604020202020204" pitchFamily="34" charset="0"/>
              </a:rPr>
              <a:t> продукции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724149" y="2365599"/>
            <a:ext cx="24432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+mj-lt"/>
                <a:cs typeface="Arial" panose="020B0604020202020204" pitchFamily="34" charset="0"/>
              </a:rPr>
              <a:t>Единый знак обращения </a:t>
            </a: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1B2AFCDB-FA5A-4BBD-915F-8C40C64E18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080512" y="2034488"/>
            <a:ext cx="397242" cy="397240"/>
          </a:xfrm>
          <a:prstGeom prst="rect">
            <a:avLst/>
          </a:prstGeom>
          <a:ln>
            <a:noFill/>
          </a:ln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1B2AFCDB-FA5A-4BBD-915F-8C40C64E18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936001" y="3053853"/>
            <a:ext cx="397242" cy="397240"/>
          </a:xfrm>
          <a:prstGeom prst="rect">
            <a:avLst/>
          </a:prstGeom>
          <a:ln>
            <a:noFill/>
          </a:ln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1B2AFCDB-FA5A-4BBD-915F-8C40C64E18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840511" y="4330546"/>
            <a:ext cx="397242" cy="397240"/>
          </a:xfrm>
          <a:prstGeom prst="rect">
            <a:avLst/>
          </a:prstGeom>
          <a:ln>
            <a:noFill/>
          </a:ln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1B2AFCDB-FA5A-4BBD-915F-8C40C64E18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698602" y="5622863"/>
            <a:ext cx="397242" cy="397240"/>
          </a:xfrm>
          <a:prstGeom prst="rect">
            <a:avLst/>
          </a:prstGeom>
          <a:ln>
            <a:noFill/>
          </a:ln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1B2AFCDB-FA5A-4BBD-915F-8C40C64E18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023726" y="5581321"/>
            <a:ext cx="397242" cy="397240"/>
          </a:xfrm>
          <a:prstGeom prst="rect">
            <a:avLst/>
          </a:prstGeom>
          <a:ln>
            <a:noFill/>
          </a:ln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1B2AFCDB-FA5A-4BBD-915F-8C40C64E18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729534" y="3053853"/>
            <a:ext cx="397242" cy="397240"/>
          </a:xfrm>
          <a:prstGeom prst="rect">
            <a:avLst/>
          </a:prstGeom>
          <a:ln>
            <a:noFill/>
          </a:ln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1B2AFCDB-FA5A-4BBD-915F-8C40C64E18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849297" y="4520290"/>
            <a:ext cx="397242" cy="397240"/>
          </a:xfrm>
          <a:prstGeom prst="rect">
            <a:avLst/>
          </a:prstGeom>
          <a:ln>
            <a:noFill/>
          </a:ln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1B2AFCDB-FA5A-4BBD-915F-8C40C64E18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585063" y="1984978"/>
            <a:ext cx="397242" cy="39724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2205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0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66BDF4EB-51AE-A73C-D2A5-39156B33D1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338554"/>
          </a:xfrm>
        </p:spPr>
        <p:txBody>
          <a:bodyPr vert="horz"/>
          <a:lstStyle/>
          <a:p>
            <a:r>
              <a:rPr lang="ru-RU" dirty="0"/>
              <a:t>Карта России по дивизионам «Ленты»</a:t>
            </a: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60</a:t>
            </a:fld>
            <a:endParaRPr lang="en-US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31E670A-AB03-EEE1-E255-E1770F3DC4B8}"/>
              </a:ext>
            </a:extLst>
          </p:cNvPr>
          <p:cNvGrpSpPr/>
          <p:nvPr/>
        </p:nvGrpSpPr>
        <p:grpSpPr>
          <a:xfrm>
            <a:off x="4220605" y="3893373"/>
            <a:ext cx="1204846" cy="1225771"/>
            <a:chOff x="4220605" y="3893373"/>
            <a:chExt cx="1204846" cy="1225771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475" name="Полилиния: фигура 474">
              <a:extLst>
                <a:ext uri="{FF2B5EF4-FFF2-40B4-BE49-F238E27FC236}">
                  <a16:creationId xmlns:a16="http://schemas.microsoft.com/office/drawing/2014/main" id="{8143380E-2DE6-D204-D0DA-AD6E199D13F4}"/>
                </a:ext>
              </a:extLst>
            </p:cNvPr>
            <p:cNvSpPr/>
            <p:nvPr/>
          </p:nvSpPr>
          <p:spPr>
            <a:xfrm>
              <a:off x="4938253" y="4497935"/>
              <a:ext cx="173" cy="173"/>
            </a:xfrm>
            <a:custGeom>
              <a:avLst/>
              <a:gdLst>
                <a:gd name="connsiteX0" fmla="*/ 190 w 190"/>
                <a:gd name="connsiteY0" fmla="*/ 190 h 190"/>
                <a:gd name="connsiteX1" fmla="*/ 0 w 190"/>
                <a:gd name="connsiteY1" fmla="*/ 0 h 190"/>
                <a:gd name="connsiteX2" fmla="*/ 0 w 190"/>
                <a:gd name="connsiteY2" fmla="*/ 190 h 190"/>
                <a:gd name="connsiteX3" fmla="*/ 190 w 190"/>
                <a:gd name="connsiteY3" fmla="*/ 190 h 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" h="190">
                  <a:moveTo>
                    <a:pt x="190" y="190"/>
                  </a:moveTo>
                  <a:lnTo>
                    <a:pt x="0" y="0"/>
                  </a:lnTo>
                  <a:lnTo>
                    <a:pt x="0" y="190"/>
                  </a:lnTo>
                  <a:lnTo>
                    <a:pt x="190" y="190"/>
                  </a:ln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76" name="Полилиния: фигура 475">
              <a:extLst>
                <a:ext uri="{FF2B5EF4-FFF2-40B4-BE49-F238E27FC236}">
                  <a16:creationId xmlns:a16="http://schemas.microsoft.com/office/drawing/2014/main" id="{47C222F6-C177-039F-E86A-714C39380D49}"/>
                </a:ext>
              </a:extLst>
            </p:cNvPr>
            <p:cNvSpPr/>
            <p:nvPr/>
          </p:nvSpPr>
          <p:spPr>
            <a:xfrm>
              <a:off x="4688838" y="4278647"/>
              <a:ext cx="128882" cy="72634"/>
            </a:xfrm>
            <a:custGeom>
              <a:avLst/>
              <a:gdLst>
                <a:gd name="connsiteX0" fmla="*/ 137862 w 141789"/>
                <a:gd name="connsiteY0" fmla="*/ 64652 h 79674"/>
                <a:gd name="connsiteX1" fmla="*/ 111810 w 141789"/>
                <a:gd name="connsiteY1" fmla="*/ 54004 h 79674"/>
                <a:gd name="connsiteX2" fmla="*/ 73780 w 141789"/>
                <a:gd name="connsiteY2" fmla="*/ 40503 h 79674"/>
                <a:gd name="connsiteX3" fmla="*/ 66364 w 141789"/>
                <a:gd name="connsiteY3" fmla="*/ 32516 h 79674"/>
                <a:gd name="connsiteX4" fmla="*/ 42024 w 141789"/>
                <a:gd name="connsiteY4" fmla="*/ 13501 h 79674"/>
                <a:gd name="connsiteX5" fmla="*/ 20537 w 141789"/>
                <a:gd name="connsiteY5" fmla="*/ 8937 h 79674"/>
                <a:gd name="connsiteX6" fmla="*/ 11599 w 141789"/>
                <a:gd name="connsiteY6" fmla="*/ 11789 h 79674"/>
                <a:gd name="connsiteX7" fmla="*/ 4183 w 141789"/>
                <a:gd name="connsiteY7" fmla="*/ 13691 h 79674"/>
                <a:gd name="connsiteX8" fmla="*/ 0 w 141789"/>
                <a:gd name="connsiteY8" fmla="*/ 0 h 79674"/>
                <a:gd name="connsiteX9" fmla="*/ 0 w 141789"/>
                <a:gd name="connsiteY9" fmla="*/ 0 h 79674"/>
                <a:gd name="connsiteX10" fmla="*/ 4183 w 141789"/>
                <a:gd name="connsiteY10" fmla="*/ 13691 h 79674"/>
                <a:gd name="connsiteX11" fmla="*/ 11599 w 141789"/>
                <a:gd name="connsiteY11" fmla="*/ 11789 h 79674"/>
                <a:gd name="connsiteX12" fmla="*/ 20537 w 141789"/>
                <a:gd name="connsiteY12" fmla="*/ 8937 h 79674"/>
                <a:gd name="connsiteX13" fmla="*/ 42024 w 141789"/>
                <a:gd name="connsiteY13" fmla="*/ 13501 h 79674"/>
                <a:gd name="connsiteX14" fmla="*/ 66364 w 141789"/>
                <a:gd name="connsiteY14" fmla="*/ 32516 h 79674"/>
                <a:gd name="connsiteX15" fmla="*/ 73780 w 141789"/>
                <a:gd name="connsiteY15" fmla="*/ 40503 h 79674"/>
                <a:gd name="connsiteX16" fmla="*/ 111810 w 141789"/>
                <a:gd name="connsiteY16" fmla="*/ 54004 h 79674"/>
                <a:gd name="connsiteX17" fmla="*/ 137862 w 141789"/>
                <a:gd name="connsiteY17" fmla="*/ 64652 h 79674"/>
                <a:gd name="connsiteX18" fmla="*/ 141475 w 141789"/>
                <a:gd name="connsiteY18" fmla="*/ 79675 h 79674"/>
                <a:gd name="connsiteX19" fmla="*/ 141475 w 141789"/>
                <a:gd name="connsiteY19" fmla="*/ 79675 h 79674"/>
                <a:gd name="connsiteX20" fmla="*/ 137862 w 141789"/>
                <a:gd name="connsiteY20" fmla="*/ 64652 h 7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1789" h="79674">
                  <a:moveTo>
                    <a:pt x="137862" y="64652"/>
                  </a:moveTo>
                  <a:cubicBezTo>
                    <a:pt x="130927" y="57807"/>
                    <a:pt x="121560" y="53966"/>
                    <a:pt x="111810" y="54004"/>
                  </a:cubicBezTo>
                  <a:cubicBezTo>
                    <a:pt x="97912" y="54289"/>
                    <a:pt x="84388" y="49478"/>
                    <a:pt x="73780" y="40503"/>
                  </a:cubicBezTo>
                  <a:cubicBezTo>
                    <a:pt x="71118" y="37841"/>
                    <a:pt x="68646" y="34988"/>
                    <a:pt x="66364" y="32516"/>
                  </a:cubicBezTo>
                  <a:cubicBezTo>
                    <a:pt x="60197" y="24016"/>
                    <a:pt x="51762" y="17437"/>
                    <a:pt x="42024" y="13501"/>
                  </a:cubicBezTo>
                  <a:cubicBezTo>
                    <a:pt x="35268" y="10477"/>
                    <a:pt x="27941" y="8918"/>
                    <a:pt x="20537" y="8937"/>
                  </a:cubicBezTo>
                  <a:cubicBezTo>
                    <a:pt x="17443" y="9489"/>
                    <a:pt x="14437" y="10439"/>
                    <a:pt x="11599" y="11789"/>
                  </a:cubicBezTo>
                  <a:cubicBezTo>
                    <a:pt x="8177" y="13501"/>
                    <a:pt x="5705" y="14452"/>
                    <a:pt x="4183" y="13691"/>
                  </a:cubicBezTo>
                  <a:cubicBezTo>
                    <a:pt x="2662" y="12931"/>
                    <a:pt x="190" y="6465"/>
                    <a:pt x="0" y="0"/>
                  </a:cubicBezTo>
                  <a:lnTo>
                    <a:pt x="0" y="0"/>
                  </a:lnTo>
                  <a:cubicBezTo>
                    <a:pt x="0" y="6465"/>
                    <a:pt x="1141" y="12550"/>
                    <a:pt x="4183" y="13691"/>
                  </a:cubicBezTo>
                  <a:cubicBezTo>
                    <a:pt x="7226" y="14832"/>
                    <a:pt x="8177" y="13691"/>
                    <a:pt x="11599" y="11789"/>
                  </a:cubicBezTo>
                  <a:cubicBezTo>
                    <a:pt x="14437" y="10439"/>
                    <a:pt x="17443" y="9489"/>
                    <a:pt x="20537" y="8937"/>
                  </a:cubicBezTo>
                  <a:cubicBezTo>
                    <a:pt x="27941" y="8918"/>
                    <a:pt x="35268" y="10477"/>
                    <a:pt x="42024" y="13501"/>
                  </a:cubicBezTo>
                  <a:cubicBezTo>
                    <a:pt x="51762" y="17437"/>
                    <a:pt x="60197" y="24016"/>
                    <a:pt x="66364" y="32516"/>
                  </a:cubicBezTo>
                  <a:cubicBezTo>
                    <a:pt x="68646" y="34988"/>
                    <a:pt x="71118" y="37841"/>
                    <a:pt x="73780" y="40503"/>
                  </a:cubicBezTo>
                  <a:cubicBezTo>
                    <a:pt x="84388" y="49478"/>
                    <a:pt x="97912" y="54289"/>
                    <a:pt x="111810" y="54004"/>
                  </a:cubicBezTo>
                  <a:cubicBezTo>
                    <a:pt x="121560" y="53966"/>
                    <a:pt x="130927" y="57807"/>
                    <a:pt x="137862" y="64652"/>
                  </a:cubicBezTo>
                  <a:cubicBezTo>
                    <a:pt x="141138" y="68931"/>
                    <a:pt x="142450" y="74388"/>
                    <a:pt x="141475" y="79675"/>
                  </a:cubicBezTo>
                  <a:lnTo>
                    <a:pt x="141475" y="79675"/>
                  </a:lnTo>
                  <a:cubicBezTo>
                    <a:pt x="142450" y="74388"/>
                    <a:pt x="141138" y="68931"/>
                    <a:pt x="137862" y="6465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77" name="Полилиния: фигура 476">
              <a:extLst>
                <a:ext uri="{FF2B5EF4-FFF2-40B4-BE49-F238E27FC236}">
                  <a16:creationId xmlns:a16="http://schemas.microsoft.com/office/drawing/2014/main" id="{25B9F9F3-EC56-107C-78B8-F02294D8673B}"/>
                </a:ext>
              </a:extLst>
            </p:cNvPr>
            <p:cNvSpPr/>
            <p:nvPr/>
          </p:nvSpPr>
          <p:spPr>
            <a:xfrm>
              <a:off x="4810521" y="4364455"/>
              <a:ext cx="130346" cy="129791"/>
            </a:xfrm>
            <a:custGeom>
              <a:avLst/>
              <a:gdLst>
                <a:gd name="connsiteX0" fmla="*/ 137101 w 143400"/>
                <a:gd name="connsiteY0" fmla="*/ 95267 h 142372"/>
                <a:gd name="connsiteX1" fmla="*/ 104014 w 143400"/>
                <a:gd name="connsiteY1" fmla="*/ 62180 h 142372"/>
                <a:gd name="connsiteX2" fmla="*/ 79484 w 143400"/>
                <a:gd name="connsiteY2" fmla="*/ 64462 h 142372"/>
                <a:gd name="connsiteX3" fmla="*/ 63702 w 143400"/>
                <a:gd name="connsiteY3" fmla="*/ 66934 h 142372"/>
                <a:gd name="connsiteX4" fmla="*/ 54384 w 143400"/>
                <a:gd name="connsiteY4" fmla="*/ 60279 h 142372"/>
                <a:gd name="connsiteX5" fmla="*/ 48870 w 143400"/>
                <a:gd name="connsiteY5" fmla="*/ 53624 h 142372"/>
                <a:gd name="connsiteX6" fmla="*/ 41454 w 143400"/>
                <a:gd name="connsiteY6" fmla="*/ 48109 h 142372"/>
                <a:gd name="connsiteX7" fmla="*/ 35749 w 143400"/>
                <a:gd name="connsiteY7" fmla="*/ 44116 h 142372"/>
                <a:gd name="connsiteX8" fmla="*/ 31756 w 143400"/>
                <a:gd name="connsiteY8" fmla="*/ 36700 h 142372"/>
                <a:gd name="connsiteX9" fmla="*/ 28333 w 143400"/>
                <a:gd name="connsiteY9" fmla="*/ 29664 h 142372"/>
                <a:gd name="connsiteX10" fmla="*/ 28333 w 143400"/>
                <a:gd name="connsiteY10" fmla="*/ 29664 h 142372"/>
                <a:gd name="connsiteX11" fmla="*/ 18635 w 143400"/>
                <a:gd name="connsiteY11" fmla="*/ 18445 h 142372"/>
                <a:gd name="connsiteX12" fmla="*/ 16543 w 143400"/>
                <a:gd name="connsiteY12" fmla="*/ 16734 h 142372"/>
                <a:gd name="connsiteX13" fmla="*/ 13311 w 143400"/>
                <a:gd name="connsiteY13" fmla="*/ 13881 h 142372"/>
                <a:gd name="connsiteX14" fmla="*/ 9508 w 143400"/>
                <a:gd name="connsiteY14" fmla="*/ 10649 h 142372"/>
                <a:gd name="connsiteX15" fmla="*/ 0 w 143400"/>
                <a:gd name="connsiteY15" fmla="*/ 0 h 142372"/>
                <a:gd name="connsiteX16" fmla="*/ 0 w 143400"/>
                <a:gd name="connsiteY16" fmla="*/ 0 h 142372"/>
                <a:gd name="connsiteX17" fmla="*/ 9508 w 143400"/>
                <a:gd name="connsiteY17" fmla="*/ 10649 h 142372"/>
                <a:gd name="connsiteX18" fmla="*/ 13311 w 143400"/>
                <a:gd name="connsiteY18" fmla="*/ 13881 h 142372"/>
                <a:gd name="connsiteX19" fmla="*/ 16543 w 143400"/>
                <a:gd name="connsiteY19" fmla="*/ 16734 h 142372"/>
                <a:gd name="connsiteX20" fmla="*/ 18635 w 143400"/>
                <a:gd name="connsiteY20" fmla="*/ 18445 h 142372"/>
                <a:gd name="connsiteX21" fmla="*/ 28333 w 143400"/>
                <a:gd name="connsiteY21" fmla="*/ 29664 h 142372"/>
                <a:gd name="connsiteX22" fmla="*/ 28333 w 143400"/>
                <a:gd name="connsiteY22" fmla="*/ 29664 h 142372"/>
                <a:gd name="connsiteX23" fmla="*/ 31756 w 143400"/>
                <a:gd name="connsiteY23" fmla="*/ 36700 h 142372"/>
                <a:gd name="connsiteX24" fmla="*/ 35749 w 143400"/>
                <a:gd name="connsiteY24" fmla="*/ 44116 h 142372"/>
                <a:gd name="connsiteX25" fmla="*/ 41454 w 143400"/>
                <a:gd name="connsiteY25" fmla="*/ 48109 h 142372"/>
                <a:gd name="connsiteX26" fmla="*/ 48870 w 143400"/>
                <a:gd name="connsiteY26" fmla="*/ 53624 h 142372"/>
                <a:gd name="connsiteX27" fmla="*/ 54384 w 143400"/>
                <a:gd name="connsiteY27" fmla="*/ 60279 h 142372"/>
                <a:gd name="connsiteX28" fmla="*/ 63702 w 143400"/>
                <a:gd name="connsiteY28" fmla="*/ 66934 h 142372"/>
                <a:gd name="connsiteX29" fmla="*/ 79484 w 143400"/>
                <a:gd name="connsiteY29" fmla="*/ 64462 h 142372"/>
                <a:gd name="connsiteX30" fmla="*/ 104014 w 143400"/>
                <a:gd name="connsiteY30" fmla="*/ 62180 h 142372"/>
                <a:gd name="connsiteX31" fmla="*/ 137101 w 143400"/>
                <a:gd name="connsiteY31" fmla="*/ 95267 h 142372"/>
                <a:gd name="connsiteX32" fmla="*/ 142045 w 143400"/>
                <a:gd name="connsiteY32" fmla="*/ 140714 h 142372"/>
                <a:gd name="connsiteX33" fmla="*/ 142045 w 143400"/>
                <a:gd name="connsiteY33" fmla="*/ 142235 h 142372"/>
                <a:gd name="connsiteX34" fmla="*/ 142045 w 143400"/>
                <a:gd name="connsiteY34" fmla="*/ 140714 h 142372"/>
                <a:gd name="connsiteX35" fmla="*/ 137101 w 143400"/>
                <a:gd name="connsiteY35" fmla="*/ 95267 h 142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43400" h="142372">
                  <a:moveTo>
                    <a:pt x="137101" y="95267"/>
                  </a:moveTo>
                  <a:cubicBezTo>
                    <a:pt x="132537" y="86520"/>
                    <a:pt x="120177" y="65603"/>
                    <a:pt x="104014" y="62180"/>
                  </a:cubicBezTo>
                  <a:cubicBezTo>
                    <a:pt x="95773" y="60963"/>
                    <a:pt x="87360" y="61743"/>
                    <a:pt x="79484" y="64462"/>
                  </a:cubicBezTo>
                  <a:cubicBezTo>
                    <a:pt x="74422" y="66250"/>
                    <a:pt x="69070" y="67086"/>
                    <a:pt x="63702" y="66934"/>
                  </a:cubicBezTo>
                  <a:cubicBezTo>
                    <a:pt x="58757" y="66934"/>
                    <a:pt x="57236" y="64272"/>
                    <a:pt x="54384" y="60279"/>
                  </a:cubicBezTo>
                  <a:cubicBezTo>
                    <a:pt x="52825" y="57845"/>
                    <a:pt x="50973" y="55601"/>
                    <a:pt x="48870" y="53624"/>
                  </a:cubicBezTo>
                  <a:cubicBezTo>
                    <a:pt x="46631" y="51494"/>
                    <a:pt x="44140" y="49630"/>
                    <a:pt x="41454" y="48109"/>
                  </a:cubicBezTo>
                  <a:cubicBezTo>
                    <a:pt x="39390" y="47025"/>
                    <a:pt x="37474" y="45675"/>
                    <a:pt x="35749" y="44116"/>
                  </a:cubicBezTo>
                  <a:cubicBezTo>
                    <a:pt x="33969" y="41910"/>
                    <a:pt x="32615" y="39400"/>
                    <a:pt x="31756" y="36700"/>
                  </a:cubicBezTo>
                  <a:cubicBezTo>
                    <a:pt x="30807" y="34266"/>
                    <a:pt x="29662" y="31908"/>
                    <a:pt x="28333" y="29664"/>
                  </a:cubicBezTo>
                  <a:lnTo>
                    <a:pt x="28333" y="29664"/>
                  </a:lnTo>
                  <a:cubicBezTo>
                    <a:pt x="25680" y="25462"/>
                    <a:pt x="22411" y="21678"/>
                    <a:pt x="18635" y="18445"/>
                  </a:cubicBezTo>
                  <a:lnTo>
                    <a:pt x="16543" y="16734"/>
                  </a:lnTo>
                  <a:lnTo>
                    <a:pt x="13311" y="13881"/>
                  </a:lnTo>
                  <a:lnTo>
                    <a:pt x="9508" y="10649"/>
                  </a:lnTo>
                  <a:cubicBezTo>
                    <a:pt x="6085" y="7796"/>
                    <a:pt x="380" y="3043"/>
                    <a:pt x="0" y="0"/>
                  </a:cubicBezTo>
                  <a:lnTo>
                    <a:pt x="0" y="0"/>
                  </a:lnTo>
                  <a:cubicBezTo>
                    <a:pt x="0" y="3043"/>
                    <a:pt x="6085" y="7796"/>
                    <a:pt x="9508" y="10649"/>
                  </a:cubicBezTo>
                  <a:lnTo>
                    <a:pt x="13311" y="13881"/>
                  </a:lnTo>
                  <a:lnTo>
                    <a:pt x="16543" y="16734"/>
                  </a:lnTo>
                  <a:lnTo>
                    <a:pt x="18635" y="18445"/>
                  </a:lnTo>
                  <a:cubicBezTo>
                    <a:pt x="22411" y="21678"/>
                    <a:pt x="25680" y="25462"/>
                    <a:pt x="28333" y="29664"/>
                  </a:cubicBezTo>
                  <a:lnTo>
                    <a:pt x="28333" y="29664"/>
                  </a:lnTo>
                  <a:cubicBezTo>
                    <a:pt x="29662" y="31908"/>
                    <a:pt x="30807" y="34266"/>
                    <a:pt x="31756" y="36700"/>
                  </a:cubicBezTo>
                  <a:cubicBezTo>
                    <a:pt x="32615" y="39400"/>
                    <a:pt x="33969" y="41910"/>
                    <a:pt x="35749" y="44116"/>
                  </a:cubicBezTo>
                  <a:cubicBezTo>
                    <a:pt x="37474" y="45675"/>
                    <a:pt x="39390" y="47025"/>
                    <a:pt x="41454" y="48109"/>
                  </a:cubicBezTo>
                  <a:cubicBezTo>
                    <a:pt x="44140" y="49630"/>
                    <a:pt x="46631" y="51494"/>
                    <a:pt x="48870" y="53624"/>
                  </a:cubicBezTo>
                  <a:cubicBezTo>
                    <a:pt x="50973" y="55601"/>
                    <a:pt x="52825" y="57845"/>
                    <a:pt x="54384" y="60279"/>
                  </a:cubicBezTo>
                  <a:cubicBezTo>
                    <a:pt x="57236" y="64272"/>
                    <a:pt x="58757" y="66364"/>
                    <a:pt x="63702" y="66934"/>
                  </a:cubicBezTo>
                  <a:cubicBezTo>
                    <a:pt x="69070" y="67086"/>
                    <a:pt x="74422" y="66250"/>
                    <a:pt x="79484" y="64462"/>
                  </a:cubicBezTo>
                  <a:cubicBezTo>
                    <a:pt x="87360" y="61743"/>
                    <a:pt x="95773" y="60963"/>
                    <a:pt x="104014" y="62180"/>
                  </a:cubicBezTo>
                  <a:cubicBezTo>
                    <a:pt x="120177" y="65603"/>
                    <a:pt x="132537" y="86520"/>
                    <a:pt x="137101" y="95267"/>
                  </a:cubicBezTo>
                  <a:cubicBezTo>
                    <a:pt x="143205" y="109605"/>
                    <a:pt x="144916" y="125406"/>
                    <a:pt x="142045" y="140714"/>
                  </a:cubicBezTo>
                  <a:cubicBezTo>
                    <a:pt x="142045" y="140714"/>
                    <a:pt x="142045" y="141855"/>
                    <a:pt x="142045" y="142235"/>
                  </a:cubicBezTo>
                  <a:cubicBezTo>
                    <a:pt x="142045" y="142615"/>
                    <a:pt x="142045" y="142235"/>
                    <a:pt x="142045" y="140714"/>
                  </a:cubicBezTo>
                  <a:cubicBezTo>
                    <a:pt x="144916" y="125406"/>
                    <a:pt x="143205" y="109605"/>
                    <a:pt x="137101" y="95267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78" name="Полилиния: фигура 477">
              <a:extLst>
                <a:ext uri="{FF2B5EF4-FFF2-40B4-BE49-F238E27FC236}">
                  <a16:creationId xmlns:a16="http://schemas.microsoft.com/office/drawing/2014/main" id="{B5CBC550-76C2-6160-44C2-ACF1BBB7E7F6}"/>
                </a:ext>
              </a:extLst>
            </p:cNvPr>
            <p:cNvSpPr/>
            <p:nvPr/>
          </p:nvSpPr>
          <p:spPr>
            <a:xfrm>
              <a:off x="5033490" y="4410913"/>
              <a:ext cx="84002" cy="33629"/>
            </a:xfrm>
            <a:custGeom>
              <a:avLst/>
              <a:gdLst>
                <a:gd name="connsiteX0" fmla="*/ 82907 w 92414"/>
                <a:gd name="connsiteY0" fmla="*/ 11219 h 36889"/>
                <a:gd name="connsiteX1" fmla="*/ 51151 w 92414"/>
                <a:gd name="connsiteY1" fmla="*/ 24149 h 36889"/>
                <a:gd name="connsiteX2" fmla="*/ 48299 w 92414"/>
                <a:gd name="connsiteY2" fmla="*/ 24149 h 36889"/>
                <a:gd name="connsiteX3" fmla="*/ 40883 w 92414"/>
                <a:gd name="connsiteY3" fmla="*/ 27192 h 36889"/>
                <a:gd name="connsiteX4" fmla="*/ 30995 w 92414"/>
                <a:gd name="connsiteY4" fmla="*/ 30234 h 36889"/>
                <a:gd name="connsiteX5" fmla="*/ 28333 w 92414"/>
                <a:gd name="connsiteY5" fmla="*/ 28713 h 36889"/>
                <a:gd name="connsiteX6" fmla="*/ 21678 w 92414"/>
                <a:gd name="connsiteY6" fmla="*/ 25100 h 36889"/>
                <a:gd name="connsiteX7" fmla="*/ 5134 w 92414"/>
                <a:gd name="connsiteY7" fmla="*/ 28903 h 36889"/>
                <a:gd name="connsiteX8" fmla="*/ 0 w 92414"/>
                <a:gd name="connsiteY8" fmla="*/ 36890 h 36889"/>
                <a:gd name="connsiteX9" fmla="*/ 5134 w 92414"/>
                <a:gd name="connsiteY9" fmla="*/ 28903 h 36889"/>
                <a:gd name="connsiteX10" fmla="*/ 21678 w 92414"/>
                <a:gd name="connsiteY10" fmla="*/ 25100 h 36889"/>
                <a:gd name="connsiteX11" fmla="*/ 28333 w 92414"/>
                <a:gd name="connsiteY11" fmla="*/ 28713 h 36889"/>
                <a:gd name="connsiteX12" fmla="*/ 30995 w 92414"/>
                <a:gd name="connsiteY12" fmla="*/ 30234 h 36889"/>
                <a:gd name="connsiteX13" fmla="*/ 40883 w 92414"/>
                <a:gd name="connsiteY13" fmla="*/ 27192 h 36889"/>
                <a:gd name="connsiteX14" fmla="*/ 48299 w 92414"/>
                <a:gd name="connsiteY14" fmla="*/ 24149 h 36889"/>
                <a:gd name="connsiteX15" fmla="*/ 51151 w 92414"/>
                <a:gd name="connsiteY15" fmla="*/ 24149 h 36889"/>
                <a:gd name="connsiteX16" fmla="*/ 82907 w 92414"/>
                <a:gd name="connsiteY16" fmla="*/ 11219 h 36889"/>
                <a:gd name="connsiteX17" fmla="*/ 92415 w 92414"/>
                <a:gd name="connsiteY17" fmla="*/ 0 h 36889"/>
                <a:gd name="connsiteX18" fmla="*/ 82907 w 92414"/>
                <a:gd name="connsiteY18" fmla="*/ 11219 h 36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2414" h="36889">
                  <a:moveTo>
                    <a:pt x="82907" y="11219"/>
                  </a:moveTo>
                  <a:cubicBezTo>
                    <a:pt x="73095" y="17228"/>
                    <a:pt x="62370" y="21602"/>
                    <a:pt x="51151" y="24149"/>
                  </a:cubicBezTo>
                  <a:lnTo>
                    <a:pt x="48299" y="24149"/>
                  </a:lnTo>
                  <a:cubicBezTo>
                    <a:pt x="45770" y="25024"/>
                    <a:pt x="43298" y="26051"/>
                    <a:pt x="40883" y="27192"/>
                  </a:cubicBezTo>
                  <a:cubicBezTo>
                    <a:pt x="37841" y="28884"/>
                    <a:pt x="34475" y="29911"/>
                    <a:pt x="30995" y="30234"/>
                  </a:cubicBezTo>
                  <a:cubicBezTo>
                    <a:pt x="30025" y="29911"/>
                    <a:pt x="29113" y="29379"/>
                    <a:pt x="28333" y="28713"/>
                  </a:cubicBezTo>
                  <a:cubicBezTo>
                    <a:pt x="26488" y="26907"/>
                    <a:pt x="24187" y="25671"/>
                    <a:pt x="21678" y="25100"/>
                  </a:cubicBezTo>
                  <a:cubicBezTo>
                    <a:pt x="15878" y="23693"/>
                    <a:pt x="9755" y="25100"/>
                    <a:pt x="5134" y="28903"/>
                  </a:cubicBezTo>
                  <a:cubicBezTo>
                    <a:pt x="2776" y="31090"/>
                    <a:pt x="1008" y="33828"/>
                    <a:pt x="0" y="36890"/>
                  </a:cubicBezTo>
                  <a:cubicBezTo>
                    <a:pt x="1008" y="33828"/>
                    <a:pt x="2776" y="31090"/>
                    <a:pt x="5134" y="28903"/>
                  </a:cubicBezTo>
                  <a:cubicBezTo>
                    <a:pt x="9755" y="25100"/>
                    <a:pt x="15878" y="23693"/>
                    <a:pt x="21678" y="25100"/>
                  </a:cubicBezTo>
                  <a:cubicBezTo>
                    <a:pt x="24187" y="25671"/>
                    <a:pt x="26488" y="26907"/>
                    <a:pt x="28333" y="28713"/>
                  </a:cubicBezTo>
                  <a:cubicBezTo>
                    <a:pt x="29113" y="29379"/>
                    <a:pt x="30025" y="29911"/>
                    <a:pt x="30995" y="30234"/>
                  </a:cubicBezTo>
                  <a:cubicBezTo>
                    <a:pt x="34475" y="29911"/>
                    <a:pt x="37841" y="28884"/>
                    <a:pt x="40883" y="27192"/>
                  </a:cubicBezTo>
                  <a:cubicBezTo>
                    <a:pt x="43298" y="26051"/>
                    <a:pt x="45770" y="25024"/>
                    <a:pt x="48299" y="24149"/>
                  </a:cubicBezTo>
                  <a:lnTo>
                    <a:pt x="51151" y="24149"/>
                  </a:lnTo>
                  <a:cubicBezTo>
                    <a:pt x="62370" y="21602"/>
                    <a:pt x="73095" y="17228"/>
                    <a:pt x="82907" y="11219"/>
                  </a:cubicBezTo>
                  <a:cubicBezTo>
                    <a:pt x="89753" y="6655"/>
                    <a:pt x="92225" y="4564"/>
                    <a:pt x="92415" y="0"/>
                  </a:cubicBezTo>
                  <a:cubicBezTo>
                    <a:pt x="92225" y="4373"/>
                    <a:pt x="89753" y="6655"/>
                    <a:pt x="82907" y="1121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79" name="Полилиния: фигура 478">
              <a:extLst>
                <a:ext uri="{FF2B5EF4-FFF2-40B4-BE49-F238E27FC236}">
                  <a16:creationId xmlns:a16="http://schemas.microsoft.com/office/drawing/2014/main" id="{3534A0F1-625E-E325-B613-F05F92A5CBDC}"/>
                </a:ext>
              </a:extLst>
            </p:cNvPr>
            <p:cNvSpPr/>
            <p:nvPr/>
          </p:nvSpPr>
          <p:spPr>
            <a:xfrm>
              <a:off x="4955883" y="4478693"/>
              <a:ext cx="78990" cy="49752"/>
            </a:xfrm>
            <a:custGeom>
              <a:avLst/>
              <a:gdLst>
                <a:gd name="connsiteX0" fmla="*/ 61420 w 86900"/>
                <a:gd name="connsiteY0" fmla="*/ 40693 h 54574"/>
                <a:gd name="connsiteX1" fmla="*/ 49440 w 86900"/>
                <a:gd name="connsiteY1" fmla="*/ 54384 h 54574"/>
                <a:gd name="connsiteX2" fmla="*/ 30425 w 86900"/>
                <a:gd name="connsiteY2" fmla="*/ 45827 h 54574"/>
                <a:gd name="connsiteX3" fmla="*/ 7606 w 86900"/>
                <a:gd name="connsiteY3" fmla="*/ 36700 h 54574"/>
                <a:gd name="connsiteX4" fmla="*/ 0 w 86900"/>
                <a:gd name="connsiteY4" fmla="*/ 32326 h 54574"/>
                <a:gd name="connsiteX5" fmla="*/ 7606 w 86900"/>
                <a:gd name="connsiteY5" fmla="*/ 36700 h 54574"/>
                <a:gd name="connsiteX6" fmla="*/ 30425 w 86900"/>
                <a:gd name="connsiteY6" fmla="*/ 46017 h 54574"/>
                <a:gd name="connsiteX7" fmla="*/ 49440 w 86900"/>
                <a:gd name="connsiteY7" fmla="*/ 54574 h 54574"/>
                <a:gd name="connsiteX8" fmla="*/ 61420 w 86900"/>
                <a:gd name="connsiteY8" fmla="*/ 40693 h 54574"/>
                <a:gd name="connsiteX9" fmla="*/ 85189 w 86900"/>
                <a:gd name="connsiteY9" fmla="*/ 5325 h 54574"/>
                <a:gd name="connsiteX10" fmla="*/ 86900 w 86900"/>
                <a:gd name="connsiteY10" fmla="*/ 0 h 54574"/>
                <a:gd name="connsiteX11" fmla="*/ 85189 w 86900"/>
                <a:gd name="connsiteY11" fmla="*/ 5325 h 54574"/>
                <a:gd name="connsiteX12" fmla="*/ 61420 w 86900"/>
                <a:gd name="connsiteY12" fmla="*/ 40693 h 54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6900" h="54574">
                  <a:moveTo>
                    <a:pt x="61420" y="40693"/>
                  </a:moveTo>
                  <a:cubicBezTo>
                    <a:pt x="56476" y="46968"/>
                    <a:pt x="49440" y="54384"/>
                    <a:pt x="49440" y="54384"/>
                  </a:cubicBezTo>
                  <a:lnTo>
                    <a:pt x="30425" y="45827"/>
                  </a:lnTo>
                  <a:lnTo>
                    <a:pt x="7606" y="36700"/>
                  </a:lnTo>
                  <a:lnTo>
                    <a:pt x="0" y="32326"/>
                  </a:lnTo>
                  <a:lnTo>
                    <a:pt x="7606" y="36700"/>
                  </a:lnTo>
                  <a:lnTo>
                    <a:pt x="30425" y="46017"/>
                  </a:lnTo>
                  <a:lnTo>
                    <a:pt x="49440" y="54574"/>
                  </a:lnTo>
                  <a:cubicBezTo>
                    <a:pt x="49440" y="54574"/>
                    <a:pt x="56476" y="46968"/>
                    <a:pt x="61420" y="40693"/>
                  </a:cubicBezTo>
                  <a:cubicBezTo>
                    <a:pt x="71003" y="30121"/>
                    <a:pt x="79009" y="18198"/>
                    <a:pt x="85189" y="5325"/>
                  </a:cubicBezTo>
                  <a:cubicBezTo>
                    <a:pt x="85988" y="3632"/>
                    <a:pt x="86558" y="1844"/>
                    <a:pt x="86900" y="0"/>
                  </a:cubicBezTo>
                  <a:cubicBezTo>
                    <a:pt x="86558" y="1844"/>
                    <a:pt x="85988" y="3632"/>
                    <a:pt x="85189" y="5325"/>
                  </a:cubicBezTo>
                  <a:cubicBezTo>
                    <a:pt x="79009" y="18198"/>
                    <a:pt x="71003" y="30121"/>
                    <a:pt x="61420" y="4069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80" name="Полилиния: фигура 479">
              <a:extLst>
                <a:ext uri="{FF2B5EF4-FFF2-40B4-BE49-F238E27FC236}">
                  <a16:creationId xmlns:a16="http://schemas.microsoft.com/office/drawing/2014/main" id="{099BF8C7-1AEA-4F95-4BA3-EF4B06A2E706}"/>
                </a:ext>
              </a:extLst>
            </p:cNvPr>
            <p:cNvSpPr/>
            <p:nvPr/>
          </p:nvSpPr>
          <p:spPr>
            <a:xfrm>
              <a:off x="4967464" y="4208093"/>
              <a:ext cx="199" cy="13347"/>
            </a:xfrm>
            <a:custGeom>
              <a:avLst/>
              <a:gdLst>
                <a:gd name="connsiteX0" fmla="*/ 0 w 219"/>
                <a:gd name="connsiteY0" fmla="*/ 7226 h 14641"/>
                <a:gd name="connsiteX1" fmla="*/ 0 w 219"/>
                <a:gd name="connsiteY1" fmla="*/ 9698 h 14641"/>
                <a:gd name="connsiteX2" fmla="*/ 0 w 219"/>
                <a:gd name="connsiteY2" fmla="*/ 14642 h 14641"/>
                <a:gd name="connsiteX3" fmla="*/ 0 w 219"/>
                <a:gd name="connsiteY3" fmla="*/ 9698 h 14641"/>
                <a:gd name="connsiteX4" fmla="*/ 0 w 219"/>
                <a:gd name="connsiteY4" fmla="*/ 7226 h 14641"/>
                <a:gd name="connsiteX5" fmla="*/ 0 w 219"/>
                <a:gd name="connsiteY5" fmla="*/ 4373 h 14641"/>
                <a:gd name="connsiteX6" fmla="*/ 0 w 219"/>
                <a:gd name="connsiteY6" fmla="*/ 0 h 14641"/>
                <a:gd name="connsiteX7" fmla="*/ 0 w 219"/>
                <a:gd name="connsiteY7" fmla="*/ 4373 h 14641"/>
                <a:gd name="connsiteX8" fmla="*/ 0 w 219"/>
                <a:gd name="connsiteY8" fmla="*/ 7226 h 1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" h="14641">
                  <a:moveTo>
                    <a:pt x="0" y="7226"/>
                  </a:moveTo>
                  <a:lnTo>
                    <a:pt x="0" y="9698"/>
                  </a:lnTo>
                  <a:cubicBezTo>
                    <a:pt x="0" y="11219"/>
                    <a:pt x="0" y="12930"/>
                    <a:pt x="0" y="14642"/>
                  </a:cubicBezTo>
                  <a:cubicBezTo>
                    <a:pt x="95" y="12987"/>
                    <a:pt x="95" y="11352"/>
                    <a:pt x="0" y="9698"/>
                  </a:cubicBezTo>
                  <a:lnTo>
                    <a:pt x="0" y="7226"/>
                  </a:lnTo>
                  <a:cubicBezTo>
                    <a:pt x="0" y="7226"/>
                    <a:pt x="0" y="5514"/>
                    <a:pt x="0" y="4373"/>
                  </a:cubicBezTo>
                  <a:cubicBezTo>
                    <a:pt x="228" y="2928"/>
                    <a:pt x="228" y="1445"/>
                    <a:pt x="0" y="0"/>
                  </a:cubicBezTo>
                  <a:cubicBezTo>
                    <a:pt x="228" y="1445"/>
                    <a:pt x="228" y="2928"/>
                    <a:pt x="0" y="4373"/>
                  </a:cubicBezTo>
                  <a:cubicBezTo>
                    <a:pt x="380" y="5514"/>
                    <a:pt x="190" y="6465"/>
                    <a:pt x="0" y="722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81" name="Полилиния: фигура 480">
              <a:extLst>
                <a:ext uri="{FF2B5EF4-FFF2-40B4-BE49-F238E27FC236}">
                  <a16:creationId xmlns:a16="http://schemas.microsoft.com/office/drawing/2014/main" id="{23F697CD-C65B-309C-D25C-07E9A4009D75}"/>
                </a:ext>
              </a:extLst>
            </p:cNvPr>
            <p:cNvSpPr/>
            <p:nvPr/>
          </p:nvSpPr>
          <p:spPr>
            <a:xfrm>
              <a:off x="5087245" y="4309676"/>
              <a:ext cx="5703" cy="14214"/>
            </a:xfrm>
            <a:custGeom>
              <a:avLst/>
              <a:gdLst>
                <a:gd name="connsiteX0" fmla="*/ 2092 w 6274"/>
                <a:gd name="connsiteY0" fmla="*/ 8177 h 15592"/>
                <a:gd name="connsiteX1" fmla="*/ 0 w 6274"/>
                <a:gd name="connsiteY1" fmla="*/ 15593 h 15592"/>
                <a:gd name="connsiteX2" fmla="*/ 2092 w 6274"/>
                <a:gd name="connsiteY2" fmla="*/ 8177 h 15592"/>
                <a:gd name="connsiteX3" fmla="*/ 4564 w 6274"/>
                <a:gd name="connsiteY3" fmla="*/ 3423 h 15592"/>
                <a:gd name="connsiteX4" fmla="*/ 6275 w 6274"/>
                <a:gd name="connsiteY4" fmla="*/ 0 h 15592"/>
                <a:gd name="connsiteX5" fmla="*/ 4564 w 6274"/>
                <a:gd name="connsiteY5" fmla="*/ 3423 h 15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74" h="15592">
                  <a:moveTo>
                    <a:pt x="2092" y="8177"/>
                  </a:moveTo>
                  <a:cubicBezTo>
                    <a:pt x="1141" y="10573"/>
                    <a:pt x="437" y="13045"/>
                    <a:pt x="0" y="15593"/>
                  </a:cubicBezTo>
                  <a:cubicBezTo>
                    <a:pt x="475" y="13064"/>
                    <a:pt x="1179" y="10592"/>
                    <a:pt x="2092" y="8177"/>
                  </a:cubicBezTo>
                  <a:lnTo>
                    <a:pt x="4564" y="3423"/>
                  </a:lnTo>
                  <a:cubicBezTo>
                    <a:pt x="5286" y="2358"/>
                    <a:pt x="5857" y="1217"/>
                    <a:pt x="6275" y="0"/>
                  </a:cubicBezTo>
                  <a:cubicBezTo>
                    <a:pt x="5857" y="1217"/>
                    <a:pt x="5286" y="2358"/>
                    <a:pt x="4564" y="342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82" name="Полилиния: фигура 481">
              <a:extLst>
                <a:ext uri="{FF2B5EF4-FFF2-40B4-BE49-F238E27FC236}">
                  <a16:creationId xmlns:a16="http://schemas.microsoft.com/office/drawing/2014/main" id="{A18C9F66-0F6D-3506-97AC-98FB942D757C}"/>
                </a:ext>
              </a:extLst>
            </p:cNvPr>
            <p:cNvSpPr/>
            <p:nvPr/>
          </p:nvSpPr>
          <p:spPr>
            <a:xfrm>
              <a:off x="4761088" y="4239469"/>
              <a:ext cx="6403" cy="19761"/>
            </a:xfrm>
            <a:custGeom>
              <a:avLst/>
              <a:gdLst>
                <a:gd name="connsiteX0" fmla="*/ 2662 w 7044"/>
                <a:gd name="connsiteY0" fmla="*/ 5704 h 21677"/>
                <a:gd name="connsiteX1" fmla="*/ 0 w 7044"/>
                <a:gd name="connsiteY1" fmla="*/ 0 h 21677"/>
                <a:gd name="connsiteX2" fmla="*/ 0 w 7044"/>
                <a:gd name="connsiteY2" fmla="*/ 0 h 21677"/>
                <a:gd name="connsiteX3" fmla="*/ 2662 w 7044"/>
                <a:gd name="connsiteY3" fmla="*/ 5704 h 21677"/>
                <a:gd name="connsiteX4" fmla="*/ 6655 w 7044"/>
                <a:gd name="connsiteY4" fmla="*/ 21678 h 21677"/>
                <a:gd name="connsiteX5" fmla="*/ 6655 w 7044"/>
                <a:gd name="connsiteY5" fmla="*/ 21678 h 21677"/>
                <a:gd name="connsiteX6" fmla="*/ 2662 w 7044"/>
                <a:gd name="connsiteY6" fmla="*/ 5704 h 21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44" h="21677">
                  <a:moveTo>
                    <a:pt x="2662" y="5704"/>
                  </a:moveTo>
                  <a:cubicBezTo>
                    <a:pt x="1221" y="4107"/>
                    <a:pt x="293" y="2130"/>
                    <a:pt x="0" y="0"/>
                  </a:cubicBezTo>
                  <a:lnTo>
                    <a:pt x="0" y="0"/>
                  </a:lnTo>
                  <a:cubicBezTo>
                    <a:pt x="293" y="2130"/>
                    <a:pt x="1221" y="4107"/>
                    <a:pt x="2662" y="5704"/>
                  </a:cubicBezTo>
                  <a:cubicBezTo>
                    <a:pt x="6349" y="10154"/>
                    <a:pt x="7817" y="16030"/>
                    <a:pt x="6655" y="21678"/>
                  </a:cubicBezTo>
                  <a:lnTo>
                    <a:pt x="6655" y="21678"/>
                  </a:lnTo>
                  <a:cubicBezTo>
                    <a:pt x="7817" y="16030"/>
                    <a:pt x="6349" y="10154"/>
                    <a:pt x="2662" y="570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83" name="Полилиния: фигура 482">
              <a:extLst>
                <a:ext uri="{FF2B5EF4-FFF2-40B4-BE49-F238E27FC236}">
                  <a16:creationId xmlns:a16="http://schemas.microsoft.com/office/drawing/2014/main" id="{D76587B8-FDA3-987F-FF32-A2B35D449B16}"/>
                </a:ext>
              </a:extLst>
            </p:cNvPr>
            <p:cNvSpPr/>
            <p:nvPr/>
          </p:nvSpPr>
          <p:spPr>
            <a:xfrm>
              <a:off x="5082059" y="4347926"/>
              <a:ext cx="28000" cy="15315"/>
            </a:xfrm>
            <a:custGeom>
              <a:avLst/>
              <a:gdLst>
                <a:gd name="connsiteX0" fmla="*/ 19015 w 30804"/>
                <a:gd name="connsiteY0" fmla="*/ 4821 h 16800"/>
                <a:gd name="connsiteX1" fmla="*/ 0 w 30804"/>
                <a:gd name="connsiteY1" fmla="*/ 16801 h 16800"/>
                <a:gd name="connsiteX2" fmla="*/ 19015 w 30804"/>
                <a:gd name="connsiteY2" fmla="*/ 4821 h 16800"/>
                <a:gd name="connsiteX3" fmla="*/ 29474 w 30804"/>
                <a:gd name="connsiteY3" fmla="*/ 1778 h 16800"/>
                <a:gd name="connsiteX4" fmla="*/ 30805 w 30804"/>
                <a:gd name="connsiteY4" fmla="*/ 67 h 16800"/>
                <a:gd name="connsiteX5" fmla="*/ 29474 w 30804"/>
                <a:gd name="connsiteY5" fmla="*/ 1778 h 16800"/>
                <a:gd name="connsiteX6" fmla="*/ 19015 w 30804"/>
                <a:gd name="connsiteY6" fmla="*/ 4821 h 1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04" h="16800">
                  <a:moveTo>
                    <a:pt x="19015" y="4821"/>
                  </a:moveTo>
                  <a:cubicBezTo>
                    <a:pt x="12360" y="5772"/>
                    <a:pt x="1902" y="7483"/>
                    <a:pt x="0" y="16801"/>
                  </a:cubicBezTo>
                  <a:cubicBezTo>
                    <a:pt x="1711" y="7673"/>
                    <a:pt x="12170" y="5962"/>
                    <a:pt x="19015" y="4821"/>
                  </a:cubicBezTo>
                  <a:cubicBezTo>
                    <a:pt x="22704" y="4726"/>
                    <a:pt x="26317" y="3680"/>
                    <a:pt x="29474" y="1778"/>
                  </a:cubicBezTo>
                  <a:cubicBezTo>
                    <a:pt x="29474" y="1778"/>
                    <a:pt x="30805" y="447"/>
                    <a:pt x="30805" y="67"/>
                  </a:cubicBezTo>
                  <a:cubicBezTo>
                    <a:pt x="30805" y="-313"/>
                    <a:pt x="30805" y="1018"/>
                    <a:pt x="29474" y="1778"/>
                  </a:cubicBezTo>
                  <a:cubicBezTo>
                    <a:pt x="26317" y="3680"/>
                    <a:pt x="22704" y="4726"/>
                    <a:pt x="19015" y="4821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84" name="Полилиния: фигура 483">
              <a:extLst>
                <a:ext uri="{FF2B5EF4-FFF2-40B4-BE49-F238E27FC236}">
                  <a16:creationId xmlns:a16="http://schemas.microsoft.com/office/drawing/2014/main" id="{600D55E0-A5F4-D8E5-5E79-3455A5A37203}"/>
                </a:ext>
              </a:extLst>
            </p:cNvPr>
            <p:cNvSpPr/>
            <p:nvPr/>
          </p:nvSpPr>
          <p:spPr>
            <a:xfrm>
              <a:off x="4938426" y="4498109"/>
              <a:ext cx="17629" cy="10053"/>
            </a:xfrm>
            <a:custGeom>
              <a:avLst/>
              <a:gdLst>
                <a:gd name="connsiteX0" fmla="*/ 0 w 19395"/>
                <a:gd name="connsiteY0" fmla="*/ 0 h 11028"/>
                <a:gd name="connsiteX1" fmla="*/ 761 w 19395"/>
                <a:gd name="connsiteY1" fmla="*/ 380 h 11028"/>
                <a:gd name="connsiteX2" fmla="*/ 19396 w 19395"/>
                <a:gd name="connsiteY2" fmla="*/ 11029 h 11028"/>
                <a:gd name="connsiteX3" fmla="*/ 570 w 19395"/>
                <a:gd name="connsiteY3" fmla="*/ 190 h 11028"/>
                <a:gd name="connsiteX4" fmla="*/ 0 w 19395"/>
                <a:gd name="connsiteY4" fmla="*/ 0 h 1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95" h="11028">
                  <a:moveTo>
                    <a:pt x="0" y="0"/>
                  </a:moveTo>
                  <a:lnTo>
                    <a:pt x="761" y="380"/>
                  </a:lnTo>
                  <a:lnTo>
                    <a:pt x="19396" y="11029"/>
                  </a:lnTo>
                  <a:lnTo>
                    <a:pt x="570" y="1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85" name="Полилиния: фигура 484">
              <a:extLst>
                <a:ext uri="{FF2B5EF4-FFF2-40B4-BE49-F238E27FC236}">
                  <a16:creationId xmlns:a16="http://schemas.microsoft.com/office/drawing/2014/main" id="{4B6DC6A0-1FBB-D74B-279B-7EEA9A854221}"/>
                </a:ext>
              </a:extLst>
            </p:cNvPr>
            <p:cNvSpPr/>
            <p:nvPr/>
          </p:nvSpPr>
          <p:spPr>
            <a:xfrm>
              <a:off x="4938253" y="4494122"/>
              <a:ext cx="1210" cy="3813"/>
            </a:xfrm>
            <a:custGeom>
              <a:avLst/>
              <a:gdLst>
                <a:gd name="connsiteX0" fmla="*/ 0 w 1331"/>
                <a:gd name="connsiteY0" fmla="*/ 4183 h 4183"/>
                <a:gd name="connsiteX1" fmla="*/ 0 w 1331"/>
                <a:gd name="connsiteY1" fmla="*/ 4183 h 4183"/>
                <a:gd name="connsiteX2" fmla="*/ 1331 w 1331"/>
                <a:gd name="connsiteY2" fmla="*/ 0 h 4183"/>
                <a:gd name="connsiteX3" fmla="*/ 0 w 1331"/>
                <a:gd name="connsiteY3" fmla="*/ 4183 h 4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1" h="4183">
                  <a:moveTo>
                    <a:pt x="0" y="4183"/>
                  </a:moveTo>
                  <a:lnTo>
                    <a:pt x="0" y="4183"/>
                  </a:lnTo>
                  <a:cubicBezTo>
                    <a:pt x="551" y="2833"/>
                    <a:pt x="989" y="1426"/>
                    <a:pt x="1331" y="0"/>
                  </a:cubicBezTo>
                  <a:cubicBezTo>
                    <a:pt x="970" y="1426"/>
                    <a:pt x="532" y="2814"/>
                    <a:pt x="0" y="418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86" name="Полилиния: фигура 485">
              <a:extLst>
                <a:ext uri="{FF2B5EF4-FFF2-40B4-BE49-F238E27FC236}">
                  <a16:creationId xmlns:a16="http://schemas.microsoft.com/office/drawing/2014/main" id="{92936D36-012A-F83F-DBF3-82AE0DE70182}"/>
                </a:ext>
              </a:extLst>
            </p:cNvPr>
            <p:cNvSpPr/>
            <p:nvPr/>
          </p:nvSpPr>
          <p:spPr>
            <a:xfrm>
              <a:off x="5032395" y="4445237"/>
              <a:ext cx="2313" cy="33456"/>
            </a:xfrm>
            <a:custGeom>
              <a:avLst/>
              <a:gdLst>
                <a:gd name="connsiteX0" fmla="*/ 1776 w 2545"/>
                <a:gd name="connsiteY0" fmla="*/ 22628 h 36699"/>
                <a:gd name="connsiteX1" fmla="*/ 1776 w 2545"/>
                <a:gd name="connsiteY1" fmla="*/ 36700 h 36699"/>
                <a:gd name="connsiteX2" fmla="*/ 1776 w 2545"/>
                <a:gd name="connsiteY2" fmla="*/ 22628 h 36699"/>
                <a:gd name="connsiteX3" fmla="*/ 64 w 2545"/>
                <a:gd name="connsiteY3" fmla="*/ 11219 h 36699"/>
                <a:gd name="connsiteX4" fmla="*/ 1205 w 2545"/>
                <a:gd name="connsiteY4" fmla="*/ 0 h 36699"/>
                <a:gd name="connsiteX5" fmla="*/ 64 w 2545"/>
                <a:gd name="connsiteY5" fmla="*/ 11219 h 36699"/>
                <a:gd name="connsiteX6" fmla="*/ 1776 w 2545"/>
                <a:gd name="connsiteY6" fmla="*/ 22628 h 3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5" h="36699">
                  <a:moveTo>
                    <a:pt x="1776" y="22628"/>
                  </a:moveTo>
                  <a:cubicBezTo>
                    <a:pt x="2707" y="27268"/>
                    <a:pt x="2707" y="32060"/>
                    <a:pt x="1776" y="36700"/>
                  </a:cubicBezTo>
                  <a:cubicBezTo>
                    <a:pt x="2802" y="32060"/>
                    <a:pt x="2802" y="27268"/>
                    <a:pt x="1776" y="22628"/>
                  </a:cubicBezTo>
                  <a:cubicBezTo>
                    <a:pt x="882" y="18882"/>
                    <a:pt x="311" y="15060"/>
                    <a:pt x="64" y="11219"/>
                  </a:cubicBezTo>
                  <a:cubicBezTo>
                    <a:pt x="-164" y="7435"/>
                    <a:pt x="216" y="3651"/>
                    <a:pt x="1205" y="0"/>
                  </a:cubicBezTo>
                  <a:cubicBezTo>
                    <a:pt x="216" y="3651"/>
                    <a:pt x="-164" y="7435"/>
                    <a:pt x="64" y="11219"/>
                  </a:cubicBezTo>
                  <a:cubicBezTo>
                    <a:pt x="311" y="15060"/>
                    <a:pt x="882" y="18882"/>
                    <a:pt x="1776" y="22628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87" name="Полилиния: фигура 486">
              <a:extLst>
                <a:ext uri="{FF2B5EF4-FFF2-40B4-BE49-F238E27FC236}">
                  <a16:creationId xmlns:a16="http://schemas.microsoft.com/office/drawing/2014/main" id="{722DD6BA-5E72-5FE1-0AB3-F20144799658}"/>
                </a:ext>
              </a:extLst>
            </p:cNvPr>
            <p:cNvSpPr/>
            <p:nvPr/>
          </p:nvSpPr>
          <p:spPr>
            <a:xfrm>
              <a:off x="5081744" y="4363242"/>
              <a:ext cx="35213" cy="47671"/>
            </a:xfrm>
            <a:custGeom>
              <a:avLst/>
              <a:gdLst>
                <a:gd name="connsiteX0" fmla="*/ 30011 w 38739"/>
                <a:gd name="connsiteY0" fmla="*/ 20346 h 52292"/>
                <a:gd name="connsiteX1" fmla="*/ 33624 w 38739"/>
                <a:gd name="connsiteY1" fmla="*/ 20346 h 52292"/>
                <a:gd name="connsiteX2" fmla="*/ 36667 w 38739"/>
                <a:gd name="connsiteY2" fmla="*/ 37270 h 52292"/>
                <a:gd name="connsiteX3" fmla="*/ 38568 w 38739"/>
                <a:gd name="connsiteY3" fmla="*/ 46588 h 52292"/>
                <a:gd name="connsiteX4" fmla="*/ 38568 w 38739"/>
                <a:gd name="connsiteY4" fmla="*/ 52292 h 52292"/>
                <a:gd name="connsiteX5" fmla="*/ 38568 w 38739"/>
                <a:gd name="connsiteY5" fmla="*/ 46588 h 52292"/>
                <a:gd name="connsiteX6" fmla="*/ 36667 w 38739"/>
                <a:gd name="connsiteY6" fmla="*/ 37270 h 52292"/>
                <a:gd name="connsiteX7" fmla="*/ 33624 w 38739"/>
                <a:gd name="connsiteY7" fmla="*/ 20346 h 52292"/>
                <a:gd name="connsiteX8" fmla="*/ 30011 w 38739"/>
                <a:gd name="connsiteY8" fmla="*/ 20346 h 52292"/>
                <a:gd name="connsiteX9" fmla="*/ 157 w 38739"/>
                <a:gd name="connsiteY9" fmla="*/ 4373 h 52292"/>
                <a:gd name="connsiteX10" fmla="*/ 157 w 38739"/>
                <a:gd name="connsiteY10" fmla="*/ 0 h 52292"/>
                <a:gd name="connsiteX11" fmla="*/ 157 w 38739"/>
                <a:gd name="connsiteY11" fmla="*/ 4373 h 52292"/>
                <a:gd name="connsiteX12" fmla="*/ 30011 w 38739"/>
                <a:gd name="connsiteY12" fmla="*/ 20346 h 5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739" h="52292">
                  <a:moveTo>
                    <a:pt x="30011" y="20346"/>
                  </a:moveTo>
                  <a:lnTo>
                    <a:pt x="33624" y="20346"/>
                  </a:lnTo>
                  <a:cubicBezTo>
                    <a:pt x="34270" y="26051"/>
                    <a:pt x="35278" y="31698"/>
                    <a:pt x="36667" y="37270"/>
                  </a:cubicBezTo>
                  <a:cubicBezTo>
                    <a:pt x="36667" y="40313"/>
                    <a:pt x="37998" y="43355"/>
                    <a:pt x="38568" y="46588"/>
                  </a:cubicBezTo>
                  <a:cubicBezTo>
                    <a:pt x="38701" y="48489"/>
                    <a:pt x="38701" y="50391"/>
                    <a:pt x="38568" y="52292"/>
                  </a:cubicBezTo>
                  <a:cubicBezTo>
                    <a:pt x="38796" y="50391"/>
                    <a:pt x="38796" y="48489"/>
                    <a:pt x="38568" y="46588"/>
                  </a:cubicBezTo>
                  <a:cubicBezTo>
                    <a:pt x="38568" y="43355"/>
                    <a:pt x="37237" y="40313"/>
                    <a:pt x="36667" y="37270"/>
                  </a:cubicBezTo>
                  <a:cubicBezTo>
                    <a:pt x="35278" y="31698"/>
                    <a:pt x="34270" y="26051"/>
                    <a:pt x="33624" y="20346"/>
                  </a:cubicBezTo>
                  <a:lnTo>
                    <a:pt x="30011" y="20346"/>
                  </a:lnTo>
                  <a:cubicBezTo>
                    <a:pt x="20694" y="20346"/>
                    <a:pt x="1298" y="20346"/>
                    <a:pt x="157" y="4373"/>
                  </a:cubicBezTo>
                  <a:cubicBezTo>
                    <a:pt x="-52" y="2928"/>
                    <a:pt x="-52" y="1445"/>
                    <a:pt x="157" y="0"/>
                  </a:cubicBezTo>
                  <a:cubicBezTo>
                    <a:pt x="-33" y="1445"/>
                    <a:pt x="-33" y="2928"/>
                    <a:pt x="157" y="4373"/>
                  </a:cubicBezTo>
                  <a:cubicBezTo>
                    <a:pt x="1298" y="20727"/>
                    <a:pt x="20694" y="20537"/>
                    <a:pt x="30011" y="2034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88" name="Полилиния: фигура 487">
              <a:extLst>
                <a:ext uri="{FF2B5EF4-FFF2-40B4-BE49-F238E27FC236}">
                  <a16:creationId xmlns:a16="http://schemas.microsoft.com/office/drawing/2014/main" id="{6B2BB466-983C-1E12-DB77-DE7C9B3B633E}"/>
                </a:ext>
              </a:extLst>
            </p:cNvPr>
            <p:cNvSpPr/>
            <p:nvPr/>
          </p:nvSpPr>
          <p:spPr>
            <a:xfrm>
              <a:off x="5086506" y="4323891"/>
              <a:ext cx="23361" cy="24006"/>
            </a:xfrm>
            <a:custGeom>
              <a:avLst/>
              <a:gdLst>
                <a:gd name="connsiteX0" fmla="*/ 3285 w 25701"/>
                <a:gd name="connsiteY0" fmla="*/ 18065 h 26333"/>
                <a:gd name="connsiteX1" fmla="*/ 18687 w 25701"/>
                <a:gd name="connsiteY1" fmla="*/ 24720 h 26333"/>
                <a:gd name="connsiteX2" fmla="*/ 20399 w 25701"/>
                <a:gd name="connsiteY2" fmla="*/ 24720 h 26333"/>
                <a:gd name="connsiteX3" fmla="*/ 25533 w 25701"/>
                <a:gd name="connsiteY3" fmla="*/ 24720 h 26333"/>
                <a:gd name="connsiteX4" fmla="*/ 25533 w 25701"/>
                <a:gd name="connsiteY4" fmla="*/ 25861 h 26333"/>
                <a:gd name="connsiteX5" fmla="*/ 25533 w 25701"/>
                <a:gd name="connsiteY5" fmla="*/ 24720 h 26333"/>
                <a:gd name="connsiteX6" fmla="*/ 20399 w 25701"/>
                <a:gd name="connsiteY6" fmla="*/ 24720 h 26333"/>
                <a:gd name="connsiteX7" fmla="*/ 18687 w 25701"/>
                <a:gd name="connsiteY7" fmla="*/ 24720 h 26333"/>
                <a:gd name="connsiteX8" fmla="*/ 3285 w 25701"/>
                <a:gd name="connsiteY8" fmla="*/ 18065 h 26333"/>
                <a:gd name="connsiteX9" fmla="*/ 813 w 25701"/>
                <a:gd name="connsiteY9" fmla="*/ 0 h 26333"/>
                <a:gd name="connsiteX10" fmla="*/ 3285 w 25701"/>
                <a:gd name="connsiteY10" fmla="*/ 18065 h 26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701" h="26333">
                  <a:moveTo>
                    <a:pt x="3285" y="18065"/>
                  </a:moveTo>
                  <a:cubicBezTo>
                    <a:pt x="6879" y="22856"/>
                    <a:pt x="12736" y="25386"/>
                    <a:pt x="18687" y="24720"/>
                  </a:cubicBezTo>
                  <a:lnTo>
                    <a:pt x="20399" y="24720"/>
                  </a:lnTo>
                  <a:cubicBezTo>
                    <a:pt x="24012" y="24720"/>
                    <a:pt x="25153" y="24720"/>
                    <a:pt x="25533" y="24720"/>
                  </a:cubicBezTo>
                  <a:cubicBezTo>
                    <a:pt x="25913" y="24720"/>
                    <a:pt x="25533" y="24720"/>
                    <a:pt x="25533" y="25861"/>
                  </a:cubicBezTo>
                  <a:cubicBezTo>
                    <a:pt x="25533" y="27002"/>
                    <a:pt x="25533" y="25861"/>
                    <a:pt x="25533" y="24720"/>
                  </a:cubicBezTo>
                  <a:cubicBezTo>
                    <a:pt x="25533" y="23579"/>
                    <a:pt x="24012" y="23579"/>
                    <a:pt x="20399" y="24720"/>
                  </a:cubicBezTo>
                  <a:lnTo>
                    <a:pt x="18687" y="24720"/>
                  </a:lnTo>
                  <a:cubicBezTo>
                    <a:pt x="12736" y="25386"/>
                    <a:pt x="6879" y="22856"/>
                    <a:pt x="3285" y="18065"/>
                  </a:cubicBezTo>
                  <a:cubicBezTo>
                    <a:pt x="52" y="12626"/>
                    <a:pt x="-842" y="6104"/>
                    <a:pt x="813" y="0"/>
                  </a:cubicBezTo>
                  <a:cubicBezTo>
                    <a:pt x="-842" y="6104"/>
                    <a:pt x="52" y="12626"/>
                    <a:pt x="3285" y="1806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89" name="Полилиния: фигура 488">
              <a:extLst>
                <a:ext uri="{FF2B5EF4-FFF2-40B4-BE49-F238E27FC236}">
                  <a16:creationId xmlns:a16="http://schemas.microsoft.com/office/drawing/2014/main" id="{75139342-87E4-455C-A0A5-327BF32E4043}"/>
                </a:ext>
              </a:extLst>
            </p:cNvPr>
            <p:cNvSpPr/>
            <p:nvPr/>
          </p:nvSpPr>
          <p:spPr>
            <a:xfrm>
              <a:off x="4965735" y="4221441"/>
              <a:ext cx="128125" cy="130905"/>
            </a:xfrm>
            <a:custGeom>
              <a:avLst/>
              <a:gdLst>
                <a:gd name="connsiteX0" fmla="*/ 1141 w 140956"/>
                <a:gd name="connsiteY0" fmla="*/ 16353 h 143594"/>
                <a:gd name="connsiteX1" fmla="*/ 7986 w 140956"/>
                <a:gd name="connsiteY1" fmla="*/ 25481 h 143594"/>
                <a:gd name="connsiteX2" fmla="*/ 11599 w 140956"/>
                <a:gd name="connsiteY2" fmla="*/ 29854 h 143594"/>
                <a:gd name="connsiteX3" fmla="*/ 12740 w 140956"/>
                <a:gd name="connsiteY3" fmla="*/ 42024 h 143594"/>
                <a:gd name="connsiteX4" fmla="*/ 24340 w 140956"/>
                <a:gd name="connsiteY4" fmla="*/ 67315 h 143594"/>
                <a:gd name="connsiteX5" fmla="*/ 22818 w 140956"/>
                <a:gd name="connsiteY5" fmla="*/ 96408 h 143594"/>
                <a:gd name="connsiteX6" fmla="*/ 22818 w 140956"/>
                <a:gd name="connsiteY6" fmla="*/ 102873 h 143594"/>
                <a:gd name="connsiteX7" fmla="*/ 25861 w 140956"/>
                <a:gd name="connsiteY7" fmla="*/ 140904 h 143594"/>
                <a:gd name="connsiteX8" fmla="*/ 66554 w 140956"/>
                <a:gd name="connsiteY8" fmla="*/ 134059 h 143594"/>
                <a:gd name="connsiteX9" fmla="*/ 90703 w 140956"/>
                <a:gd name="connsiteY9" fmla="*/ 116754 h 143594"/>
                <a:gd name="connsiteX10" fmla="*/ 98119 w 140956"/>
                <a:gd name="connsiteY10" fmla="*/ 109909 h 143594"/>
                <a:gd name="connsiteX11" fmla="*/ 131396 w 140956"/>
                <a:gd name="connsiteY11" fmla="*/ 94506 h 143594"/>
                <a:gd name="connsiteX12" fmla="*/ 140714 w 140956"/>
                <a:gd name="connsiteY12" fmla="*/ 94506 h 143594"/>
                <a:gd name="connsiteX13" fmla="*/ 140714 w 140956"/>
                <a:gd name="connsiteY13" fmla="*/ 96028 h 143594"/>
                <a:gd name="connsiteX14" fmla="*/ 140714 w 140956"/>
                <a:gd name="connsiteY14" fmla="*/ 94506 h 143594"/>
                <a:gd name="connsiteX15" fmla="*/ 131396 w 140956"/>
                <a:gd name="connsiteY15" fmla="*/ 94506 h 143594"/>
                <a:gd name="connsiteX16" fmla="*/ 98119 w 140956"/>
                <a:gd name="connsiteY16" fmla="*/ 109909 h 143594"/>
                <a:gd name="connsiteX17" fmla="*/ 90703 w 140956"/>
                <a:gd name="connsiteY17" fmla="*/ 116754 h 143594"/>
                <a:gd name="connsiteX18" fmla="*/ 66554 w 140956"/>
                <a:gd name="connsiteY18" fmla="*/ 134059 h 143594"/>
                <a:gd name="connsiteX19" fmla="*/ 25861 w 140956"/>
                <a:gd name="connsiteY19" fmla="*/ 140904 h 143594"/>
                <a:gd name="connsiteX20" fmla="*/ 22818 w 140956"/>
                <a:gd name="connsiteY20" fmla="*/ 102873 h 143594"/>
                <a:gd name="connsiteX21" fmla="*/ 22818 w 140956"/>
                <a:gd name="connsiteY21" fmla="*/ 96408 h 143594"/>
                <a:gd name="connsiteX22" fmla="*/ 24340 w 140956"/>
                <a:gd name="connsiteY22" fmla="*/ 67315 h 143594"/>
                <a:gd name="connsiteX23" fmla="*/ 12740 w 140956"/>
                <a:gd name="connsiteY23" fmla="*/ 42024 h 143594"/>
                <a:gd name="connsiteX24" fmla="*/ 11599 w 140956"/>
                <a:gd name="connsiteY24" fmla="*/ 29854 h 143594"/>
                <a:gd name="connsiteX25" fmla="*/ 7986 w 140956"/>
                <a:gd name="connsiteY25" fmla="*/ 25481 h 143594"/>
                <a:gd name="connsiteX26" fmla="*/ 1141 w 140956"/>
                <a:gd name="connsiteY26" fmla="*/ 16353 h 143594"/>
                <a:gd name="connsiteX27" fmla="*/ 1141 w 140956"/>
                <a:gd name="connsiteY27" fmla="*/ 0 h 143594"/>
                <a:gd name="connsiteX28" fmla="*/ 1141 w 140956"/>
                <a:gd name="connsiteY28" fmla="*/ 16353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40956" h="143594">
                  <a:moveTo>
                    <a:pt x="1141" y="16353"/>
                  </a:moveTo>
                  <a:cubicBezTo>
                    <a:pt x="2548" y="19966"/>
                    <a:pt x="4925" y="23123"/>
                    <a:pt x="7986" y="25481"/>
                  </a:cubicBezTo>
                  <a:cubicBezTo>
                    <a:pt x="9546" y="26603"/>
                    <a:pt x="10782" y="28105"/>
                    <a:pt x="11599" y="29854"/>
                  </a:cubicBezTo>
                  <a:cubicBezTo>
                    <a:pt x="12873" y="33771"/>
                    <a:pt x="13273" y="37936"/>
                    <a:pt x="12740" y="42024"/>
                  </a:cubicBezTo>
                  <a:cubicBezTo>
                    <a:pt x="10630" y="52083"/>
                    <a:pt x="15326" y="62352"/>
                    <a:pt x="24340" y="67315"/>
                  </a:cubicBezTo>
                  <a:cubicBezTo>
                    <a:pt x="24340" y="76822"/>
                    <a:pt x="24340" y="86330"/>
                    <a:pt x="22818" y="96408"/>
                  </a:cubicBezTo>
                  <a:cubicBezTo>
                    <a:pt x="22818" y="97739"/>
                    <a:pt x="22818" y="100021"/>
                    <a:pt x="22818" y="102873"/>
                  </a:cubicBezTo>
                  <a:cubicBezTo>
                    <a:pt x="20346" y="121889"/>
                    <a:pt x="18825" y="135770"/>
                    <a:pt x="25861" y="140904"/>
                  </a:cubicBezTo>
                  <a:cubicBezTo>
                    <a:pt x="32897" y="146038"/>
                    <a:pt x="49630" y="140904"/>
                    <a:pt x="66554" y="134059"/>
                  </a:cubicBezTo>
                  <a:cubicBezTo>
                    <a:pt x="75567" y="129780"/>
                    <a:pt x="83744" y="123923"/>
                    <a:pt x="90703" y="116754"/>
                  </a:cubicBezTo>
                  <a:lnTo>
                    <a:pt x="98119" y="109909"/>
                  </a:lnTo>
                  <a:cubicBezTo>
                    <a:pt x="107741" y="102056"/>
                    <a:pt x="119188" y="96750"/>
                    <a:pt x="131396" y="94506"/>
                  </a:cubicBezTo>
                  <a:cubicBezTo>
                    <a:pt x="134058" y="94506"/>
                    <a:pt x="139573" y="93366"/>
                    <a:pt x="140714" y="94506"/>
                  </a:cubicBezTo>
                  <a:cubicBezTo>
                    <a:pt x="140904" y="95001"/>
                    <a:pt x="140904" y="95533"/>
                    <a:pt x="140714" y="96028"/>
                  </a:cubicBezTo>
                  <a:cubicBezTo>
                    <a:pt x="141037" y="95571"/>
                    <a:pt x="141037" y="94963"/>
                    <a:pt x="140714" y="94506"/>
                  </a:cubicBezTo>
                  <a:cubicBezTo>
                    <a:pt x="139573" y="92795"/>
                    <a:pt x="134058" y="94506"/>
                    <a:pt x="131396" y="94506"/>
                  </a:cubicBezTo>
                  <a:cubicBezTo>
                    <a:pt x="119188" y="96750"/>
                    <a:pt x="107741" y="102056"/>
                    <a:pt x="98119" y="109909"/>
                  </a:cubicBezTo>
                  <a:lnTo>
                    <a:pt x="90703" y="116754"/>
                  </a:lnTo>
                  <a:cubicBezTo>
                    <a:pt x="83744" y="123923"/>
                    <a:pt x="75567" y="129780"/>
                    <a:pt x="66554" y="134059"/>
                  </a:cubicBezTo>
                  <a:cubicBezTo>
                    <a:pt x="49630" y="141475"/>
                    <a:pt x="33847" y="147179"/>
                    <a:pt x="25861" y="140904"/>
                  </a:cubicBezTo>
                  <a:cubicBezTo>
                    <a:pt x="17874" y="134629"/>
                    <a:pt x="20346" y="121889"/>
                    <a:pt x="22818" y="102873"/>
                  </a:cubicBezTo>
                  <a:cubicBezTo>
                    <a:pt x="22818" y="100021"/>
                    <a:pt x="22818" y="97739"/>
                    <a:pt x="22818" y="96408"/>
                  </a:cubicBezTo>
                  <a:cubicBezTo>
                    <a:pt x="22818" y="86520"/>
                    <a:pt x="23959" y="77393"/>
                    <a:pt x="24340" y="67315"/>
                  </a:cubicBezTo>
                  <a:cubicBezTo>
                    <a:pt x="15326" y="62352"/>
                    <a:pt x="10630" y="52083"/>
                    <a:pt x="12740" y="42024"/>
                  </a:cubicBezTo>
                  <a:cubicBezTo>
                    <a:pt x="13273" y="37936"/>
                    <a:pt x="12873" y="33771"/>
                    <a:pt x="11599" y="29854"/>
                  </a:cubicBezTo>
                  <a:cubicBezTo>
                    <a:pt x="10782" y="28105"/>
                    <a:pt x="9546" y="26603"/>
                    <a:pt x="7986" y="25481"/>
                  </a:cubicBezTo>
                  <a:cubicBezTo>
                    <a:pt x="4925" y="23123"/>
                    <a:pt x="2548" y="19966"/>
                    <a:pt x="1141" y="16353"/>
                  </a:cubicBezTo>
                  <a:cubicBezTo>
                    <a:pt x="-380" y="11010"/>
                    <a:pt x="-380" y="5343"/>
                    <a:pt x="1141" y="0"/>
                  </a:cubicBezTo>
                  <a:cubicBezTo>
                    <a:pt x="-380" y="5343"/>
                    <a:pt x="-380" y="11010"/>
                    <a:pt x="1141" y="1635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90" name="Полилиния: фигура 489">
              <a:extLst>
                <a:ext uri="{FF2B5EF4-FFF2-40B4-BE49-F238E27FC236}">
                  <a16:creationId xmlns:a16="http://schemas.microsoft.com/office/drawing/2014/main" id="{1288032E-1284-DC66-15C2-58221026D104}"/>
                </a:ext>
              </a:extLst>
            </p:cNvPr>
            <p:cNvSpPr/>
            <p:nvPr/>
          </p:nvSpPr>
          <p:spPr>
            <a:xfrm>
              <a:off x="4761088" y="4192011"/>
              <a:ext cx="206686" cy="47458"/>
            </a:xfrm>
            <a:custGeom>
              <a:avLst/>
              <a:gdLst>
                <a:gd name="connsiteX0" fmla="*/ 12170 w 227385"/>
                <a:gd name="connsiteY0" fmla="*/ 44643 h 52058"/>
                <a:gd name="connsiteX1" fmla="*/ 19015 w 227385"/>
                <a:gd name="connsiteY1" fmla="*/ 42361 h 52058"/>
                <a:gd name="connsiteX2" fmla="*/ 32897 w 227385"/>
                <a:gd name="connsiteY2" fmla="*/ 35325 h 52058"/>
                <a:gd name="connsiteX3" fmla="*/ 50771 w 227385"/>
                <a:gd name="connsiteY3" fmla="*/ 26958 h 52058"/>
                <a:gd name="connsiteX4" fmla="*/ 60279 w 227385"/>
                <a:gd name="connsiteY4" fmla="*/ 24486 h 52058"/>
                <a:gd name="connsiteX5" fmla="*/ 71308 w 227385"/>
                <a:gd name="connsiteY5" fmla="*/ 22014 h 52058"/>
                <a:gd name="connsiteX6" fmla="*/ 76062 w 227385"/>
                <a:gd name="connsiteY6" fmla="*/ 22014 h 52058"/>
                <a:gd name="connsiteX7" fmla="*/ 88041 w 227385"/>
                <a:gd name="connsiteY7" fmla="*/ 19732 h 52058"/>
                <a:gd name="connsiteX8" fmla="*/ 120938 w 227385"/>
                <a:gd name="connsiteY8" fmla="*/ 9654 h 52058"/>
                <a:gd name="connsiteX9" fmla="*/ 127974 w 227385"/>
                <a:gd name="connsiteY9" fmla="*/ 4900 h 52058"/>
                <a:gd name="connsiteX10" fmla="*/ 141475 w 227385"/>
                <a:gd name="connsiteY10" fmla="*/ 527 h 52058"/>
                <a:gd name="connsiteX11" fmla="*/ 146609 w 227385"/>
                <a:gd name="connsiteY11" fmla="*/ 2809 h 52058"/>
                <a:gd name="connsiteX12" fmla="*/ 157828 w 227385"/>
                <a:gd name="connsiteY12" fmla="*/ 6422 h 52058"/>
                <a:gd name="connsiteX13" fmla="*/ 157828 w 227385"/>
                <a:gd name="connsiteY13" fmla="*/ 6422 h 52058"/>
                <a:gd name="connsiteX14" fmla="*/ 167525 w 227385"/>
                <a:gd name="connsiteY14" fmla="*/ 2999 h 52058"/>
                <a:gd name="connsiteX15" fmla="*/ 170758 w 227385"/>
                <a:gd name="connsiteY15" fmla="*/ 1288 h 52058"/>
                <a:gd name="connsiteX16" fmla="*/ 185970 w 227385"/>
                <a:gd name="connsiteY16" fmla="*/ 5471 h 52058"/>
                <a:gd name="connsiteX17" fmla="*/ 187872 w 227385"/>
                <a:gd name="connsiteY17" fmla="*/ 6992 h 52058"/>
                <a:gd name="connsiteX18" fmla="*/ 218867 w 227385"/>
                <a:gd name="connsiteY18" fmla="*/ 12507 h 52058"/>
                <a:gd name="connsiteX19" fmla="*/ 223241 w 227385"/>
                <a:gd name="connsiteY19" fmla="*/ 9654 h 52058"/>
                <a:gd name="connsiteX20" fmla="*/ 223241 w 227385"/>
                <a:gd name="connsiteY20" fmla="*/ 9654 h 52058"/>
                <a:gd name="connsiteX21" fmla="*/ 227044 w 227385"/>
                <a:gd name="connsiteY21" fmla="*/ 13648 h 52058"/>
                <a:gd name="connsiteX22" fmla="*/ 227044 w 227385"/>
                <a:gd name="connsiteY22" fmla="*/ 17641 h 52058"/>
                <a:gd name="connsiteX23" fmla="*/ 227044 w 227385"/>
                <a:gd name="connsiteY23" fmla="*/ 13648 h 52058"/>
                <a:gd name="connsiteX24" fmla="*/ 223241 w 227385"/>
                <a:gd name="connsiteY24" fmla="*/ 9654 h 52058"/>
                <a:gd name="connsiteX25" fmla="*/ 223241 w 227385"/>
                <a:gd name="connsiteY25" fmla="*/ 9654 h 52058"/>
                <a:gd name="connsiteX26" fmla="*/ 218867 w 227385"/>
                <a:gd name="connsiteY26" fmla="*/ 12507 h 52058"/>
                <a:gd name="connsiteX27" fmla="*/ 187872 w 227385"/>
                <a:gd name="connsiteY27" fmla="*/ 6992 h 52058"/>
                <a:gd name="connsiteX28" fmla="*/ 185970 w 227385"/>
                <a:gd name="connsiteY28" fmla="*/ 5471 h 52058"/>
                <a:gd name="connsiteX29" fmla="*/ 170758 w 227385"/>
                <a:gd name="connsiteY29" fmla="*/ 1288 h 52058"/>
                <a:gd name="connsiteX30" fmla="*/ 167525 w 227385"/>
                <a:gd name="connsiteY30" fmla="*/ 2999 h 52058"/>
                <a:gd name="connsiteX31" fmla="*/ 157828 w 227385"/>
                <a:gd name="connsiteY31" fmla="*/ 6422 h 52058"/>
                <a:gd name="connsiteX32" fmla="*/ 157828 w 227385"/>
                <a:gd name="connsiteY32" fmla="*/ 6422 h 52058"/>
                <a:gd name="connsiteX33" fmla="*/ 146609 w 227385"/>
                <a:gd name="connsiteY33" fmla="*/ 2809 h 52058"/>
                <a:gd name="connsiteX34" fmla="*/ 141475 w 227385"/>
                <a:gd name="connsiteY34" fmla="*/ 527 h 52058"/>
                <a:gd name="connsiteX35" fmla="*/ 127974 w 227385"/>
                <a:gd name="connsiteY35" fmla="*/ 4900 h 52058"/>
                <a:gd name="connsiteX36" fmla="*/ 120938 w 227385"/>
                <a:gd name="connsiteY36" fmla="*/ 9654 h 52058"/>
                <a:gd name="connsiteX37" fmla="*/ 88041 w 227385"/>
                <a:gd name="connsiteY37" fmla="*/ 19732 h 52058"/>
                <a:gd name="connsiteX38" fmla="*/ 76062 w 227385"/>
                <a:gd name="connsiteY38" fmla="*/ 22014 h 52058"/>
                <a:gd name="connsiteX39" fmla="*/ 71308 w 227385"/>
                <a:gd name="connsiteY39" fmla="*/ 22014 h 52058"/>
                <a:gd name="connsiteX40" fmla="*/ 60279 w 227385"/>
                <a:gd name="connsiteY40" fmla="*/ 24486 h 52058"/>
                <a:gd name="connsiteX41" fmla="*/ 50771 w 227385"/>
                <a:gd name="connsiteY41" fmla="*/ 26958 h 52058"/>
                <a:gd name="connsiteX42" fmla="*/ 32897 w 227385"/>
                <a:gd name="connsiteY42" fmla="*/ 35325 h 52058"/>
                <a:gd name="connsiteX43" fmla="*/ 19015 w 227385"/>
                <a:gd name="connsiteY43" fmla="*/ 42361 h 52058"/>
                <a:gd name="connsiteX44" fmla="*/ 12170 w 227385"/>
                <a:gd name="connsiteY44" fmla="*/ 44643 h 52058"/>
                <a:gd name="connsiteX45" fmla="*/ 0 w 227385"/>
                <a:gd name="connsiteY45" fmla="*/ 52059 h 52058"/>
                <a:gd name="connsiteX46" fmla="*/ 0 w 227385"/>
                <a:gd name="connsiteY46" fmla="*/ 52059 h 52058"/>
                <a:gd name="connsiteX47" fmla="*/ 12170 w 227385"/>
                <a:gd name="connsiteY47" fmla="*/ 44643 h 5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27385" h="52058">
                  <a:moveTo>
                    <a:pt x="12170" y="44643"/>
                  </a:moveTo>
                  <a:cubicBezTo>
                    <a:pt x="14514" y="44091"/>
                    <a:pt x="16806" y="43312"/>
                    <a:pt x="19015" y="42361"/>
                  </a:cubicBezTo>
                  <a:cubicBezTo>
                    <a:pt x="23959" y="40269"/>
                    <a:pt x="28333" y="37797"/>
                    <a:pt x="32897" y="35325"/>
                  </a:cubicBezTo>
                  <a:cubicBezTo>
                    <a:pt x="38529" y="31883"/>
                    <a:pt x="44525" y="29088"/>
                    <a:pt x="50771" y="26958"/>
                  </a:cubicBezTo>
                  <a:cubicBezTo>
                    <a:pt x="53891" y="25951"/>
                    <a:pt x="57065" y="25133"/>
                    <a:pt x="60279" y="24486"/>
                  </a:cubicBezTo>
                  <a:lnTo>
                    <a:pt x="71308" y="22014"/>
                  </a:lnTo>
                  <a:lnTo>
                    <a:pt x="76062" y="22014"/>
                  </a:lnTo>
                  <a:lnTo>
                    <a:pt x="88041" y="19732"/>
                  </a:lnTo>
                  <a:cubicBezTo>
                    <a:pt x="99470" y="18135"/>
                    <a:pt x="110573" y="14732"/>
                    <a:pt x="120938" y="9654"/>
                  </a:cubicBezTo>
                  <a:cubicBezTo>
                    <a:pt x="123370" y="8209"/>
                    <a:pt x="125718" y="6612"/>
                    <a:pt x="127974" y="4900"/>
                  </a:cubicBezTo>
                  <a:cubicBezTo>
                    <a:pt x="131398" y="1173"/>
                    <a:pt x="136519" y="-481"/>
                    <a:pt x="141475" y="527"/>
                  </a:cubicBezTo>
                  <a:cubicBezTo>
                    <a:pt x="143256" y="1117"/>
                    <a:pt x="144977" y="1877"/>
                    <a:pt x="146609" y="2809"/>
                  </a:cubicBezTo>
                  <a:cubicBezTo>
                    <a:pt x="149959" y="4996"/>
                    <a:pt x="153834" y="6232"/>
                    <a:pt x="157828" y="6422"/>
                  </a:cubicBezTo>
                  <a:lnTo>
                    <a:pt x="157828" y="6422"/>
                  </a:lnTo>
                  <a:cubicBezTo>
                    <a:pt x="161346" y="6403"/>
                    <a:pt x="164768" y="5186"/>
                    <a:pt x="167525" y="2999"/>
                  </a:cubicBezTo>
                  <a:cubicBezTo>
                    <a:pt x="168552" y="2333"/>
                    <a:pt x="169636" y="1744"/>
                    <a:pt x="170758" y="1288"/>
                  </a:cubicBezTo>
                  <a:cubicBezTo>
                    <a:pt x="178364" y="-994"/>
                    <a:pt x="179125" y="-614"/>
                    <a:pt x="185970" y="5471"/>
                  </a:cubicBezTo>
                  <a:lnTo>
                    <a:pt x="187872" y="6992"/>
                  </a:lnTo>
                  <a:cubicBezTo>
                    <a:pt x="196619" y="14788"/>
                    <a:pt x="204035" y="21444"/>
                    <a:pt x="218867" y="12507"/>
                  </a:cubicBezTo>
                  <a:cubicBezTo>
                    <a:pt x="220388" y="11670"/>
                    <a:pt x="221852" y="10719"/>
                    <a:pt x="223241" y="9654"/>
                  </a:cubicBezTo>
                  <a:lnTo>
                    <a:pt x="223241" y="9654"/>
                  </a:lnTo>
                  <a:cubicBezTo>
                    <a:pt x="224819" y="10643"/>
                    <a:pt x="226131" y="12012"/>
                    <a:pt x="227044" y="13648"/>
                  </a:cubicBezTo>
                  <a:cubicBezTo>
                    <a:pt x="227500" y="14940"/>
                    <a:pt x="227500" y="16348"/>
                    <a:pt x="227044" y="17641"/>
                  </a:cubicBezTo>
                  <a:cubicBezTo>
                    <a:pt x="227500" y="16348"/>
                    <a:pt x="227500" y="14940"/>
                    <a:pt x="227044" y="13648"/>
                  </a:cubicBezTo>
                  <a:cubicBezTo>
                    <a:pt x="226131" y="12012"/>
                    <a:pt x="224819" y="10643"/>
                    <a:pt x="223241" y="9654"/>
                  </a:cubicBezTo>
                  <a:lnTo>
                    <a:pt x="223241" y="9654"/>
                  </a:lnTo>
                  <a:cubicBezTo>
                    <a:pt x="221852" y="10719"/>
                    <a:pt x="220388" y="11670"/>
                    <a:pt x="218867" y="12507"/>
                  </a:cubicBezTo>
                  <a:cubicBezTo>
                    <a:pt x="204035" y="21444"/>
                    <a:pt x="196619" y="14788"/>
                    <a:pt x="187872" y="6992"/>
                  </a:cubicBezTo>
                  <a:lnTo>
                    <a:pt x="185970" y="5471"/>
                  </a:lnTo>
                  <a:cubicBezTo>
                    <a:pt x="179125" y="-614"/>
                    <a:pt x="178364" y="-994"/>
                    <a:pt x="170758" y="1288"/>
                  </a:cubicBezTo>
                  <a:cubicBezTo>
                    <a:pt x="169636" y="1744"/>
                    <a:pt x="168552" y="2333"/>
                    <a:pt x="167525" y="2999"/>
                  </a:cubicBezTo>
                  <a:cubicBezTo>
                    <a:pt x="164768" y="5186"/>
                    <a:pt x="161346" y="6403"/>
                    <a:pt x="157828" y="6422"/>
                  </a:cubicBezTo>
                  <a:lnTo>
                    <a:pt x="157828" y="6422"/>
                  </a:lnTo>
                  <a:cubicBezTo>
                    <a:pt x="153834" y="6232"/>
                    <a:pt x="149959" y="4996"/>
                    <a:pt x="146609" y="2809"/>
                  </a:cubicBezTo>
                  <a:cubicBezTo>
                    <a:pt x="144977" y="1877"/>
                    <a:pt x="143256" y="1117"/>
                    <a:pt x="141475" y="527"/>
                  </a:cubicBezTo>
                  <a:cubicBezTo>
                    <a:pt x="136519" y="-481"/>
                    <a:pt x="131398" y="1173"/>
                    <a:pt x="127974" y="4900"/>
                  </a:cubicBezTo>
                  <a:cubicBezTo>
                    <a:pt x="125718" y="6612"/>
                    <a:pt x="123370" y="8209"/>
                    <a:pt x="120938" y="9654"/>
                  </a:cubicBezTo>
                  <a:cubicBezTo>
                    <a:pt x="110573" y="14732"/>
                    <a:pt x="99470" y="18135"/>
                    <a:pt x="88041" y="19732"/>
                  </a:cubicBezTo>
                  <a:lnTo>
                    <a:pt x="76062" y="22014"/>
                  </a:lnTo>
                  <a:lnTo>
                    <a:pt x="71308" y="22014"/>
                  </a:lnTo>
                  <a:lnTo>
                    <a:pt x="60279" y="24486"/>
                  </a:lnTo>
                  <a:cubicBezTo>
                    <a:pt x="57065" y="25133"/>
                    <a:pt x="53891" y="25951"/>
                    <a:pt x="50771" y="26958"/>
                  </a:cubicBezTo>
                  <a:cubicBezTo>
                    <a:pt x="44525" y="29088"/>
                    <a:pt x="38529" y="31883"/>
                    <a:pt x="32897" y="35325"/>
                  </a:cubicBezTo>
                  <a:cubicBezTo>
                    <a:pt x="28333" y="37797"/>
                    <a:pt x="23959" y="40269"/>
                    <a:pt x="19015" y="42361"/>
                  </a:cubicBezTo>
                  <a:cubicBezTo>
                    <a:pt x="16806" y="43312"/>
                    <a:pt x="14514" y="44091"/>
                    <a:pt x="12170" y="44643"/>
                  </a:cubicBezTo>
                  <a:cubicBezTo>
                    <a:pt x="3993" y="47115"/>
                    <a:pt x="190" y="48826"/>
                    <a:pt x="0" y="52059"/>
                  </a:cubicBezTo>
                  <a:lnTo>
                    <a:pt x="0" y="52059"/>
                  </a:lnTo>
                  <a:cubicBezTo>
                    <a:pt x="1331" y="48826"/>
                    <a:pt x="4183" y="47115"/>
                    <a:pt x="12170" y="4464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91" name="Полилиния: фигура 490">
              <a:extLst>
                <a:ext uri="{FF2B5EF4-FFF2-40B4-BE49-F238E27FC236}">
                  <a16:creationId xmlns:a16="http://schemas.microsoft.com/office/drawing/2014/main" id="{82FC5CD0-9A67-00E4-F448-9C3E8E80E73B}"/>
                </a:ext>
              </a:extLst>
            </p:cNvPr>
            <p:cNvSpPr/>
            <p:nvPr/>
          </p:nvSpPr>
          <p:spPr>
            <a:xfrm>
              <a:off x="4810349" y="4351280"/>
              <a:ext cx="7086" cy="13001"/>
            </a:xfrm>
            <a:custGeom>
              <a:avLst/>
              <a:gdLst>
                <a:gd name="connsiteX0" fmla="*/ 7796 w 7796"/>
                <a:gd name="connsiteY0" fmla="*/ 0 h 14261"/>
                <a:gd name="connsiteX1" fmla="*/ 7796 w 7796"/>
                <a:gd name="connsiteY1" fmla="*/ 0 h 14261"/>
                <a:gd name="connsiteX2" fmla="*/ 2852 w 7796"/>
                <a:gd name="connsiteY2" fmla="*/ 9318 h 14261"/>
                <a:gd name="connsiteX3" fmla="*/ 0 w 7796"/>
                <a:gd name="connsiteY3" fmla="*/ 14262 h 14261"/>
                <a:gd name="connsiteX4" fmla="*/ 0 w 7796"/>
                <a:gd name="connsiteY4" fmla="*/ 14262 h 14261"/>
                <a:gd name="connsiteX5" fmla="*/ 2852 w 7796"/>
                <a:gd name="connsiteY5" fmla="*/ 9318 h 14261"/>
                <a:gd name="connsiteX6" fmla="*/ 7796 w 7796"/>
                <a:gd name="connsiteY6" fmla="*/ 0 h 1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96" h="14261">
                  <a:moveTo>
                    <a:pt x="7796" y="0"/>
                  </a:moveTo>
                  <a:lnTo>
                    <a:pt x="7796" y="0"/>
                  </a:lnTo>
                  <a:cubicBezTo>
                    <a:pt x="6979" y="3480"/>
                    <a:pt x="5277" y="6694"/>
                    <a:pt x="2852" y="9318"/>
                  </a:cubicBezTo>
                  <a:cubicBezTo>
                    <a:pt x="1462" y="10668"/>
                    <a:pt x="474" y="12379"/>
                    <a:pt x="0" y="14262"/>
                  </a:cubicBezTo>
                  <a:lnTo>
                    <a:pt x="0" y="14262"/>
                  </a:lnTo>
                  <a:cubicBezTo>
                    <a:pt x="551" y="12417"/>
                    <a:pt x="1529" y="10725"/>
                    <a:pt x="2852" y="9318"/>
                  </a:cubicBezTo>
                  <a:cubicBezTo>
                    <a:pt x="5277" y="6694"/>
                    <a:pt x="6979" y="3480"/>
                    <a:pt x="7796" y="0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92" name="Полилиния: фигура 491">
              <a:extLst>
                <a:ext uri="{FF2B5EF4-FFF2-40B4-BE49-F238E27FC236}">
                  <a16:creationId xmlns:a16="http://schemas.microsoft.com/office/drawing/2014/main" id="{BF3D488B-33A2-1B98-C225-DC870A578C2F}"/>
                </a:ext>
              </a:extLst>
            </p:cNvPr>
            <p:cNvSpPr/>
            <p:nvPr/>
          </p:nvSpPr>
          <p:spPr>
            <a:xfrm>
              <a:off x="4687975" y="4259058"/>
              <a:ext cx="78990" cy="21329"/>
            </a:xfrm>
            <a:custGeom>
              <a:avLst/>
              <a:gdLst>
                <a:gd name="connsiteX0" fmla="*/ 11599 w 86900"/>
                <a:gd name="connsiteY0" fmla="*/ 16924 h 23397"/>
                <a:gd name="connsiteX1" fmla="*/ 27953 w 86900"/>
                <a:gd name="connsiteY1" fmla="*/ 19206 h 23397"/>
                <a:gd name="connsiteX2" fmla="*/ 29854 w 86900"/>
                <a:gd name="connsiteY2" fmla="*/ 19206 h 23397"/>
                <a:gd name="connsiteX3" fmla="*/ 48870 w 86900"/>
                <a:gd name="connsiteY3" fmla="*/ 23389 h 23397"/>
                <a:gd name="connsiteX4" fmla="*/ 69977 w 86900"/>
                <a:gd name="connsiteY4" fmla="*/ 19015 h 23397"/>
                <a:gd name="connsiteX5" fmla="*/ 86900 w 86900"/>
                <a:gd name="connsiteY5" fmla="*/ 0 h 23397"/>
                <a:gd name="connsiteX6" fmla="*/ 86900 w 86900"/>
                <a:gd name="connsiteY6" fmla="*/ 0 h 23397"/>
                <a:gd name="connsiteX7" fmla="*/ 69977 w 86900"/>
                <a:gd name="connsiteY7" fmla="*/ 19015 h 23397"/>
                <a:gd name="connsiteX8" fmla="*/ 48870 w 86900"/>
                <a:gd name="connsiteY8" fmla="*/ 23389 h 23397"/>
                <a:gd name="connsiteX9" fmla="*/ 29854 w 86900"/>
                <a:gd name="connsiteY9" fmla="*/ 19206 h 23397"/>
                <a:gd name="connsiteX10" fmla="*/ 27953 w 86900"/>
                <a:gd name="connsiteY10" fmla="*/ 19206 h 23397"/>
                <a:gd name="connsiteX11" fmla="*/ 11599 w 86900"/>
                <a:gd name="connsiteY11" fmla="*/ 16924 h 23397"/>
                <a:gd name="connsiteX12" fmla="*/ 5324 w 86900"/>
                <a:gd name="connsiteY12" fmla="*/ 19776 h 23397"/>
                <a:gd name="connsiteX13" fmla="*/ 0 w 86900"/>
                <a:gd name="connsiteY13" fmla="*/ 22058 h 23397"/>
                <a:gd name="connsiteX14" fmla="*/ 0 w 86900"/>
                <a:gd name="connsiteY14" fmla="*/ 22058 h 23397"/>
                <a:gd name="connsiteX15" fmla="*/ 5324 w 86900"/>
                <a:gd name="connsiteY15" fmla="*/ 19776 h 23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900" h="23397">
                  <a:moveTo>
                    <a:pt x="11599" y="16924"/>
                  </a:moveTo>
                  <a:cubicBezTo>
                    <a:pt x="19206" y="14452"/>
                    <a:pt x="20537" y="15212"/>
                    <a:pt x="27953" y="19206"/>
                  </a:cubicBezTo>
                  <a:lnTo>
                    <a:pt x="29854" y="19206"/>
                  </a:lnTo>
                  <a:cubicBezTo>
                    <a:pt x="35770" y="22096"/>
                    <a:pt x="42288" y="23522"/>
                    <a:pt x="48870" y="23389"/>
                  </a:cubicBezTo>
                  <a:cubicBezTo>
                    <a:pt x="56133" y="23427"/>
                    <a:pt x="63327" y="21944"/>
                    <a:pt x="69977" y="19015"/>
                  </a:cubicBezTo>
                  <a:cubicBezTo>
                    <a:pt x="78326" y="15745"/>
                    <a:pt x="84613" y="8671"/>
                    <a:pt x="86900" y="0"/>
                  </a:cubicBezTo>
                  <a:lnTo>
                    <a:pt x="86900" y="0"/>
                  </a:lnTo>
                  <a:cubicBezTo>
                    <a:pt x="84613" y="8671"/>
                    <a:pt x="78326" y="15745"/>
                    <a:pt x="69977" y="19015"/>
                  </a:cubicBezTo>
                  <a:cubicBezTo>
                    <a:pt x="63327" y="21944"/>
                    <a:pt x="56133" y="23427"/>
                    <a:pt x="48870" y="23389"/>
                  </a:cubicBezTo>
                  <a:cubicBezTo>
                    <a:pt x="42288" y="23522"/>
                    <a:pt x="35770" y="22096"/>
                    <a:pt x="29854" y="19206"/>
                  </a:cubicBezTo>
                  <a:lnTo>
                    <a:pt x="27953" y="19206"/>
                  </a:lnTo>
                  <a:cubicBezTo>
                    <a:pt x="20537" y="15212"/>
                    <a:pt x="19206" y="14452"/>
                    <a:pt x="11599" y="16924"/>
                  </a:cubicBezTo>
                  <a:lnTo>
                    <a:pt x="5324" y="19776"/>
                  </a:lnTo>
                  <a:lnTo>
                    <a:pt x="0" y="22058"/>
                  </a:lnTo>
                  <a:lnTo>
                    <a:pt x="0" y="22058"/>
                  </a:lnTo>
                  <a:lnTo>
                    <a:pt x="5324" y="19776"/>
                  </a:ln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93" name="Полилиния: фигура 492">
              <a:extLst>
                <a:ext uri="{FF2B5EF4-FFF2-40B4-BE49-F238E27FC236}">
                  <a16:creationId xmlns:a16="http://schemas.microsoft.com/office/drawing/2014/main" id="{91538427-73B9-4201-8028-4375F545C4E5}"/>
                </a:ext>
              </a:extLst>
            </p:cNvPr>
            <p:cNvSpPr/>
            <p:nvPr/>
          </p:nvSpPr>
          <p:spPr>
            <a:xfrm>
              <a:off x="4630244" y="4407273"/>
              <a:ext cx="301301" cy="268347"/>
            </a:xfrm>
            <a:custGeom>
              <a:avLst/>
              <a:gdLst>
                <a:gd name="connsiteX0" fmla="*/ 139763 w 331475"/>
                <a:gd name="connsiteY0" fmla="*/ 282569 h 294358"/>
                <a:gd name="connsiteX1" fmla="*/ 152884 w 331475"/>
                <a:gd name="connsiteY1" fmla="*/ 263553 h 294358"/>
                <a:gd name="connsiteX2" fmla="*/ 167525 w 331475"/>
                <a:gd name="connsiteY2" fmla="*/ 243207 h 294358"/>
                <a:gd name="connsiteX3" fmla="*/ 183308 w 331475"/>
                <a:gd name="connsiteY3" fmla="*/ 236551 h 294358"/>
                <a:gd name="connsiteX4" fmla="*/ 188823 w 331475"/>
                <a:gd name="connsiteY4" fmla="*/ 235030 h 294358"/>
                <a:gd name="connsiteX5" fmla="*/ 197570 w 331475"/>
                <a:gd name="connsiteY5" fmla="*/ 228375 h 294358"/>
                <a:gd name="connsiteX6" fmla="*/ 202324 w 331475"/>
                <a:gd name="connsiteY6" fmla="*/ 223050 h 294358"/>
                <a:gd name="connsiteX7" fmla="*/ 218297 w 331475"/>
                <a:gd name="connsiteY7" fmla="*/ 216015 h 294358"/>
                <a:gd name="connsiteX8" fmla="*/ 223811 w 331475"/>
                <a:gd name="connsiteY8" fmla="*/ 216015 h 294358"/>
                <a:gd name="connsiteX9" fmla="*/ 234079 w 331475"/>
                <a:gd name="connsiteY9" fmla="*/ 214874 h 294358"/>
                <a:gd name="connsiteX10" fmla="*/ 264124 w 331475"/>
                <a:gd name="connsiteY10" fmla="*/ 191105 h 294358"/>
                <a:gd name="connsiteX11" fmla="*/ 271730 w 331475"/>
                <a:gd name="connsiteY11" fmla="*/ 177224 h 294358"/>
                <a:gd name="connsiteX12" fmla="*/ 285991 w 331475"/>
                <a:gd name="connsiteY12" fmla="*/ 155736 h 294358"/>
                <a:gd name="connsiteX13" fmla="*/ 295689 w 331475"/>
                <a:gd name="connsiteY13" fmla="*/ 148700 h 294358"/>
                <a:gd name="connsiteX14" fmla="*/ 312042 w 331475"/>
                <a:gd name="connsiteY14" fmla="*/ 129685 h 294358"/>
                <a:gd name="connsiteX15" fmla="*/ 320219 w 331475"/>
                <a:gd name="connsiteY15" fmla="*/ 114663 h 294358"/>
                <a:gd name="connsiteX16" fmla="*/ 330297 w 331475"/>
                <a:gd name="connsiteY16" fmla="*/ 90703 h 294358"/>
                <a:gd name="connsiteX17" fmla="*/ 326494 w 331475"/>
                <a:gd name="connsiteY17" fmla="*/ 52673 h 294358"/>
                <a:gd name="connsiteX18" fmla="*/ 300633 w 331475"/>
                <a:gd name="connsiteY18" fmla="*/ 25100 h 294358"/>
                <a:gd name="connsiteX19" fmla="*/ 281618 w 331475"/>
                <a:gd name="connsiteY19" fmla="*/ 27382 h 294358"/>
                <a:gd name="connsiteX20" fmla="*/ 262602 w 331475"/>
                <a:gd name="connsiteY20" fmla="*/ 30044 h 294358"/>
                <a:gd name="connsiteX21" fmla="*/ 245489 w 331475"/>
                <a:gd name="connsiteY21" fmla="*/ 19015 h 294358"/>
                <a:gd name="connsiteX22" fmla="*/ 241115 w 331475"/>
                <a:gd name="connsiteY22" fmla="*/ 13691 h 294358"/>
                <a:gd name="connsiteX23" fmla="*/ 235601 w 331475"/>
                <a:gd name="connsiteY23" fmla="*/ 9888 h 294358"/>
                <a:gd name="connsiteX24" fmla="*/ 227804 w 331475"/>
                <a:gd name="connsiteY24" fmla="*/ 3993 h 294358"/>
                <a:gd name="connsiteX25" fmla="*/ 224952 w 331475"/>
                <a:gd name="connsiteY25" fmla="*/ 0 h 294358"/>
                <a:gd name="connsiteX26" fmla="*/ 211831 w 331475"/>
                <a:gd name="connsiteY26" fmla="*/ 27382 h 294358"/>
                <a:gd name="connsiteX27" fmla="*/ 161441 w 331475"/>
                <a:gd name="connsiteY27" fmla="*/ 53814 h 294358"/>
                <a:gd name="connsiteX28" fmla="*/ 134629 w 331475"/>
                <a:gd name="connsiteY28" fmla="*/ 34798 h 294358"/>
                <a:gd name="connsiteX29" fmla="*/ 113902 w 331475"/>
                <a:gd name="connsiteY29" fmla="*/ 18825 h 294358"/>
                <a:gd name="connsiteX30" fmla="*/ 106106 w 331475"/>
                <a:gd name="connsiteY30" fmla="*/ 20537 h 294358"/>
                <a:gd name="connsiteX31" fmla="*/ 89182 w 331475"/>
                <a:gd name="connsiteY31" fmla="*/ 20537 h 294358"/>
                <a:gd name="connsiteX32" fmla="*/ 80815 w 331475"/>
                <a:gd name="connsiteY32" fmla="*/ 13691 h 294358"/>
                <a:gd name="connsiteX33" fmla="*/ 74350 w 331475"/>
                <a:gd name="connsiteY33" fmla="*/ 8747 h 294358"/>
                <a:gd name="connsiteX34" fmla="*/ 57807 w 331475"/>
                <a:gd name="connsiteY34" fmla="*/ 13311 h 294358"/>
                <a:gd name="connsiteX35" fmla="*/ 54194 w 331475"/>
                <a:gd name="connsiteY35" fmla="*/ 16163 h 294358"/>
                <a:gd name="connsiteX36" fmla="*/ 35178 w 331475"/>
                <a:gd name="connsiteY36" fmla="*/ 18825 h 294358"/>
                <a:gd name="connsiteX37" fmla="*/ 18065 w 331475"/>
                <a:gd name="connsiteY37" fmla="*/ 20347 h 294358"/>
                <a:gd name="connsiteX38" fmla="*/ 7986 w 331475"/>
                <a:gd name="connsiteY38" fmla="*/ 39362 h 294358"/>
                <a:gd name="connsiteX39" fmla="*/ 11790 w 331475"/>
                <a:gd name="connsiteY39" fmla="*/ 64843 h 294358"/>
                <a:gd name="connsiteX40" fmla="*/ 15022 w 331475"/>
                <a:gd name="connsiteY40" fmla="*/ 70357 h 294358"/>
                <a:gd name="connsiteX41" fmla="*/ 19015 w 331475"/>
                <a:gd name="connsiteY41" fmla="*/ 96408 h 294358"/>
                <a:gd name="connsiteX42" fmla="*/ 4754 w 331475"/>
                <a:gd name="connsiteY42" fmla="*/ 103824 h 294358"/>
                <a:gd name="connsiteX43" fmla="*/ 0 w 331475"/>
                <a:gd name="connsiteY43" fmla="*/ 105155 h 294358"/>
                <a:gd name="connsiteX44" fmla="*/ 4564 w 331475"/>
                <a:gd name="connsiteY44" fmla="*/ 115424 h 294358"/>
                <a:gd name="connsiteX45" fmla="*/ 6275 w 331475"/>
                <a:gd name="connsiteY45" fmla="*/ 117515 h 294358"/>
                <a:gd name="connsiteX46" fmla="*/ 15212 w 331475"/>
                <a:gd name="connsiteY46" fmla="*/ 134819 h 294358"/>
                <a:gd name="connsiteX47" fmla="*/ 15212 w 331475"/>
                <a:gd name="connsiteY47" fmla="*/ 141665 h 294358"/>
                <a:gd name="connsiteX48" fmla="*/ 16353 w 331475"/>
                <a:gd name="connsiteY48" fmla="*/ 148700 h 294358"/>
                <a:gd name="connsiteX49" fmla="*/ 26812 w 331475"/>
                <a:gd name="connsiteY49" fmla="*/ 159729 h 294358"/>
                <a:gd name="connsiteX50" fmla="*/ 40693 w 331475"/>
                <a:gd name="connsiteY50" fmla="*/ 175132 h 294358"/>
                <a:gd name="connsiteX51" fmla="*/ 46778 w 331475"/>
                <a:gd name="connsiteY51" fmla="*/ 194147 h 294358"/>
                <a:gd name="connsiteX52" fmla="*/ 53814 w 331475"/>
                <a:gd name="connsiteY52" fmla="*/ 213163 h 294358"/>
                <a:gd name="connsiteX53" fmla="*/ 57426 w 331475"/>
                <a:gd name="connsiteY53" fmla="*/ 218106 h 294358"/>
                <a:gd name="connsiteX54" fmla="*/ 65413 w 331475"/>
                <a:gd name="connsiteY54" fmla="*/ 233129 h 294358"/>
                <a:gd name="connsiteX55" fmla="*/ 65413 w 331475"/>
                <a:gd name="connsiteY55" fmla="*/ 242827 h 294358"/>
                <a:gd name="connsiteX56" fmla="*/ 65413 w 331475"/>
                <a:gd name="connsiteY56" fmla="*/ 249862 h 294358"/>
                <a:gd name="connsiteX57" fmla="*/ 74160 w 331475"/>
                <a:gd name="connsiteY57" fmla="*/ 259180 h 294358"/>
                <a:gd name="connsiteX58" fmla="*/ 87661 w 331475"/>
                <a:gd name="connsiteY58" fmla="*/ 280477 h 294358"/>
                <a:gd name="connsiteX59" fmla="*/ 87661 w 331475"/>
                <a:gd name="connsiteY59" fmla="*/ 294358 h 294358"/>
                <a:gd name="connsiteX60" fmla="*/ 104775 w 331475"/>
                <a:gd name="connsiteY60" fmla="*/ 291886 h 294358"/>
                <a:gd name="connsiteX61" fmla="*/ 139763 w 331475"/>
                <a:gd name="connsiteY61" fmla="*/ 282569 h 29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31475" h="294358">
                  <a:moveTo>
                    <a:pt x="139763" y="282569"/>
                  </a:moveTo>
                  <a:cubicBezTo>
                    <a:pt x="145329" y="277149"/>
                    <a:pt x="149786" y="270684"/>
                    <a:pt x="152884" y="263553"/>
                  </a:cubicBezTo>
                  <a:cubicBezTo>
                    <a:pt x="156485" y="255928"/>
                    <a:pt x="161446" y="249045"/>
                    <a:pt x="167525" y="243207"/>
                  </a:cubicBezTo>
                  <a:cubicBezTo>
                    <a:pt x="172097" y="239613"/>
                    <a:pt x="177547" y="237312"/>
                    <a:pt x="183308" y="236551"/>
                  </a:cubicBezTo>
                  <a:lnTo>
                    <a:pt x="188823" y="235030"/>
                  </a:lnTo>
                  <a:cubicBezTo>
                    <a:pt x="192419" y="233889"/>
                    <a:pt x="195509" y="231531"/>
                    <a:pt x="197570" y="228375"/>
                  </a:cubicBezTo>
                  <a:lnTo>
                    <a:pt x="202324" y="223050"/>
                  </a:lnTo>
                  <a:cubicBezTo>
                    <a:pt x="205906" y="217897"/>
                    <a:pt x="212075" y="215178"/>
                    <a:pt x="218297" y="216015"/>
                  </a:cubicBezTo>
                  <a:lnTo>
                    <a:pt x="223811" y="216015"/>
                  </a:lnTo>
                  <a:cubicBezTo>
                    <a:pt x="227276" y="216395"/>
                    <a:pt x="230782" y="216015"/>
                    <a:pt x="234079" y="214874"/>
                  </a:cubicBezTo>
                  <a:cubicBezTo>
                    <a:pt x="245800" y="209378"/>
                    <a:pt x="256088" y="201259"/>
                    <a:pt x="264124" y="191105"/>
                  </a:cubicBezTo>
                  <a:cubicBezTo>
                    <a:pt x="267318" y="186864"/>
                    <a:pt x="269880" y="182187"/>
                    <a:pt x="271730" y="177224"/>
                  </a:cubicBezTo>
                  <a:cubicBezTo>
                    <a:pt x="274645" y="168990"/>
                    <a:pt x="279543" y="161612"/>
                    <a:pt x="285991" y="155736"/>
                  </a:cubicBezTo>
                  <a:cubicBezTo>
                    <a:pt x="289604" y="152884"/>
                    <a:pt x="292837" y="150792"/>
                    <a:pt x="295689" y="148700"/>
                  </a:cubicBezTo>
                  <a:cubicBezTo>
                    <a:pt x="303276" y="144574"/>
                    <a:pt x="309095" y="137805"/>
                    <a:pt x="312042" y="129685"/>
                  </a:cubicBezTo>
                  <a:cubicBezTo>
                    <a:pt x="314457" y="124513"/>
                    <a:pt x="317196" y="119493"/>
                    <a:pt x="320219" y="114663"/>
                  </a:cubicBezTo>
                  <a:cubicBezTo>
                    <a:pt x="325030" y="107361"/>
                    <a:pt x="328453" y="99241"/>
                    <a:pt x="330297" y="90703"/>
                  </a:cubicBezTo>
                  <a:cubicBezTo>
                    <a:pt x="332712" y="77925"/>
                    <a:pt x="331400" y="64729"/>
                    <a:pt x="326494" y="52673"/>
                  </a:cubicBezTo>
                  <a:cubicBezTo>
                    <a:pt x="320219" y="40693"/>
                    <a:pt x="310141" y="27192"/>
                    <a:pt x="300633" y="25100"/>
                  </a:cubicBezTo>
                  <a:cubicBezTo>
                    <a:pt x="294204" y="24340"/>
                    <a:pt x="287684" y="25119"/>
                    <a:pt x="281618" y="27382"/>
                  </a:cubicBezTo>
                  <a:cubicBezTo>
                    <a:pt x="275476" y="29341"/>
                    <a:pt x="269047" y="30234"/>
                    <a:pt x="262602" y="30044"/>
                  </a:cubicBezTo>
                  <a:cubicBezTo>
                    <a:pt x="255418" y="29436"/>
                    <a:pt x="249005" y="25310"/>
                    <a:pt x="245489" y="19015"/>
                  </a:cubicBezTo>
                  <a:cubicBezTo>
                    <a:pt x="244264" y="17057"/>
                    <a:pt x="242794" y="15270"/>
                    <a:pt x="241115" y="13691"/>
                  </a:cubicBezTo>
                  <a:cubicBezTo>
                    <a:pt x="239466" y="12170"/>
                    <a:pt x="237610" y="10896"/>
                    <a:pt x="235601" y="9888"/>
                  </a:cubicBezTo>
                  <a:cubicBezTo>
                    <a:pt x="232781" y="8234"/>
                    <a:pt x="230164" y="6256"/>
                    <a:pt x="227804" y="3993"/>
                  </a:cubicBezTo>
                  <a:cubicBezTo>
                    <a:pt x="226730" y="2757"/>
                    <a:pt x="225775" y="1426"/>
                    <a:pt x="224952" y="0"/>
                  </a:cubicBezTo>
                  <a:cubicBezTo>
                    <a:pt x="222908" y="10078"/>
                    <a:pt x="218401" y="19472"/>
                    <a:pt x="211831" y="27382"/>
                  </a:cubicBezTo>
                  <a:cubicBezTo>
                    <a:pt x="204035" y="36510"/>
                    <a:pt x="176843" y="57236"/>
                    <a:pt x="161441" y="53814"/>
                  </a:cubicBezTo>
                  <a:cubicBezTo>
                    <a:pt x="150832" y="50239"/>
                    <a:pt x="141507" y="43621"/>
                    <a:pt x="134629" y="34798"/>
                  </a:cubicBezTo>
                  <a:cubicBezTo>
                    <a:pt x="129521" y="27477"/>
                    <a:pt x="122286" y="21906"/>
                    <a:pt x="113902" y="18825"/>
                  </a:cubicBezTo>
                  <a:cubicBezTo>
                    <a:pt x="111194" y="18635"/>
                    <a:pt x="108488" y="19244"/>
                    <a:pt x="106106" y="20537"/>
                  </a:cubicBezTo>
                  <a:cubicBezTo>
                    <a:pt x="100776" y="23180"/>
                    <a:pt x="94512" y="23180"/>
                    <a:pt x="89182" y="20537"/>
                  </a:cubicBezTo>
                  <a:cubicBezTo>
                    <a:pt x="85900" y="18939"/>
                    <a:pt x="83036" y="16582"/>
                    <a:pt x="80815" y="13691"/>
                  </a:cubicBezTo>
                  <a:cubicBezTo>
                    <a:pt x="78343" y="11029"/>
                    <a:pt x="76822" y="9318"/>
                    <a:pt x="74350" y="8747"/>
                  </a:cubicBezTo>
                  <a:cubicBezTo>
                    <a:pt x="68417" y="7321"/>
                    <a:pt x="62163" y="9032"/>
                    <a:pt x="57807" y="13311"/>
                  </a:cubicBezTo>
                  <a:lnTo>
                    <a:pt x="54194" y="16163"/>
                  </a:lnTo>
                  <a:cubicBezTo>
                    <a:pt x="47348" y="21297"/>
                    <a:pt x="45067" y="21678"/>
                    <a:pt x="35178" y="18825"/>
                  </a:cubicBezTo>
                  <a:cubicBezTo>
                    <a:pt x="29557" y="16582"/>
                    <a:pt x="23203" y="17152"/>
                    <a:pt x="18065" y="20347"/>
                  </a:cubicBezTo>
                  <a:cubicBezTo>
                    <a:pt x="12141" y="24948"/>
                    <a:pt x="8473" y="31870"/>
                    <a:pt x="7986" y="39362"/>
                  </a:cubicBezTo>
                  <a:cubicBezTo>
                    <a:pt x="6895" y="48052"/>
                    <a:pt x="8211" y="56856"/>
                    <a:pt x="11790" y="64843"/>
                  </a:cubicBezTo>
                  <a:cubicBezTo>
                    <a:pt x="12767" y="66744"/>
                    <a:pt x="13845" y="68570"/>
                    <a:pt x="15022" y="70357"/>
                  </a:cubicBezTo>
                  <a:cubicBezTo>
                    <a:pt x="19396" y="77012"/>
                    <a:pt x="25671" y="86900"/>
                    <a:pt x="19015" y="96408"/>
                  </a:cubicBezTo>
                  <a:cubicBezTo>
                    <a:pt x="15425" y="100668"/>
                    <a:pt x="10301" y="103330"/>
                    <a:pt x="4754" y="103824"/>
                  </a:cubicBezTo>
                  <a:cubicBezTo>
                    <a:pt x="3134" y="104128"/>
                    <a:pt x="1542" y="104566"/>
                    <a:pt x="0" y="105155"/>
                  </a:cubicBezTo>
                  <a:cubicBezTo>
                    <a:pt x="1099" y="108749"/>
                    <a:pt x="2632" y="112191"/>
                    <a:pt x="4564" y="115424"/>
                  </a:cubicBezTo>
                  <a:lnTo>
                    <a:pt x="6275" y="117515"/>
                  </a:lnTo>
                  <a:cubicBezTo>
                    <a:pt x="10512" y="122535"/>
                    <a:pt x="13566" y="128449"/>
                    <a:pt x="15212" y="134819"/>
                  </a:cubicBezTo>
                  <a:cubicBezTo>
                    <a:pt x="15397" y="137101"/>
                    <a:pt x="15397" y="139383"/>
                    <a:pt x="15212" y="141665"/>
                  </a:cubicBezTo>
                  <a:cubicBezTo>
                    <a:pt x="15030" y="144061"/>
                    <a:pt x="15421" y="146476"/>
                    <a:pt x="16353" y="148700"/>
                  </a:cubicBezTo>
                  <a:cubicBezTo>
                    <a:pt x="18953" y="153131"/>
                    <a:pt x="22529" y="156896"/>
                    <a:pt x="26812" y="159729"/>
                  </a:cubicBezTo>
                  <a:cubicBezTo>
                    <a:pt x="32513" y="163780"/>
                    <a:pt x="37251" y="169047"/>
                    <a:pt x="40693" y="175132"/>
                  </a:cubicBezTo>
                  <a:cubicBezTo>
                    <a:pt x="43503" y="181198"/>
                    <a:pt x="45548" y="187587"/>
                    <a:pt x="46778" y="194147"/>
                  </a:cubicBezTo>
                  <a:cubicBezTo>
                    <a:pt x="48021" y="200840"/>
                    <a:pt x="50402" y="207268"/>
                    <a:pt x="53814" y="213163"/>
                  </a:cubicBezTo>
                  <a:cubicBezTo>
                    <a:pt x="54926" y="214874"/>
                    <a:pt x="56133" y="216528"/>
                    <a:pt x="57426" y="218106"/>
                  </a:cubicBezTo>
                  <a:cubicBezTo>
                    <a:pt x="61241" y="222404"/>
                    <a:pt x="63977" y="227557"/>
                    <a:pt x="65413" y="233129"/>
                  </a:cubicBezTo>
                  <a:cubicBezTo>
                    <a:pt x="65982" y="236342"/>
                    <a:pt x="65982" y="239613"/>
                    <a:pt x="65413" y="242827"/>
                  </a:cubicBezTo>
                  <a:cubicBezTo>
                    <a:pt x="64903" y="245146"/>
                    <a:pt x="64903" y="247542"/>
                    <a:pt x="65413" y="249862"/>
                  </a:cubicBezTo>
                  <a:cubicBezTo>
                    <a:pt x="67275" y="253817"/>
                    <a:pt x="70336" y="257069"/>
                    <a:pt x="74160" y="259180"/>
                  </a:cubicBezTo>
                  <a:cubicBezTo>
                    <a:pt x="81926" y="263591"/>
                    <a:pt x="86988" y="271578"/>
                    <a:pt x="87661" y="280477"/>
                  </a:cubicBezTo>
                  <a:cubicBezTo>
                    <a:pt x="87946" y="285098"/>
                    <a:pt x="87946" y="289737"/>
                    <a:pt x="87661" y="294358"/>
                  </a:cubicBezTo>
                  <a:cubicBezTo>
                    <a:pt x="93365" y="293217"/>
                    <a:pt x="99070" y="292647"/>
                    <a:pt x="104775" y="291886"/>
                  </a:cubicBezTo>
                  <a:cubicBezTo>
                    <a:pt x="117070" y="292038"/>
                    <a:pt x="129173" y="288825"/>
                    <a:pt x="139763" y="28256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94" name="Полилиния: фигура 493">
              <a:extLst>
                <a:ext uri="{FF2B5EF4-FFF2-40B4-BE49-F238E27FC236}">
                  <a16:creationId xmlns:a16="http://schemas.microsoft.com/office/drawing/2014/main" id="{3400060E-20A3-6482-B5EA-E86481180D31}"/>
                </a:ext>
              </a:extLst>
            </p:cNvPr>
            <p:cNvSpPr/>
            <p:nvPr/>
          </p:nvSpPr>
          <p:spPr>
            <a:xfrm>
              <a:off x="4313075" y="4156088"/>
              <a:ext cx="261685" cy="290015"/>
            </a:xfrm>
            <a:custGeom>
              <a:avLst/>
              <a:gdLst>
                <a:gd name="connsiteX0" fmla="*/ 10839 w 287892"/>
                <a:gd name="connsiteY0" fmla="*/ 174751 h 318127"/>
                <a:gd name="connsiteX1" fmla="*/ 15402 w 287892"/>
                <a:gd name="connsiteY1" fmla="*/ 185400 h 318127"/>
                <a:gd name="connsiteX2" fmla="*/ 16924 w 287892"/>
                <a:gd name="connsiteY2" fmla="*/ 190154 h 318127"/>
                <a:gd name="connsiteX3" fmla="*/ 26431 w 287892"/>
                <a:gd name="connsiteY3" fmla="*/ 197570 h 318127"/>
                <a:gd name="connsiteX4" fmla="*/ 41073 w 287892"/>
                <a:gd name="connsiteY4" fmla="*/ 209930 h 318127"/>
                <a:gd name="connsiteX5" fmla="*/ 45447 w 287892"/>
                <a:gd name="connsiteY5" fmla="*/ 217346 h 318127"/>
                <a:gd name="connsiteX6" fmla="*/ 61230 w 287892"/>
                <a:gd name="connsiteY6" fmla="*/ 228375 h 318127"/>
                <a:gd name="connsiteX7" fmla="*/ 68265 w 287892"/>
                <a:gd name="connsiteY7" fmla="*/ 228375 h 318127"/>
                <a:gd name="connsiteX8" fmla="*/ 99070 w 287892"/>
                <a:gd name="connsiteY8" fmla="*/ 237692 h 318127"/>
                <a:gd name="connsiteX9" fmla="*/ 109148 w 287892"/>
                <a:gd name="connsiteY9" fmla="*/ 254806 h 318127"/>
                <a:gd name="connsiteX10" fmla="*/ 116564 w 287892"/>
                <a:gd name="connsiteY10" fmla="*/ 267736 h 318127"/>
                <a:gd name="connsiteX11" fmla="*/ 135580 w 287892"/>
                <a:gd name="connsiteY11" fmla="*/ 273821 h 318127"/>
                <a:gd name="connsiteX12" fmla="*/ 147369 w 287892"/>
                <a:gd name="connsiteY12" fmla="*/ 276484 h 318127"/>
                <a:gd name="connsiteX13" fmla="*/ 162201 w 287892"/>
                <a:gd name="connsiteY13" fmla="*/ 284850 h 318127"/>
                <a:gd name="connsiteX14" fmla="*/ 176273 w 287892"/>
                <a:gd name="connsiteY14" fmla="*/ 292076 h 318127"/>
                <a:gd name="connsiteX15" fmla="*/ 191865 w 287892"/>
                <a:gd name="connsiteY15" fmla="*/ 289414 h 318127"/>
                <a:gd name="connsiteX16" fmla="*/ 212782 w 287892"/>
                <a:gd name="connsiteY16" fmla="*/ 286562 h 318127"/>
                <a:gd name="connsiteX17" fmla="*/ 244918 w 287892"/>
                <a:gd name="connsiteY17" fmla="*/ 311852 h 318127"/>
                <a:gd name="connsiteX18" fmla="*/ 249102 w 287892"/>
                <a:gd name="connsiteY18" fmla="*/ 318127 h 318127"/>
                <a:gd name="connsiteX19" fmla="*/ 253285 w 287892"/>
                <a:gd name="connsiteY19" fmla="*/ 309570 h 318127"/>
                <a:gd name="connsiteX20" fmla="*/ 268497 w 287892"/>
                <a:gd name="connsiteY20" fmla="*/ 282568 h 318127"/>
                <a:gd name="connsiteX21" fmla="*/ 282378 w 287892"/>
                <a:gd name="connsiteY21" fmla="*/ 258039 h 318127"/>
                <a:gd name="connsiteX22" fmla="*/ 287132 w 287892"/>
                <a:gd name="connsiteY22" fmla="*/ 242826 h 318127"/>
                <a:gd name="connsiteX23" fmla="*/ 283519 w 287892"/>
                <a:gd name="connsiteY23" fmla="*/ 231417 h 318127"/>
                <a:gd name="connsiteX24" fmla="*/ 278956 w 287892"/>
                <a:gd name="connsiteY24" fmla="*/ 213733 h 318127"/>
                <a:gd name="connsiteX25" fmla="*/ 282569 w 287892"/>
                <a:gd name="connsiteY25" fmla="*/ 200802 h 318127"/>
                <a:gd name="connsiteX26" fmla="*/ 285231 w 287892"/>
                <a:gd name="connsiteY26" fmla="*/ 193576 h 318127"/>
                <a:gd name="connsiteX27" fmla="*/ 285231 w 287892"/>
                <a:gd name="connsiteY27" fmla="*/ 185590 h 318127"/>
                <a:gd name="connsiteX28" fmla="*/ 285231 w 287892"/>
                <a:gd name="connsiteY28" fmla="*/ 179505 h 318127"/>
                <a:gd name="connsiteX29" fmla="*/ 286562 w 287892"/>
                <a:gd name="connsiteY29" fmla="*/ 170948 h 318127"/>
                <a:gd name="connsiteX30" fmla="*/ 287893 w 287892"/>
                <a:gd name="connsiteY30" fmla="*/ 161821 h 318127"/>
                <a:gd name="connsiteX31" fmla="*/ 284470 w 287892"/>
                <a:gd name="connsiteY31" fmla="*/ 146038 h 318127"/>
                <a:gd name="connsiteX32" fmla="*/ 265455 w 287892"/>
                <a:gd name="connsiteY32" fmla="*/ 146038 h 318127"/>
                <a:gd name="connsiteX33" fmla="*/ 254046 w 287892"/>
                <a:gd name="connsiteY33" fmla="*/ 142995 h 318127"/>
                <a:gd name="connsiteX34" fmla="*/ 238073 w 287892"/>
                <a:gd name="connsiteY34" fmla="*/ 134058 h 318127"/>
                <a:gd name="connsiteX35" fmla="*/ 233699 w 287892"/>
                <a:gd name="connsiteY35" fmla="*/ 123600 h 318127"/>
                <a:gd name="connsiteX36" fmla="*/ 233699 w 287892"/>
                <a:gd name="connsiteY36" fmla="*/ 121698 h 318127"/>
                <a:gd name="connsiteX37" fmla="*/ 227614 w 287892"/>
                <a:gd name="connsiteY37" fmla="*/ 108388 h 318127"/>
                <a:gd name="connsiteX38" fmla="*/ 217726 w 287892"/>
                <a:gd name="connsiteY38" fmla="*/ 103634 h 318127"/>
                <a:gd name="connsiteX39" fmla="*/ 212402 w 287892"/>
                <a:gd name="connsiteY39" fmla="*/ 103634 h 318127"/>
                <a:gd name="connsiteX40" fmla="*/ 203084 w 287892"/>
                <a:gd name="connsiteY40" fmla="*/ 103634 h 318127"/>
                <a:gd name="connsiteX41" fmla="*/ 198330 w 287892"/>
                <a:gd name="connsiteY41" fmla="*/ 108197 h 318127"/>
                <a:gd name="connsiteX42" fmla="*/ 186541 w 287892"/>
                <a:gd name="connsiteY42" fmla="*/ 116945 h 318127"/>
                <a:gd name="connsiteX43" fmla="*/ 164483 w 287892"/>
                <a:gd name="connsiteY43" fmla="*/ 102113 h 318127"/>
                <a:gd name="connsiteX44" fmla="*/ 151933 w 287892"/>
                <a:gd name="connsiteY44" fmla="*/ 79865 h 318127"/>
                <a:gd name="connsiteX45" fmla="*/ 147179 w 287892"/>
                <a:gd name="connsiteY45" fmla="*/ 68455 h 318127"/>
                <a:gd name="connsiteX46" fmla="*/ 147179 w 287892"/>
                <a:gd name="connsiteY46" fmla="*/ 60088 h 318127"/>
                <a:gd name="connsiteX47" fmla="*/ 147179 w 287892"/>
                <a:gd name="connsiteY47" fmla="*/ 56285 h 318127"/>
                <a:gd name="connsiteX48" fmla="*/ 132918 w 287892"/>
                <a:gd name="connsiteY48" fmla="*/ 35939 h 318127"/>
                <a:gd name="connsiteX49" fmla="*/ 119036 w 287892"/>
                <a:gd name="connsiteY49" fmla="*/ 35939 h 318127"/>
                <a:gd name="connsiteX50" fmla="*/ 108578 w 287892"/>
                <a:gd name="connsiteY50" fmla="*/ 35939 h 318127"/>
                <a:gd name="connsiteX51" fmla="*/ 72449 w 287892"/>
                <a:gd name="connsiteY51" fmla="*/ 18635 h 318127"/>
                <a:gd name="connsiteX52" fmla="*/ 68265 w 287892"/>
                <a:gd name="connsiteY52" fmla="*/ 13691 h 318127"/>
                <a:gd name="connsiteX53" fmla="*/ 55145 w 287892"/>
                <a:gd name="connsiteY53" fmla="*/ 0 h 318127"/>
                <a:gd name="connsiteX54" fmla="*/ 33277 w 287892"/>
                <a:gd name="connsiteY54" fmla="*/ 33087 h 318127"/>
                <a:gd name="connsiteX55" fmla="*/ 33277 w 287892"/>
                <a:gd name="connsiteY55" fmla="*/ 43545 h 318127"/>
                <a:gd name="connsiteX56" fmla="*/ 31375 w 287892"/>
                <a:gd name="connsiteY56" fmla="*/ 67314 h 318127"/>
                <a:gd name="connsiteX57" fmla="*/ 31375 w 287892"/>
                <a:gd name="connsiteY57" fmla="*/ 94316 h 318127"/>
                <a:gd name="connsiteX58" fmla="*/ 32706 w 287892"/>
                <a:gd name="connsiteY58" fmla="*/ 97929 h 318127"/>
                <a:gd name="connsiteX59" fmla="*/ 32706 w 287892"/>
                <a:gd name="connsiteY59" fmla="*/ 145848 h 318127"/>
                <a:gd name="connsiteX60" fmla="*/ 10268 w 287892"/>
                <a:gd name="connsiteY60" fmla="*/ 164863 h 318127"/>
                <a:gd name="connsiteX61" fmla="*/ 0 w 287892"/>
                <a:gd name="connsiteY61" fmla="*/ 170568 h 318127"/>
                <a:gd name="connsiteX62" fmla="*/ 2282 w 287892"/>
                <a:gd name="connsiteY62" fmla="*/ 170568 h 318127"/>
                <a:gd name="connsiteX63" fmla="*/ 10839 w 287892"/>
                <a:gd name="connsiteY63" fmla="*/ 174751 h 318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287892" h="318127">
                  <a:moveTo>
                    <a:pt x="10839" y="174751"/>
                  </a:moveTo>
                  <a:cubicBezTo>
                    <a:pt x="13379" y="177775"/>
                    <a:pt x="14967" y="181483"/>
                    <a:pt x="15402" y="185400"/>
                  </a:cubicBezTo>
                  <a:cubicBezTo>
                    <a:pt x="15591" y="187073"/>
                    <a:pt x="16108" y="188689"/>
                    <a:pt x="16924" y="190154"/>
                  </a:cubicBezTo>
                  <a:cubicBezTo>
                    <a:pt x="19548" y="193253"/>
                    <a:pt x="22784" y="195782"/>
                    <a:pt x="26431" y="197570"/>
                  </a:cubicBezTo>
                  <a:cubicBezTo>
                    <a:pt x="32286" y="200365"/>
                    <a:pt x="37327" y="204624"/>
                    <a:pt x="41073" y="209930"/>
                  </a:cubicBezTo>
                  <a:lnTo>
                    <a:pt x="45447" y="217346"/>
                  </a:lnTo>
                  <a:cubicBezTo>
                    <a:pt x="49630" y="224952"/>
                    <a:pt x="50771" y="227234"/>
                    <a:pt x="61230" y="228375"/>
                  </a:cubicBezTo>
                  <a:lnTo>
                    <a:pt x="68265" y="228375"/>
                  </a:lnTo>
                  <a:cubicBezTo>
                    <a:pt x="79281" y="227994"/>
                    <a:pt x="90116" y="231265"/>
                    <a:pt x="99070" y="237692"/>
                  </a:cubicBezTo>
                  <a:cubicBezTo>
                    <a:pt x="103887" y="242408"/>
                    <a:pt x="107365" y="248303"/>
                    <a:pt x="109148" y="254806"/>
                  </a:cubicBezTo>
                  <a:cubicBezTo>
                    <a:pt x="110439" y="259693"/>
                    <a:pt x="112997" y="264162"/>
                    <a:pt x="116564" y="267736"/>
                  </a:cubicBezTo>
                  <a:cubicBezTo>
                    <a:pt x="122214" y="271502"/>
                    <a:pt x="128799" y="273593"/>
                    <a:pt x="135580" y="273821"/>
                  </a:cubicBezTo>
                  <a:cubicBezTo>
                    <a:pt x="139569" y="274411"/>
                    <a:pt x="143511" y="275305"/>
                    <a:pt x="147369" y="276484"/>
                  </a:cubicBezTo>
                  <a:cubicBezTo>
                    <a:pt x="152787" y="278328"/>
                    <a:pt x="157816" y="281161"/>
                    <a:pt x="162201" y="284850"/>
                  </a:cubicBezTo>
                  <a:cubicBezTo>
                    <a:pt x="166145" y="288501"/>
                    <a:pt x="171011" y="290992"/>
                    <a:pt x="176273" y="292076"/>
                  </a:cubicBezTo>
                  <a:cubicBezTo>
                    <a:pt x="181597" y="292266"/>
                    <a:pt x="186904" y="291354"/>
                    <a:pt x="191865" y="289414"/>
                  </a:cubicBezTo>
                  <a:cubicBezTo>
                    <a:pt x="198494" y="286752"/>
                    <a:pt x="205682" y="285763"/>
                    <a:pt x="212782" y="286562"/>
                  </a:cubicBezTo>
                  <a:cubicBezTo>
                    <a:pt x="226209" y="290802"/>
                    <a:pt x="237631" y="299796"/>
                    <a:pt x="244918" y="311852"/>
                  </a:cubicBezTo>
                  <a:cubicBezTo>
                    <a:pt x="246439" y="313944"/>
                    <a:pt x="247770" y="316036"/>
                    <a:pt x="249102" y="318127"/>
                  </a:cubicBezTo>
                  <a:cubicBezTo>
                    <a:pt x="250433" y="315275"/>
                    <a:pt x="251764" y="312423"/>
                    <a:pt x="253285" y="309570"/>
                  </a:cubicBezTo>
                  <a:cubicBezTo>
                    <a:pt x="258039" y="300253"/>
                    <a:pt x="263363" y="290555"/>
                    <a:pt x="268497" y="282568"/>
                  </a:cubicBezTo>
                  <a:cubicBezTo>
                    <a:pt x="273631" y="274582"/>
                    <a:pt x="278005" y="266405"/>
                    <a:pt x="282378" y="258039"/>
                  </a:cubicBezTo>
                  <a:cubicBezTo>
                    <a:pt x="285322" y="253494"/>
                    <a:pt x="286965" y="248227"/>
                    <a:pt x="287132" y="242826"/>
                  </a:cubicBezTo>
                  <a:cubicBezTo>
                    <a:pt x="286573" y="238852"/>
                    <a:pt x="285352" y="234992"/>
                    <a:pt x="283519" y="231417"/>
                  </a:cubicBezTo>
                  <a:cubicBezTo>
                    <a:pt x="280583" y="225979"/>
                    <a:pt x="279018" y="219913"/>
                    <a:pt x="278956" y="213733"/>
                  </a:cubicBezTo>
                  <a:cubicBezTo>
                    <a:pt x="279410" y="209245"/>
                    <a:pt x="280633" y="204872"/>
                    <a:pt x="282569" y="200802"/>
                  </a:cubicBezTo>
                  <a:cubicBezTo>
                    <a:pt x="283698" y="198482"/>
                    <a:pt x="284590" y="196067"/>
                    <a:pt x="285231" y="193576"/>
                  </a:cubicBezTo>
                  <a:cubicBezTo>
                    <a:pt x="285510" y="190914"/>
                    <a:pt x="285510" y="188252"/>
                    <a:pt x="285231" y="185590"/>
                  </a:cubicBezTo>
                  <a:cubicBezTo>
                    <a:pt x="285231" y="183498"/>
                    <a:pt x="285231" y="181597"/>
                    <a:pt x="285231" y="179505"/>
                  </a:cubicBezTo>
                  <a:cubicBezTo>
                    <a:pt x="285487" y="176634"/>
                    <a:pt x="285932" y="173762"/>
                    <a:pt x="286562" y="170948"/>
                  </a:cubicBezTo>
                  <a:cubicBezTo>
                    <a:pt x="287284" y="167944"/>
                    <a:pt x="287729" y="164901"/>
                    <a:pt x="287893" y="161821"/>
                  </a:cubicBezTo>
                  <a:cubicBezTo>
                    <a:pt x="287760" y="156383"/>
                    <a:pt x="286598" y="151039"/>
                    <a:pt x="284470" y="146038"/>
                  </a:cubicBezTo>
                  <a:cubicBezTo>
                    <a:pt x="278370" y="148491"/>
                    <a:pt x="271555" y="148491"/>
                    <a:pt x="265455" y="146038"/>
                  </a:cubicBezTo>
                  <a:lnTo>
                    <a:pt x="254046" y="142995"/>
                  </a:lnTo>
                  <a:cubicBezTo>
                    <a:pt x="247854" y="141931"/>
                    <a:pt x="242214" y="138774"/>
                    <a:pt x="238073" y="134058"/>
                  </a:cubicBezTo>
                  <a:cubicBezTo>
                    <a:pt x="235948" y="130883"/>
                    <a:pt x="234462" y="127346"/>
                    <a:pt x="233699" y="123600"/>
                  </a:cubicBezTo>
                  <a:lnTo>
                    <a:pt x="233699" y="121698"/>
                  </a:lnTo>
                  <a:cubicBezTo>
                    <a:pt x="232339" y="116983"/>
                    <a:pt x="230290" y="112495"/>
                    <a:pt x="227614" y="108388"/>
                  </a:cubicBezTo>
                  <a:cubicBezTo>
                    <a:pt x="225545" y="104984"/>
                    <a:pt x="221672" y="103120"/>
                    <a:pt x="217726" y="103634"/>
                  </a:cubicBezTo>
                  <a:cubicBezTo>
                    <a:pt x="215954" y="103729"/>
                    <a:pt x="214176" y="103729"/>
                    <a:pt x="212402" y="103634"/>
                  </a:cubicBezTo>
                  <a:cubicBezTo>
                    <a:pt x="209382" y="102607"/>
                    <a:pt x="206106" y="102607"/>
                    <a:pt x="203084" y="103634"/>
                  </a:cubicBezTo>
                  <a:cubicBezTo>
                    <a:pt x="201314" y="104946"/>
                    <a:pt x="199715" y="106486"/>
                    <a:pt x="198330" y="108197"/>
                  </a:cubicBezTo>
                  <a:cubicBezTo>
                    <a:pt x="195404" y="112267"/>
                    <a:pt x="191283" y="115328"/>
                    <a:pt x="186541" y="116945"/>
                  </a:cubicBezTo>
                  <a:cubicBezTo>
                    <a:pt x="181787" y="118085"/>
                    <a:pt x="172660" y="116945"/>
                    <a:pt x="164483" y="102113"/>
                  </a:cubicBezTo>
                  <a:lnTo>
                    <a:pt x="151933" y="79865"/>
                  </a:lnTo>
                  <a:cubicBezTo>
                    <a:pt x="149908" y="76252"/>
                    <a:pt x="148312" y="72429"/>
                    <a:pt x="147179" y="68455"/>
                  </a:cubicBezTo>
                  <a:cubicBezTo>
                    <a:pt x="146981" y="65679"/>
                    <a:pt x="146981" y="62865"/>
                    <a:pt x="147179" y="60088"/>
                  </a:cubicBezTo>
                  <a:cubicBezTo>
                    <a:pt x="147179" y="58948"/>
                    <a:pt x="147179" y="57617"/>
                    <a:pt x="147179" y="56285"/>
                  </a:cubicBezTo>
                  <a:cubicBezTo>
                    <a:pt x="146588" y="47367"/>
                    <a:pt x="141092" y="39533"/>
                    <a:pt x="132918" y="35939"/>
                  </a:cubicBezTo>
                  <a:cubicBezTo>
                    <a:pt x="128333" y="35064"/>
                    <a:pt x="123621" y="35064"/>
                    <a:pt x="119036" y="35939"/>
                  </a:cubicBezTo>
                  <a:cubicBezTo>
                    <a:pt x="115553" y="36129"/>
                    <a:pt x="112061" y="36129"/>
                    <a:pt x="108578" y="35939"/>
                  </a:cubicBezTo>
                  <a:cubicBezTo>
                    <a:pt x="94621" y="35578"/>
                    <a:pt x="81481" y="29284"/>
                    <a:pt x="72449" y="18635"/>
                  </a:cubicBezTo>
                  <a:lnTo>
                    <a:pt x="68265" y="13691"/>
                  </a:lnTo>
                  <a:cubicBezTo>
                    <a:pt x="64494" y="8595"/>
                    <a:pt x="60085" y="3993"/>
                    <a:pt x="55145" y="0"/>
                  </a:cubicBezTo>
                  <a:cubicBezTo>
                    <a:pt x="40780" y="4240"/>
                    <a:pt x="31552" y="18217"/>
                    <a:pt x="33277" y="33087"/>
                  </a:cubicBezTo>
                  <a:cubicBezTo>
                    <a:pt x="32976" y="36566"/>
                    <a:pt x="32976" y="40065"/>
                    <a:pt x="33277" y="43545"/>
                  </a:cubicBezTo>
                  <a:cubicBezTo>
                    <a:pt x="34655" y="51494"/>
                    <a:pt x="34001" y="59670"/>
                    <a:pt x="31375" y="67314"/>
                  </a:cubicBezTo>
                  <a:cubicBezTo>
                    <a:pt x="27762" y="75947"/>
                    <a:pt x="27762" y="85683"/>
                    <a:pt x="31375" y="94316"/>
                  </a:cubicBezTo>
                  <a:lnTo>
                    <a:pt x="32706" y="97929"/>
                  </a:lnTo>
                  <a:cubicBezTo>
                    <a:pt x="40425" y="112970"/>
                    <a:pt x="40425" y="130807"/>
                    <a:pt x="32706" y="145848"/>
                  </a:cubicBezTo>
                  <a:cubicBezTo>
                    <a:pt x="27918" y="154804"/>
                    <a:pt x="19894" y="161612"/>
                    <a:pt x="10268" y="164863"/>
                  </a:cubicBezTo>
                  <a:cubicBezTo>
                    <a:pt x="6699" y="166480"/>
                    <a:pt x="3265" y="168400"/>
                    <a:pt x="0" y="170568"/>
                  </a:cubicBezTo>
                  <a:lnTo>
                    <a:pt x="2282" y="170568"/>
                  </a:lnTo>
                  <a:cubicBezTo>
                    <a:pt x="5552" y="170853"/>
                    <a:pt x="8601" y="172355"/>
                    <a:pt x="10839" y="174751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95" name="Полилиния: фигура 494">
              <a:extLst>
                <a:ext uri="{FF2B5EF4-FFF2-40B4-BE49-F238E27FC236}">
                  <a16:creationId xmlns:a16="http://schemas.microsoft.com/office/drawing/2014/main" id="{2709CC74-E705-555E-4BFE-F7123F846B0B}"/>
                </a:ext>
              </a:extLst>
            </p:cNvPr>
            <p:cNvSpPr/>
            <p:nvPr/>
          </p:nvSpPr>
          <p:spPr>
            <a:xfrm>
              <a:off x="4713901" y="4505735"/>
              <a:ext cx="635084" cy="613409"/>
            </a:xfrm>
            <a:custGeom>
              <a:avLst/>
              <a:gdLst>
                <a:gd name="connsiteX0" fmla="*/ 682082 w 698685"/>
                <a:gd name="connsiteY0" fmla="*/ 598985 h 672868"/>
                <a:gd name="connsiteX1" fmla="*/ 666489 w 698685"/>
                <a:gd name="connsiteY1" fmla="*/ 582061 h 672868"/>
                <a:gd name="connsiteX2" fmla="*/ 654700 w 698685"/>
                <a:gd name="connsiteY2" fmla="*/ 571032 h 672868"/>
                <a:gd name="connsiteX3" fmla="*/ 649375 w 698685"/>
                <a:gd name="connsiteY3" fmla="*/ 568750 h 672868"/>
                <a:gd name="connsiteX4" fmla="*/ 636825 w 698685"/>
                <a:gd name="connsiteY4" fmla="*/ 561334 h 672868"/>
                <a:gd name="connsiteX5" fmla="*/ 631691 w 698685"/>
                <a:gd name="connsiteY5" fmla="*/ 535853 h 672868"/>
                <a:gd name="connsiteX6" fmla="*/ 631691 w 698685"/>
                <a:gd name="connsiteY6" fmla="*/ 527677 h 672868"/>
                <a:gd name="connsiteX7" fmla="*/ 631691 w 698685"/>
                <a:gd name="connsiteY7" fmla="*/ 522353 h 672868"/>
                <a:gd name="connsiteX8" fmla="*/ 631691 w 698685"/>
                <a:gd name="connsiteY8" fmla="*/ 510563 h 672868"/>
                <a:gd name="connsiteX9" fmla="*/ 619902 w 698685"/>
                <a:gd name="connsiteY9" fmla="*/ 501626 h 672868"/>
                <a:gd name="connsiteX10" fmla="*/ 619902 w 698685"/>
                <a:gd name="connsiteY10" fmla="*/ 487554 h 672868"/>
                <a:gd name="connsiteX11" fmla="*/ 635875 w 698685"/>
                <a:gd name="connsiteY11" fmla="*/ 476145 h 672868"/>
                <a:gd name="connsiteX12" fmla="*/ 642910 w 698685"/>
                <a:gd name="connsiteY12" fmla="*/ 473293 h 672868"/>
                <a:gd name="connsiteX13" fmla="*/ 647474 w 698685"/>
                <a:gd name="connsiteY13" fmla="*/ 464546 h 672868"/>
                <a:gd name="connsiteX14" fmla="*/ 642910 w 698685"/>
                <a:gd name="connsiteY14" fmla="*/ 453137 h 672868"/>
                <a:gd name="connsiteX15" fmla="*/ 628078 w 698685"/>
                <a:gd name="connsiteY15" fmla="*/ 446101 h 672868"/>
                <a:gd name="connsiteX16" fmla="*/ 615338 w 698685"/>
                <a:gd name="connsiteY16" fmla="*/ 440967 h 672868"/>
                <a:gd name="connsiteX17" fmla="*/ 594801 w 698685"/>
                <a:gd name="connsiteY17" fmla="*/ 438304 h 672868"/>
                <a:gd name="connsiteX18" fmla="*/ 571412 w 698685"/>
                <a:gd name="connsiteY18" fmla="*/ 438304 h 672868"/>
                <a:gd name="connsiteX19" fmla="*/ 571412 w 698685"/>
                <a:gd name="connsiteY19" fmla="*/ 438304 h 672868"/>
                <a:gd name="connsiteX20" fmla="*/ 560764 w 698685"/>
                <a:gd name="connsiteY20" fmla="*/ 438304 h 672868"/>
                <a:gd name="connsiteX21" fmla="*/ 547643 w 698685"/>
                <a:gd name="connsiteY21" fmla="*/ 445720 h 672868"/>
                <a:gd name="connsiteX22" fmla="*/ 539847 w 698685"/>
                <a:gd name="connsiteY22" fmla="*/ 457700 h 672868"/>
                <a:gd name="connsiteX23" fmla="*/ 512275 w 698685"/>
                <a:gd name="connsiteY23" fmla="*/ 482420 h 672868"/>
                <a:gd name="connsiteX24" fmla="*/ 478427 w 698685"/>
                <a:gd name="connsiteY24" fmla="*/ 472913 h 672868"/>
                <a:gd name="connsiteX25" fmla="*/ 468349 w 698685"/>
                <a:gd name="connsiteY25" fmla="*/ 461694 h 672868"/>
                <a:gd name="connsiteX26" fmla="*/ 456179 w 698685"/>
                <a:gd name="connsiteY26" fmla="*/ 450094 h 672868"/>
                <a:gd name="connsiteX27" fmla="*/ 437164 w 698685"/>
                <a:gd name="connsiteY27" fmla="*/ 454468 h 672868"/>
                <a:gd name="connsiteX28" fmla="*/ 400844 w 698685"/>
                <a:gd name="connsiteY28" fmla="*/ 451995 h 672868"/>
                <a:gd name="connsiteX29" fmla="*/ 392858 w 698685"/>
                <a:gd name="connsiteY29" fmla="*/ 440776 h 672868"/>
                <a:gd name="connsiteX30" fmla="*/ 386583 w 698685"/>
                <a:gd name="connsiteY30" fmla="*/ 431839 h 672868"/>
                <a:gd name="connsiteX31" fmla="*/ 385252 w 698685"/>
                <a:gd name="connsiteY31" fmla="*/ 430888 h 672868"/>
                <a:gd name="connsiteX32" fmla="*/ 377265 w 698685"/>
                <a:gd name="connsiteY32" fmla="*/ 421001 h 672868"/>
                <a:gd name="connsiteX33" fmla="*/ 384681 w 698685"/>
                <a:gd name="connsiteY33" fmla="*/ 398182 h 672868"/>
                <a:gd name="connsiteX34" fmla="*/ 386012 w 698685"/>
                <a:gd name="connsiteY34" fmla="*/ 396281 h 672868"/>
                <a:gd name="connsiteX35" fmla="*/ 388675 w 698685"/>
                <a:gd name="connsiteY35" fmla="*/ 392858 h 672868"/>
                <a:gd name="connsiteX36" fmla="*/ 391337 w 698685"/>
                <a:gd name="connsiteY36" fmla="*/ 380878 h 672868"/>
                <a:gd name="connsiteX37" fmla="*/ 386393 w 698685"/>
                <a:gd name="connsiteY37" fmla="*/ 377455 h 672868"/>
                <a:gd name="connsiteX38" fmla="*/ 375554 w 698685"/>
                <a:gd name="connsiteY38" fmla="*/ 361102 h 672868"/>
                <a:gd name="connsiteX39" fmla="*/ 388865 w 698685"/>
                <a:gd name="connsiteY39" fmla="*/ 347981 h 672868"/>
                <a:gd name="connsiteX40" fmla="*/ 393999 w 698685"/>
                <a:gd name="connsiteY40" fmla="*/ 345510 h 672868"/>
                <a:gd name="connsiteX41" fmla="*/ 401035 w 698685"/>
                <a:gd name="connsiteY41" fmla="*/ 322120 h 672868"/>
                <a:gd name="connsiteX42" fmla="*/ 385252 w 698685"/>
                <a:gd name="connsiteY42" fmla="*/ 313373 h 672868"/>
                <a:gd name="connsiteX43" fmla="*/ 375554 w 698685"/>
                <a:gd name="connsiteY43" fmla="*/ 318127 h 672868"/>
                <a:gd name="connsiteX44" fmla="*/ 360912 w 698685"/>
                <a:gd name="connsiteY44" fmla="*/ 324783 h 672868"/>
                <a:gd name="connsiteX45" fmla="*/ 348172 w 698685"/>
                <a:gd name="connsiteY45" fmla="*/ 319839 h 672868"/>
                <a:gd name="connsiteX46" fmla="*/ 345319 w 698685"/>
                <a:gd name="connsiteY46" fmla="*/ 281808 h 672868"/>
                <a:gd name="connsiteX47" fmla="*/ 345319 w 698685"/>
                <a:gd name="connsiteY47" fmla="*/ 279146 h 672868"/>
                <a:gd name="connsiteX48" fmla="*/ 346841 w 698685"/>
                <a:gd name="connsiteY48" fmla="*/ 272300 h 672868"/>
                <a:gd name="connsiteX49" fmla="*/ 348552 w 698685"/>
                <a:gd name="connsiteY49" fmla="*/ 259180 h 672868"/>
                <a:gd name="connsiteX50" fmla="*/ 343228 w 698685"/>
                <a:gd name="connsiteY50" fmla="*/ 247010 h 672868"/>
                <a:gd name="connsiteX51" fmla="*/ 338474 w 698685"/>
                <a:gd name="connsiteY51" fmla="*/ 239023 h 672868"/>
                <a:gd name="connsiteX52" fmla="*/ 335812 w 698685"/>
                <a:gd name="connsiteY52" fmla="*/ 212592 h 672868"/>
                <a:gd name="connsiteX53" fmla="*/ 335812 w 698685"/>
                <a:gd name="connsiteY53" fmla="*/ 199091 h 672868"/>
                <a:gd name="connsiteX54" fmla="*/ 323642 w 698685"/>
                <a:gd name="connsiteY54" fmla="*/ 167335 h 672868"/>
                <a:gd name="connsiteX55" fmla="*/ 314134 w 698685"/>
                <a:gd name="connsiteY55" fmla="*/ 154785 h 672868"/>
                <a:gd name="connsiteX56" fmla="*/ 306528 w 698685"/>
                <a:gd name="connsiteY56" fmla="*/ 145278 h 672868"/>
                <a:gd name="connsiteX57" fmla="*/ 300063 w 698685"/>
                <a:gd name="connsiteY57" fmla="*/ 116754 h 672868"/>
                <a:gd name="connsiteX58" fmla="*/ 300063 w 698685"/>
                <a:gd name="connsiteY58" fmla="*/ 114282 h 672868"/>
                <a:gd name="connsiteX59" fmla="*/ 297781 w 698685"/>
                <a:gd name="connsiteY59" fmla="*/ 97549 h 672868"/>
                <a:gd name="connsiteX60" fmla="*/ 295499 w 698685"/>
                <a:gd name="connsiteY60" fmla="*/ 79484 h 672868"/>
                <a:gd name="connsiteX61" fmla="*/ 309000 w 698685"/>
                <a:gd name="connsiteY61" fmla="*/ 38601 h 672868"/>
                <a:gd name="connsiteX62" fmla="*/ 312613 w 698685"/>
                <a:gd name="connsiteY62" fmla="*/ 33087 h 672868"/>
                <a:gd name="connsiteX63" fmla="*/ 293598 w 698685"/>
                <a:gd name="connsiteY63" fmla="*/ 24910 h 672868"/>
                <a:gd name="connsiteX64" fmla="*/ 270399 w 698685"/>
                <a:gd name="connsiteY64" fmla="*/ 15402 h 672868"/>
                <a:gd name="connsiteX65" fmla="*/ 261462 w 698685"/>
                <a:gd name="connsiteY65" fmla="*/ 10458 h 672868"/>
                <a:gd name="connsiteX66" fmla="*/ 261462 w 698685"/>
                <a:gd name="connsiteY66" fmla="*/ 10458 h 672868"/>
                <a:gd name="connsiteX67" fmla="*/ 243777 w 698685"/>
                <a:gd name="connsiteY67" fmla="*/ 0 h 672868"/>
                <a:gd name="connsiteX68" fmla="*/ 230086 w 698685"/>
                <a:gd name="connsiteY68" fmla="*/ 27002 h 672868"/>
                <a:gd name="connsiteX69" fmla="*/ 209930 w 698685"/>
                <a:gd name="connsiteY69" fmla="*/ 49630 h 672868"/>
                <a:gd name="connsiteX70" fmla="*/ 200803 w 698685"/>
                <a:gd name="connsiteY70" fmla="*/ 56285 h 672868"/>
                <a:gd name="connsiteX71" fmla="*/ 189583 w 698685"/>
                <a:gd name="connsiteY71" fmla="*/ 73779 h 672868"/>
                <a:gd name="connsiteX72" fmla="*/ 180456 w 698685"/>
                <a:gd name="connsiteY72" fmla="*/ 90133 h 672868"/>
                <a:gd name="connsiteX73" fmla="*/ 145848 w 698685"/>
                <a:gd name="connsiteY73" fmla="*/ 117135 h 672868"/>
                <a:gd name="connsiteX74" fmla="*/ 131396 w 698685"/>
                <a:gd name="connsiteY74" fmla="*/ 119036 h 672868"/>
                <a:gd name="connsiteX75" fmla="*/ 126643 w 698685"/>
                <a:gd name="connsiteY75" fmla="*/ 119036 h 672868"/>
                <a:gd name="connsiteX76" fmla="*/ 118466 w 698685"/>
                <a:gd name="connsiteY76" fmla="*/ 122269 h 672868"/>
                <a:gd name="connsiteX77" fmla="*/ 113712 w 698685"/>
                <a:gd name="connsiteY77" fmla="*/ 127593 h 672868"/>
                <a:gd name="connsiteX78" fmla="*/ 100211 w 698685"/>
                <a:gd name="connsiteY78" fmla="*/ 137291 h 672868"/>
                <a:gd name="connsiteX79" fmla="*/ 93746 w 698685"/>
                <a:gd name="connsiteY79" fmla="*/ 139192 h 672868"/>
                <a:gd name="connsiteX80" fmla="*/ 82907 w 698685"/>
                <a:gd name="connsiteY80" fmla="*/ 143756 h 672868"/>
                <a:gd name="connsiteX81" fmla="*/ 70737 w 698685"/>
                <a:gd name="connsiteY81" fmla="*/ 161060 h 672868"/>
                <a:gd name="connsiteX82" fmla="*/ 55145 w 698685"/>
                <a:gd name="connsiteY82" fmla="*/ 182548 h 672868"/>
                <a:gd name="connsiteX83" fmla="*/ 15593 w 698685"/>
                <a:gd name="connsiteY83" fmla="*/ 194717 h 672868"/>
                <a:gd name="connsiteX84" fmla="*/ 0 w 698685"/>
                <a:gd name="connsiteY84" fmla="*/ 196999 h 672868"/>
                <a:gd name="connsiteX85" fmla="*/ 19015 w 698685"/>
                <a:gd name="connsiteY85" fmla="*/ 226853 h 672868"/>
                <a:gd name="connsiteX86" fmla="*/ 23959 w 698685"/>
                <a:gd name="connsiteY86" fmla="*/ 243777 h 672868"/>
                <a:gd name="connsiteX87" fmla="*/ 50011 w 698685"/>
                <a:gd name="connsiteY87" fmla="*/ 243777 h 672868"/>
                <a:gd name="connsiteX88" fmla="*/ 62561 w 698685"/>
                <a:gd name="connsiteY88" fmla="*/ 239594 h 672868"/>
                <a:gd name="connsiteX89" fmla="*/ 81576 w 698685"/>
                <a:gd name="connsiteY89" fmla="*/ 241876 h 672868"/>
                <a:gd name="connsiteX90" fmla="*/ 91464 w 698685"/>
                <a:gd name="connsiteY90" fmla="*/ 266405 h 672868"/>
                <a:gd name="connsiteX91" fmla="*/ 94506 w 698685"/>
                <a:gd name="connsiteY91" fmla="*/ 281237 h 672868"/>
                <a:gd name="connsiteX92" fmla="*/ 120177 w 698685"/>
                <a:gd name="connsiteY92" fmla="*/ 300253 h 672868"/>
                <a:gd name="connsiteX93" fmla="*/ 150792 w 698685"/>
                <a:gd name="connsiteY93" fmla="*/ 321930 h 672868"/>
                <a:gd name="connsiteX94" fmla="*/ 164293 w 698685"/>
                <a:gd name="connsiteY94" fmla="*/ 364335 h 672868"/>
                <a:gd name="connsiteX95" fmla="*/ 172089 w 698685"/>
                <a:gd name="connsiteY95" fmla="*/ 394569 h 672868"/>
                <a:gd name="connsiteX96" fmla="*/ 176843 w 698685"/>
                <a:gd name="connsiteY96" fmla="*/ 438304 h 672868"/>
                <a:gd name="connsiteX97" fmla="*/ 175512 w 698685"/>
                <a:gd name="connsiteY97" fmla="*/ 441727 h 672868"/>
                <a:gd name="connsiteX98" fmla="*/ 171329 w 698685"/>
                <a:gd name="connsiteY98" fmla="*/ 461884 h 672868"/>
                <a:gd name="connsiteX99" fmla="*/ 173230 w 698685"/>
                <a:gd name="connsiteY99" fmla="*/ 461884 h 672868"/>
                <a:gd name="connsiteX100" fmla="*/ 184259 w 698685"/>
                <a:gd name="connsiteY100" fmla="*/ 449714 h 672868"/>
                <a:gd name="connsiteX101" fmla="*/ 213543 w 698685"/>
                <a:gd name="connsiteY101" fmla="*/ 432220 h 672868"/>
                <a:gd name="connsiteX102" fmla="*/ 239023 w 698685"/>
                <a:gd name="connsiteY102" fmla="*/ 470250 h 672868"/>
                <a:gd name="connsiteX103" fmla="*/ 246630 w 698685"/>
                <a:gd name="connsiteY103" fmla="*/ 489266 h 672868"/>
                <a:gd name="connsiteX104" fmla="*/ 296070 w 698685"/>
                <a:gd name="connsiteY104" fmla="*/ 493830 h 672868"/>
                <a:gd name="connsiteX105" fmla="*/ 303295 w 698685"/>
                <a:gd name="connsiteY105" fmla="*/ 491167 h 672868"/>
                <a:gd name="connsiteX106" fmla="*/ 372131 w 698685"/>
                <a:gd name="connsiteY106" fmla="*/ 500104 h 672868"/>
                <a:gd name="connsiteX107" fmla="*/ 381259 w 698685"/>
                <a:gd name="connsiteY107" fmla="*/ 517028 h 672868"/>
                <a:gd name="connsiteX108" fmla="*/ 386583 w 698685"/>
                <a:gd name="connsiteY108" fmla="*/ 528627 h 672868"/>
                <a:gd name="connsiteX109" fmla="*/ 405598 w 698685"/>
                <a:gd name="connsiteY109" fmla="*/ 528627 h 672868"/>
                <a:gd name="connsiteX110" fmla="*/ 414155 w 698685"/>
                <a:gd name="connsiteY110" fmla="*/ 524254 h 672868"/>
                <a:gd name="connsiteX111" fmla="*/ 454658 w 698685"/>
                <a:gd name="connsiteY111" fmla="*/ 525585 h 672868"/>
                <a:gd name="connsiteX112" fmla="*/ 478617 w 698685"/>
                <a:gd name="connsiteY112" fmla="*/ 551636 h 672868"/>
                <a:gd name="connsiteX113" fmla="*/ 481089 w 698685"/>
                <a:gd name="connsiteY113" fmla="*/ 573884 h 672868"/>
                <a:gd name="connsiteX114" fmla="*/ 481089 w 698685"/>
                <a:gd name="connsiteY114" fmla="*/ 588336 h 672868"/>
                <a:gd name="connsiteX115" fmla="*/ 497252 w 698685"/>
                <a:gd name="connsiteY115" fmla="*/ 616669 h 672868"/>
                <a:gd name="connsiteX116" fmla="*/ 501626 w 698685"/>
                <a:gd name="connsiteY116" fmla="*/ 622183 h 672868"/>
                <a:gd name="connsiteX117" fmla="*/ 539657 w 698685"/>
                <a:gd name="connsiteY117" fmla="*/ 644241 h 672868"/>
                <a:gd name="connsiteX118" fmla="*/ 546883 w 698685"/>
                <a:gd name="connsiteY118" fmla="*/ 637586 h 672868"/>
                <a:gd name="connsiteX119" fmla="*/ 567990 w 698685"/>
                <a:gd name="connsiteY119" fmla="*/ 626177 h 672868"/>
                <a:gd name="connsiteX120" fmla="*/ 589667 w 698685"/>
                <a:gd name="connsiteY120" fmla="*/ 645192 h 672868"/>
                <a:gd name="connsiteX121" fmla="*/ 592710 w 698685"/>
                <a:gd name="connsiteY121" fmla="*/ 650516 h 672868"/>
                <a:gd name="connsiteX122" fmla="*/ 629409 w 698685"/>
                <a:gd name="connsiteY122" fmla="*/ 672764 h 672868"/>
                <a:gd name="connsiteX123" fmla="*/ 688167 w 698685"/>
                <a:gd name="connsiteY123" fmla="*/ 648615 h 672868"/>
                <a:gd name="connsiteX124" fmla="*/ 692483 w 698685"/>
                <a:gd name="connsiteY124" fmla="*/ 609044 h 672868"/>
                <a:gd name="connsiteX125" fmla="*/ 690829 w 698685"/>
                <a:gd name="connsiteY125" fmla="*/ 607161 h 672868"/>
                <a:gd name="connsiteX126" fmla="*/ 682082 w 698685"/>
                <a:gd name="connsiteY126" fmla="*/ 598985 h 672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698685" h="672868">
                  <a:moveTo>
                    <a:pt x="682082" y="598985"/>
                  </a:moveTo>
                  <a:cubicBezTo>
                    <a:pt x="676453" y="593755"/>
                    <a:pt x="671243" y="588089"/>
                    <a:pt x="666489" y="582061"/>
                  </a:cubicBezTo>
                  <a:cubicBezTo>
                    <a:pt x="663447" y="577535"/>
                    <a:pt x="659416" y="573770"/>
                    <a:pt x="654700" y="571032"/>
                  </a:cubicBezTo>
                  <a:cubicBezTo>
                    <a:pt x="652988" y="570081"/>
                    <a:pt x="651087" y="569511"/>
                    <a:pt x="649375" y="568750"/>
                  </a:cubicBezTo>
                  <a:cubicBezTo>
                    <a:pt x="644584" y="567514"/>
                    <a:pt x="640229" y="564947"/>
                    <a:pt x="636825" y="561334"/>
                  </a:cubicBezTo>
                  <a:cubicBezTo>
                    <a:pt x="632033" y="553766"/>
                    <a:pt x="630208" y="544696"/>
                    <a:pt x="631691" y="535853"/>
                  </a:cubicBezTo>
                  <a:cubicBezTo>
                    <a:pt x="631881" y="533134"/>
                    <a:pt x="631881" y="530396"/>
                    <a:pt x="631691" y="527677"/>
                  </a:cubicBezTo>
                  <a:lnTo>
                    <a:pt x="631691" y="522353"/>
                  </a:lnTo>
                  <a:cubicBezTo>
                    <a:pt x="631387" y="518435"/>
                    <a:pt x="631387" y="514480"/>
                    <a:pt x="631691" y="510563"/>
                  </a:cubicBezTo>
                  <a:cubicBezTo>
                    <a:pt x="626823" y="509080"/>
                    <a:pt x="622640" y="505923"/>
                    <a:pt x="619902" y="501626"/>
                  </a:cubicBezTo>
                  <a:cubicBezTo>
                    <a:pt x="617658" y="497195"/>
                    <a:pt x="617658" y="491985"/>
                    <a:pt x="619902" y="487554"/>
                  </a:cubicBezTo>
                  <a:cubicBezTo>
                    <a:pt x="622982" y="481317"/>
                    <a:pt x="628972" y="477020"/>
                    <a:pt x="635875" y="476145"/>
                  </a:cubicBezTo>
                  <a:cubicBezTo>
                    <a:pt x="638385" y="475651"/>
                    <a:pt x="640762" y="474681"/>
                    <a:pt x="642910" y="473293"/>
                  </a:cubicBezTo>
                  <a:cubicBezTo>
                    <a:pt x="645686" y="471220"/>
                    <a:pt x="647360" y="468007"/>
                    <a:pt x="647474" y="464546"/>
                  </a:cubicBezTo>
                  <a:cubicBezTo>
                    <a:pt x="647569" y="460286"/>
                    <a:pt x="645934" y="456160"/>
                    <a:pt x="642910" y="453137"/>
                  </a:cubicBezTo>
                  <a:cubicBezTo>
                    <a:pt x="638594" y="449638"/>
                    <a:pt x="633517" y="447223"/>
                    <a:pt x="628078" y="446101"/>
                  </a:cubicBezTo>
                  <a:cubicBezTo>
                    <a:pt x="623686" y="444751"/>
                    <a:pt x="619426" y="443039"/>
                    <a:pt x="615338" y="440967"/>
                  </a:cubicBezTo>
                  <a:cubicBezTo>
                    <a:pt x="604689" y="434882"/>
                    <a:pt x="604689" y="434882"/>
                    <a:pt x="594801" y="438304"/>
                  </a:cubicBezTo>
                  <a:cubicBezTo>
                    <a:pt x="587138" y="440282"/>
                    <a:pt x="579076" y="440282"/>
                    <a:pt x="571412" y="438304"/>
                  </a:cubicBezTo>
                  <a:lnTo>
                    <a:pt x="571412" y="438304"/>
                  </a:lnTo>
                  <a:cubicBezTo>
                    <a:pt x="567876" y="437867"/>
                    <a:pt x="564301" y="437867"/>
                    <a:pt x="560764" y="438304"/>
                  </a:cubicBezTo>
                  <a:cubicBezTo>
                    <a:pt x="555478" y="438647"/>
                    <a:pt x="550648" y="441366"/>
                    <a:pt x="547643" y="445720"/>
                  </a:cubicBezTo>
                  <a:cubicBezTo>
                    <a:pt x="544696" y="449486"/>
                    <a:pt x="542091" y="453479"/>
                    <a:pt x="539847" y="457700"/>
                  </a:cubicBezTo>
                  <a:cubicBezTo>
                    <a:pt x="534960" y="469756"/>
                    <a:pt x="524787" y="478864"/>
                    <a:pt x="512275" y="482420"/>
                  </a:cubicBezTo>
                  <a:cubicBezTo>
                    <a:pt x="500162" y="484056"/>
                    <a:pt x="487916" y="480614"/>
                    <a:pt x="478427" y="472913"/>
                  </a:cubicBezTo>
                  <a:cubicBezTo>
                    <a:pt x="474586" y="469642"/>
                    <a:pt x="471201" y="465858"/>
                    <a:pt x="468349" y="461694"/>
                  </a:cubicBezTo>
                  <a:cubicBezTo>
                    <a:pt x="464356" y="456369"/>
                    <a:pt x="460743" y="451425"/>
                    <a:pt x="456179" y="450094"/>
                  </a:cubicBezTo>
                  <a:cubicBezTo>
                    <a:pt x="449524" y="449162"/>
                    <a:pt x="442754" y="450721"/>
                    <a:pt x="437164" y="454468"/>
                  </a:cubicBezTo>
                  <a:cubicBezTo>
                    <a:pt x="426154" y="462891"/>
                    <a:pt x="410618" y="461826"/>
                    <a:pt x="400844" y="451995"/>
                  </a:cubicBezTo>
                  <a:cubicBezTo>
                    <a:pt x="397783" y="448554"/>
                    <a:pt x="395102" y="444789"/>
                    <a:pt x="392858" y="440776"/>
                  </a:cubicBezTo>
                  <a:cubicBezTo>
                    <a:pt x="391051" y="437601"/>
                    <a:pt x="388960" y="434615"/>
                    <a:pt x="386583" y="431839"/>
                  </a:cubicBezTo>
                  <a:cubicBezTo>
                    <a:pt x="386298" y="431345"/>
                    <a:pt x="385822" y="430984"/>
                    <a:pt x="385252" y="430888"/>
                  </a:cubicBezTo>
                  <a:cubicBezTo>
                    <a:pt x="380878" y="430888"/>
                    <a:pt x="378977" y="427466"/>
                    <a:pt x="377265" y="421001"/>
                  </a:cubicBezTo>
                  <a:cubicBezTo>
                    <a:pt x="376124" y="412653"/>
                    <a:pt x="378863" y="404267"/>
                    <a:pt x="384681" y="398182"/>
                  </a:cubicBezTo>
                  <a:lnTo>
                    <a:pt x="386012" y="396281"/>
                  </a:lnTo>
                  <a:cubicBezTo>
                    <a:pt x="386963" y="395140"/>
                    <a:pt x="387724" y="393808"/>
                    <a:pt x="388675" y="392858"/>
                  </a:cubicBezTo>
                  <a:cubicBezTo>
                    <a:pt x="393048" y="386963"/>
                    <a:pt x="394189" y="385252"/>
                    <a:pt x="391337" y="380878"/>
                  </a:cubicBezTo>
                  <a:cubicBezTo>
                    <a:pt x="389930" y="379433"/>
                    <a:pt x="388237" y="378273"/>
                    <a:pt x="386393" y="377455"/>
                  </a:cubicBezTo>
                  <a:cubicBezTo>
                    <a:pt x="379414" y="375192"/>
                    <a:pt x="374926" y="368404"/>
                    <a:pt x="375554" y="361102"/>
                  </a:cubicBezTo>
                  <a:cubicBezTo>
                    <a:pt x="376695" y="352735"/>
                    <a:pt x="384111" y="349883"/>
                    <a:pt x="388865" y="347981"/>
                  </a:cubicBezTo>
                  <a:cubicBezTo>
                    <a:pt x="390671" y="347392"/>
                    <a:pt x="392402" y="346555"/>
                    <a:pt x="393999" y="345510"/>
                  </a:cubicBezTo>
                  <a:cubicBezTo>
                    <a:pt x="400597" y="339672"/>
                    <a:pt x="403316" y="330620"/>
                    <a:pt x="401035" y="322120"/>
                  </a:cubicBezTo>
                  <a:cubicBezTo>
                    <a:pt x="397384" y="316948"/>
                    <a:pt x="391565" y="313735"/>
                    <a:pt x="385252" y="313373"/>
                  </a:cubicBezTo>
                  <a:cubicBezTo>
                    <a:pt x="381601" y="313925"/>
                    <a:pt x="378216" y="315579"/>
                    <a:pt x="375554" y="318127"/>
                  </a:cubicBezTo>
                  <a:cubicBezTo>
                    <a:pt x="371542" y="321911"/>
                    <a:pt x="366389" y="324250"/>
                    <a:pt x="360912" y="324783"/>
                  </a:cubicBezTo>
                  <a:cubicBezTo>
                    <a:pt x="356101" y="325334"/>
                    <a:pt x="351347" y="323490"/>
                    <a:pt x="348172" y="319839"/>
                  </a:cubicBezTo>
                  <a:cubicBezTo>
                    <a:pt x="342030" y="308087"/>
                    <a:pt x="340984" y="294339"/>
                    <a:pt x="345319" y="281808"/>
                  </a:cubicBezTo>
                  <a:lnTo>
                    <a:pt x="345319" y="279146"/>
                  </a:lnTo>
                  <a:cubicBezTo>
                    <a:pt x="345319" y="277054"/>
                    <a:pt x="345319" y="274772"/>
                    <a:pt x="346841" y="272300"/>
                  </a:cubicBezTo>
                  <a:cubicBezTo>
                    <a:pt x="347944" y="268022"/>
                    <a:pt x="348514" y="263610"/>
                    <a:pt x="348552" y="259180"/>
                  </a:cubicBezTo>
                  <a:cubicBezTo>
                    <a:pt x="348039" y="254673"/>
                    <a:pt x="346194" y="250433"/>
                    <a:pt x="343228" y="247010"/>
                  </a:cubicBezTo>
                  <a:cubicBezTo>
                    <a:pt x="341421" y="244481"/>
                    <a:pt x="339824" y="241819"/>
                    <a:pt x="338474" y="239023"/>
                  </a:cubicBezTo>
                  <a:cubicBezTo>
                    <a:pt x="334842" y="230714"/>
                    <a:pt x="333910" y="221472"/>
                    <a:pt x="335812" y="212592"/>
                  </a:cubicBezTo>
                  <a:cubicBezTo>
                    <a:pt x="336287" y="208104"/>
                    <a:pt x="336287" y="203579"/>
                    <a:pt x="335812" y="199091"/>
                  </a:cubicBezTo>
                  <a:cubicBezTo>
                    <a:pt x="333587" y="187891"/>
                    <a:pt x="329480" y="177147"/>
                    <a:pt x="323642" y="167335"/>
                  </a:cubicBezTo>
                  <a:cubicBezTo>
                    <a:pt x="321075" y="162714"/>
                    <a:pt x="317880" y="158493"/>
                    <a:pt x="314134" y="154785"/>
                  </a:cubicBezTo>
                  <a:cubicBezTo>
                    <a:pt x="311396" y="151781"/>
                    <a:pt x="308848" y="148605"/>
                    <a:pt x="306528" y="145278"/>
                  </a:cubicBezTo>
                  <a:cubicBezTo>
                    <a:pt x="301185" y="136797"/>
                    <a:pt x="298903" y="126719"/>
                    <a:pt x="300063" y="116754"/>
                  </a:cubicBezTo>
                  <a:lnTo>
                    <a:pt x="300063" y="114282"/>
                  </a:lnTo>
                  <a:cubicBezTo>
                    <a:pt x="299854" y="108635"/>
                    <a:pt x="299093" y="103044"/>
                    <a:pt x="297781" y="97549"/>
                  </a:cubicBezTo>
                  <a:cubicBezTo>
                    <a:pt x="296621" y="91578"/>
                    <a:pt x="295860" y="85550"/>
                    <a:pt x="295499" y="79484"/>
                  </a:cubicBezTo>
                  <a:cubicBezTo>
                    <a:pt x="296298" y="64899"/>
                    <a:pt x="300957" y="50790"/>
                    <a:pt x="309000" y="38601"/>
                  </a:cubicBezTo>
                  <a:cubicBezTo>
                    <a:pt x="310065" y="36681"/>
                    <a:pt x="311282" y="34836"/>
                    <a:pt x="312613" y="33087"/>
                  </a:cubicBezTo>
                  <a:lnTo>
                    <a:pt x="293598" y="24910"/>
                  </a:lnTo>
                  <a:lnTo>
                    <a:pt x="270399" y="15402"/>
                  </a:lnTo>
                  <a:lnTo>
                    <a:pt x="261462" y="10458"/>
                  </a:lnTo>
                  <a:lnTo>
                    <a:pt x="261462" y="10458"/>
                  </a:lnTo>
                  <a:lnTo>
                    <a:pt x="243777" y="0"/>
                  </a:lnTo>
                  <a:cubicBezTo>
                    <a:pt x="238643" y="11219"/>
                    <a:pt x="231417" y="23769"/>
                    <a:pt x="230086" y="27002"/>
                  </a:cubicBezTo>
                  <a:cubicBezTo>
                    <a:pt x="225998" y="36528"/>
                    <a:pt x="218924" y="44477"/>
                    <a:pt x="209930" y="49630"/>
                  </a:cubicBezTo>
                  <a:cubicBezTo>
                    <a:pt x="206773" y="51684"/>
                    <a:pt x="203727" y="53908"/>
                    <a:pt x="200803" y="56285"/>
                  </a:cubicBezTo>
                  <a:cubicBezTo>
                    <a:pt x="195619" y="61058"/>
                    <a:pt x="191753" y="67086"/>
                    <a:pt x="189583" y="73779"/>
                  </a:cubicBezTo>
                  <a:cubicBezTo>
                    <a:pt x="187357" y="79655"/>
                    <a:pt x="184280" y="85151"/>
                    <a:pt x="180456" y="90133"/>
                  </a:cubicBezTo>
                  <a:cubicBezTo>
                    <a:pt x="171277" y="101808"/>
                    <a:pt x="159400" y="111069"/>
                    <a:pt x="145848" y="117135"/>
                  </a:cubicBezTo>
                  <a:cubicBezTo>
                    <a:pt x="141227" y="118808"/>
                    <a:pt x="136295" y="119473"/>
                    <a:pt x="131396" y="119036"/>
                  </a:cubicBezTo>
                  <a:lnTo>
                    <a:pt x="126643" y="119036"/>
                  </a:lnTo>
                  <a:cubicBezTo>
                    <a:pt x="121128" y="119036"/>
                    <a:pt x="121128" y="119036"/>
                    <a:pt x="118466" y="122269"/>
                  </a:cubicBezTo>
                  <a:lnTo>
                    <a:pt x="113712" y="127593"/>
                  </a:lnTo>
                  <a:cubicBezTo>
                    <a:pt x="110382" y="132195"/>
                    <a:pt x="105644" y="135599"/>
                    <a:pt x="100211" y="137291"/>
                  </a:cubicBezTo>
                  <a:lnTo>
                    <a:pt x="93746" y="139192"/>
                  </a:lnTo>
                  <a:cubicBezTo>
                    <a:pt x="89791" y="139725"/>
                    <a:pt x="86050" y="141303"/>
                    <a:pt x="82907" y="143756"/>
                  </a:cubicBezTo>
                  <a:cubicBezTo>
                    <a:pt x="77838" y="148738"/>
                    <a:pt x="73713" y="154595"/>
                    <a:pt x="70737" y="161060"/>
                  </a:cubicBezTo>
                  <a:cubicBezTo>
                    <a:pt x="66946" y="169142"/>
                    <a:pt x="61656" y="176444"/>
                    <a:pt x="55145" y="182548"/>
                  </a:cubicBezTo>
                  <a:cubicBezTo>
                    <a:pt x="43405" y="190325"/>
                    <a:pt x="29674" y="194546"/>
                    <a:pt x="15593" y="194717"/>
                  </a:cubicBezTo>
                  <a:cubicBezTo>
                    <a:pt x="10360" y="195212"/>
                    <a:pt x="5155" y="195973"/>
                    <a:pt x="0" y="196999"/>
                  </a:cubicBezTo>
                  <a:cubicBezTo>
                    <a:pt x="11609" y="202400"/>
                    <a:pt x="19027" y="214056"/>
                    <a:pt x="19015" y="226853"/>
                  </a:cubicBezTo>
                  <a:cubicBezTo>
                    <a:pt x="19620" y="232748"/>
                    <a:pt x="21295" y="238491"/>
                    <a:pt x="23959" y="243777"/>
                  </a:cubicBezTo>
                  <a:cubicBezTo>
                    <a:pt x="28333" y="251573"/>
                    <a:pt x="35559" y="249672"/>
                    <a:pt x="50011" y="243777"/>
                  </a:cubicBezTo>
                  <a:cubicBezTo>
                    <a:pt x="54063" y="242009"/>
                    <a:pt x="58261" y="240621"/>
                    <a:pt x="62561" y="239594"/>
                  </a:cubicBezTo>
                  <a:cubicBezTo>
                    <a:pt x="68937" y="237635"/>
                    <a:pt x="75847" y="238453"/>
                    <a:pt x="81576" y="241876"/>
                  </a:cubicBezTo>
                  <a:cubicBezTo>
                    <a:pt x="88159" y="248303"/>
                    <a:pt x="91746" y="257202"/>
                    <a:pt x="91464" y="266405"/>
                  </a:cubicBezTo>
                  <a:cubicBezTo>
                    <a:pt x="91924" y="271445"/>
                    <a:pt x="92945" y="276426"/>
                    <a:pt x="94506" y="281237"/>
                  </a:cubicBezTo>
                  <a:cubicBezTo>
                    <a:pt x="98690" y="291126"/>
                    <a:pt x="108578" y="295689"/>
                    <a:pt x="120177" y="300253"/>
                  </a:cubicBezTo>
                  <a:cubicBezTo>
                    <a:pt x="132364" y="304170"/>
                    <a:pt x="143053" y="311738"/>
                    <a:pt x="150792" y="321930"/>
                  </a:cubicBezTo>
                  <a:cubicBezTo>
                    <a:pt x="157889" y="335108"/>
                    <a:pt x="162468" y="349484"/>
                    <a:pt x="164293" y="364335"/>
                  </a:cubicBezTo>
                  <a:cubicBezTo>
                    <a:pt x="165784" y="374660"/>
                    <a:pt x="168398" y="384795"/>
                    <a:pt x="172089" y="394569"/>
                  </a:cubicBezTo>
                  <a:cubicBezTo>
                    <a:pt x="179458" y="407918"/>
                    <a:pt x="181169" y="423682"/>
                    <a:pt x="176843" y="438304"/>
                  </a:cubicBezTo>
                  <a:cubicBezTo>
                    <a:pt x="176503" y="439484"/>
                    <a:pt x="176058" y="440624"/>
                    <a:pt x="175512" y="441727"/>
                  </a:cubicBezTo>
                  <a:cubicBezTo>
                    <a:pt x="173991" y="445911"/>
                    <a:pt x="169237" y="458271"/>
                    <a:pt x="171329" y="461884"/>
                  </a:cubicBezTo>
                  <a:cubicBezTo>
                    <a:pt x="171329" y="461884"/>
                    <a:pt x="171329" y="461884"/>
                    <a:pt x="173230" y="461884"/>
                  </a:cubicBezTo>
                  <a:cubicBezTo>
                    <a:pt x="175132" y="461884"/>
                    <a:pt x="180266" y="457700"/>
                    <a:pt x="184259" y="449714"/>
                  </a:cubicBezTo>
                  <a:cubicBezTo>
                    <a:pt x="188252" y="441727"/>
                    <a:pt x="196809" y="426135"/>
                    <a:pt x="213543" y="432220"/>
                  </a:cubicBezTo>
                  <a:cubicBezTo>
                    <a:pt x="230276" y="438304"/>
                    <a:pt x="234460" y="454848"/>
                    <a:pt x="239023" y="470250"/>
                  </a:cubicBezTo>
                  <a:cubicBezTo>
                    <a:pt x="240716" y="476906"/>
                    <a:pt x="243264" y="483295"/>
                    <a:pt x="246630" y="489266"/>
                  </a:cubicBezTo>
                  <a:cubicBezTo>
                    <a:pt x="257659" y="506380"/>
                    <a:pt x="272681" y="502386"/>
                    <a:pt x="296070" y="493830"/>
                  </a:cubicBezTo>
                  <a:lnTo>
                    <a:pt x="303295" y="491167"/>
                  </a:lnTo>
                  <a:cubicBezTo>
                    <a:pt x="332579" y="480899"/>
                    <a:pt x="356919" y="483941"/>
                    <a:pt x="372131" y="500104"/>
                  </a:cubicBezTo>
                  <a:cubicBezTo>
                    <a:pt x="376352" y="505011"/>
                    <a:pt x="379471" y="510791"/>
                    <a:pt x="381259" y="517028"/>
                  </a:cubicBezTo>
                  <a:cubicBezTo>
                    <a:pt x="382361" y="521173"/>
                    <a:pt x="384168" y="525091"/>
                    <a:pt x="386583" y="528627"/>
                  </a:cubicBezTo>
                  <a:cubicBezTo>
                    <a:pt x="391717" y="535093"/>
                    <a:pt x="395330" y="533762"/>
                    <a:pt x="405598" y="528627"/>
                  </a:cubicBezTo>
                  <a:cubicBezTo>
                    <a:pt x="408337" y="526954"/>
                    <a:pt x="411189" y="525490"/>
                    <a:pt x="414155" y="524254"/>
                  </a:cubicBezTo>
                  <a:cubicBezTo>
                    <a:pt x="427276" y="519177"/>
                    <a:pt x="441899" y="519652"/>
                    <a:pt x="454658" y="525585"/>
                  </a:cubicBezTo>
                  <a:cubicBezTo>
                    <a:pt x="465934" y="530548"/>
                    <a:pt x="474624" y="539980"/>
                    <a:pt x="478617" y="551636"/>
                  </a:cubicBezTo>
                  <a:cubicBezTo>
                    <a:pt x="480557" y="558881"/>
                    <a:pt x="481394" y="566392"/>
                    <a:pt x="481089" y="573884"/>
                  </a:cubicBezTo>
                  <a:cubicBezTo>
                    <a:pt x="480690" y="578695"/>
                    <a:pt x="480690" y="583525"/>
                    <a:pt x="481089" y="588336"/>
                  </a:cubicBezTo>
                  <a:cubicBezTo>
                    <a:pt x="483732" y="599099"/>
                    <a:pt x="489323" y="608910"/>
                    <a:pt x="497252" y="616669"/>
                  </a:cubicBezTo>
                  <a:lnTo>
                    <a:pt x="501626" y="622183"/>
                  </a:lnTo>
                  <a:cubicBezTo>
                    <a:pt x="514366" y="637966"/>
                    <a:pt x="526726" y="651467"/>
                    <a:pt x="539657" y="644241"/>
                  </a:cubicBezTo>
                  <a:cubicBezTo>
                    <a:pt x="542376" y="642397"/>
                    <a:pt x="544829" y="640153"/>
                    <a:pt x="546883" y="637586"/>
                  </a:cubicBezTo>
                  <a:cubicBezTo>
                    <a:pt x="551351" y="630246"/>
                    <a:pt x="559414" y="625891"/>
                    <a:pt x="567990" y="626177"/>
                  </a:cubicBezTo>
                  <a:cubicBezTo>
                    <a:pt x="579399" y="627317"/>
                    <a:pt x="585103" y="637396"/>
                    <a:pt x="589667" y="645192"/>
                  </a:cubicBezTo>
                  <a:lnTo>
                    <a:pt x="592710" y="650516"/>
                  </a:lnTo>
                  <a:cubicBezTo>
                    <a:pt x="600791" y="663256"/>
                    <a:pt x="614368" y="671490"/>
                    <a:pt x="629409" y="672764"/>
                  </a:cubicBezTo>
                  <a:cubicBezTo>
                    <a:pt x="651619" y="673943"/>
                    <a:pt x="673202" y="665063"/>
                    <a:pt x="688167" y="648615"/>
                  </a:cubicBezTo>
                  <a:cubicBezTo>
                    <a:pt x="700280" y="638879"/>
                    <a:pt x="702219" y="621175"/>
                    <a:pt x="692483" y="609044"/>
                  </a:cubicBezTo>
                  <a:cubicBezTo>
                    <a:pt x="691970" y="608397"/>
                    <a:pt x="691418" y="607770"/>
                    <a:pt x="690829" y="607161"/>
                  </a:cubicBezTo>
                  <a:cubicBezTo>
                    <a:pt x="688053" y="604290"/>
                    <a:pt x="685143" y="601552"/>
                    <a:pt x="682082" y="59898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97" name="Полилиния: фигура 496">
              <a:extLst>
                <a:ext uri="{FF2B5EF4-FFF2-40B4-BE49-F238E27FC236}">
                  <a16:creationId xmlns:a16="http://schemas.microsoft.com/office/drawing/2014/main" id="{F413A68D-BCE2-FC1F-6EC0-AEFA081B247A}"/>
                </a:ext>
              </a:extLst>
            </p:cNvPr>
            <p:cNvSpPr/>
            <p:nvPr/>
          </p:nvSpPr>
          <p:spPr>
            <a:xfrm>
              <a:off x="4375473" y="4072359"/>
              <a:ext cx="275895" cy="217743"/>
            </a:xfrm>
            <a:custGeom>
              <a:avLst/>
              <a:gdLst>
                <a:gd name="connsiteX0" fmla="*/ 303486 w 303525"/>
                <a:gd name="connsiteY0" fmla="*/ 149651 h 238849"/>
                <a:gd name="connsiteX1" fmla="*/ 303486 w 303525"/>
                <a:gd name="connsiteY1" fmla="*/ 149651 h 238849"/>
                <a:gd name="connsiteX2" fmla="*/ 296830 w 303525"/>
                <a:gd name="connsiteY2" fmla="*/ 141665 h 238849"/>
                <a:gd name="connsiteX3" fmla="*/ 290935 w 303525"/>
                <a:gd name="connsiteY3" fmla="*/ 138052 h 238849"/>
                <a:gd name="connsiteX4" fmla="*/ 275723 w 303525"/>
                <a:gd name="connsiteY4" fmla="*/ 115804 h 238849"/>
                <a:gd name="connsiteX5" fmla="*/ 275723 w 303525"/>
                <a:gd name="connsiteY5" fmla="*/ 114282 h 238849"/>
                <a:gd name="connsiteX6" fmla="*/ 275723 w 303525"/>
                <a:gd name="connsiteY6" fmla="*/ 112191 h 238849"/>
                <a:gd name="connsiteX7" fmla="*/ 264314 w 303525"/>
                <a:gd name="connsiteY7" fmla="*/ 116945 h 238849"/>
                <a:gd name="connsiteX8" fmla="*/ 261271 w 303525"/>
                <a:gd name="connsiteY8" fmla="*/ 119987 h 238849"/>
                <a:gd name="connsiteX9" fmla="*/ 246059 w 303525"/>
                <a:gd name="connsiteY9" fmla="*/ 131016 h 238849"/>
                <a:gd name="connsiteX10" fmla="*/ 232558 w 303525"/>
                <a:gd name="connsiteY10" fmla="*/ 131016 h 238849"/>
                <a:gd name="connsiteX11" fmla="*/ 221719 w 303525"/>
                <a:gd name="connsiteY11" fmla="*/ 131016 h 238849"/>
                <a:gd name="connsiteX12" fmla="*/ 216775 w 303525"/>
                <a:gd name="connsiteY12" fmla="*/ 136911 h 238849"/>
                <a:gd name="connsiteX13" fmla="*/ 207268 w 303525"/>
                <a:gd name="connsiteY13" fmla="*/ 146608 h 238849"/>
                <a:gd name="connsiteX14" fmla="*/ 181597 w 303525"/>
                <a:gd name="connsiteY14" fmla="*/ 141284 h 238849"/>
                <a:gd name="connsiteX15" fmla="*/ 173610 w 303525"/>
                <a:gd name="connsiteY15" fmla="*/ 133678 h 238849"/>
                <a:gd name="connsiteX16" fmla="*/ 171519 w 303525"/>
                <a:gd name="connsiteY16" fmla="*/ 128544 h 238849"/>
                <a:gd name="connsiteX17" fmla="*/ 171519 w 303525"/>
                <a:gd name="connsiteY17" fmla="*/ 126262 h 238849"/>
                <a:gd name="connsiteX18" fmla="*/ 167525 w 303525"/>
                <a:gd name="connsiteY18" fmla="*/ 120748 h 238849"/>
                <a:gd name="connsiteX19" fmla="*/ 163913 w 303525"/>
                <a:gd name="connsiteY19" fmla="*/ 116374 h 238849"/>
                <a:gd name="connsiteX20" fmla="*/ 157067 w 303525"/>
                <a:gd name="connsiteY20" fmla="*/ 94506 h 238849"/>
                <a:gd name="connsiteX21" fmla="*/ 157067 w 303525"/>
                <a:gd name="connsiteY21" fmla="*/ 92985 h 238849"/>
                <a:gd name="connsiteX22" fmla="*/ 149651 w 303525"/>
                <a:gd name="connsiteY22" fmla="*/ 59518 h 238849"/>
                <a:gd name="connsiteX23" fmla="*/ 144327 w 303525"/>
                <a:gd name="connsiteY23" fmla="*/ 50391 h 238849"/>
                <a:gd name="connsiteX24" fmla="*/ 142805 w 303525"/>
                <a:gd name="connsiteY24" fmla="*/ 50391 h 238849"/>
                <a:gd name="connsiteX25" fmla="*/ 138242 w 303525"/>
                <a:gd name="connsiteY25" fmla="*/ 48109 h 238849"/>
                <a:gd name="connsiteX26" fmla="*/ 132537 w 303525"/>
                <a:gd name="connsiteY26" fmla="*/ 40313 h 238849"/>
                <a:gd name="connsiteX27" fmla="*/ 131016 w 303525"/>
                <a:gd name="connsiteY27" fmla="*/ 37270 h 238849"/>
                <a:gd name="connsiteX28" fmla="*/ 123600 w 303525"/>
                <a:gd name="connsiteY28" fmla="*/ 32897 h 238849"/>
                <a:gd name="connsiteX29" fmla="*/ 115233 w 303525"/>
                <a:gd name="connsiteY29" fmla="*/ 28713 h 238849"/>
                <a:gd name="connsiteX30" fmla="*/ 105535 w 303525"/>
                <a:gd name="connsiteY30" fmla="*/ 17114 h 238849"/>
                <a:gd name="connsiteX31" fmla="*/ 102493 w 303525"/>
                <a:gd name="connsiteY31" fmla="*/ 12550 h 238849"/>
                <a:gd name="connsiteX32" fmla="*/ 86520 w 303525"/>
                <a:gd name="connsiteY32" fmla="*/ 0 h 238849"/>
                <a:gd name="connsiteX33" fmla="*/ 85189 w 303525"/>
                <a:gd name="connsiteY33" fmla="*/ 1331 h 238849"/>
                <a:gd name="connsiteX34" fmla="*/ 81576 w 303525"/>
                <a:gd name="connsiteY34" fmla="*/ 4754 h 238849"/>
                <a:gd name="connsiteX35" fmla="*/ 74540 w 303525"/>
                <a:gd name="connsiteY35" fmla="*/ 17494 h 238849"/>
                <a:gd name="connsiteX36" fmla="*/ 69596 w 303525"/>
                <a:gd name="connsiteY36" fmla="*/ 28333 h 238849"/>
                <a:gd name="connsiteX37" fmla="*/ 49440 w 303525"/>
                <a:gd name="connsiteY37" fmla="*/ 45827 h 238849"/>
                <a:gd name="connsiteX38" fmla="*/ 34608 w 303525"/>
                <a:gd name="connsiteY38" fmla="*/ 56856 h 238849"/>
                <a:gd name="connsiteX39" fmla="*/ 27572 w 303525"/>
                <a:gd name="connsiteY39" fmla="*/ 66934 h 238849"/>
                <a:gd name="connsiteX40" fmla="*/ 15783 w 303525"/>
                <a:gd name="connsiteY40" fmla="*/ 82717 h 238849"/>
                <a:gd name="connsiteX41" fmla="*/ 0 w 303525"/>
                <a:gd name="connsiteY41" fmla="*/ 90513 h 238849"/>
                <a:gd name="connsiteX42" fmla="*/ 7036 w 303525"/>
                <a:gd name="connsiteY42" fmla="*/ 98690 h 238849"/>
                <a:gd name="connsiteX43" fmla="*/ 11219 w 303525"/>
                <a:gd name="connsiteY43" fmla="*/ 103634 h 238849"/>
                <a:gd name="connsiteX44" fmla="*/ 39742 w 303525"/>
                <a:gd name="connsiteY44" fmla="*/ 116945 h 238849"/>
                <a:gd name="connsiteX45" fmla="*/ 48870 w 303525"/>
                <a:gd name="connsiteY45" fmla="*/ 116945 h 238849"/>
                <a:gd name="connsiteX46" fmla="*/ 66554 w 303525"/>
                <a:gd name="connsiteY46" fmla="*/ 118085 h 238849"/>
                <a:gd name="connsiteX47" fmla="*/ 87661 w 303525"/>
                <a:gd name="connsiteY47" fmla="*/ 147559 h 238849"/>
                <a:gd name="connsiteX48" fmla="*/ 87661 w 303525"/>
                <a:gd name="connsiteY48" fmla="*/ 151933 h 238849"/>
                <a:gd name="connsiteX49" fmla="*/ 87661 w 303525"/>
                <a:gd name="connsiteY49" fmla="*/ 158588 h 238849"/>
                <a:gd name="connsiteX50" fmla="*/ 91274 w 303525"/>
                <a:gd name="connsiteY50" fmla="*/ 167335 h 238849"/>
                <a:gd name="connsiteX51" fmla="*/ 103824 w 303525"/>
                <a:gd name="connsiteY51" fmla="*/ 191104 h 238849"/>
                <a:gd name="connsiteX52" fmla="*/ 113522 w 303525"/>
                <a:gd name="connsiteY52" fmla="*/ 200422 h 238849"/>
                <a:gd name="connsiteX53" fmla="*/ 119797 w 303525"/>
                <a:gd name="connsiteY53" fmla="*/ 195098 h 238849"/>
                <a:gd name="connsiteX54" fmla="*/ 127213 w 303525"/>
                <a:gd name="connsiteY54" fmla="*/ 188252 h 238849"/>
                <a:gd name="connsiteX55" fmla="*/ 143186 w 303525"/>
                <a:gd name="connsiteY55" fmla="*/ 185970 h 238849"/>
                <a:gd name="connsiteX56" fmla="*/ 147749 w 303525"/>
                <a:gd name="connsiteY56" fmla="*/ 185970 h 238849"/>
                <a:gd name="connsiteX57" fmla="*/ 166765 w 303525"/>
                <a:gd name="connsiteY57" fmla="*/ 195478 h 238849"/>
                <a:gd name="connsiteX58" fmla="*/ 174371 w 303525"/>
                <a:gd name="connsiteY58" fmla="*/ 212021 h 238849"/>
                <a:gd name="connsiteX59" fmla="*/ 174371 w 303525"/>
                <a:gd name="connsiteY59" fmla="*/ 214303 h 238849"/>
                <a:gd name="connsiteX60" fmla="*/ 176843 w 303525"/>
                <a:gd name="connsiteY60" fmla="*/ 220769 h 238849"/>
                <a:gd name="connsiteX61" fmla="*/ 187111 w 303525"/>
                <a:gd name="connsiteY61" fmla="*/ 225713 h 238849"/>
                <a:gd name="connsiteX62" fmla="*/ 198330 w 303525"/>
                <a:gd name="connsiteY62" fmla="*/ 228755 h 238849"/>
                <a:gd name="connsiteX63" fmla="*/ 210500 w 303525"/>
                <a:gd name="connsiteY63" fmla="*/ 228755 h 238849"/>
                <a:gd name="connsiteX64" fmla="*/ 211451 w 303525"/>
                <a:gd name="connsiteY64" fmla="*/ 228755 h 238849"/>
                <a:gd name="connsiteX65" fmla="*/ 211451 w 303525"/>
                <a:gd name="connsiteY65" fmla="*/ 228755 h 238849"/>
                <a:gd name="connsiteX66" fmla="*/ 213923 w 303525"/>
                <a:gd name="connsiteY66" fmla="*/ 226093 h 238849"/>
                <a:gd name="connsiteX67" fmla="*/ 220388 w 303525"/>
                <a:gd name="connsiteY67" fmla="*/ 222860 h 238849"/>
                <a:gd name="connsiteX68" fmla="*/ 231037 w 303525"/>
                <a:gd name="connsiteY68" fmla="*/ 222860 h 238849"/>
                <a:gd name="connsiteX69" fmla="*/ 242446 w 303525"/>
                <a:gd name="connsiteY69" fmla="*/ 225713 h 238849"/>
                <a:gd name="connsiteX70" fmla="*/ 249482 w 303525"/>
                <a:gd name="connsiteY70" fmla="*/ 231037 h 238849"/>
                <a:gd name="connsiteX71" fmla="*/ 251954 w 303525"/>
                <a:gd name="connsiteY71" fmla="*/ 232938 h 238849"/>
                <a:gd name="connsiteX72" fmla="*/ 275343 w 303525"/>
                <a:gd name="connsiteY72" fmla="*/ 238072 h 238849"/>
                <a:gd name="connsiteX73" fmla="*/ 280667 w 303525"/>
                <a:gd name="connsiteY73" fmla="*/ 234840 h 238849"/>
                <a:gd name="connsiteX74" fmla="*/ 280667 w 303525"/>
                <a:gd name="connsiteY74" fmla="*/ 229135 h 238849"/>
                <a:gd name="connsiteX75" fmla="*/ 280667 w 303525"/>
                <a:gd name="connsiteY75" fmla="*/ 226663 h 238849"/>
                <a:gd name="connsiteX76" fmla="*/ 286752 w 303525"/>
                <a:gd name="connsiteY76" fmla="*/ 198520 h 238849"/>
                <a:gd name="connsiteX77" fmla="*/ 289034 w 303525"/>
                <a:gd name="connsiteY77" fmla="*/ 196049 h 238849"/>
                <a:gd name="connsiteX78" fmla="*/ 289034 w 303525"/>
                <a:gd name="connsiteY78" fmla="*/ 196049 h 238849"/>
                <a:gd name="connsiteX79" fmla="*/ 291886 w 303525"/>
                <a:gd name="connsiteY79" fmla="*/ 191485 h 238849"/>
                <a:gd name="connsiteX80" fmla="*/ 291886 w 303525"/>
                <a:gd name="connsiteY80" fmla="*/ 186541 h 238849"/>
                <a:gd name="connsiteX81" fmla="*/ 291886 w 303525"/>
                <a:gd name="connsiteY81" fmla="*/ 185400 h 238849"/>
                <a:gd name="connsiteX82" fmla="*/ 291886 w 303525"/>
                <a:gd name="connsiteY82" fmla="*/ 180836 h 238849"/>
                <a:gd name="connsiteX83" fmla="*/ 298541 w 303525"/>
                <a:gd name="connsiteY83" fmla="*/ 164103 h 238849"/>
                <a:gd name="connsiteX84" fmla="*/ 303486 w 303525"/>
                <a:gd name="connsiteY84" fmla="*/ 149651 h 238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303525" h="238849">
                  <a:moveTo>
                    <a:pt x="303486" y="149651"/>
                  </a:moveTo>
                  <a:lnTo>
                    <a:pt x="303486" y="149651"/>
                  </a:lnTo>
                  <a:cubicBezTo>
                    <a:pt x="302335" y="146247"/>
                    <a:pt x="299962" y="143414"/>
                    <a:pt x="296830" y="141665"/>
                  </a:cubicBezTo>
                  <a:lnTo>
                    <a:pt x="290935" y="138052"/>
                  </a:lnTo>
                  <a:cubicBezTo>
                    <a:pt x="279906" y="131586"/>
                    <a:pt x="274772" y="124170"/>
                    <a:pt x="275723" y="115804"/>
                  </a:cubicBezTo>
                  <a:lnTo>
                    <a:pt x="275723" y="114282"/>
                  </a:lnTo>
                  <a:cubicBezTo>
                    <a:pt x="275782" y="113579"/>
                    <a:pt x="275782" y="112894"/>
                    <a:pt x="275723" y="112191"/>
                  </a:cubicBezTo>
                  <a:cubicBezTo>
                    <a:pt x="274202" y="112191"/>
                    <a:pt x="271349" y="110099"/>
                    <a:pt x="264314" y="116945"/>
                  </a:cubicBezTo>
                  <a:lnTo>
                    <a:pt x="261271" y="119987"/>
                  </a:lnTo>
                  <a:cubicBezTo>
                    <a:pt x="257350" y="125026"/>
                    <a:pt x="252074" y="128867"/>
                    <a:pt x="246059" y="131016"/>
                  </a:cubicBezTo>
                  <a:cubicBezTo>
                    <a:pt x="241609" y="131967"/>
                    <a:pt x="237008" y="131967"/>
                    <a:pt x="232558" y="131016"/>
                  </a:cubicBezTo>
                  <a:cubicBezTo>
                    <a:pt x="229042" y="129837"/>
                    <a:pt x="225235" y="129837"/>
                    <a:pt x="221719" y="131016"/>
                  </a:cubicBezTo>
                  <a:cubicBezTo>
                    <a:pt x="219658" y="132594"/>
                    <a:pt x="217971" y="134610"/>
                    <a:pt x="216775" y="136911"/>
                  </a:cubicBezTo>
                  <a:cubicBezTo>
                    <a:pt x="214533" y="140942"/>
                    <a:pt x="211249" y="144289"/>
                    <a:pt x="207268" y="146608"/>
                  </a:cubicBezTo>
                  <a:cubicBezTo>
                    <a:pt x="198363" y="149347"/>
                    <a:pt x="188676" y="147331"/>
                    <a:pt x="181597" y="141284"/>
                  </a:cubicBezTo>
                  <a:cubicBezTo>
                    <a:pt x="178313" y="139497"/>
                    <a:pt x="175558" y="136873"/>
                    <a:pt x="173610" y="133678"/>
                  </a:cubicBezTo>
                  <a:cubicBezTo>
                    <a:pt x="172783" y="132024"/>
                    <a:pt x="172085" y="130312"/>
                    <a:pt x="171519" y="128544"/>
                  </a:cubicBezTo>
                  <a:cubicBezTo>
                    <a:pt x="171601" y="127783"/>
                    <a:pt x="171601" y="127023"/>
                    <a:pt x="171519" y="126262"/>
                  </a:cubicBezTo>
                  <a:cubicBezTo>
                    <a:pt x="170579" y="124170"/>
                    <a:pt x="169220" y="122288"/>
                    <a:pt x="167525" y="120748"/>
                  </a:cubicBezTo>
                  <a:lnTo>
                    <a:pt x="163913" y="116374"/>
                  </a:lnTo>
                  <a:cubicBezTo>
                    <a:pt x="159902" y="109738"/>
                    <a:pt x="157554" y="102246"/>
                    <a:pt x="157067" y="94506"/>
                  </a:cubicBezTo>
                  <a:lnTo>
                    <a:pt x="157067" y="92985"/>
                  </a:lnTo>
                  <a:cubicBezTo>
                    <a:pt x="155342" y="81671"/>
                    <a:pt x="152865" y="70490"/>
                    <a:pt x="149651" y="59518"/>
                  </a:cubicBezTo>
                  <a:cubicBezTo>
                    <a:pt x="149092" y="55905"/>
                    <a:pt x="147191" y="52654"/>
                    <a:pt x="144327" y="50391"/>
                  </a:cubicBezTo>
                  <a:lnTo>
                    <a:pt x="142805" y="50391"/>
                  </a:lnTo>
                  <a:cubicBezTo>
                    <a:pt x="141195" y="49820"/>
                    <a:pt x="139660" y="49060"/>
                    <a:pt x="138242" y="48109"/>
                  </a:cubicBezTo>
                  <a:cubicBezTo>
                    <a:pt x="135701" y="46036"/>
                    <a:pt x="133735" y="43355"/>
                    <a:pt x="132537" y="40313"/>
                  </a:cubicBezTo>
                  <a:cubicBezTo>
                    <a:pt x="132225" y="39210"/>
                    <a:pt x="131710" y="38183"/>
                    <a:pt x="131016" y="37270"/>
                  </a:cubicBezTo>
                  <a:cubicBezTo>
                    <a:pt x="128962" y="35197"/>
                    <a:pt x="126407" y="33695"/>
                    <a:pt x="123600" y="32897"/>
                  </a:cubicBezTo>
                  <a:cubicBezTo>
                    <a:pt x="120668" y="31813"/>
                    <a:pt x="117861" y="30406"/>
                    <a:pt x="115233" y="28713"/>
                  </a:cubicBezTo>
                  <a:cubicBezTo>
                    <a:pt x="111286" y="25499"/>
                    <a:pt x="107992" y="21563"/>
                    <a:pt x="105535" y="17114"/>
                  </a:cubicBezTo>
                  <a:lnTo>
                    <a:pt x="102493" y="12550"/>
                  </a:lnTo>
                  <a:cubicBezTo>
                    <a:pt x="98327" y="7074"/>
                    <a:pt x="92827" y="2757"/>
                    <a:pt x="86520" y="0"/>
                  </a:cubicBezTo>
                  <a:lnTo>
                    <a:pt x="85189" y="1331"/>
                  </a:lnTo>
                  <a:lnTo>
                    <a:pt x="81576" y="4754"/>
                  </a:lnTo>
                  <a:cubicBezTo>
                    <a:pt x="78258" y="8386"/>
                    <a:pt x="75849" y="12759"/>
                    <a:pt x="74540" y="17494"/>
                  </a:cubicBezTo>
                  <a:cubicBezTo>
                    <a:pt x="73262" y="21259"/>
                    <a:pt x="71606" y="24891"/>
                    <a:pt x="69596" y="28333"/>
                  </a:cubicBezTo>
                  <a:cubicBezTo>
                    <a:pt x="64565" y="35863"/>
                    <a:pt x="57603" y="41910"/>
                    <a:pt x="49440" y="45827"/>
                  </a:cubicBezTo>
                  <a:cubicBezTo>
                    <a:pt x="43836" y="48527"/>
                    <a:pt x="38803" y="52273"/>
                    <a:pt x="34608" y="56856"/>
                  </a:cubicBezTo>
                  <a:cubicBezTo>
                    <a:pt x="32136" y="60088"/>
                    <a:pt x="29854" y="63511"/>
                    <a:pt x="27572" y="66934"/>
                  </a:cubicBezTo>
                  <a:cubicBezTo>
                    <a:pt x="24248" y="72620"/>
                    <a:pt x="20295" y="77925"/>
                    <a:pt x="15783" y="82717"/>
                  </a:cubicBezTo>
                  <a:cubicBezTo>
                    <a:pt x="11679" y="87185"/>
                    <a:pt x="6049" y="89981"/>
                    <a:pt x="0" y="90513"/>
                  </a:cubicBezTo>
                  <a:lnTo>
                    <a:pt x="7036" y="98690"/>
                  </a:lnTo>
                  <a:lnTo>
                    <a:pt x="11219" y="103634"/>
                  </a:lnTo>
                  <a:cubicBezTo>
                    <a:pt x="18357" y="111981"/>
                    <a:pt x="28759" y="116830"/>
                    <a:pt x="39742" y="116945"/>
                  </a:cubicBezTo>
                  <a:cubicBezTo>
                    <a:pt x="42781" y="117135"/>
                    <a:pt x="45831" y="117135"/>
                    <a:pt x="48870" y="116945"/>
                  </a:cubicBezTo>
                  <a:cubicBezTo>
                    <a:pt x="54783" y="116184"/>
                    <a:pt x="60787" y="116583"/>
                    <a:pt x="66554" y="118085"/>
                  </a:cubicBezTo>
                  <a:cubicBezTo>
                    <a:pt x="78613" y="123106"/>
                    <a:pt x="86788" y="134534"/>
                    <a:pt x="87661" y="147559"/>
                  </a:cubicBezTo>
                  <a:cubicBezTo>
                    <a:pt x="87661" y="149081"/>
                    <a:pt x="87661" y="150411"/>
                    <a:pt x="87661" y="151933"/>
                  </a:cubicBezTo>
                  <a:cubicBezTo>
                    <a:pt x="87381" y="154138"/>
                    <a:pt x="87381" y="156383"/>
                    <a:pt x="87661" y="158588"/>
                  </a:cubicBezTo>
                  <a:cubicBezTo>
                    <a:pt x="88452" y="161650"/>
                    <a:pt x="89669" y="164597"/>
                    <a:pt x="91274" y="167335"/>
                  </a:cubicBezTo>
                  <a:lnTo>
                    <a:pt x="103824" y="191104"/>
                  </a:lnTo>
                  <a:cubicBezTo>
                    <a:pt x="106486" y="196049"/>
                    <a:pt x="110479" y="201183"/>
                    <a:pt x="113522" y="200422"/>
                  </a:cubicBezTo>
                  <a:cubicBezTo>
                    <a:pt x="116058" y="199243"/>
                    <a:pt x="118226" y="197418"/>
                    <a:pt x="119797" y="195098"/>
                  </a:cubicBezTo>
                  <a:cubicBezTo>
                    <a:pt x="121944" y="192493"/>
                    <a:pt x="124439" y="190192"/>
                    <a:pt x="127213" y="188252"/>
                  </a:cubicBezTo>
                  <a:cubicBezTo>
                    <a:pt x="132104" y="185628"/>
                    <a:pt x="137759" y="184830"/>
                    <a:pt x="143186" y="185970"/>
                  </a:cubicBezTo>
                  <a:lnTo>
                    <a:pt x="147749" y="185970"/>
                  </a:lnTo>
                  <a:cubicBezTo>
                    <a:pt x="155354" y="185400"/>
                    <a:pt x="162658" y="189051"/>
                    <a:pt x="166765" y="195478"/>
                  </a:cubicBezTo>
                  <a:cubicBezTo>
                    <a:pt x="170136" y="200574"/>
                    <a:pt x="172702" y="206146"/>
                    <a:pt x="174371" y="212021"/>
                  </a:cubicBezTo>
                  <a:lnTo>
                    <a:pt x="174371" y="214303"/>
                  </a:lnTo>
                  <a:cubicBezTo>
                    <a:pt x="174864" y="216566"/>
                    <a:pt x="175698" y="218753"/>
                    <a:pt x="176843" y="220769"/>
                  </a:cubicBezTo>
                  <a:cubicBezTo>
                    <a:pt x="179680" y="223431"/>
                    <a:pt x="183264" y="225161"/>
                    <a:pt x="187111" y="225713"/>
                  </a:cubicBezTo>
                  <a:lnTo>
                    <a:pt x="198330" y="228755"/>
                  </a:lnTo>
                  <a:cubicBezTo>
                    <a:pt x="203084" y="229896"/>
                    <a:pt x="208028" y="231037"/>
                    <a:pt x="210500" y="228755"/>
                  </a:cubicBezTo>
                  <a:cubicBezTo>
                    <a:pt x="210814" y="228831"/>
                    <a:pt x="211137" y="228831"/>
                    <a:pt x="211451" y="228755"/>
                  </a:cubicBezTo>
                  <a:lnTo>
                    <a:pt x="211451" y="228755"/>
                  </a:lnTo>
                  <a:cubicBezTo>
                    <a:pt x="212174" y="227785"/>
                    <a:pt x="213003" y="226891"/>
                    <a:pt x="213923" y="226093"/>
                  </a:cubicBezTo>
                  <a:cubicBezTo>
                    <a:pt x="215802" y="224534"/>
                    <a:pt x="218015" y="223431"/>
                    <a:pt x="220388" y="222860"/>
                  </a:cubicBezTo>
                  <a:cubicBezTo>
                    <a:pt x="223898" y="222119"/>
                    <a:pt x="227527" y="222119"/>
                    <a:pt x="231037" y="222860"/>
                  </a:cubicBezTo>
                  <a:cubicBezTo>
                    <a:pt x="234975" y="223146"/>
                    <a:pt x="238833" y="224115"/>
                    <a:pt x="242446" y="225713"/>
                  </a:cubicBezTo>
                  <a:cubicBezTo>
                    <a:pt x="244979" y="227215"/>
                    <a:pt x="247339" y="229002"/>
                    <a:pt x="249482" y="231037"/>
                  </a:cubicBezTo>
                  <a:lnTo>
                    <a:pt x="251954" y="232938"/>
                  </a:lnTo>
                  <a:cubicBezTo>
                    <a:pt x="258537" y="238168"/>
                    <a:pt x="267172" y="240069"/>
                    <a:pt x="275343" y="238072"/>
                  </a:cubicBezTo>
                  <a:cubicBezTo>
                    <a:pt x="277490" y="237787"/>
                    <a:pt x="279418" y="236608"/>
                    <a:pt x="280667" y="234840"/>
                  </a:cubicBezTo>
                  <a:cubicBezTo>
                    <a:pt x="281150" y="232976"/>
                    <a:pt x="281150" y="230999"/>
                    <a:pt x="280667" y="229135"/>
                  </a:cubicBezTo>
                  <a:lnTo>
                    <a:pt x="280667" y="226663"/>
                  </a:lnTo>
                  <a:cubicBezTo>
                    <a:pt x="278294" y="216851"/>
                    <a:pt x="280534" y="206488"/>
                    <a:pt x="286752" y="198520"/>
                  </a:cubicBezTo>
                  <a:lnTo>
                    <a:pt x="289034" y="196049"/>
                  </a:lnTo>
                  <a:lnTo>
                    <a:pt x="289034" y="196049"/>
                  </a:lnTo>
                  <a:cubicBezTo>
                    <a:pt x="290277" y="194737"/>
                    <a:pt x="291247" y="193177"/>
                    <a:pt x="291886" y="191485"/>
                  </a:cubicBezTo>
                  <a:cubicBezTo>
                    <a:pt x="292253" y="189849"/>
                    <a:pt x="292253" y="188176"/>
                    <a:pt x="291886" y="186541"/>
                  </a:cubicBezTo>
                  <a:lnTo>
                    <a:pt x="291886" y="185400"/>
                  </a:lnTo>
                  <a:cubicBezTo>
                    <a:pt x="291704" y="183879"/>
                    <a:pt x="291704" y="182357"/>
                    <a:pt x="291886" y="180836"/>
                  </a:cubicBezTo>
                  <a:cubicBezTo>
                    <a:pt x="292534" y="174751"/>
                    <a:pt x="294835" y="168971"/>
                    <a:pt x="298541" y="164103"/>
                  </a:cubicBezTo>
                  <a:cubicBezTo>
                    <a:pt x="302040" y="160128"/>
                    <a:pt x="303818" y="154937"/>
                    <a:pt x="303486" y="149651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98" name="Полилиния: фигура 497">
              <a:extLst>
                <a:ext uri="{FF2B5EF4-FFF2-40B4-BE49-F238E27FC236}">
                  <a16:creationId xmlns:a16="http://schemas.microsoft.com/office/drawing/2014/main" id="{599B609D-F687-B147-019D-894BE637D79C}"/>
                </a:ext>
              </a:extLst>
            </p:cNvPr>
            <p:cNvSpPr/>
            <p:nvPr/>
          </p:nvSpPr>
          <p:spPr>
            <a:xfrm>
              <a:off x="4220605" y="4317303"/>
              <a:ext cx="482669" cy="447247"/>
            </a:xfrm>
            <a:custGeom>
              <a:avLst/>
              <a:gdLst>
                <a:gd name="connsiteX0" fmla="*/ 519881 w 531006"/>
                <a:gd name="connsiteY0" fmla="*/ 366997 h 490599"/>
                <a:gd name="connsiteX1" fmla="*/ 507711 w 531006"/>
                <a:gd name="connsiteY1" fmla="*/ 353116 h 490599"/>
                <a:gd name="connsiteX2" fmla="*/ 506570 w 531006"/>
                <a:gd name="connsiteY2" fmla="*/ 341136 h 490599"/>
                <a:gd name="connsiteX3" fmla="*/ 506570 w 531006"/>
                <a:gd name="connsiteY3" fmla="*/ 334671 h 490599"/>
                <a:gd name="connsiteX4" fmla="*/ 500485 w 531006"/>
                <a:gd name="connsiteY4" fmla="*/ 323832 h 490599"/>
                <a:gd name="connsiteX5" fmla="*/ 496492 w 531006"/>
                <a:gd name="connsiteY5" fmla="*/ 318128 h 490599"/>
                <a:gd name="connsiteX6" fmla="*/ 487935 w 531006"/>
                <a:gd name="connsiteY6" fmla="*/ 294929 h 490599"/>
                <a:gd name="connsiteX7" fmla="*/ 481850 w 531006"/>
                <a:gd name="connsiteY7" fmla="*/ 278195 h 490599"/>
                <a:gd name="connsiteX8" fmla="*/ 470821 w 531006"/>
                <a:gd name="connsiteY8" fmla="*/ 266406 h 490599"/>
                <a:gd name="connsiteX9" fmla="*/ 457510 w 531006"/>
                <a:gd name="connsiteY9" fmla="*/ 251764 h 490599"/>
                <a:gd name="connsiteX10" fmla="*/ 455228 w 531006"/>
                <a:gd name="connsiteY10" fmla="*/ 240735 h 490599"/>
                <a:gd name="connsiteX11" fmla="*/ 455228 w 531006"/>
                <a:gd name="connsiteY11" fmla="*/ 235601 h 490599"/>
                <a:gd name="connsiteX12" fmla="*/ 448193 w 531006"/>
                <a:gd name="connsiteY12" fmla="*/ 222290 h 490599"/>
                <a:gd name="connsiteX13" fmla="*/ 446481 w 531006"/>
                <a:gd name="connsiteY13" fmla="*/ 220008 h 490599"/>
                <a:gd name="connsiteX14" fmla="*/ 441727 w 531006"/>
                <a:gd name="connsiteY14" fmla="*/ 210881 h 490599"/>
                <a:gd name="connsiteX15" fmla="*/ 440396 w 531006"/>
                <a:gd name="connsiteY15" fmla="*/ 206887 h 490599"/>
                <a:gd name="connsiteX16" fmla="*/ 437354 w 531006"/>
                <a:gd name="connsiteY16" fmla="*/ 199662 h 490599"/>
                <a:gd name="connsiteX17" fmla="*/ 431649 w 531006"/>
                <a:gd name="connsiteY17" fmla="*/ 193767 h 490599"/>
                <a:gd name="connsiteX18" fmla="*/ 414345 w 531006"/>
                <a:gd name="connsiteY18" fmla="*/ 193767 h 490599"/>
                <a:gd name="connsiteX19" fmla="*/ 398372 w 531006"/>
                <a:gd name="connsiteY19" fmla="*/ 193767 h 490599"/>
                <a:gd name="connsiteX20" fmla="*/ 352926 w 531006"/>
                <a:gd name="connsiteY20" fmla="*/ 164103 h 490599"/>
                <a:gd name="connsiteX21" fmla="*/ 345319 w 531006"/>
                <a:gd name="connsiteY21" fmla="*/ 153264 h 490599"/>
                <a:gd name="connsiteX22" fmla="*/ 342657 w 531006"/>
                <a:gd name="connsiteY22" fmla="*/ 149271 h 490599"/>
                <a:gd name="connsiteX23" fmla="*/ 337143 w 531006"/>
                <a:gd name="connsiteY23" fmla="*/ 141284 h 490599"/>
                <a:gd name="connsiteX24" fmla="*/ 311852 w 531006"/>
                <a:gd name="connsiteY24" fmla="*/ 120367 h 490599"/>
                <a:gd name="connsiteX25" fmla="*/ 295879 w 531006"/>
                <a:gd name="connsiteY25" fmla="*/ 122840 h 490599"/>
                <a:gd name="connsiteX26" fmla="*/ 276864 w 531006"/>
                <a:gd name="connsiteY26" fmla="*/ 126072 h 490599"/>
                <a:gd name="connsiteX27" fmla="*/ 257849 w 531006"/>
                <a:gd name="connsiteY27" fmla="*/ 116754 h 490599"/>
                <a:gd name="connsiteX28" fmla="*/ 246249 w 531006"/>
                <a:gd name="connsiteY28" fmla="*/ 109909 h 490599"/>
                <a:gd name="connsiteX29" fmla="*/ 235981 w 531006"/>
                <a:gd name="connsiteY29" fmla="*/ 107627 h 490599"/>
                <a:gd name="connsiteX30" fmla="*/ 212592 w 531006"/>
                <a:gd name="connsiteY30" fmla="*/ 99260 h 490599"/>
                <a:gd name="connsiteX31" fmla="*/ 201943 w 531006"/>
                <a:gd name="connsiteY31" fmla="*/ 81766 h 490599"/>
                <a:gd name="connsiteX32" fmla="*/ 194908 w 531006"/>
                <a:gd name="connsiteY32" fmla="*/ 69026 h 490599"/>
                <a:gd name="connsiteX33" fmla="*/ 170568 w 531006"/>
                <a:gd name="connsiteY33" fmla="*/ 62180 h 490599"/>
                <a:gd name="connsiteX34" fmla="*/ 162772 w 531006"/>
                <a:gd name="connsiteY34" fmla="*/ 62180 h 490599"/>
                <a:gd name="connsiteX35" fmla="*/ 138812 w 531006"/>
                <a:gd name="connsiteY35" fmla="*/ 45827 h 490599"/>
                <a:gd name="connsiteX36" fmla="*/ 134819 w 531006"/>
                <a:gd name="connsiteY36" fmla="*/ 38982 h 490599"/>
                <a:gd name="connsiteX37" fmla="*/ 123790 w 531006"/>
                <a:gd name="connsiteY37" fmla="*/ 30044 h 490599"/>
                <a:gd name="connsiteX38" fmla="*/ 111050 w 531006"/>
                <a:gd name="connsiteY38" fmla="*/ 19586 h 490599"/>
                <a:gd name="connsiteX39" fmla="*/ 107817 w 531006"/>
                <a:gd name="connsiteY39" fmla="*/ 10649 h 490599"/>
                <a:gd name="connsiteX40" fmla="*/ 105916 w 531006"/>
                <a:gd name="connsiteY40" fmla="*/ 5324 h 490599"/>
                <a:gd name="connsiteX41" fmla="*/ 103063 w 531006"/>
                <a:gd name="connsiteY41" fmla="*/ 4183 h 490599"/>
                <a:gd name="connsiteX42" fmla="*/ 96408 w 531006"/>
                <a:gd name="connsiteY42" fmla="*/ 2662 h 490599"/>
                <a:gd name="connsiteX43" fmla="*/ 92034 w 531006"/>
                <a:gd name="connsiteY43" fmla="*/ 0 h 490599"/>
                <a:gd name="connsiteX44" fmla="*/ 89182 w 531006"/>
                <a:gd name="connsiteY44" fmla="*/ 2092 h 490599"/>
                <a:gd name="connsiteX45" fmla="*/ 68455 w 531006"/>
                <a:gd name="connsiteY45" fmla="*/ 11219 h 490599"/>
                <a:gd name="connsiteX46" fmla="*/ 47348 w 531006"/>
                <a:gd name="connsiteY46" fmla="*/ 22058 h 490599"/>
                <a:gd name="connsiteX47" fmla="*/ 28333 w 531006"/>
                <a:gd name="connsiteY47" fmla="*/ 35939 h 490599"/>
                <a:gd name="connsiteX48" fmla="*/ 26051 w 531006"/>
                <a:gd name="connsiteY48" fmla="*/ 36890 h 490599"/>
                <a:gd name="connsiteX49" fmla="*/ 19776 w 531006"/>
                <a:gd name="connsiteY49" fmla="*/ 40693 h 490599"/>
                <a:gd name="connsiteX50" fmla="*/ 10839 w 531006"/>
                <a:gd name="connsiteY50" fmla="*/ 45827 h 490599"/>
                <a:gd name="connsiteX51" fmla="*/ 10839 w 531006"/>
                <a:gd name="connsiteY51" fmla="*/ 45827 h 490599"/>
                <a:gd name="connsiteX52" fmla="*/ 10839 w 531006"/>
                <a:gd name="connsiteY52" fmla="*/ 53814 h 490599"/>
                <a:gd name="connsiteX53" fmla="*/ 4564 w 531006"/>
                <a:gd name="connsiteY53" fmla="*/ 91844 h 490599"/>
                <a:gd name="connsiteX54" fmla="*/ 0 w 531006"/>
                <a:gd name="connsiteY54" fmla="*/ 97929 h 490599"/>
                <a:gd name="connsiteX55" fmla="*/ 0 w 531006"/>
                <a:gd name="connsiteY55" fmla="*/ 97929 h 490599"/>
                <a:gd name="connsiteX56" fmla="*/ 7416 w 531006"/>
                <a:gd name="connsiteY56" fmla="*/ 116945 h 490599"/>
                <a:gd name="connsiteX57" fmla="*/ 10649 w 531006"/>
                <a:gd name="connsiteY57" fmla="*/ 128354 h 490599"/>
                <a:gd name="connsiteX58" fmla="*/ 29664 w 531006"/>
                <a:gd name="connsiteY58" fmla="*/ 144137 h 490599"/>
                <a:gd name="connsiteX59" fmla="*/ 57236 w 531006"/>
                <a:gd name="connsiteY59" fmla="*/ 155926 h 490599"/>
                <a:gd name="connsiteX60" fmla="*/ 64082 w 531006"/>
                <a:gd name="connsiteY60" fmla="*/ 160300 h 490599"/>
                <a:gd name="connsiteX61" fmla="*/ 76442 w 531006"/>
                <a:gd name="connsiteY61" fmla="*/ 164103 h 490599"/>
                <a:gd name="connsiteX62" fmla="*/ 86140 w 531006"/>
                <a:gd name="connsiteY62" fmla="*/ 166575 h 490599"/>
                <a:gd name="connsiteX63" fmla="*/ 107437 w 531006"/>
                <a:gd name="connsiteY63" fmla="*/ 188633 h 490599"/>
                <a:gd name="connsiteX64" fmla="*/ 114473 w 531006"/>
                <a:gd name="connsiteY64" fmla="*/ 198901 h 490599"/>
                <a:gd name="connsiteX65" fmla="*/ 122269 w 531006"/>
                <a:gd name="connsiteY65" fmla="*/ 248151 h 490599"/>
                <a:gd name="connsiteX66" fmla="*/ 114473 w 531006"/>
                <a:gd name="connsiteY66" fmla="*/ 258799 h 490599"/>
                <a:gd name="connsiteX67" fmla="*/ 107057 w 531006"/>
                <a:gd name="connsiteY67" fmla="*/ 274963 h 490599"/>
                <a:gd name="connsiteX68" fmla="*/ 115804 w 531006"/>
                <a:gd name="connsiteY68" fmla="*/ 286942 h 490599"/>
                <a:gd name="connsiteX69" fmla="*/ 123029 w 531006"/>
                <a:gd name="connsiteY69" fmla="*/ 283519 h 490599"/>
                <a:gd name="connsiteX70" fmla="*/ 136530 w 531006"/>
                <a:gd name="connsiteY70" fmla="*/ 277244 h 490599"/>
                <a:gd name="connsiteX71" fmla="*/ 148890 w 531006"/>
                <a:gd name="connsiteY71" fmla="*/ 282379 h 490599"/>
                <a:gd name="connsiteX72" fmla="*/ 152123 w 531006"/>
                <a:gd name="connsiteY72" fmla="*/ 306528 h 490599"/>
                <a:gd name="connsiteX73" fmla="*/ 152123 w 531006"/>
                <a:gd name="connsiteY73" fmla="*/ 318128 h 490599"/>
                <a:gd name="connsiteX74" fmla="*/ 164863 w 531006"/>
                <a:gd name="connsiteY74" fmla="*/ 329537 h 490599"/>
                <a:gd name="connsiteX75" fmla="*/ 171139 w 531006"/>
                <a:gd name="connsiteY75" fmla="*/ 327445 h 490599"/>
                <a:gd name="connsiteX76" fmla="*/ 181407 w 531006"/>
                <a:gd name="connsiteY76" fmla="*/ 323642 h 490599"/>
                <a:gd name="connsiteX77" fmla="*/ 196239 w 531006"/>
                <a:gd name="connsiteY77" fmla="*/ 327635 h 490599"/>
                <a:gd name="connsiteX78" fmla="*/ 203274 w 531006"/>
                <a:gd name="connsiteY78" fmla="*/ 349503 h 490599"/>
                <a:gd name="connsiteX79" fmla="*/ 205747 w 531006"/>
                <a:gd name="connsiteY79" fmla="*/ 362433 h 490599"/>
                <a:gd name="connsiteX80" fmla="*/ 206887 w 531006"/>
                <a:gd name="connsiteY80" fmla="*/ 362433 h 490599"/>
                <a:gd name="connsiteX81" fmla="*/ 212021 w 531006"/>
                <a:gd name="connsiteY81" fmla="*/ 366807 h 490599"/>
                <a:gd name="connsiteX82" fmla="*/ 215444 w 531006"/>
                <a:gd name="connsiteY82" fmla="*/ 381068 h 490599"/>
                <a:gd name="connsiteX83" fmla="*/ 215444 w 531006"/>
                <a:gd name="connsiteY83" fmla="*/ 385822 h 490599"/>
                <a:gd name="connsiteX84" fmla="*/ 215444 w 531006"/>
                <a:gd name="connsiteY84" fmla="*/ 390766 h 490599"/>
                <a:gd name="connsiteX85" fmla="*/ 230847 w 531006"/>
                <a:gd name="connsiteY85" fmla="*/ 388294 h 490599"/>
                <a:gd name="connsiteX86" fmla="*/ 249862 w 531006"/>
                <a:gd name="connsiteY86" fmla="*/ 405408 h 490599"/>
                <a:gd name="connsiteX87" fmla="*/ 251383 w 531006"/>
                <a:gd name="connsiteY87" fmla="*/ 448383 h 490599"/>
                <a:gd name="connsiteX88" fmla="*/ 251383 w 531006"/>
                <a:gd name="connsiteY88" fmla="*/ 453897 h 490599"/>
                <a:gd name="connsiteX89" fmla="*/ 256327 w 531006"/>
                <a:gd name="connsiteY89" fmla="*/ 485463 h 490599"/>
                <a:gd name="connsiteX90" fmla="*/ 267547 w 531006"/>
                <a:gd name="connsiteY90" fmla="*/ 490597 h 490599"/>
                <a:gd name="connsiteX91" fmla="*/ 297020 w 531006"/>
                <a:gd name="connsiteY91" fmla="*/ 464166 h 490599"/>
                <a:gd name="connsiteX92" fmla="*/ 303676 w 531006"/>
                <a:gd name="connsiteY92" fmla="*/ 451806 h 490599"/>
                <a:gd name="connsiteX93" fmla="*/ 358820 w 531006"/>
                <a:gd name="connsiteY93" fmla="*/ 423092 h 490599"/>
                <a:gd name="connsiteX94" fmla="*/ 377836 w 531006"/>
                <a:gd name="connsiteY94" fmla="*/ 419099 h 490599"/>
                <a:gd name="connsiteX95" fmla="*/ 431459 w 531006"/>
                <a:gd name="connsiteY95" fmla="*/ 415296 h 490599"/>
                <a:gd name="connsiteX96" fmla="*/ 473103 w 531006"/>
                <a:gd name="connsiteY96" fmla="*/ 413775 h 490599"/>
                <a:gd name="connsiteX97" fmla="*/ 494210 w 531006"/>
                <a:gd name="connsiteY97" fmla="*/ 407119 h 490599"/>
                <a:gd name="connsiteX98" fmla="*/ 521972 w 531006"/>
                <a:gd name="connsiteY98" fmla="*/ 399133 h 490599"/>
                <a:gd name="connsiteX99" fmla="*/ 530719 w 531006"/>
                <a:gd name="connsiteY99" fmla="*/ 394760 h 490599"/>
                <a:gd name="connsiteX100" fmla="*/ 530719 w 531006"/>
                <a:gd name="connsiteY100" fmla="*/ 378596 h 490599"/>
                <a:gd name="connsiteX101" fmla="*/ 519881 w 531006"/>
                <a:gd name="connsiteY101" fmla="*/ 366997 h 49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531006" h="490599">
                  <a:moveTo>
                    <a:pt x="519881" y="366997"/>
                  </a:moveTo>
                  <a:cubicBezTo>
                    <a:pt x="514532" y="363688"/>
                    <a:pt x="510293" y="358859"/>
                    <a:pt x="507711" y="353116"/>
                  </a:cubicBezTo>
                  <a:cubicBezTo>
                    <a:pt x="506302" y="349294"/>
                    <a:pt x="505908" y="345167"/>
                    <a:pt x="506570" y="341136"/>
                  </a:cubicBezTo>
                  <a:cubicBezTo>
                    <a:pt x="506859" y="338987"/>
                    <a:pt x="506859" y="336819"/>
                    <a:pt x="506570" y="334671"/>
                  </a:cubicBezTo>
                  <a:cubicBezTo>
                    <a:pt x="505467" y="330621"/>
                    <a:pt x="503377" y="326894"/>
                    <a:pt x="500485" y="323832"/>
                  </a:cubicBezTo>
                  <a:cubicBezTo>
                    <a:pt x="499154" y="321931"/>
                    <a:pt x="497823" y="320219"/>
                    <a:pt x="496492" y="318128"/>
                  </a:cubicBezTo>
                  <a:cubicBezTo>
                    <a:pt x="492232" y="310997"/>
                    <a:pt x="489331" y="303124"/>
                    <a:pt x="487935" y="294929"/>
                  </a:cubicBezTo>
                  <a:cubicBezTo>
                    <a:pt x="486651" y="289110"/>
                    <a:pt x="484605" y="283481"/>
                    <a:pt x="481850" y="278195"/>
                  </a:cubicBezTo>
                  <a:cubicBezTo>
                    <a:pt x="479060" y="273517"/>
                    <a:pt x="475299" y="269505"/>
                    <a:pt x="470821" y="266406"/>
                  </a:cubicBezTo>
                  <a:cubicBezTo>
                    <a:pt x="465263" y="262679"/>
                    <a:pt x="460693" y="257659"/>
                    <a:pt x="457510" y="251764"/>
                  </a:cubicBezTo>
                  <a:cubicBezTo>
                    <a:pt x="455972" y="248284"/>
                    <a:pt x="455194" y="244538"/>
                    <a:pt x="455228" y="240735"/>
                  </a:cubicBezTo>
                  <a:cubicBezTo>
                    <a:pt x="455321" y="239024"/>
                    <a:pt x="455321" y="237312"/>
                    <a:pt x="455228" y="235601"/>
                  </a:cubicBezTo>
                  <a:cubicBezTo>
                    <a:pt x="453924" y="230695"/>
                    <a:pt x="451518" y="226131"/>
                    <a:pt x="448193" y="222290"/>
                  </a:cubicBezTo>
                  <a:lnTo>
                    <a:pt x="446481" y="220008"/>
                  </a:lnTo>
                  <a:cubicBezTo>
                    <a:pt x="444452" y="217213"/>
                    <a:pt x="442851" y="214151"/>
                    <a:pt x="441727" y="210881"/>
                  </a:cubicBezTo>
                  <a:lnTo>
                    <a:pt x="440396" y="206887"/>
                  </a:lnTo>
                  <a:cubicBezTo>
                    <a:pt x="439634" y="204377"/>
                    <a:pt x="438615" y="201962"/>
                    <a:pt x="437354" y="199662"/>
                  </a:cubicBezTo>
                  <a:cubicBezTo>
                    <a:pt x="436299" y="197019"/>
                    <a:pt x="434249" y="194908"/>
                    <a:pt x="431649" y="193767"/>
                  </a:cubicBezTo>
                  <a:cubicBezTo>
                    <a:pt x="425952" y="192493"/>
                    <a:pt x="420042" y="192493"/>
                    <a:pt x="414345" y="193767"/>
                  </a:cubicBezTo>
                  <a:cubicBezTo>
                    <a:pt x="409036" y="194337"/>
                    <a:pt x="403681" y="194337"/>
                    <a:pt x="398372" y="193767"/>
                  </a:cubicBezTo>
                  <a:cubicBezTo>
                    <a:pt x="379688" y="190801"/>
                    <a:pt x="363154" y="180019"/>
                    <a:pt x="352926" y="164103"/>
                  </a:cubicBezTo>
                  <a:cubicBezTo>
                    <a:pt x="350263" y="160680"/>
                    <a:pt x="347791" y="157067"/>
                    <a:pt x="345319" y="153264"/>
                  </a:cubicBezTo>
                  <a:lnTo>
                    <a:pt x="342657" y="149271"/>
                  </a:lnTo>
                  <a:lnTo>
                    <a:pt x="337143" y="141284"/>
                  </a:lnTo>
                  <a:cubicBezTo>
                    <a:pt x="333150" y="135580"/>
                    <a:pt x="322881" y="122269"/>
                    <a:pt x="311852" y="120367"/>
                  </a:cubicBezTo>
                  <a:cubicBezTo>
                    <a:pt x="306408" y="119930"/>
                    <a:pt x="300937" y="120786"/>
                    <a:pt x="295879" y="122840"/>
                  </a:cubicBezTo>
                  <a:cubicBezTo>
                    <a:pt x="289800" y="125102"/>
                    <a:pt x="283350" y="126205"/>
                    <a:pt x="276864" y="126072"/>
                  </a:cubicBezTo>
                  <a:cubicBezTo>
                    <a:pt x="269823" y="124665"/>
                    <a:pt x="263268" y="121470"/>
                    <a:pt x="257849" y="116754"/>
                  </a:cubicBezTo>
                  <a:cubicBezTo>
                    <a:pt x="254392" y="113845"/>
                    <a:pt x="250471" y="111525"/>
                    <a:pt x="246249" y="109909"/>
                  </a:cubicBezTo>
                  <a:cubicBezTo>
                    <a:pt x="242897" y="108863"/>
                    <a:pt x="239463" y="108102"/>
                    <a:pt x="235981" y="107627"/>
                  </a:cubicBezTo>
                  <a:cubicBezTo>
                    <a:pt x="227559" y="107057"/>
                    <a:pt x="219460" y="104167"/>
                    <a:pt x="212592" y="99260"/>
                  </a:cubicBezTo>
                  <a:cubicBezTo>
                    <a:pt x="207446" y="94564"/>
                    <a:pt x="203752" y="88498"/>
                    <a:pt x="201943" y="81766"/>
                  </a:cubicBezTo>
                  <a:cubicBezTo>
                    <a:pt x="200664" y="77012"/>
                    <a:pt x="198249" y="72639"/>
                    <a:pt x="194908" y="69026"/>
                  </a:cubicBezTo>
                  <a:cubicBezTo>
                    <a:pt x="187739" y="64196"/>
                    <a:pt x="179205" y="61800"/>
                    <a:pt x="170568" y="62180"/>
                  </a:cubicBezTo>
                  <a:cubicBezTo>
                    <a:pt x="167972" y="62370"/>
                    <a:pt x="165367" y="62370"/>
                    <a:pt x="162772" y="62180"/>
                  </a:cubicBezTo>
                  <a:cubicBezTo>
                    <a:pt x="152209" y="62085"/>
                    <a:pt x="142745" y="55639"/>
                    <a:pt x="138812" y="45827"/>
                  </a:cubicBezTo>
                  <a:cubicBezTo>
                    <a:pt x="137612" y="43469"/>
                    <a:pt x="136279" y="41187"/>
                    <a:pt x="134819" y="38982"/>
                  </a:cubicBezTo>
                  <a:cubicBezTo>
                    <a:pt x="131961" y="35121"/>
                    <a:pt x="128166" y="32041"/>
                    <a:pt x="123790" y="30044"/>
                  </a:cubicBezTo>
                  <a:cubicBezTo>
                    <a:pt x="118882" y="27458"/>
                    <a:pt x="114551" y="23902"/>
                    <a:pt x="111050" y="19586"/>
                  </a:cubicBezTo>
                  <a:cubicBezTo>
                    <a:pt x="109312" y="16886"/>
                    <a:pt x="108207" y="13824"/>
                    <a:pt x="107817" y="10649"/>
                  </a:cubicBezTo>
                  <a:cubicBezTo>
                    <a:pt x="107513" y="8766"/>
                    <a:pt x="106868" y="6960"/>
                    <a:pt x="105916" y="5324"/>
                  </a:cubicBezTo>
                  <a:cubicBezTo>
                    <a:pt x="105916" y="4374"/>
                    <a:pt x="104775" y="4374"/>
                    <a:pt x="103063" y="4183"/>
                  </a:cubicBezTo>
                  <a:cubicBezTo>
                    <a:pt x="100755" y="4221"/>
                    <a:pt x="98471" y="3708"/>
                    <a:pt x="96408" y="2662"/>
                  </a:cubicBezTo>
                  <a:lnTo>
                    <a:pt x="92034" y="0"/>
                  </a:lnTo>
                  <a:lnTo>
                    <a:pt x="89182" y="2092"/>
                  </a:lnTo>
                  <a:cubicBezTo>
                    <a:pt x="82863" y="6332"/>
                    <a:pt x="75847" y="9413"/>
                    <a:pt x="68455" y="11219"/>
                  </a:cubicBezTo>
                  <a:cubicBezTo>
                    <a:pt x="60587" y="12911"/>
                    <a:pt x="53306" y="16638"/>
                    <a:pt x="47348" y="22058"/>
                  </a:cubicBezTo>
                  <a:cubicBezTo>
                    <a:pt x="42404" y="28352"/>
                    <a:pt x="35825" y="33144"/>
                    <a:pt x="28333" y="35939"/>
                  </a:cubicBezTo>
                  <a:lnTo>
                    <a:pt x="26051" y="36890"/>
                  </a:lnTo>
                  <a:cubicBezTo>
                    <a:pt x="23878" y="38012"/>
                    <a:pt x="21780" y="39286"/>
                    <a:pt x="19776" y="40693"/>
                  </a:cubicBezTo>
                  <a:cubicBezTo>
                    <a:pt x="17026" y="42785"/>
                    <a:pt x="14024" y="44496"/>
                    <a:pt x="10839" y="45827"/>
                  </a:cubicBezTo>
                  <a:lnTo>
                    <a:pt x="10839" y="45827"/>
                  </a:lnTo>
                  <a:cubicBezTo>
                    <a:pt x="10839" y="48489"/>
                    <a:pt x="10839" y="51151"/>
                    <a:pt x="10839" y="53814"/>
                  </a:cubicBezTo>
                  <a:cubicBezTo>
                    <a:pt x="13039" y="66839"/>
                    <a:pt x="10829" y="80226"/>
                    <a:pt x="4564" y="91844"/>
                  </a:cubicBezTo>
                  <a:cubicBezTo>
                    <a:pt x="3196" y="93993"/>
                    <a:pt x="1671" y="96009"/>
                    <a:pt x="0" y="97929"/>
                  </a:cubicBezTo>
                  <a:lnTo>
                    <a:pt x="0" y="97929"/>
                  </a:lnTo>
                  <a:cubicBezTo>
                    <a:pt x="3406" y="103862"/>
                    <a:pt x="5906" y="110270"/>
                    <a:pt x="7416" y="116945"/>
                  </a:cubicBezTo>
                  <a:cubicBezTo>
                    <a:pt x="7416" y="120558"/>
                    <a:pt x="9318" y="124361"/>
                    <a:pt x="10649" y="128354"/>
                  </a:cubicBezTo>
                  <a:cubicBezTo>
                    <a:pt x="14832" y="140524"/>
                    <a:pt x="19966" y="141665"/>
                    <a:pt x="29664" y="144137"/>
                  </a:cubicBezTo>
                  <a:cubicBezTo>
                    <a:pt x="39691" y="145715"/>
                    <a:pt x="49164" y="149765"/>
                    <a:pt x="57236" y="155926"/>
                  </a:cubicBezTo>
                  <a:lnTo>
                    <a:pt x="64082" y="160300"/>
                  </a:lnTo>
                  <a:cubicBezTo>
                    <a:pt x="67955" y="162258"/>
                    <a:pt x="72135" y="163551"/>
                    <a:pt x="76442" y="164103"/>
                  </a:cubicBezTo>
                  <a:cubicBezTo>
                    <a:pt x="79728" y="164711"/>
                    <a:pt x="82968" y="165529"/>
                    <a:pt x="86140" y="166575"/>
                  </a:cubicBezTo>
                  <a:cubicBezTo>
                    <a:pt x="95543" y="171291"/>
                    <a:pt x="103056" y="179068"/>
                    <a:pt x="107437" y="188633"/>
                  </a:cubicBezTo>
                  <a:cubicBezTo>
                    <a:pt x="109511" y="192227"/>
                    <a:pt x="111864" y="195668"/>
                    <a:pt x="114473" y="198901"/>
                  </a:cubicBezTo>
                  <a:cubicBezTo>
                    <a:pt x="126890" y="212174"/>
                    <a:pt x="129976" y="231684"/>
                    <a:pt x="122269" y="248151"/>
                  </a:cubicBezTo>
                  <a:cubicBezTo>
                    <a:pt x="120044" y="251954"/>
                    <a:pt x="117431" y="255529"/>
                    <a:pt x="114473" y="258799"/>
                  </a:cubicBezTo>
                  <a:cubicBezTo>
                    <a:pt x="109148" y="265075"/>
                    <a:pt x="105916" y="269068"/>
                    <a:pt x="107057" y="274963"/>
                  </a:cubicBezTo>
                  <a:cubicBezTo>
                    <a:pt x="108230" y="279983"/>
                    <a:pt x="111386" y="284299"/>
                    <a:pt x="115804" y="286942"/>
                  </a:cubicBezTo>
                  <a:cubicBezTo>
                    <a:pt x="118466" y="286942"/>
                    <a:pt x="119607" y="286942"/>
                    <a:pt x="123029" y="283519"/>
                  </a:cubicBezTo>
                  <a:cubicBezTo>
                    <a:pt x="126490" y="279678"/>
                    <a:pt x="131364" y="277416"/>
                    <a:pt x="136530" y="277244"/>
                  </a:cubicBezTo>
                  <a:cubicBezTo>
                    <a:pt x="141189" y="277130"/>
                    <a:pt x="145677" y="278994"/>
                    <a:pt x="148890" y="282379"/>
                  </a:cubicBezTo>
                  <a:cubicBezTo>
                    <a:pt x="153156" y="289681"/>
                    <a:pt x="154321" y="298371"/>
                    <a:pt x="152123" y="306528"/>
                  </a:cubicBezTo>
                  <a:cubicBezTo>
                    <a:pt x="151480" y="310369"/>
                    <a:pt x="151480" y="314286"/>
                    <a:pt x="152123" y="318128"/>
                  </a:cubicBezTo>
                  <a:cubicBezTo>
                    <a:pt x="154215" y="322691"/>
                    <a:pt x="160680" y="329347"/>
                    <a:pt x="164863" y="329537"/>
                  </a:cubicBezTo>
                  <a:cubicBezTo>
                    <a:pt x="167128" y="329556"/>
                    <a:pt x="169334" y="328814"/>
                    <a:pt x="171139" y="327445"/>
                  </a:cubicBezTo>
                  <a:cubicBezTo>
                    <a:pt x="174183" y="325334"/>
                    <a:pt x="177718" y="324022"/>
                    <a:pt x="181407" y="323642"/>
                  </a:cubicBezTo>
                  <a:cubicBezTo>
                    <a:pt x="186684" y="322976"/>
                    <a:pt x="192006" y="324422"/>
                    <a:pt x="196239" y="327635"/>
                  </a:cubicBezTo>
                  <a:cubicBezTo>
                    <a:pt x="201352" y="333720"/>
                    <a:pt x="203877" y="341573"/>
                    <a:pt x="203274" y="349503"/>
                  </a:cubicBezTo>
                  <a:cubicBezTo>
                    <a:pt x="203132" y="353933"/>
                    <a:pt x="203976" y="358364"/>
                    <a:pt x="205747" y="362433"/>
                  </a:cubicBezTo>
                  <a:lnTo>
                    <a:pt x="206887" y="362433"/>
                  </a:lnTo>
                  <a:cubicBezTo>
                    <a:pt x="208951" y="363422"/>
                    <a:pt x="210721" y="364924"/>
                    <a:pt x="212021" y="366807"/>
                  </a:cubicBezTo>
                  <a:cubicBezTo>
                    <a:pt x="214227" y="371238"/>
                    <a:pt x="215397" y="376124"/>
                    <a:pt x="215444" y="381068"/>
                  </a:cubicBezTo>
                  <a:cubicBezTo>
                    <a:pt x="215340" y="382647"/>
                    <a:pt x="215340" y="384244"/>
                    <a:pt x="215444" y="385822"/>
                  </a:cubicBezTo>
                  <a:cubicBezTo>
                    <a:pt x="215355" y="387476"/>
                    <a:pt x="215355" y="389112"/>
                    <a:pt x="215444" y="390766"/>
                  </a:cubicBezTo>
                  <a:cubicBezTo>
                    <a:pt x="220202" y="388370"/>
                    <a:pt x="225581" y="387514"/>
                    <a:pt x="230847" y="388294"/>
                  </a:cubicBezTo>
                  <a:cubicBezTo>
                    <a:pt x="239835" y="390101"/>
                    <a:pt x="247124" y="396661"/>
                    <a:pt x="249862" y="405408"/>
                  </a:cubicBezTo>
                  <a:cubicBezTo>
                    <a:pt x="253777" y="419403"/>
                    <a:pt x="254298" y="434140"/>
                    <a:pt x="251383" y="448383"/>
                  </a:cubicBezTo>
                  <a:lnTo>
                    <a:pt x="251383" y="453897"/>
                  </a:lnTo>
                  <a:cubicBezTo>
                    <a:pt x="248913" y="464660"/>
                    <a:pt x="250684" y="475974"/>
                    <a:pt x="256327" y="485463"/>
                  </a:cubicBezTo>
                  <a:cubicBezTo>
                    <a:pt x="259094" y="488791"/>
                    <a:pt x="263222" y="490673"/>
                    <a:pt x="267547" y="490597"/>
                  </a:cubicBezTo>
                  <a:cubicBezTo>
                    <a:pt x="282379" y="490597"/>
                    <a:pt x="288463" y="481089"/>
                    <a:pt x="297020" y="464166"/>
                  </a:cubicBezTo>
                  <a:cubicBezTo>
                    <a:pt x="299112" y="459792"/>
                    <a:pt x="301394" y="455609"/>
                    <a:pt x="303676" y="451806"/>
                  </a:cubicBezTo>
                  <a:cubicBezTo>
                    <a:pt x="316947" y="434597"/>
                    <a:pt x="337114" y="424100"/>
                    <a:pt x="358820" y="423092"/>
                  </a:cubicBezTo>
                  <a:cubicBezTo>
                    <a:pt x="365225" y="422103"/>
                    <a:pt x="371572" y="420773"/>
                    <a:pt x="377836" y="419099"/>
                  </a:cubicBezTo>
                  <a:cubicBezTo>
                    <a:pt x="395415" y="415144"/>
                    <a:pt x="413495" y="413851"/>
                    <a:pt x="431459" y="415296"/>
                  </a:cubicBezTo>
                  <a:cubicBezTo>
                    <a:pt x="445356" y="416228"/>
                    <a:pt x="459311" y="415714"/>
                    <a:pt x="473103" y="413775"/>
                  </a:cubicBezTo>
                  <a:cubicBezTo>
                    <a:pt x="480334" y="412235"/>
                    <a:pt x="487402" y="410010"/>
                    <a:pt x="494210" y="407119"/>
                  </a:cubicBezTo>
                  <a:cubicBezTo>
                    <a:pt x="503082" y="403278"/>
                    <a:pt x="512413" y="400597"/>
                    <a:pt x="521972" y="399133"/>
                  </a:cubicBezTo>
                  <a:cubicBezTo>
                    <a:pt x="524621" y="397193"/>
                    <a:pt x="527578" y="395710"/>
                    <a:pt x="530719" y="394760"/>
                  </a:cubicBezTo>
                  <a:cubicBezTo>
                    <a:pt x="531102" y="389378"/>
                    <a:pt x="531102" y="383978"/>
                    <a:pt x="530719" y="378596"/>
                  </a:cubicBezTo>
                  <a:cubicBezTo>
                    <a:pt x="529318" y="373139"/>
                    <a:pt x="525234" y="368765"/>
                    <a:pt x="519881" y="366997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99" name="Полилиния: фигура 498">
              <a:extLst>
                <a:ext uri="{FF2B5EF4-FFF2-40B4-BE49-F238E27FC236}">
                  <a16:creationId xmlns:a16="http://schemas.microsoft.com/office/drawing/2014/main" id="{7049B3DC-7D26-F1C2-0B90-83B3B496B13F}"/>
                </a:ext>
              </a:extLst>
            </p:cNvPr>
            <p:cNvSpPr/>
            <p:nvPr/>
          </p:nvSpPr>
          <p:spPr>
            <a:xfrm>
              <a:off x="4647472" y="4116122"/>
              <a:ext cx="162358" cy="157487"/>
            </a:xfrm>
            <a:custGeom>
              <a:avLst/>
              <a:gdLst>
                <a:gd name="connsiteX0" fmla="*/ 134502 w 178617"/>
                <a:gd name="connsiteY0" fmla="*/ 118569 h 172753"/>
                <a:gd name="connsiteX1" fmla="*/ 140016 w 178617"/>
                <a:gd name="connsiteY1" fmla="*/ 116668 h 172753"/>
                <a:gd name="connsiteX2" fmla="*/ 152756 w 178617"/>
                <a:gd name="connsiteY2" fmla="*/ 110202 h 172753"/>
                <a:gd name="connsiteX3" fmla="*/ 171772 w 178617"/>
                <a:gd name="connsiteY3" fmla="*/ 100695 h 172753"/>
                <a:gd name="connsiteX4" fmla="*/ 178617 w 178617"/>
                <a:gd name="connsiteY4" fmla="*/ 98983 h 172753"/>
                <a:gd name="connsiteX5" fmla="*/ 177096 w 178617"/>
                <a:gd name="connsiteY5" fmla="*/ 96321 h 172753"/>
                <a:gd name="connsiteX6" fmla="*/ 172913 w 178617"/>
                <a:gd name="connsiteY6" fmla="*/ 87004 h 172753"/>
                <a:gd name="connsiteX7" fmla="*/ 171011 w 178617"/>
                <a:gd name="connsiteY7" fmla="*/ 71411 h 172753"/>
                <a:gd name="connsiteX8" fmla="*/ 171011 w 178617"/>
                <a:gd name="connsiteY8" fmla="*/ 66467 h 172753"/>
                <a:gd name="connsiteX9" fmla="*/ 172532 w 178617"/>
                <a:gd name="connsiteY9" fmla="*/ 57720 h 172753"/>
                <a:gd name="connsiteX10" fmla="*/ 169870 w 178617"/>
                <a:gd name="connsiteY10" fmla="*/ 48402 h 172753"/>
                <a:gd name="connsiteX11" fmla="*/ 167018 w 178617"/>
                <a:gd name="connsiteY11" fmla="*/ 46121 h 172753"/>
                <a:gd name="connsiteX12" fmla="*/ 161313 w 178617"/>
                <a:gd name="connsiteY12" fmla="*/ 40986 h 172753"/>
                <a:gd name="connsiteX13" fmla="*/ 158081 w 178617"/>
                <a:gd name="connsiteY13" fmla="*/ 32620 h 172753"/>
                <a:gd name="connsiteX14" fmla="*/ 158081 w 178617"/>
                <a:gd name="connsiteY14" fmla="*/ 17788 h 172753"/>
                <a:gd name="connsiteX15" fmla="*/ 158081 w 178617"/>
                <a:gd name="connsiteY15" fmla="*/ 13224 h 172753"/>
                <a:gd name="connsiteX16" fmla="*/ 155418 w 178617"/>
                <a:gd name="connsiteY16" fmla="*/ 11322 h 172753"/>
                <a:gd name="connsiteX17" fmla="*/ 119860 w 178617"/>
                <a:gd name="connsiteY17" fmla="*/ 8470 h 172753"/>
                <a:gd name="connsiteX18" fmla="*/ 107310 w 178617"/>
                <a:gd name="connsiteY18" fmla="*/ 8470 h 172753"/>
                <a:gd name="connsiteX19" fmla="*/ 100844 w 178617"/>
                <a:gd name="connsiteY19" fmla="*/ 4477 h 172753"/>
                <a:gd name="connsiteX20" fmla="*/ 98182 w 178617"/>
                <a:gd name="connsiteY20" fmla="*/ 2575 h 172753"/>
                <a:gd name="connsiteX21" fmla="*/ 83540 w 178617"/>
                <a:gd name="connsiteY21" fmla="*/ 103 h 172753"/>
                <a:gd name="connsiteX22" fmla="*/ 79357 w 178617"/>
                <a:gd name="connsiteY22" fmla="*/ 103 h 172753"/>
                <a:gd name="connsiteX23" fmla="*/ 60342 w 178617"/>
                <a:gd name="connsiteY23" fmla="*/ 15316 h 172753"/>
                <a:gd name="connsiteX24" fmla="*/ 47601 w 178617"/>
                <a:gd name="connsiteY24" fmla="*/ 23302 h 172753"/>
                <a:gd name="connsiteX25" fmla="*/ 44749 w 178617"/>
                <a:gd name="connsiteY25" fmla="*/ 39656 h 172753"/>
                <a:gd name="connsiteX26" fmla="*/ 46270 w 178617"/>
                <a:gd name="connsiteY26" fmla="*/ 57150 h 172753"/>
                <a:gd name="connsiteX27" fmla="*/ 25734 w 178617"/>
                <a:gd name="connsiteY27" fmla="*/ 78637 h 172753"/>
                <a:gd name="connsiteX28" fmla="*/ 14324 w 178617"/>
                <a:gd name="connsiteY28" fmla="*/ 86243 h 172753"/>
                <a:gd name="connsiteX29" fmla="*/ 8620 w 178617"/>
                <a:gd name="connsiteY29" fmla="*/ 93849 h 172753"/>
                <a:gd name="connsiteX30" fmla="*/ 11662 w 178617"/>
                <a:gd name="connsiteY30" fmla="*/ 101265 h 172753"/>
                <a:gd name="connsiteX31" fmla="*/ 5197 w 178617"/>
                <a:gd name="connsiteY31" fmla="*/ 120281 h 172753"/>
                <a:gd name="connsiteX32" fmla="*/ 63 w 178617"/>
                <a:gd name="connsiteY32" fmla="*/ 131690 h 172753"/>
                <a:gd name="connsiteX33" fmla="*/ 63 w 178617"/>
                <a:gd name="connsiteY33" fmla="*/ 135493 h 172753"/>
                <a:gd name="connsiteX34" fmla="*/ 63 w 178617"/>
                <a:gd name="connsiteY34" fmla="*/ 140247 h 172753"/>
                <a:gd name="connsiteX35" fmla="*/ 5958 w 178617"/>
                <a:gd name="connsiteY35" fmla="*/ 143289 h 172753"/>
                <a:gd name="connsiteX36" fmla="*/ 18318 w 178617"/>
                <a:gd name="connsiteY36" fmla="*/ 156790 h 172753"/>
                <a:gd name="connsiteX37" fmla="*/ 28205 w 178617"/>
                <a:gd name="connsiteY37" fmla="*/ 167629 h 172753"/>
                <a:gd name="connsiteX38" fmla="*/ 30297 w 178617"/>
                <a:gd name="connsiteY38" fmla="*/ 168770 h 172753"/>
                <a:gd name="connsiteX39" fmla="*/ 41136 w 178617"/>
                <a:gd name="connsiteY39" fmla="*/ 168770 h 172753"/>
                <a:gd name="connsiteX40" fmla="*/ 41136 w 178617"/>
                <a:gd name="connsiteY40" fmla="*/ 168770 h 172753"/>
                <a:gd name="connsiteX41" fmla="*/ 48552 w 178617"/>
                <a:gd name="connsiteY41" fmla="*/ 165727 h 172753"/>
                <a:gd name="connsiteX42" fmla="*/ 73462 w 178617"/>
                <a:gd name="connsiteY42" fmla="*/ 168580 h 172753"/>
                <a:gd name="connsiteX43" fmla="*/ 75364 w 178617"/>
                <a:gd name="connsiteY43" fmla="*/ 169530 h 172753"/>
                <a:gd name="connsiteX44" fmla="*/ 105978 w 178617"/>
                <a:gd name="connsiteY44" fmla="*/ 169530 h 172753"/>
                <a:gd name="connsiteX45" fmla="*/ 117007 w 178617"/>
                <a:gd name="connsiteY45" fmla="*/ 157361 h 172753"/>
                <a:gd name="connsiteX46" fmla="*/ 114345 w 178617"/>
                <a:gd name="connsiteY46" fmla="*/ 149564 h 172753"/>
                <a:gd name="connsiteX47" fmla="*/ 110162 w 178617"/>
                <a:gd name="connsiteY47" fmla="*/ 137775 h 172753"/>
                <a:gd name="connsiteX48" fmla="*/ 134502 w 178617"/>
                <a:gd name="connsiteY48" fmla="*/ 118569 h 17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78617" h="172753">
                  <a:moveTo>
                    <a:pt x="134502" y="118569"/>
                  </a:moveTo>
                  <a:cubicBezTo>
                    <a:pt x="136396" y="118113"/>
                    <a:pt x="138242" y="117466"/>
                    <a:pt x="140016" y="116668"/>
                  </a:cubicBezTo>
                  <a:cubicBezTo>
                    <a:pt x="144376" y="114747"/>
                    <a:pt x="148628" y="112579"/>
                    <a:pt x="152756" y="110202"/>
                  </a:cubicBezTo>
                  <a:cubicBezTo>
                    <a:pt x="158727" y="106342"/>
                    <a:pt x="165105" y="103167"/>
                    <a:pt x="171772" y="100695"/>
                  </a:cubicBezTo>
                  <a:cubicBezTo>
                    <a:pt x="174006" y="99953"/>
                    <a:pt x="176294" y="99383"/>
                    <a:pt x="178617" y="98983"/>
                  </a:cubicBezTo>
                  <a:lnTo>
                    <a:pt x="177096" y="96321"/>
                  </a:lnTo>
                  <a:cubicBezTo>
                    <a:pt x="175320" y="93393"/>
                    <a:pt x="173915" y="90274"/>
                    <a:pt x="172913" y="87004"/>
                  </a:cubicBezTo>
                  <a:cubicBezTo>
                    <a:pt x="171104" y="82022"/>
                    <a:pt x="170454" y="76678"/>
                    <a:pt x="171011" y="71411"/>
                  </a:cubicBezTo>
                  <a:cubicBezTo>
                    <a:pt x="171100" y="69757"/>
                    <a:pt x="171100" y="68121"/>
                    <a:pt x="171011" y="66467"/>
                  </a:cubicBezTo>
                  <a:cubicBezTo>
                    <a:pt x="171810" y="63615"/>
                    <a:pt x="172319" y="60686"/>
                    <a:pt x="172532" y="57720"/>
                  </a:cubicBezTo>
                  <a:cubicBezTo>
                    <a:pt x="172951" y="54373"/>
                    <a:pt x="171988" y="51008"/>
                    <a:pt x="169870" y="48402"/>
                  </a:cubicBezTo>
                  <a:cubicBezTo>
                    <a:pt x="169047" y="47490"/>
                    <a:pt x="168083" y="46729"/>
                    <a:pt x="167018" y="46121"/>
                  </a:cubicBezTo>
                  <a:cubicBezTo>
                    <a:pt x="164888" y="44675"/>
                    <a:pt x="162968" y="42945"/>
                    <a:pt x="161313" y="40986"/>
                  </a:cubicBezTo>
                  <a:cubicBezTo>
                    <a:pt x="159644" y="38457"/>
                    <a:pt x="158541" y="35605"/>
                    <a:pt x="158081" y="32620"/>
                  </a:cubicBezTo>
                  <a:cubicBezTo>
                    <a:pt x="157033" y="27733"/>
                    <a:pt x="157033" y="22675"/>
                    <a:pt x="158081" y="17788"/>
                  </a:cubicBezTo>
                  <a:cubicBezTo>
                    <a:pt x="158389" y="16286"/>
                    <a:pt x="158389" y="14726"/>
                    <a:pt x="158081" y="13224"/>
                  </a:cubicBezTo>
                  <a:cubicBezTo>
                    <a:pt x="158081" y="13224"/>
                    <a:pt x="158081" y="13224"/>
                    <a:pt x="155418" y="11322"/>
                  </a:cubicBezTo>
                  <a:cubicBezTo>
                    <a:pt x="144076" y="7006"/>
                    <a:pt x="131742" y="6017"/>
                    <a:pt x="119860" y="8470"/>
                  </a:cubicBezTo>
                  <a:cubicBezTo>
                    <a:pt x="115726" y="9383"/>
                    <a:pt x="111442" y="9383"/>
                    <a:pt x="107310" y="8470"/>
                  </a:cubicBezTo>
                  <a:cubicBezTo>
                    <a:pt x="104938" y="7519"/>
                    <a:pt x="102750" y="6169"/>
                    <a:pt x="100844" y="4477"/>
                  </a:cubicBezTo>
                  <a:lnTo>
                    <a:pt x="98182" y="2575"/>
                  </a:lnTo>
                  <a:cubicBezTo>
                    <a:pt x="93586" y="541"/>
                    <a:pt x="88551" y="-315"/>
                    <a:pt x="83540" y="103"/>
                  </a:cubicBezTo>
                  <a:lnTo>
                    <a:pt x="79357" y="103"/>
                  </a:lnTo>
                  <a:cubicBezTo>
                    <a:pt x="74555" y="6835"/>
                    <a:pt x="67970" y="12121"/>
                    <a:pt x="60342" y="15316"/>
                  </a:cubicBezTo>
                  <a:cubicBezTo>
                    <a:pt x="55755" y="17388"/>
                    <a:pt x="51469" y="20070"/>
                    <a:pt x="47601" y="23302"/>
                  </a:cubicBezTo>
                  <a:cubicBezTo>
                    <a:pt x="41897" y="29007"/>
                    <a:pt x="43038" y="32620"/>
                    <a:pt x="44749" y="39656"/>
                  </a:cubicBezTo>
                  <a:cubicBezTo>
                    <a:pt x="46656" y="45284"/>
                    <a:pt x="47179" y="51274"/>
                    <a:pt x="46270" y="57150"/>
                  </a:cubicBezTo>
                  <a:cubicBezTo>
                    <a:pt x="43209" y="67152"/>
                    <a:pt x="35591" y="75119"/>
                    <a:pt x="25734" y="78637"/>
                  </a:cubicBezTo>
                  <a:cubicBezTo>
                    <a:pt x="21622" y="80672"/>
                    <a:pt x="17789" y="83239"/>
                    <a:pt x="14324" y="86243"/>
                  </a:cubicBezTo>
                  <a:cubicBezTo>
                    <a:pt x="12183" y="88582"/>
                    <a:pt x="10274" y="91130"/>
                    <a:pt x="8620" y="93849"/>
                  </a:cubicBezTo>
                  <a:cubicBezTo>
                    <a:pt x="10149" y="96074"/>
                    <a:pt x="11187" y="98603"/>
                    <a:pt x="11662" y="101265"/>
                  </a:cubicBezTo>
                  <a:cubicBezTo>
                    <a:pt x="11850" y="108168"/>
                    <a:pt x="9555" y="114918"/>
                    <a:pt x="5197" y="120281"/>
                  </a:cubicBezTo>
                  <a:cubicBezTo>
                    <a:pt x="2590" y="123608"/>
                    <a:pt x="829" y="127525"/>
                    <a:pt x="63" y="131690"/>
                  </a:cubicBezTo>
                  <a:cubicBezTo>
                    <a:pt x="-21" y="132964"/>
                    <a:pt x="-21" y="134219"/>
                    <a:pt x="63" y="135493"/>
                  </a:cubicBezTo>
                  <a:cubicBezTo>
                    <a:pt x="162" y="137071"/>
                    <a:pt x="162" y="138669"/>
                    <a:pt x="63" y="140247"/>
                  </a:cubicBezTo>
                  <a:lnTo>
                    <a:pt x="5958" y="143289"/>
                  </a:lnTo>
                  <a:cubicBezTo>
                    <a:pt x="10803" y="147073"/>
                    <a:pt x="14980" y="151637"/>
                    <a:pt x="18318" y="156790"/>
                  </a:cubicBezTo>
                  <a:cubicBezTo>
                    <a:pt x="21004" y="160917"/>
                    <a:pt x="24344" y="164568"/>
                    <a:pt x="28205" y="167629"/>
                  </a:cubicBezTo>
                  <a:lnTo>
                    <a:pt x="30297" y="168770"/>
                  </a:lnTo>
                  <a:cubicBezTo>
                    <a:pt x="34481" y="171242"/>
                    <a:pt x="36572" y="170291"/>
                    <a:pt x="41136" y="168770"/>
                  </a:cubicBezTo>
                  <a:lnTo>
                    <a:pt x="41136" y="168770"/>
                  </a:lnTo>
                  <a:cubicBezTo>
                    <a:pt x="43551" y="167629"/>
                    <a:pt x="46027" y="166602"/>
                    <a:pt x="48552" y="165727"/>
                  </a:cubicBezTo>
                  <a:cubicBezTo>
                    <a:pt x="56763" y="162134"/>
                    <a:pt x="66278" y="163218"/>
                    <a:pt x="73462" y="168580"/>
                  </a:cubicBezTo>
                  <a:lnTo>
                    <a:pt x="75364" y="169530"/>
                  </a:lnTo>
                  <a:cubicBezTo>
                    <a:pt x="85119" y="173828"/>
                    <a:pt x="96224" y="173828"/>
                    <a:pt x="105978" y="169530"/>
                  </a:cubicBezTo>
                  <a:cubicBezTo>
                    <a:pt x="111449" y="167553"/>
                    <a:pt x="115581" y="162989"/>
                    <a:pt x="117007" y="157361"/>
                  </a:cubicBezTo>
                  <a:cubicBezTo>
                    <a:pt x="117007" y="154508"/>
                    <a:pt x="117007" y="152797"/>
                    <a:pt x="114345" y="149564"/>
                  </a:cubicBezTo>
                  <a:cubicBezTo>
                    <a:pt x="111660" y="146218"/>
                    <a:pt x="110187" y="142072"/>
                    <a:pt x="110162" y="137775"/>
                  </a:cubicBezTo>
                  <a:cubicBezTo>
                    <a:pt x="114726" y="123323"/>
                    <a:pt x="126325" y="120091"/>
                    <a:pt x="134502" y="11856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00" name="Полилиния: фигура 499">
              <a:extLst>
                <a:ext uri="{FF2B5EF4-FFF2-40B4-BE49-F238E27FC236}">
                  <a16:creationId xmlns:a16="http://schemas.microsoft.com/office/drawing/2014/main" id="{F06DDB42-8FF9-CB89-6D7E-B017E34A25BC}"/>
                </a:ext>
              </a:extLst>
            </p:cNvPr>
            <p:cNvSpPr/>
            <p:nvPr/>
          </p:nvSpPr>
          <p:spPr>
            <a:xfrm>
              <a:off x="4545032" y="4252470"/>
              <a:ext cx="281390" cy="241997"/>
            </a:xfrm>
            <a:custGeom>
              <a:avLst/>
              <a:gdLst>
                <a:gd name="connsiteX0" fmla="*/ 105916 w 309570"/>
                <a:gd name="connsiteY0" fmla="*/ 180456 h 265454"/>
                <a:gd name="connsiteX1" fmla="*/ 131777 w 309570"/>
                <a:gd name="connsiteY1" fmla="*/ 177604 h 265454"/>
                <a:gd name="connsiteX2" fmla="*/ 141665 w 309570"/>
                <a:gd name="connsiteY2" fmla="*/ 177604 h 265454"/>
                <a:gd name="connsiteX3" fmla="*/ 145658 w 309570"/>
                <a:gd name="connsiteY3" fmla="*/ 174561 h 265454"/>
                <a:gd name="connsiteX4" fmla="*/ 171138 w 309570"/>
                <a:gd name="connsiteY4" fmla="*/ 168286 h 265454"/>
                <a:gd name="connsiteX5" fmla="*/ 182928 w 309570"/>
                <a:gd name="connsiteY5" fmla="*/ 176463 h 265454"/>
                <a:gd name="connsiteX6" fmla="*/ 187682 w 309570"/>
                <a:gd name="connsiteY6" fmla="*/ 180836 h 265454"/>
                <a:gd name="connsiteX7" fmla="*/ 196049 w 309570"/>
                <a:gd name="connsiteY7" fmla="*/ 179695 h 265454"/>
                <a:gd name="connsiteX8" fmla="*/ 209930 w 309570"/>
                <a:gd name="connsiteY8" fmla="*/ 177414 h 265454"/>
                <a:gd name="connsiteX9" fmla="*/ 236741 w 309570"/>
                <a:gd name="connsiteY9" fmla="*/ 196429 h 265454"/>
                <a:gd name="connsiteX10" fmla="*/ 257849 w 309570"/>
                <a:gd name="connsiteY10" fmla="*/ 212592 h 265454"/>
                <a:gd name="connsiteX11" fmla="*/ 297781 w 309570"/>
                <a:gd name="connsiteY11" fmla="*/ 189773 h 265454"/>
                <a:gd name="connsiteX12" fmla="*/ 309570 w 309570"/>
                <a:gd name="connsiteY12" fmla="*/ 155546 h 265454"/>
                <a:gd name="connsiteX13" fmla="*/ 301774 w 309570"/>
                <a:gd name="connsiteY13" fmla="*/ 148130 h 265454"/>
                <a:gd name="connsiteX14" fmla="*/ 298351 w 309570"/>
                <a:gd name="connsiteY14" fmla="*/ 144897 h 265454"/>
                <a:gd name="connsiteX15" fmla="*/ 295119 w 309570"/>
                <a:gd name="connsiteY15" fmla="*/ 142235 h 265454"/>
                <a:gd name="connsiteX16" fmla="*/ 281808 w 309570"/>
                <a:gd name="connsiteY16" fmla="*/ 123220 h 265454"/>
                <a:gd name="connsiteX17" fmla="*/ 286752 w 309570"/>
                <a:gd name="connsiteY17" fmla="*/ 111620 h 265454"/>
                <a:gd name="connsiteX18" fmla="*/ 289604 w 309570"/>
                <a:gd name="connsiteY18" fmla="*/ 107056 h 265454"/>
                <a:gd name="connsiteX19" fmla="*/ 288083 w 309570"/>
                <a:gd name="connsiteY19" fmla="*/ 100401 h 265454"/>
                <a:gd name="connsiteX20" fmla="*/ 269068 w 309570"/>
                <a:gd name="connsiteY20" fmla="*/ 93746 h 265454"/>
                <a:gd name="connsiteX21" fmla="*/ 223431 w 309570"/>
                <a:gd name="connsiteY21" fmla="*/ 77392 h 265454"/>
                <a:gd name="connsiteX22" fmla="*/ 215254 w 309570"/>
                <a:gd name="connsiteY22" fmla="*/ 68646 h 265454"/>
                <a:gd name="connsiteX23" fmla="*/ 196239 w 309570"/>
                <a:gd name="connsiteY23" fmla="*/ 53243 h 265454"/>
                <a:gd name="connsiteX24" fmla="*/ 179315 w 309570"/>
                <a:gd name="connsiteY24" fmla="*/ 49440 h 265454"/>
                <a:gd name="connsiteX25" fmla="*/ 173801 w 309570"/>
                <a:gd name="connsiteY25" fmla="*/ 51341 h 265454"/>
                <a:gd name="connsiteX26" fmla="*/ 157638 w 309570"/>
                <a:gd name="connsiteY26" fmla="*/ 53243 h 265454"/>
                <a:gd name="connsiteX27" fmla="*/ 147179 w 309570"/>
                <a:gd name="connsiteY27" fmla="*/ 29854 h 265454"/>
                <a:gd name="connsiteX28" fmla="*/ 139193 w 309570"/>
                <a:gd name="connsiteY28" fmla="*/ 26051 h 265454"/>
                <a:gd name="connsiteX29" fmla="*/ 126833 w 309570"/>
                <a:gd name="connsiteY29" fmla="*/ 12550 h 265454"/>
                <a:gd name="connsiteX30" fmla="*/ 116945 w 309570"/>
                <a:gd name="connsiteY30" fmla="*/ 1711 h 265454"/>
                <a:gd name="connsiteX31" fmla="*/ 113712 w 309570"/>
                <a:gd name="connsiteY31" fmla="*/ 0 h 265454"/>
                <a:gd name="connsiteX32" fmla="*/ 110479 w 309570"/>
                <a:gd name="connsiteY32" fmla="*/ 3803 h 265454"/>
                <a:gd name="connsiteX33" fmla="*/ 108578 w 309570"/>
                <a:gd name="connsiteY33" fmla="*/ 5895 h 265454"/>
                <a:gd name="connsiteX34" fmla="*/ 104585 w 309570"/>
                <a:gd name="connsiteY34" fmla="*/ 24910 h 265454"/>
                <a:gd name="connsiteX35" fmla="*/ 104585 w 309570"/>
                <a:gd name="connsiteY35" fmla="*/ 27002 h 265454"/>
                <a:gd name="connsiteX36" fmla="*/ 104585 w 309570"/>
                <a:gd name="connsiteY36" fmla="*/ 39172 h 265454"/>
                <a:gd name="connsiteX37" fmla="*/ 91654 w 309570"/>
                <a:gd name="connsiteY37" fmla="*/ 49440 h 265454"/>
                <a:gd name="connsiteX38" fmla="*/ 82717 w 309570"/>
                <a:gd name="connsiteY38" fmla="*/ 50581 h 265454"/>
                <a:gd name="connsiteX39" fmla="*/ 58948 w 309570"/>
                <a:gd name="connsiteY39" fmla="*/ 42404 h 265454"/>
                <a:gd name="connsiteX40" fmla="*/ 56095 w 309570"/>
                <a:gd name="connsiteY40" fmla="*/ 39932 h 265454"/>
                <a:gd name="connsiteX41" fmla="*/ 51341 w 309570"/>
                <a:gd name="connsiteY41" fmla="*/ 36319 h 265454"/>
                <a:gd name="connsiteX42" fmla="*/ 43735 w 309570"/>
                <a:gd name="connsiteY42" fmla="*/ 34608 h 265454"/>
                <a:gd name="connsiteX43" fmla="*/ 37651 w 309570"/>
                <a:gd name="connsiteY43" fmla="*/ 34608 h 265454"/>
                <a:gd name="connsiteX44" fmla="*/ 37651 w 309570"/>
                <a:gd name="connsiteY44" fmla="*/ 36129 h 265454"/>
                <a:gd name="connsiteX45" fmla="*/ 42214 w 309570"/>
                <a:gd name="connsiteY45" fmla="*/ 57426 h 265454"/>
                <a:gd name="connsiteX46" fmla="*/ 40693 w 309570"/>
                <a:gd name="connsiteY46" fmla="*/ 68646 h 265454"/>
                <a:gd name="connsiteX47" fmla="*/ 39362 w 309570"/>
                <a:gd name="connsiteY47" fmla="*/ 75871 h 265454"/>
                <a:gd name="connsiteX48" fmla="*/ 39362 w 309570"/>
                <a:gd name="connsiteY48" fmla="*/ 81195 h 265454"/>
                <a:gd name="connsiteX49" fmla="*/ 39362 w 309570"/>
                <a:gd name="connsiteY49" fmla="*/ 91274 h 265454"/>
                <a:gd name="connsiteX50" fmla="*/ 36129 w 309570"/>
                <a:gd name="connsiteY50" fmla="*/ 100401 h 265454"/>
                <a:gd name="connsiteX51" fmla="*/ 33087 w 309570"/>
                <a:gd name="connsiteY51" fmla="*/ 109719 h 265454"/>
                <a:gd name="connsiteX52" fmla="*/ 36890 w 309570"/>
                <a:gd name="connsiteY52" fmla="*/ 122459 h 265454"/>
                <a:gd name="connsiteX53" fmla="*/ 41454 w 309570"/>
                <a:gd name="connsiteY53" fmla="*/ 137671 h 265454"/>
                <a:gd name="connsiteX54" fmla="*/ 35369 w 309570"/>
                <a:gd name="connsiteY54" fmla="*/ 158398 h 265454"/>
                <a:gd name="connsiteX55" fmla="*/ 21297 w 309570"/>
                <a:gd name="connsiteY55" fmla="*/ 183308 h 265454"/>
                <a:gd name="connsiteX56" fmla="*/ 6465 w 309570"/>
                <a:gd name="connsiteY56" fmla="*/ 209740 h 265454"/>
                <a:gd name="connsiteX57" fmla="*/ 0 w 309570"/>
                <a:gd name="connsiteY57" fmla="*/ 224191 h 265454"/>
                <a:gd name="connsiteX58" fmla="*/ 42975 w 309570"/>
                <a:gd name="connsiteY58" fmla="*/ 254236 h 265454"/>
                <a:gd name="connsiteX59" fmla="*/ 56095 w 309570"/>
                <a:gd name="connsiteY59" fmla="*/ 254236 h 265454"/>
                <a:gd name="connsiteX60" fmla="*/ 78724 w 309570"/>
                <a:gd name="connsiteY60" fmla="*/ 255947 h 265454"/>
                <a:gd name="connsiteX61" fmla="*/ 89182 w 309570"/>
                <a:gd name="connsiteY61" fmla="*/ 265455 h 265454"/>
                <a:gd name="connsiteX62" fmla="*/ 95838 w 309570"/>
                <a:gd name="connsiteY62" fmla="*/ 263743 h 265454"/>
                <a:gd name="connsiteX63" fmla="*/ 103634 w 309570"/>
                <a:gd name="connsiteY63" fmla="*/ 260511 h 265454"/>
                <a:gd name="connsiteX64" fmla="*/ 99451 w 309570"/>
                <a:gd name="connsiteY64" fmla="*/ 246439 h 265454"/>
                <a:gd name="connsiteX65" fmla="*/ 95457 w 309570"/>
                <a:gd name="connsiteY65" fmla="*/ 239594 h 265454"/>
                <a:gd name="connsiteX66" fmla="*/ 90703 w 309570"/>
                <a:gd name="connsiteY66" fmla="*/ 208218 h 265454"/>
                <a:gd name="connsiteX67" fmla="*/ 105916 w 309570"/>
                <a:gd name="connsiteY67" fmla="*/ 180456 h 26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09570" h="265454">
                  <a:moveTo>
                    <a:pt x="105916" y="180456"/>
                  </a:moveTo>
                  <a:cubicBezTo>
                    <a:pt x="113718" y="175816"/>
                    <a:pt x="123149" y="174770"/>
                    <a:pt x="131777" y="177604"/>
                  </a:cubicBezTo>
                  <a:cubicBezTo>
                    <a:pt x="138242" y="179505"/>
                    <a:pt x="138242" y="179505"/>
                    <a:pt x="141665" y="177604"/>
                  </a:cubicBezTo>
                  <a:lnTo>
                    <a:pt x="145658" y="174561"/>
                  </a:lnTo>
                  <a:cubicBezTo>
                    <a:pt x="152642" y="168476"/>
                    <a:pt x="162129" y="166156"/>
                    <a:pt x="171138" y="168286"/>
                  </a:cubicBezTo>
                  <a:cubicBezTo>
                    <a:pt x="175828" y="169712"/>
                    <a:pt x="179952" y="172565"/>
                    <a:pt x="182928" y="176463"/>
                  </a:cubicBezTo>
                  <a:cubicBezTo>
                    <a:pt x="184251" y="178174"/>
                    <a:pt x="185860" y="179657"/>
                    <a:pt x="187682" y="180836"/>
                  </a:cubicBezTo>
                  <a:cubicBezTo>
                    <a:pt x="190534" y="181977"/>
                    <a:pt x="192246" y="180836"/>
                    <a:pt x="196049" y="179695"/>
                  </a:cubicBezTo>
                  <a:cubicBezTo>
                    <a:pt x="200373" y="177661"/>
                    <a:pt x="205180" y="176862"/>
                    <a:pt x="209930" y="177414"/>
                  </a:cubicBezTo>
                  <a:cubicBezTo>
                    <a:pt x="220674" y="180722"/>
                    <a:pt x="230071" y="187377"/>
                    <a:pt x="236741" y="196429"/>
                  </a:cubicBezTo>
                  <a:cubicBezTo>
                    <a:pt x="242111" y="203693"/>
                    <a:pt x="249429" y="209302"/>
                    <a:pt x="257849" y="212592"/>
                  </a:cubicBezTo>
                  <a:cubicBezTo>
                    <a:pt x="266406" y="214684"/>
                    <a:pt x="289604" y="199471"/>
                    <a:pt x="297781" y="189773"/>
                  </a:cubicBezTo>
                  <a:cubicBezTo>
                    <a:pt x="304653" y="179600"/>
                    <a:pt x="308720" y="167792"/>
                    <a:pt x="309570" y="155546"/>
                  </a:cubicBezTo>
                  <a:cubicBezTo>
                    <a:pt x="307211" y="152827"/>
                    <a:pt x="304600" y="150355"/>
                    <a:pt x="301774" y="148130"/>
                  </a:cubicBezTo>
                  <a:lnTo>
                    <a:pt x="298351" y="144897"/>
                  </a:lnTo>
                  <a:lnTo>
                    <a:pt x="295119" y="142235"/>
                  </a:lnTo>
                  <a:cubicBezTo>
                    <a:pt x="289604" y="137671"/>
                    <a:pt x="281998" y="131586"/>
                    <a:pt x="281808" y="123220"/>
                  </a:cubicBezTo>
                  <a:cubicBezTo>
                    <a:pt x="281939" y="118865"/>
                    <a:pt x="283704" y="114720"/>
                    <a:pt x="286752" y="111620"/>
                  </a:cubicBezTo>
                  <a:cubicBezTo>
                    <a:pt x="287984" y="110289"/>
                    <a:pt x="288952" y="108749"/>
                    <a:pt x="289604" y="107056"/>
                  </a:cubicBezTo>
                  <a:cubicBezTo>
                    <a:pt x="290148" y="104718"/>
                    <a:pt x="289585" y="102265"/>
                    <a:pt x="288083" y="100401"/>
                  </a:cubicBezTo>
                  <a:cubicBezTo>
                    <a:pt x="282871" y="95761"/>
                    <a:pt x="276037" y="93365"/>
                    <a:pt x="269068" y="93746"/>
                  </a:cubicBezTo>
                  <a:cubicBezTo>
                    <a:pt x="252328" y="94297"/>
                    <a:pt x="236008" y="88459"/>
                    <a:pt x="223431" y="77392"/>
                  </a:cubicBezTo>
                  <a:cubicBezTo>
                    <a:pt x="220554" y="74616"/>
                    <a:pt x="217825" y="71707"/>
                    <a:pt x="215254" y="68646"/>
                  </a:cubicBezTo>
                  <a:cubicBezTo>
                    <a:pt x="210388" y="61914"/>
                    <a:pt x="203826" y="56609"/>
                    <a:pt x="196239" y="53243"/>
                  </a:cubicBezTo>
                  <a:cubicBezTo>
                    <a:pt x="190873" y="50961"/>
                    <a:pt x="185139" y="49687"/>
                    <a:pt x="179315" y="49440"/>
                  </a:cubicBezTo>
                  <a:cubicBezTo>
                    <a:pt x="177376" y="49725"/>
                    <a:pt x="175504" y="50372"/>
                    <a:pt x="173801" y="51341"/>
                  </a:cubicBezTo>
                  <a:cubicBezTo>
                    <a:pt x="168971" y="54365"/>
                    <a:pt x="163038" y="55068"/>
                    <a:pt x="157638" y="53243"/>
                  </a:cubicBezTo>
                  <a:cubicBezTo>
                    <a:pt x="149271" y="49630"/>
                    <a:pt x="147179" y="40122"/>
                    <a:pt x="147179" y="29854"/>
                  </a:cubicBezTo>
                  <a:cubicBezTo>
                    <a:pt x="144342" y="28998"/>
                    <a:pt x="141649" y="27705"/>
                    <a:pt x="139193" y="26051"/>
                  </a:cubicBezTo>
                  <a:cubicBezTo>
                    <a:pt x="134348" y="22267"/>
                    <a:pt x="130170" y="17703"/>
                    <a:pt x="126833" y="12550"/>
                  </a:cubicBezTo>
                  <a:cubicBezTo>
                    <a:pt x="124089" y="8462"/>
                    <a:pt x="120757" y="4811"/>
                    <a:pt x="116945" y="1711"/>
                  </a:cubicBezTo>
                  <a:cubicBezTo>
                    <a:pt x="115975" y="951"/>
                    <a:pt x="114879" y="380"/>
                    <a:pt x="113712" y="0"/>
                  </a:cubicBezTo>
                  <a:lnTo>
                    <a:pt x="110479" y="3803"/>
                  </a:lnTo>
                  <a:lnTo>
                    <a:pt x="108578" y="5895"/>
                  </a:lnTo>
                  <a:cubicBezTo>
                    <a:pt x="104429" y="11295"/>
                    <a:pt x="102961" y="18293"/>
                    <a:pt x="104585" y="24910"/>
                  </a:cubicBezTo>
                  <a:lnTo>
                    <a:pt x="104585" y="27002"/>
                  </a:lnTo>
                  <a:cubicBezTo>
                    <a:pt x="105918" y="30957"/>
                    <a:pt x="105918" y="35216"/>
                    <a:pt x="104585" y="39172"/>
                  </a:cubicBezTo>
                  <a:cubicBezTo>
                    <a:pt x="102320" y="44591"/>
                    <a:pt x="97441" y="48451"/>
                    <a:pt x="91654" y="49440"/>
                  </a:cubicBezTo>
                  <a:cubicBezTo>
                    <a:pt x="88737" y="50201"/>
                    <a:pt x="85733" y="50581"/>
                    <a:pt x="82717" y="50581"/>
                  </a:cubicBezTo>
                  <a:cubicBezTo>
                    <a:pt x="74095" y="50619"/>
                    <a:pt x="65715" y="47748"/>
                    <a:pt x="58948" y="42404"/>
                  </a:cubicBezTo>
                  <a:lnTo>
                    <a:pt x="56095" y="39932"/>
                  </a:lnTo>
                  <a:cubicBezTo>
                    <a:pt x="54711" y="38487"/>
                    <a:pt x="53106" y="37270"/>
                    <a:pt x="51341" y="36319"/>
                  </a:cubicBezTo>
                  <a:cubicBezTo>
                    <a:pt x="48934" y="35273"/>
                    <a:pt x="46356" y="34703"/>
                    <a:pt x="43735" y="34608"/>
                  </a:cubicBezTo>
                  <a:cubicBezTo>
                    <a:pt x="41718" y="34323"/>
                    <a:pt x="39668" y="34323"/>
                    <a:pt x="37651" y="34608"/>
                  </a:cubicBezTo>
                  <a:lnTo>
                    <a:pt x="37651" y="36129"/>
                  </a:lnTo>
                  <a:cubicBezTo>
                    <a:pt x="40370" y="42918"/>
                    <a:pt x="41912" y="50125"/>
                    <a:pt x="42214" y="57426"/>
                  </a:cubicBezTo>
                  <a:cubicBezTo>
                    <a:pt x="41919" y="61192"/>
                    <a:pt x="41412" y="64937"/>
                    <a:pt x="40693" y="68646"/>
                  </a:cubicBezTo>
                  <a:cubicBezTo>
                    <a:pt x="40048" y="71003"/>
                    <a:pt x="39603" y="73437"/>
                    <a:pt x="39362" y="75871"/>
                  </a:cubicBezTo>
                  <a:cubicBezTo>
                    <a:pt x="39267" y="77640"/>
                    <a:pt x="39267" y="79427"/>
                    <a:pt x="39362" y="81195"/>
                  </a:cubicBezTo>
                  <a:cubicBezTo>
                    <a:pt x="39725" y="84542"/>
                    <a:pt x="39725" y="87927"/>
                    <a:pt x="39362" y="91274"/>
                  </a:cubicBezTo>
                  <a:cubicBezTo>
                    <a:pt x="38514" y="94392"/>
                    <a:pt x="37434" y="97435"/>
                    <a:pt x="36129" y="100401"/>
                  </a:cubicBezTo>
                  <a:cubicBezTo>
                    <a:pt x="34574" y="103311"/>
                    <a:pt x="33545" y="106467"/>
                    <a:pt x="33087" y="109719"/>
                  </a:cubicBezTo>
                  <a:cubicBezTo>
                    <a:pt x="33361" y="114206"/>
                    <a:pt x="34661" y="118561"/>
                    <a:pt x="36890" y="122459"/>
                  </a:cubicBezTo>
                  <a:cubicBezTo>
                    <a:pt x="39339" y="127213"/>
                    <a:pt x="40887" y="132366"/>
                    <a:pt x="41454" y="137671"/>
                  </a:cubicBezTo>
                  <a:cubicBezTo>
                    <a:pt x="41387" y="145011"/>
                    <a:pt x="39280" y="152180"/>
                    <a:pt x="35369" y="158398"/>
                  </a:cubicBezTo>
                  <a:cubicBezTo>
                    <a:pt x="30995" y="166955"/>
                    <a:pt x="26241" y="175132"/>
                    <a:pt x="21297" y="183308"/>
                  </a:cubicBezTo>
                  <a:cubicBezTo>
                    <a:pt x="16353" y="191485"/>
                    <a:pt x="11029" y="200802"/>
                    <a:pt x="6465" y="209740"/>
                  </a:cubicBezTo>
                  <a:cubicBezTo>
                    <a:pt x="4031" y="214418"/>
                    <a:pt x="1871" y="219247"/>
                    <a:pt x="0" y="224191"/>
                  </a:cubicBezTo>
                  <a:cubicBezTo>
                    <a:pt x="8926" y="240297"/>
                    <a:pt x="24783" y="251383"/>
                    <a:pt x="42975" y="254236"/>
                  </a:cubicBezTo>
                  <a:cubicBezTo>
                    <a:pt x="47331" y="254787"/>
                    <a:pt x="51739" y="254787"/>
                    <a:pt x="56095" y="254236"/>
                  </a:cubicBezTo>
                  <a:cubicBezTo>
                    <a:pt x="63667" y="252981"/>
                    <a:pt x="71428" y="253570"/>
                    <a:pt x="78724" y="255947"/>
                  </a:cubicBezTo>
                  <a:cubicBezTo>
                    <a:pt x="83183" y="257849"/>
                    <a:pt x="86868" y="261195"/>
                    <a:pt x="89182" y="265455"/>
                  </a:cubicBezTo>
                  <a:cubicBezTo>
                    <a:pt x="91331" y="264637"/>
                    <a:pt x="93563" y="264067"/>
                    <a:pt x="95838" y="263743"/>
                  </a:cubicBezTo>
                  <a:cubicBezTo>
                    <a:pt x="99831" y="262792"/>
                    <a:pt x="102303" y="262222"/>
                    <a:pt x="103634" y="260511"/>
                  </a:cubicBezTo>
                  <a:cubicBezTo>
                    <a:pt x="104965" y="258799"/>
                    <a:pt x="103634" y="252904"/>
                    <a:pt x="99451" y="246439"/>
                  </a:cubicBezTo>
                  <a:cubicBezTo>
                    <a:pt x="97885" y="244310"/>
                    <a:pt x="96547" y="242009"/>
                    <a:pt x="95457" y="239594"/>
                  </a:cubicBezTo>
                  <a:cubicBezTo>
                    <a:pt x="90996" y="229782"/>
                    <a:pt x="89351" y="218924"/>
                    <a:pt x="90703" y="208218"/>
                  </a:cubicBezTo>
                  <a:cubicBezTo>
                    <a:pt x="91344" y="197151"/>
                    <a:pt x="96931" y="186959"/>
                    <a:pt x="105916" y="18045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01" name="Полилиния: фигура 500">
              <a:extLst>
                <a:ext uri="{FF2B5EF4-FFF2-40B4-BE49-F238E27FC236}">
                  <a16:creationId xmlns:a16="http://schemas.microsoft.com/office/drawing/2014/main" id="{A8104786-718A-A617-5F29-052F7F7E09E9}"/>
                </a:ext>
              </a:extLst>
            </p:cNvPr>
            <p:cNvSpPr/>
            <p:nvPr/>
          </p:nvSpPr>
          <p:spPr>
            <a:xfrm>
              <a:off x="4442048" y="3893373"/>
              <a:ext cx="470870" cy="304834"/>
            </a:xfrm>
            <a:custGeom>
              <a:avLst/>
              <a:gdLst>
                <a:gd name="connsiteX0" fmla="*/ 316955 w 518026"/>
                <a:gd name="connsiteY0" fmla="*/ 153740 h 334382"/>
                <a:gd name="connsiteX1" fmla="*/ 328554 w 518026"/>
                <a:gd name="connsiteY1" fmla="*/ 154691 h 334382"/>
                <a:gd name="connsiteX2" fmla="*/ 336160 w 518026"/>
                <a:gd name="connsiteY2" fmla="*/ 154691 h 334382"/>
                <a:gd name="connsiteX3" fmla="*/ 339963 w 518026"/>
                <a:gd name="connsiteY3" fmla="*/ 150697 h 334382"/>
                <a:gd name="connsiteX4" fmla="*/ 348520 w 518026"/>
                <a:gd name="connsiteY4" fmla="*/ 142711 h 334382"/>
                <a:gd name="connsiteX5" fmla="*/ 380086 w 518026"/>
                <a:gd name="connsiteY5" fmla="*/ 149176 h 334382"/>
                <a:gd name="connsiteX6" fmla="*/ 390354 w 518026"/>
                <a:gd name="connsiteY6" fmla="*/ 154881 h 334382"/>
                <a:gd name="connsiteX7" fmla="*/ 390354 w 518026"/>
                <a:gd name="connsiteY7" fmla="*/ 154881 h 334382"/>
                <a:gd name="connsiteX8" fmla="*/ 391495 w 518026"/>
                <a:gd name="connsiteY8" fmla="*/ 154881 h 334382"/>
                <a:gd name="connsiteX9" fmla="*/ 402904 w 518026"/>
                <a:gd name="connsiteY9" fmla="*/ 154881 h 334382"/>
                <a:gd name="connsiteX10" fmla="*/ 415834 w 518026"/>
                <a:gd name="connsiteY10" fmla="*/ 138528 h 334382"/>
                <a:gd name="connsiteX11" fmla="*/ 455387 w 518026"/>
                <a:gd name="connsiteY11" fmla="*/ 116470 h 334382"/>
                <a:gd name="connsiteX12" fmla="*/ 467176 w 518026"/>
                <a:gd name="connsiteY12" fmla="*/ 121604 h 334382"/>
                <a:gd name="connsiteX13" fmla="*/ 489995 w 518026"/>
                <a:gd name="connsiteY13" fmla="*/ 125787 h 334382"/>
                <a:gd name="connsiteX14" fmla="*/ 517757 w 518026"/>
                <a:gd name="connsiteY14" fmla="*/ 102208 h 334382"/>
                <a:gd name="connsiteX15" fmla="*/ 504066 w 518026"/>
                <a:gd name="connsiteY15" fmla="*/ 84904 h 334382"/>
                <a:gd name="connsiteX16" fmla="*/ 497411 w 518026"/>
                <a:gd name="connsiteY16" fmla="*/ 80150 h 334382"/>
                <a:gd name="connsiteX17" fmla="*/ 473641 w 518026"/>
                <a:gd name="connsiteY17" fmla="*/ 58663 h 334382"/>
                <a:gd name="connsiteX18" fmla="*/ 463753 w 518026"/>
                <a:gd name="connsiteY18" fmla="*/ 49345 h 334382"/>
                <a:gd name="connsiteX19" fmla="*/ 459760 w 518026"/>
                <a:gd name="connsiteY19" fmla="*/ 45352 h 334382"/>
                <a:gd name="connsiteX20" fmla="*/ 455957 w 518026"/>
                <a:gd name="connsiteY20" fmla="*/ 41169 h 334382"/>
                <a:gd name="connsiteX21" fmla="*/ 452344 w 518026"/>
                <a:gd name="connsiteY21" fmla="*/ 37366 h 334382"/>
                <a:gd name="connsiteX22" fmla="*/ 439033 w 518026"/>
                <a:gd name="connsiteY22" fmla="*/ 29569 h 334382"/>
                <a:gd name="connsiteX23" fmla="*/ 432568 w 518026"/>
                <a:gd name="connsiteY23" fmla="*/ 29569 h 334382"/>
                <a:gd name="connsiteX24" fmla="*/ 405566 w 518026"/>
                <a:gd name="connsiteY24" fmla="*/ 12456 h 334382"/>
                <a:gd name="connsiteX25" fmla="*/ 372099 w 518026"/>
                <a:gd name="connsiteY25" fmla="*/ 7512 h 334382"/>
                <a:gd name="connsiteX26" fmla="*/ 339393 w 518026"/>
                <a:gd name="connsiteY26" fmla="*/ 17590 h 334382"/>
                <a:gd name="connsiteX27" fmla="*/ 329695 w 518026"/>
                <a:gd name="connsiteY27" fmla="*/ 15878 h 334382"/>
                <a:gd name="connsiteX28" fmla="*/ 314863 w 518026"/>
                <a:gd name="connsiteY28" fmla="*/ 14167 h 334382"/>
                <a:gd name="connsiteX29" fmla="*/ 286720 w 518026"/>
                <a:gd name="connsiteY29" fmla="*/ 14167 h 334382"/>
                <a:gd name="connsiteX30" fmla="*/ 253443 w 518026"/>
                <a:gd name="connsiteY30" fmla="*/ 13026 h 334382"/>
                <a:gd name="connsiteX31" fmla="*/ 253443 w 518026"/>
                <a:gd name="connsiteY31" fmla="*/ 17400 h 334382"/>
                <a:gd name="connsiteX32" fmla="*/ 251732 w 518026"/>
                <a:gd name="connsiteY32" fmla="*/ 26147 h 334382"/>
                <a:gd name="connsiteX33" fmla="*/ 229484 w 518026"/>
                <a:gd name="connsiteY33" fmla="*/ 47064 h 334382"/>
                <a:gd name="connsiteX34" fmla="*/ 202292 w 518026"/>
                <a:gd name="connsiteY34" fmla="*/ 38697 h 334382"/>
                <a:gd name="connsiteX35" fmla="*/ 177572 w 518026"/>
                <a:gd name="connsiteY35" fmla="*/ 33563 h 334382"/>
                <a:gd name="connsiteX36" fmla="*/ 174529 w 518026"/>
                <a:gd name="connsiteY36" fmla="*/ 39648 h 334382"/>
                <a:gd name="connsiteX37" fmla="*/ 163691 w 518026"/>
                <a:gd name="connsiteY37" fmla="*/ 52578 h 334382"/>
                <a:gd name="connsiteX38" fmla="*/ 153422 w 518026"/>
                <a:gd name="connsiteY38" fmla="*/ 54480 h 334382"/>
                <a:gd name="connsiteX39" fmla="*/ 152091 w 518026"/>
                <a:gd name="connsiteY39" fmla="*/ 54480 h 334382"/>
                <a:gd name="connsiteX40" fmla="*/ 135358 w 518026"/>
                <a:gd name="connsiteY40" fmla="*/ 79960 h 334382"/>
                <a:gd name="connsiteX41" fmla="*/ 103412 w 518026"/>
                <a:gd name="connsiteY41" fmla="*/ 98976 h 334382"/>
                <a:gd name="connsiteX42" fmla="*/ 80593 w 518026"/>
                <a:gd name="connsiteY42" fmla="*/ 102969 h 334382"/>
                <a:gd name="connsiteX43" fmla="*/ 64811 w 518026"/>
                <a:gd name="connsiteY43" fmla="*/ 104870 h 334382"/>
                <a:gd name="connsiteX44" fmla="*/ 51690 w 518026"/>
                <a:gd name="connsiteY44" fmla="*/ 113807 h 334382"/>
                <a:gd name="connsiteX45" fmla="*/ 44084 w 518026"/>
                <a:gd name="connsiteY45" fmla="*/ 120843 h 334382"/>
                <a:gd name="connsiteX46" fmla="*/ 25068 w 518026"/>
                <a:gd name="connsiteY46" fmla="*/ 131112 h 334382"/>
                <a:gd name="connsiteX47" fmla="*/ 13089 w 518026"/>
                <a:gd name="connsiteY47" fmla="*/ 136816 h 334382"/>
                <a:gd name="connsiteX48" fmla="*/ 9856 w 518026"/>
                <a:gd name="connsiteY48" fmla="*/ 138718 h 334382"/>
                <a:gd name="connsiteX49" fmla="*/ 8145 w 518026"/>
                <a:gd name="connsiteY49" fmla="*/ 139859 h 334382"/>
                <a:gd name="connsiteX50" fmla="*/ 158 w 518026"/>
                <a:gd name="connsiteY50" fmla="*/ 147275 h 334382"/>
                <a:gd name="connsiteX51" fmla="*/ 158 w 518026"/>
                <a:gd name="connsiteY51" fmla="*/ 150317 h 334382"/>
                <a:gd name="connsiteX52" fmla="*/ 9286 w 518026"/>
                <a:gd name="connsiteY52" fmla="*/ 164198 h 334382"/>
                <a:gd name="connsiteX53" fmla="*/ 17462 w 518026"/>
                <a:gd name="connsiteY53" fmla="*/ 171995 h 334382"/>
                <a:gd name="connsiteX54" fmla="*/ 20695 w 518026"/>
                <a:gd name="connsiteY54" fmla="*/ 188538 h 334382"/>
                <a:gd name="connsiteX55" fmla="*/ 38189 w 518026"/>
                <a:gd name="connsiteY55" fmla="*/ 203180 h 334382"/>
                <a:gd name="connsiteX56" fmla="*/ 41802 w 518026"/>
                <a:gd name="connsiteY56" fmla="*/ 208504 h 334382"/>
                <a:gd name="connsiteX57" fmla="*/ 48647 w 518026"/>
                <a:gd name="connsiteY57" fmla="*/ 217061 h 334382"/>
                <a:gd name="connsiteX58" fmla="*/ 54732 w 518026"/>
                <a:gd name="connsiteY58" fmla="*/ 219913 h 334382"/>
                <a:gd name="connsiteX59" fmla="*/ 66902 w 518026"/>
                <a:gd name="connsiteY59" fmla="*/ 228090 h 334382"/>
                <a:gd name="connsiteX60" fmla="*/ 69564 w 518026"/>
                <a:gd name="connsiteY60" fmla="*/ 233034 h 334382"/>
                <a:gd name="connsiteX61" fmla="*/ 71656 w 518026"/>
                <a:gd name="connsiteY61" fmla="*/ 236457 h 334382"/>
                <a:gd name="connsiteX62" fmla="*/ 73558 w 518026"/>
                <a:gd name="connsiteY62" fmla="*/ 236457 h 334382"/>
                <a:gd name="connsiteX63" fmla="*/ 76410 w 518026"/>
                <a:gd name="connsiteY63" fmla="*/ 237598 h 334382"/>
                <a:gd name="connsiteX64" fmla="*/ 87059 w 518026"/>
                <a:gd name="connsiteY64" fmla="*/ 253381 h 334382"/>
                <a:gd name="connsiteX65" fmla="*/ 94855 w 518026"/>
                <a:gd name="connsiteY65" fmla="*/ 288369 h 334382"/>
                <a:gd name="connsiteX66" fmla="*/ 94855 w 518026"/>
                <a:gd name="connsiteY66" fmla="*/ 289890 h 334382"/>
                <a:gd name="connsiteX67" fmla="*/ 99799 w 518026"/>
                <a:gd name="connsiteY67" fmla="*/ 307004 h 334382"/>
                <a:gd name="connsiteX68" fmla="*/ 102841 w 518026"/>
                <a:gd name="connsiteY68" fmla="*/ 310427 h 334382"/>
                <a:gd name="connsiteX69" fmla="*/ 108736 w 518026"/>
                <a:gd name="connsiteY69" fmla="*/ 318984 h 334382"/>
                <a:gd name="connsiteX70" fmla="*/ 109877 w 518026"/>
                <a:gd name="connsiteY70" fmla="*/ 322406 h 334382"/>
                <a:gd name="connsiteX71" fmla="*/ 110828 w 518026"/>
                <a:gd name="connsiteY71" fmla="*/ 325259 h 334382"/>
                <a:gd name="connsiteX72" fmla="*/ 115392 w 518026"/>
                <a:gd name="connsiteY72" fmla="*/ 329252 h 334382"/>
                <a:gd name="connsiteX73" fmla="*/ 130414 w 518026"/>
                <a:gd name="connsiteY73" fmla="*/ 333816 h 334382"/>
                <a:gd name="connsiteX74" fmla="*/ 135548 w 518026"/>
                <a:gd name="connsiteY74" fmla="*/ 327731 h 334382"/>
                <a:gd name="connsiteX75" fmla="*/ 144295 w 518026"/>
                <a:gd name="connsiteY75" fmla="*/ 318603 h 334382"/>
                <a:gd name="connsiteX76" fmla="*/ 161789 w 518026"/>
                <a:gd name="connsiteY76" fmla="*/ 316702 h 334382"/>
                <a:gd name="connsiteX77" fmla="*/ 171107 w 518026"/>
                <a:gd name="connsiteY77" fmla="*/ 316702 h 334382"/>
                <a:gd name="connsiteX78" fmla="*/ 181375 w 518026"/>
                <a:gd name="connsiteY78" fmla="*/ 308715 h 334382"/>
                <a:gd name="connsiteX79" fmla="*/ 184798 w 518026"/>
                <a:gd name="connsiteY79" fmla="*/ 305483 h 334382"/>
                <a:gd name="connsiteX80" fmla="*/ 207996 w 518026"/>
                <a:gd name="connsiteY80" fmla="*/ 298637 h 334382"/>
                <a:gd name="connsiteX81" fmla="*/ 214081 w 518026"/>
                <a:gd name="connsiteY81" fmla="*/ 305863 h 334382"/>
                <a:gd name="connsiteX82" fmla="*/ 214081 w 518026"/>
                <a:gd name="connsiteY82" fmla="*/ 311948 h 334382"/>
                <a:gd name="connsiteX83" fmla="*/ 223969 w 518026"/>
                <a:gd name="connsiteY83" fmla="*/ 324878 h 334382"/>
                <a:gd name="connsiteX84" fmla="*/ 230625 w 518026"/>
                <a:gd name="connsiteY84" fmla="*/ 329252 h 334382"/>
                <a:gd name="connsiteX85" fmla="*/ 236710 w 518026"/>
                <a:gd name="connsiteY85" fmla="*/ 321646 h 334382"/>
                <a:gd name="connsiteX86" fmla="*/ 250591 w 518026"/>
                <a:gd name="connsiteY86" fmla="*/ 311948 h 334382"/>
                <a:gd name="connsiteX87" fmla="*/ 265613 w 518026"/>
                <a:gd name="connsiteY87" fmla="*/ 297687 h 334382"/>
                <a:gd name="connsiteX88" fmla="*/ 264472 w 518026"/>
                <a:gd name="connsiteY88" fmla="*/ 285136 h 334382"/>
                <a:gd name="connsiteX89" fmla="*/ 270177 w 518026"/>
                <a:gd name="connsiteY89" fmla="*/ 258515 h 334382"/>
                <a:gd name="connsiteX90" fmla="*/ 285389 w 518026"/>
                <a:gd name="connsiteY90" fmla="*/ 248627 h 334382"/>
                <a:gd name="connsiteX91" fmla="*/ 295467 w 518026"/>
                <a:gd name="connsiteY91" fmla="*/ 242542 h 334382"/>
                <a:gd name="connsiteX92" fmla="*/ 301742 w 518026"/>
                <a:gd name="connsiteY92" fmla="*/ 234365 h 334382"/>
                <a:gd name="connsiteX93" fmla="*/ 301742 w 518026"/>
                <a:gd name="connsiteY93" fmla="*/ 231893 h 334382"/>
                <a:gd name="connsiteX94" fmla="*/ 303454 w 518026"/>
                <a:gd name="connsiteY94" fmla="*/ 214779 h 334382"/>
                <a:gd name="connsiteX95" fmla="*/ 305355 w 518026"/>
                <a:gd name="connsiteY95" fmla="*/ 195764 h 334382"/>
                <a:gd name="connsiteX96" fmla="*/ 305355 w 518026"/>
                <a:gd name="connsiteY96" fmla="*/ 178270 h 334382"/>
                <a:gd name="connsiteX97" fmla="*/ 305355 w 518026"/>
                <a:gd name="connsiteY97" fmla="*/ 172945 h 334382"/>
                <a:gd name="connsiteX98" fmla="*/ 316955 w 518026"/>
                <a:gd name="connsiteY98" fmla="*/ 153740 h 33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518026" h="334382">
                  <a:moveTo>
                    <a:pt x="316955" y="153740"/>
                  </a:moveTo>
                  <a:cubicBezTo>
                    <a:pt x="320832" y="152941"/>
                    <a:pt x="324857" y="153265"/>
                    <a:pt x="328554" y="154691"/>
                  </a:cubicBezTo>
                  <a:cubicBezTo>
                    <a:pt x="332167" y="155642"/>
                    <a:pt x="333688" y="156022"/>
                    <a:pt x="336160" y="154691"/>
                  </a:cubicBezTo>
                  <a:cubicBezTo>
                    <a:pt x="337658" y="153607"/>
                    <a:pt x="338946" y="152238"/>
                    <a:pt x="339963" y="150697"/>
                  </a:cubicBezTo>
                  <a:cubicBezTo>
                    <a:pt x="342036" y="147313"/>
                    <a:pt x="344995" y="144555"/>
                    <a:pt x="348520" y="142711"/>
                  </a:cubicBezTo>
                  <a:cubicBezTo>
                    <a:pt x="359435" y="138965"/>
                    <a:pt x="371519" y="141456"/>
                    <a:pt x="380086" y="149176"/>
                  </a:cubicBezTo>
                  <a:cubicBezTo>
                    <a:pt x="383231" y="151534"/>
                    <a:pt x="386686" y="153455"/>
                    <a:pt x="390354" y="154881"/>
                  </a:cubicBezTo>
                  <a:lnTo>
                    <a:pt x="390354" y="154881"/>
                  </a:lnTo>
                  <a:lnTo>
                    <a:pt x="391495" y="154881"/>
                  </a:lnTo>
                  <a:cubicBezTo>
                    <a:pt x="395093" y="156649"/>
                    <a:pt x="399306" y="156649"/>
                    <a:pt x="402904" y="154881"/>
                  </a:cubicBezTo>
                  <a:cubicBezTo>
                    <a:pt x="407848" y="152599"/>
                    <a:pt x="411271" y="146704"/>
                    <a:pt x="415834" y="138528"/>
                  </a:cubicBezTo>
                  <a:cubicBezTo>
                    <a:pt x="422870" y="125977"/>
                    <a:pt x="432378" y="108674"/>
                    <a:pt x="455387" y="116470"/>
                  </a:cubicBezTo>
                  <a:cubicBezTo>
                    <a:pt x="459408" y="117953"/>
                    <a:pt x="463345" y="119683"/>
                    <a:pt x="467176" y="121604"/>
                  </a:cubicBezTo>
                  <a:cubicBezTo>
                    <a:pt x="473754" y="126396"/>
                    <a:pt x="482147" y="127917"/>
                    <a:pt x="489995" y="125787"/>
                  </a:cubicBezTo>
                  <a:cubicBezTo>
                    <a:pt x="501022" y="120292"/>
                    <a:pt x="510550" y="112191"/>
                    <a:pt x="517757" y="102208"/>
                  </a:cubicBezTo>
                  <a:cubicBezTo>
                    <a:pt x="519468" y="96123"/>
                    <a:pt x="512813" y="90989"/>
                    <a:pt x="504066" y="84904"/>
                  </a:cubicBezTo>
                  <a:cubicBezTo>
                    <a:pt x="501765" y="83440"/>
                    <a:pt x="499544" y="81843"/>
                    <a:pt x="497411" y="80150"/>
                  </a:cubicBezTo>
                  <a:cubicBezTo>
                    <a:pt x="489424" y="73495"/>
                    <a:pt x="481438" y="66079"/>
                    <a:pt x="473641" y="58663"/>
                  </a:cubicBezTo>
                  <a:lnTo>
                    <a:pt x="463753" y="49345"/>
                  </a:lnTo>
                  <a:lnTo>
                    <a:pt x="459760" y="45352"/>
                  </a:lnTo>
                  <a:lnTo>
                    <a:pt x="455957" y="41169"/>
                  </a:lnTo>
                  <a:cubicBezTo>
                    <a:pt x="454852" y="39819"/>
                    <a:pt x="453645" y="38545"/>
                    <a:pt x="452344" y="37366"/>
                  </a:cubicBezTo>
                  <a:cubicBezTo>
                    <a:pt x="449208" y="33011"/>
                    <a:pt x="444373" y="30178"/>
                    <a:pt x="439033" y="29569"/>
                  </a:cubicBezTo>
                  <a:lnTo>
                    <a:pt x="432568" y="29569"/>
                  </a:lnTo>
                  <a:cubicBezTo>
                    <a:pt x="420746" y="30577"/>
                    <a:pt x="409706" y="23580"/>
                    <a:pt x="405566" y="12456"/>
                  </a:cubicBezTo>
                  <a:cubicBezTo>
                    <a:pt x="395108" y="-5609"/>
                    <a:pt x="386551" y="-1045"/>
                    <a:pt x="372099" y="7512"/>
                  </a:cubicBezTo>
                  <a:cubicBezTo>
                    <a:pt x="362584" y="14338"/>
                    <a:pt x="351100" y="17875"/>
                    <a:pt x="339393" y="17590"/>
                  </a:cubicBezTo>
                  <a:cubicBezTo>
                    <a:pt x="335970" y="17590"/>
                    <a:pt x="332737" y="16449"/>
                    <a:pt x="329695" y="15878"/>
                  </a:cubicBezTo>
                  <a:cubicBezTo>
                    <a:pt x="324834" y="14737"/>
                    <a:pt x="319856" y="14167"/>
                    <a:pt x="314863" y="14167"/>
                  </a:cubicBezTo>
                  <a:cubicBezTo>
                    <a:pt x="304214" y="14167"/>
                    <a:pt x="295847" y="14167"/>
                    <a:pt x="286720" y="14167"/>
                  </a:cubicBezTo>
                  <a:lnTo>
                    <a:pt x="253443" y="13026"/>
                  </a:lnTo>
                  <a:cubicBezTo>
                    <a:pt x="253337" y="14490"/>
                    <a:pt x="253337" y="15936"/>
                    <a:pt x="253443" y="17400"/>
                  </a:cubicBezTo>
                  <a:cubicBezTo>
                    <a:pt x="253301" y="20385"/>
                    <a:pt x="252722" y="23332"/>
                    <a:pt x="251732" y="26147"/>
                  </a:cubicBezTo>
                  <a:cubicBezTo>
                    <a:pt x="247706" y="36016"/>
                    <a:pt x="239587" y="43660"/>
                    <a:pt x="229484" y="47064"/>
                  </a:cubicBezTo>
                  <a:cubicBezTo>
                    <a:pt x="219679" y="47900"/>
                    <a:pt x="209932" y="44896"/>
                    <a:pt x="202292" y="38697"/>
                  </a:cubicBezTo>
                  <a:cubicBezTo>
                    <a:pt x="190502" y="32042"/>
                    <a:pt x="183276" y="28238"/>
                    <a:pt x="177572" y="33563"/>
                  </a:cubicBezTo>
                  <a:cubicBezTo>
                    <a:pt x="176148" y="35350"/>
                    <a:pt x="175111" y="37423"/>
                    <a:pt x="174529" y="39648"/>
                  </a:cubicBezTo>
                  <a:cubicBezTo>
                    <a:pt x="173132" y="45409"/>
                    <a:pt x="169123" y="50201"/>
                    <a:pt x="163691" y="52578"/>
                  </a:cubicBezTo>
                  <a:cubicBezTo>
                    <a:pt x="160431" y="53890"/>
                    <a:pt x="156938" y="54537"/>
                    <a:pt x="153422" y="54480"/>
                  </a:cubicBezTo>
                  <a:lnTo>
                    <a:pt x="152091" y="54480"/>
                  </a:lnTo>
                  <a:cubicBezTo>
                    <a:pt x="148031" y="63873"/>
                    <a:pt x="142369" y="72506"/>
                    <a:pt x="135358" y="79960"/>
                  </a:cubicBezTo>
                  <a:cubicBezTo>
                    <a:pt x="126105" y="88384"/>
                    <a:pt x="115236" y="94868"/>
                    <a:pt x="103412" y="98976"/>
                  </a:cubicBezTo>
                  <a:cubicBezTo>
                    <a:pt x="96032" y="101372"/>
                    <a:pt x="88350" y="102722"/>
                    <a:pt x="80593" y="102969"/>
                  </a:cubicBezTo>
                  <a:cubicBezTo>
                    <a:pt x="75278" y="103007"/>
                    <a:pt x="69985" y="103653"/>
                    <a:pt x="64811" y="104870"/>
                  </a:cubicBezTo>
                  <a:cubicBezTo>
                    <a:pt x="59619" y="106430"/>
                    <a:pt x="55037" y="109548"/>
                    <a:pt x="51690" y="113807"/>
                  </a:cubicBezTo>
                  <a:cubicBezTo>
                    <a:pt x="49334" y="116337"/>
                    <a:pt x="46792" y="118695"/>
                    <a:pt x="44084" y="120843"/>
                  </a:cubicBezTo>
                  <a:cubicBezTo>
                    <a:pt x="38172" y="125008"/>
                    <a:pt x="31788" y="128449"/>
                    <a:pt x="25068" y="131112"/>
                  </a:cubicBezTo>
                  <a:cubicBezTo>
                    <a:pt x="20953" y="132747"/>
                    <a:pt x="16951" y="134649"/>
                    <a:pt x="13089" y="136816"/>
                  </a:cubicBezTo>
                  <a:lnTo>
                    <a:pt x="9856" y="138718"/>
                  </a:lnTo>
                  <a:lnTo>
                    <a:pt x="8145" y="139859"/>
                  </a:lnTo>
                  <a:cubicBezTo>
                    <a:pt x="3011" y="142521"/>
                    <a:pt x="729" y="144232"/>
                    <a:pt x="158" y="147275"/>
                  </a:cubicBezTo>
                  <a:cubicBezTo>
                    <a:pt x="-53" y="148282"/>
                    <a:pt x="-53" y="149309"/>
                    <a:pt x="158" y="150317"/>
                  </a:cubicBezTo>
                  <a:cubicBezTo>
                    <a:pt x="158" y="156592"/>
                    <a:pt x="3581" y="159635"/>
                    <a:pt x="9286" y="164198"/>
                  </a:cubicBezTo>
                  <a:cubicBezTo>
                    <a:pt x="12243" y="166537"/>
                    <a:pt x="14981" y="169161"/>
                    <a:pt x="17462" y="171995"/>
                  </a:cubicBezTo>
                  <a:cubicBezTo>
                    <a:pt x="21874" y="176292"/>
                    <a:pt x="23159" y="182891"/>
                    <a:pt x="20695" y="188538"/>
                  </a:cubicBezTo>
                  <a:cubicBezTo>
                    <a:pt x="27617" y="191942"/>
                    <a:pt x="33616" y="196962"/>
                    <a:pt x="38189" y="203180"/>
                  </a:cubicBezTo>
                  <a:cubicBezTo>
                    <a:pt x="39501" y="204872"/>
                    <a:pt x="40709" y="206660"/>
                    <a:pt x="41802" y="208504"/>
                  </a:cubicBezTo>
                  <a:cubicBezTo>
                    <a:pt x="43517" y="211775"/>
                    <a:pt x="45841" y="214665"/>
                    <a:pt x="48647" y="217061"/>
                  </a:cubicBezTo>
                  <a:cubicBezTo>
                    <a:pt x="50583" y="218202"/>
                    <a:pt x="52620" y="219153"/>
                    <a:pt x="54732" y="219913"/>
                  </a:cubicBezTo>
                  <a:cubicBezTo>
                    <a:pt x="59507" y="221378"/>
                    <a:pt x="63742" y="224230"/>
                    <a:pt x="66902" y="228090"/>
                  </a:cubicBezTo>
                  <a:cubicBezTo>
                    <a:pt x="67975" y="229630"/>
                    <a:pt x="68868" y="231285"/>
                    <a:pt x="69564" y="233034"/>
                  </a:cubicBezTo>
                  <a:cubicBezTo>
                    <a:pt x="70085" y="234270"/>
                    <a:pt x="70791" y="235430"/>
                    <a:pt x="71656" y="236457"/>
                  </a:cubicBezTo>
                  <a:lnTo>
                    <a:pt x="73558" y="236457"/>
                  </a:lnTo>
                  <a:lnTo>
                    <a:pt x="76410" y="237598"/>
                  </a:lnTo>
                  <a:cubicBezTo>
                    <a:pt x="81955" y="241192"/>
                    <a:pt x="85800" y="246896"/>
                    <a:pt x="87059" y="253381"/>
                  </a:cubicBezTo>
                  <a:cubicBezTo>
                    <a:pt x="90510" y="264828"/>
                    <a:pt x="93115" y="276522"/>
                    <a:pt x="94855" y="288369"/>
                  </a:cubicBezTo>
                  <a:lnTo>
                    <a:pt x="94855" y="289890"/>
                  </a:lnTo>
                  <a:cubicBezTo>
                    <a:pt x="95262" y="295880"/>
                    <a:pt x="96947" y="301718"/>
                    <a:pt x="99799" y="307004"/>
                  </a:cubicBezTo>
                  <a:lnTo>
                    <a:pt x="102841" y="310427"/>
                  </a:lnTo>
                  <a:cubicBezTo>
                    <a:pt x="105254" y="312937"/>
                    <a:pt x="107245" y="315827"/>
                    <a:pt x="108736" y="318984"/>
                  </a:cubicBezTo>
                  <a:lnTo>
                    <a:pt x="109877" y="322406"/>
                  </a:lnTo>
                  <a:cubicBezTo>
                    <a:pt x="110105" y="323376"/>
                    <a:pt x="110425" y="324346"/>
                    <a:pt x="110828" y="325259"/>
                  </a:cubicBezTo>
                  <a:cubicBezTo>
                    <a:pt x="112077" y="326875"/>
                    <a:pt x="113627" y="328225"/>
                    <a:pt x="115392" y="329252"/>
                  </a:cubicBezTo>
                  <a:cubicBezTo>
                    <a:pt x="120336" y="332484"/>
                    <a:pt x="126420" y="335717"/>
                    <a:pt x="130414" y="333816"/>
                  </a:cubicBezTo>
                  <a:cubicBezTo>
                    <a:pt x="132629" y="332276"/>
                    <a:pt x="134399" y="330165"/>
                    <a:pt x="135548" y="327731"/>
                  </a:cubicBezTo>
                  <a:cubicBezTo>
                    <a:pt x="137744" y="324080"/>
                    <a:pt x="140733" y="320961"/>
                    <a:pt x="144295" y="318603"/>
                  </a:cubicBezTo>
                  <a:cubicBezTo>
                    <a:pt x="149720" y="315922"/>
                    <a:pt x="155915" y="315257"/>
                    <a:pt x="161789" y="316702"/>
                  </a:cubicBezTo>
                  <a:cubicBezTo>
                    <a:pt x="164868" y="317272"/>
                    <a:pt x="168028" y="317272"/>
                    <a:pt x="171107" y="316702"/>
                  </a:cubicBezTo>
                  <a:cubicBezTo>
                    <a:pt x="175216" y="315066"/>
                    <a:pt x="178775" y="312290"/>
                    <a:pt x="181375" y="308715"/>
                  </a:cubicBezTo>
                  <a:lnTo>
                    <a:pt x="184798" y="305483"/>
                  </a:lnTo>
                  <a:cubicBezTo>
                    <a:pt x="192974" y="297306"/>
                    <a:pt x="200771" y="295024"/>
                    <a:pt x="207996" y="298637"/>
                  </a:cubicBezTo>
                  <a:cubicBezTo>
                    <a:pt x="211140" y="299835"/>
                    <a:pt x="213442" y="302554"/>
                    <a:pt x="214081" y="305863"/>
                  </a:cubicBezTo>
                  <a:cubicBezTo>
                    <a:pt x="214467" y="307879"/>
                    <a:pt x="214467" y="309932"/>
                    <a:pt x="214081" y="311948"/>
                  </a:cubicBezTo>
                  <a:cubicBezTo>
                    <a:pt x="214081" y="318033"/>
                    <a:pt x="219976" y="322597"/>
                    <a:pt x="223969" y="324878"/>
                  </a:cubicBezTo>
                  <a:cubicBezTo>
                    <a:pt x="227963" y="327160"/>
                    <a:pt x="228343" y="327541"/>
                    <a:pt x="230625" y="329252"/>
                  </a:cubicBezTo>
                  <a:cubicBezTo>
                    <a:pt x="232355" y="326495"/>
                    <a:pt x="234397" y="323947"/>
                    <a:pt x="236710" y="321646"/>
                  </a:cubicBezTo>
                  <a:cubicBezTo>
                    <a:pt x="240844" y="317767"/>
                    <a:pt x="245519" y="314496"/>
                    <a:pt x="250591" y="311948"/>
                  </a:cubicBezTo>
                  <a:cubicBezTo>
                    <a:pt x="258007" y="307955"/>
                    <a:pt x="264282" y="304532"/>
                    <a:pt x="265613" y="297687"/>
                  </a:cubicBezTo>
                  <a:cubicBezTo>
                    <a:pt x="266273" y="293465"/>
                    <a:pt x="265881" y="289167"/>
                    <a:pt x="264472" y="285136"/>
                  </a:cubicBezTo>
                  <a:cubicBezTo>
                    <a:pt x="260420" y="275971"/>
                    <a:pt x="262721" y="265227"/>
                    <a:pt x="270177" y="258515"/>
                  </a:cubicBezTo>
                  <a:cubicBezTo>
                    <a:pt x="274664" y="254407"/>
                    <a:pt x="279806" y="251061"/>
                    <a:pt x="285389" y="248627"/>
                  </a:cubicBezTo>
                  <a:cubicBezTo>
                    <a:pt x="288928" y="246915"/>
                    <a:pt x="292301" y="244881"/>
                    <a:pt x="295467" y="242542"/>
                  </a:cubicBezTo>
                  <a:cubicBezTo>
                    <a:pt x="298272" y="240450"/>
                    <a:pt x="300443" y="237617"/>
                    <a:pt x="301742" y="234365"/>
                  </a:cubicBezTo>
                  <a:cubicBezTo>
                    <a:pt x="301826" y="233548"/>
                    <a:pt x="301826" y="232711"/>
                    <a:pt x="301742" y="231893"/>
                  </a:cubicBezTo>
                  <a:cubicBezTo>
                    <a:pt x="302933" y="226265"/>
                    <a:pt x="303507" y="220522"/>
                    <a:pt x="303454" y="214779"/>
                  </a:cubicBezTo>
                  <a:cubicBezTo>
                    <a:pt x="303400" y="208390"/>
                    <a:pt x="304037" y="202020"/>
                    <a:pt x="305355" y="195764"/>
                  </a:cubicBezTo>
                  <a:cubicBezTo>
                    <a:pt x="306576" y="190002"/>
                    <a:pt x="306576" y="184031"/>
                    <a:pt x="305355" y="178270"/>
                  </a:cubicBezTo>
                  <a:lnTo>
                    <a:pt x="305355" y="172945"/>
                  </a:lnTo>
                  <a:cubicBezTo>
                    <a:pt x="304785" y="166290"/>
                    <a:pt x="303834" y="156402"/>
                    <a:pt x="316955" y="153740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02" name="Полилиния: фигура 501">
              <a:extLst>
                <a:ext uri="{FF2B5EF4-FFF2-40B4-BE49-F238E27FC236}">
                  <a16:creationId xmlns:a16="http://schemas.microsoft.com/office/drawing/2014/main" id="{4E768181-4109-1678-B475-8337EE35EE91}"/>
                </a:ext>
              </a:extLst>
            </p:cNvPr>
            <p:cNvSpPr/>
            <p:nvPr/>
          </p:nvSpPr>
          <p:spPr>
            <a:xfrm>
              <a:off x="4728074" y="4031345"/>
              <a:ext cx="238032" cy="172065"/>
            </a:xfrm>
            <a:custGeom>
              <a:avLst/>
              <a:gdLst>
                <a:gd name="connsiteX0" fmla="*/ 94697 w 261870"/>
                <a:gd name="connsiteY0" fmla="*/ 165546 h 188744"/>
                <a:gd name="connsiteX1" fmla="*/ 96218 w 261870"/>
                <a:gd name="connsiteY1" fmla="*/ 176194 h 188744"/>
                <a:gd name="connsiteX2" fmla="*/ 99641 w 261870"/>
                <a:gd name="connsiteY2" fmla="*/ 183420 h 188744"/>
                <a:gd name="connsiteX3" fmla="*/ 102683 w 261870"/>
                <a:gd name="connsiteY3" fmla="*/ 188745 h 188744"/>
                <a:gd name="connsiteX4" fmla="*/ 111430 w 261870"/>
                <a:gd name="connsiteY4" fmla="*/ 187033 h 188744"/>
                <a:gd name="connsiteX5" fmla="*/ 123220 w 261870"/>
                <a:gd name="connsiteY5" fmla="*/ 184751 h 188744"/>
                <a:gd name="connsiteX6" fmla="*/ 152884 w 261870"/>
                <a:gd name="connsiteY6" fmla="*/ 175814 h 188744"/>
                <a:gd name="connsiteX7" fmla="*/ 158969 w 261870"/>
                <a:gd name="connsiteY7" fmla="*/ 171821 h 188744"/>
                <a:gd name="connsiteX8" fmla="*/ 180836 w 261870"/>
                <a:gd name="connsiteY8" fmla="*/ 165736 h 188744"/>
                <a:gd name="connsiteX9" fmla="*/ 189013 w 261870"/>
                <a:gd name="connsiteY9" fmla="*/ 168968 h 188744"/>
                <a:gd name="connsiteX10" fmla="*/ 195288 w 261870"/>
                <a:gd name="connsiteY10" fmla="*/ 171440 h 188744"/>
                <a:gd name="connsiteX11" fmla="*/ 199091 w 261870"/>
                <a:gd name="connsiteY11" fmla="*/ 169729 h 188744"/>
                <a:gd name="connsiteX12" fmla="*/ 204986 w 261870"/>
                <a:gd name="connsiteY12" fmla="*/ 166687 h 188744"/>
                <a:gd name="connsiteX13" fmla="*/ 230467 w 261870"/>
                <a:gd name="connsiteY13" fmla="*/ 172962 h 188744"/>
                <a:gd name="connsiteX14" fmla="*/ 232368 w 261870"/>
                <a:gd name="connsiteY14" fmla="*/ 174673 h 188744"/>
                <a:gd name="connsiteX15" fmla="*/ 251383 w 261870"/>
                <a:gd name="connsiteY15" fmla="*/ 178856 h 188744"/>
                <a:gd name="connsiteX16" fmla="*/ 256137 w 261870"/>
                <a:gd name="connsiteY16" fmla="*/ 175814 h 188744"/>
                <a:gd name="connsiteX17" fmla="*/ 256137 w 261870"/>
                <a:gd name="connsiteY17" fmla="*/ 171060 h 188744"/>
                <a:gd name="connsiteX18" fmla="*/ 259750 w 261870"/>
                <a:gd name="connsiteY18" fmla="*/ 162503 h 188744"/>
                <a:gd name="connsiteX19" fmla="*/ 261462 w 261870"/>
                <a:gd name="connsiteY19" fmla="*/ 154327 h 188744"/>
                <a:gd name="connsiteX20" fmla="*/ 257278 w 261870"/>
                <a:gd name="connsiteY20" fmla="*/ 149953 h 188744"/>
                <a:gd name="connsiteX21" fmla="*/ 249862 w 261870"/>
                <a:gd name="connsiteY21" fmla="*/ 140065 h 188744"/>
                <a:gd name="connsiteX22" fmla="*/ 254996 w 261870"/>
                <a:gd name="connsiteY22" fmla="*/ 125613 h 188744"/>
                <a:gd name="connsiteX23" fmla="*/ 258229 w 261870"/>
                <a:gd name="connsiteY23" fmla="*/ 119338 h 188744"/>
                <a:gd name="connsiteX24" fmla="*/ 250813 w 261870"/>
                <a:gd name="connsiteY24" fmla="*/ 112873 h 188744"/>
                <a:gd name="connsiteX25" fmla="*/ 247961 w 261870"/>
                <a:gd name="connsiteY25" fmla="*/ 111352 h 188744"/>
                <a:gd name="connsiteX26" fmla="*/ 243587 w 261870"/>
                <a:gd name="connsiteY26" fmla="*/ 109450 h 188744"/>
                <a:gd name="connsiteX27" fmla="*/ 232558 w 261870"/>
                <a:gd name="connsiteY27" fmla="*/ 97851 h 188744"/>
                <a:gd name="connsiteX28" fmla="*/ 231227 w 261870"/>
                <a:gd name="connsiteY28" fmla="*/ 90245 h 188744"/>
                <a:gd name="connsiteX29" fmla="*/ 226854 w 261870"/>
                <a:gd name="connsiteY29" fmla="*/ 82829 h 188744"/>
                <a:gd name="connsiteX30" fmla="*/ 216775 w 261870"/>
                <a:gd name="connsiteY30" fmla="*/ 79977 h 188744"/>
                <a:gd name="connsiteX31" fmla="*/ 205746 w 261870"/>
                <a:gd name="connsiteY31" fmla="*/ 77124 h 188744"/>
                <a:gd name="connsiteX32" fmla="*/ 197950 w 261870"/>
                <a:gd name="connsiteY32" fmla="*/ 72751 h 188744"/>
                <a:gd name="connsiteX33" fmla="*/ 189583 w 261870"/>
                <a:gd name="connsiteY33" fmla="*/ 68377 h 188744"/>
                <a:gd name="connsiteX34" fmla="*/ 151553 w 261870"/>
                <a:gd name="connsiteY34" fmla="*/ 59630 h 188744"/>
                <a:gd name="connsiteX35" fmla="*/ 139953 w 261870"/>
                <a:gd name="connsiteY35" fmla="*/ 59630 h 188744"/>
                <a:gd name="connsiteX36" fmla="*/ 104204 w 261870"/>
                <a:gd name="connsiteY36" fmla="*/ 44608 h 188744"/>
                <a:gd name="connsiteX37" fmla="*/ 85189 w 261870"/>
                <a:gd name="connsiteY37" fmla="*/ 15895 h 188744"/>
                <a:gd name="connsiteX38" fmla="*/ 75491 w 261870"/>
                <a:gd name="connsiteY38" fmla="*/ 14373 h 188744"/>
                <a:gd name="connsiteX39" fmla="*/ 61230 w 261870"/>
                <a:gd name="connsiteY39" fmla="*/ 6958 h 188744"/>
                <a:gd name="connsiteX40" fmla="*/ 40122 w 261870"/>
                <a:gd name="connsiteY40" fmla="*/ 1253 h 188744"/>
                <a:gd name="connsiteX41" fmla="*/ 35559 w 261870"/>
                <a:gd name="connsiteY41" fmla="*/ 5816 h 188744"/>
                <a:gd name="connsiteX42" fmla="*/ 28903 w 261870"/>
                <a:gd name="connsiteY42" fmla="*/ 12472 h 188744"/>
                <a:gd name="connsiteX43" fmla="*/ 12550 w 261870"/>
                <a:gd name="connsiteY43" fmla="*/ 13803 h 188744"/>
                <a:gd name="connsiteX44" fmla="*/ 6275 w 261870"/>
                <a:gd name="connsiteY44" fmla="*/ 13803 h 188744"/>
                <a:gd name="connsiteX45" fmla="*/ 3233 w 261870"/>
                <a:gd name="connsiteY45" fmla="*/ 21980 h 188744"/>
                <a:gd name="connsiteX46" fmla="*/ 3233 w 261870"/>
                <a:gd name="connsiteY46" fmla="*/ 26923 h 188744"/>
                <a:gd name="connsiteX47" fmla="*/ 3233 w 261870"/>
                <a:gd name="connsiteY47" fmla="*/ 48411 h 188744"/>
                <a:gd name="connsiteX48" fmla="*/ 1711 w 261870"/>
                <a:gd name="connsiteY48" fmla="*/ 64764 h 188744"/>
                <a:gd name="connsiteX49" fmla="*/ 0 w 261870"/>
                <a:gd name="connsiteY49" fmla="*/ 81878 h 188744"/>
                <a:gd name="connsiteX50" fmla="*/ 0 w 261870"/>
                <a:gd name="connsiteY50" fmla="*/ 81878 h 188744"/>
                <a:gd name="connsiteX51" fmla="*/ 20156 w 261870"/>
                <a:gd name="connsiteY51" fmla="*/ 85871 h 188744"/>
                <a:gd name="connsiteX52" fmla="*/ 23959 w 261870"/>
                <a:gd name="connsiteY52" fmla="*/ 88533 h 188744"/>
                <a:gd name="connsiteX53" fmla="*/ 27763 w 261870"/>
                <a:gd name="connsiteY53" fmla="*/ 91005 h 188744"/>
                <a:gd name="connsiteX54" fmla="*/ 34988 w 261870"/>
                <a:gd name="connsiteY54" fmla="*/ 91005 h 188744"/>
                <a:gd name="connsiteX55" fmla="*/ 76822 w 261870"/>
                <a:gd name="connsiteY55" fmla="*/ 94999 h 188744"/>
                <a:gd name="connsiteX56" fmla="*/ 84809 w 261870"/>
                <a:gd name="connsiteY56" fmla="*/ 103365 h 188744"/>
                <a:gd name="connsiteX57" fmla="*/ 84809 w 261870"/>
                <a:gd name="connsiteY57" fmla="*/ 112873 h 188744"/>
                <a:gd name="connsiteX58" fmla="*/ 84809 w 261870"/>
                <a:gd name="connsiteY58" fmla="*/ 124092 h 188744"/>
                <a:gd name="connsiteX59" fmla="*/ 86140 w 261870"/>
                <a:gd name="connsiteY59" fmla="*/ 127895 h 188744"/>
                <a:gd name="connsiteX60" fmla="*/ 89372 w 261870"/>
                <a:gd name="connsiteY60" fmla="*/ 130748 h 188744"/>
                <a:gd name="connsiteX61" fmla="*/ 93746 w 261870"/>
                <a:gd name="connsiteY61" fmla="*/ 134361 h 188744"/>
                <a:gd name="connsiteX62" fmla="*/ 99451 w 261870"/>
                <a:gd name="connsiteY62" fmla="*/ 151855 h 188744"/>
                <a:gd name="connsiteX63" fmla="*/ 97739 w 261870"/>
                <a:gd name="connsiteY63" fmla="*/ 162123 h 188744"/>
                <a:gd name="connsiteX64" fmla="*/ 94697 w 261870"/>
                <a:gd name="connsiteY64" fmla="*/ 165546 h 18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61870" h="188744">
                  <a:moveTo>
                    <a:pt x="94697" y="165546"/>
                  </a:moveTo>
                  <a:cubicBezTo>
                    <a:pt x="94463" y="169159"/>
                    <a:pt x="94982" y="172791"/>
                    <a:pt x="96218" y="176194"/>
                  </a:cubicBezTo>
                  <a:cubicBezTo>
                    <a:pt x="97117" y="178704"/>
                    <a:pt x="98264" y="181138"/>
                    <a:pt x="99641" y="183420"/>
                  </a:cubicBezTo>
                  <a:cubicBezTo>
                    <a:pt x="99641" y="185132"/>
                    <a:pt x="101542" y="187033"/>
                    <a:pt x="102683" y="188745"/>
                  </a:cubicBezTo>
                  <a:lnTo>
                    <a:pt x="111430" y="187033"/>
                  </a:lnTo>
                  <a:lnTo>
                    <a:pt x="123220" y="184751"/>
                  </a:lnTo>
                  <a:cubicBezTo>
                    <a:pt x="133538" y="183458"/>
                    <a:pt x="143564" y="180435"/>
                    <a:pt x="152884" y="175814"/>
                  </a:cubicBezTo>
                  <a:cubicBezTo>
                    <a:pt x="155010" y="174635"/>
                    <a:pt x="157044" y="173304"/>
                    <a:pt x="158969" y="171821"/>
                  </a:cubicBezTo>
                  <a:cubicBezTo>
                    <a:pt x="164873" y="166421"/>
                    <a:pt x="172994" y="164158"/>
                    <a:pt x="180836" y="165736"/>
                  </a:cubicBezTo>
                  <a:cubicBezTo>
                    <a:pt x="183687" y="166459"/>
                    <a:pt x="186435" y="167542"/>
                    <a:pt x="189013" y="168968"/>
                  </a:cubicBezTo>
                  <a:cubicBezTo>
                    <a:pt x="191295" y="170300"/>
                    <a:pt x="193767" y="171821"/>
                    <a:pt x="195288" y="171440"/>
                  </a:cubicBezTo>
                  <a:cubicBezTo>
                    <a:pt x="196695" y="171269"/>
                    <a:pt x="198026" y="170680"/>
                    <a:pt x="199091" y="169729"/>
                  </a:cubicBezTo>
                  <a:cubicBezTo>
                    <a:pt x="200898" y="168455"/>
                    <a:pt x="202894" y="167428"/>
                    <a:pt x="204986" y="166687"/>
                  </a:cubicBezTo>
                  <a:cubicBezTo>
                    <a:pt x="213923" y="162750"/>
                    <a:pt x="224382" y="165317"/>
                    <a:pt x="230467" y="172962"/>
                  </a:cubicBezTo>
                  <a:lnTo>
                    <a:pt x="232368" y="174673"/>
                  </a:lnTo>
                  <a:cubicBezTo>
                    <a:pt x="240925" y="182089"/>
                    <a:pt x="242827" y="183800"/>
                    <a:pt x="251383" y="178856"/>
                  </a:cubicBezTo>
                  <a:lnTo>
                    <a:pt x="256137" y="175814"/>
                  </a:lnTo>
                  <a:cubicBezTo>
                    <a:pt x="255852" y="174236"/>
                    <a:pt x="255852" y="172639"/>
                    <a:pt x="256137" y="171060"/>
                  </a:cubicBezTo>
                  <a:cubicBezTo>
                    <a:pt x="256841" y="168018"/>
                    <a:pt x="258077" y="165127"/>
                    <a:pt x="259750" y="162503"/>
                  </a:cubicBezTo>
                  <a:cubicBezTo>
                    <a:pt x="261652" y="158890"/>
                    <a:pt x="262412" y="157369"/>
                    <a:pt x="261462" y="154327"/>
                  </a:cubicBezTo>
                  <a:cubicBezTo>
                    <a:pt x="260549" y="152482"/>
                    <a:pt x="259085" y="150942"/>
                    <a:pt x="257278" y="149953"/>
                  </a:cubicBezTo>
                  <a:cubicBezTo>
                    <a:pt x="253646" y="147709"/>
                    <a:pt x="251003" y="144172"/>
                    <a:pt x="249862" y="140065"/>
                  </a:cubicBezTo>
                  <a:cubicBezTo>
                    <a:pt x="249025" y="134684"/>
                    <a:pt x="250965" y="129264"/>
                    <a:pt x="254996" y="125613"/>
                  </a:cubicBezTo>
                  <a:cubicBezTo>
                    <a:pt x="257278" y="122571"/>
                    <a:pt x="258419" y="121050"/>
                    <a:pt x="258229" y="119338"/>
                  </a:cubicBezTo>
                  <a:cubicBezTo>
                    <a:pt x="258039" y="117627"/>
                    <a:pt x="255567" y="115345"/>
                    <a:pt x="250813" y="112873"/>
                  </a:cubicBezTo>
                  <a:lnTo>
                    <a:pt x="247961" y="111352"/>
                  </a:lnTo>
                  <a:lnTo>
                    <a:pt x="243587" y="109450"/>
                  </a:lnTo>
                  <a:cubicBezTo>
                    <a:pt x="238111" y="107796"/>
                    <a:pt x="233927" y="103403"/>
                    <a:pt x="232558" y="97851"/>
                  </a:cubicBezTo>
                  <a:cubicBezTo>
                    <a:pt x="231817" y="95379"/>
                    <a:pt x="231379" y="92831"/>
                    <a:pt x="231227" y="90245"/>
                  </a:cubicBezTo>
                  <a:cubicBezTo>
                    <a:pt x="231227" y="86252"/>
                    <a:pt x="231227" y="85111"/>
                    <a:pt x="226854" y="82829"/>
                  </a:cubicBezTo>
                  <a:cubicBezTo>
                    <a:pt x="223678" y="81327"/>
                    <a:pt x="220274" y="80357"/>
                    <a:pt x="216775" y="79977"/>
                  </a:cubicBezTo>
                  <a:cubicBezTo>
                    <a:pt x="212991" y="79482"/>
                    <a:pt x="209302" y="78512"/>
                    <a:pt x="205746" y="77124"/>
                  </a:cubicBezTo>
                  <a:cubicBezTo>
                    <a:pt x="203065" y="75812"/>
                    <a:pt x="200460" y="74367"/>
                    <a:pt x="197950" y="72751"/>
                  </a:cubicBezTo>
                  <a:cubicBezTo>
                    <a:pt x="195326" y="71001"/>
                    <a:pt x="192512" y="69537"/>
                    <a:pt x="189583" y="68377"/>
                  </a:cubicBezTo>
                  <a:cubicBezTo>
                    <a:pt x="177147" y="64498"/>
                    <a:pt x="164434" y="61570"/>
                    <a:pt x="151553" y="59630"/>
                  </a:cubicBezTo>
                  <a:lnTo>
                    <a:pt x="139953" y="59630"/>
                  </a:lnTo>
                  <a:cubicBezTo>
                    <a:pt x="126188" y="61532"/>
                    <a:pt x="112482" y="55770"/>
                    <a:pt x="104204" y="44608"/>
                  </a:cubicBezTo>
                  <a:cubicBezTo>
                    <a:pt x="97359" y="35481"/>
                    <a:pt x="91084" y="25592"/>
                    <a:pt x="85189" y="15895"/>
                  </a:cubicBezTo>
                  <a:cubicBezTo>
                    <a:pt x="81897" y="15895"/>
                    <a:pt x="78627" y="15381"/>
                    <a:pt x="75491" y="14373"/>
                  </a:cubicBezTo>
                  <a:cubicBezTo>
                    <a:pt x="70460" y="12472"/>
                    <a:pt x="65672" y="9981"/>
                    <a:pt x="61230" y="6958"/>
                  </a:cubicBezTo>
                  <a:cubicBezTo>
                    <a:pt x="52673" y="1443"/>
                    <a:pt x="46968" y="-1980"/>
                    <a:pt x="40122" y="1253"/>
                  </a:cubicBezTo>
                  <a:cubicBezTo>
                    <a:pt x="38240" y="2356"/>
                    <a:pt x="36669" y="3934"/>
                    <a:pt x="35559" y="5816"/>
                  </a:cubicBezTo>
                  <a:cubicBezTo>
                    <a:pt x="33790" y="8440"/>
                    <a:pt x="31531" y="10703"/>
                    <a:pt x="28903" y="12472"/>
                  </a:cubicBezTo>
                  <a:cubicBezTo>
                    <a:pt x="24001" y="15571"/>
                    <a:pt x="17890" y="16066"/>
                    <a:pt x="12550" y="13803"/>
                  </a:cubicBezTo>
                  <a:cubicBezTo>
                    <a:pt x="10491" y="13289"/>
                    <a:pt x="8334" y="13289"/>
                    <a:pt x="6275" y="13803"/>
                  </a:cubicBezTo>
                  <a:cubicBezTo>
                    <a:pt x="2852" y="13803"/>
                    <a:pt x="2662" y="14754"/>
                    <a:pt x="3233" y="21980"/>
                  </a:cubicBezTo>
                  <a:lnTo>
                    <a:pt x="3233" y="26923"/>
                  </a:lnTo>
                  <a:cubicBezTo>
                    <a:pt x="4714" y="34016"/>
                    <a:pt x="4714" y="41318"/>
                    <a:pt x="3233" y="48411"/>
                  </a:cubicBezTo>
                  <a:cubicBezTo>
                    <a:pt x="2210" y="53792"/>
                    <a:pt x="1702" y="59269"/>
                    <a:pt x="1711" y="64764"/>
                  </a:cubicBezTo>
                  <a:cubicBezTo>
                    <a:pt x="1717" y="70507"/>
                    <a:pt x="1145" y="76250"/>
                    <a:pt x="0" y="81878"/>
                  </a:cubicBezTo>
                  <a:lnTo>
                    <a:pt x="0" y="81878"/>
                  </a:lnTo>
                  <a:cubicBezTo>
                    <a:pt x="6950" y="81441"/>
                    <a:pt x="13895" y="82829"/>
                    <a:pt x="20156" y="85871"/>
                  </a:cubicBezTo>
                  <a:lnTo>
                    <a:pt x="23959" y="88533"/>
                  </a:lnTo>
                  <a:cubicBezTo>
                    <a:pt x="25070" y="89579"/>
                    <a:pt x="26357" y="90416"/>
                    <a:pt x="27763" y="91005"/>
                  </a:cubicBezTo>
                  <a:cubicBezTo>
                    <a:pt x="30136" y="91595"/>
                    <a:pt x="32615" y="91595"/>
                    <a:pt x="34988" y="91005"/>
                  </a:cubicBezTo>
                  <a:cubicBezTo>
                    <a:pt x="49027" y="88324"/>
                    <a:pt x="63544" y="89712"/>
                    <a:pt x="76822" y="94999"/>
                  </a:cubicBezTo>
                  <a:cubicBezTo>
                    <a:pt x="80426" y="96710"/>
                    <a:pt x="83270" y="99696"/>
                    <a:pt x="84809" y="103365"/>
                  </a:cubicBezTo>
                  <a:cubicBezTo>
                    <a:pt x="85797" y="106465"/>
                    <a:pt x="85797" y="109774"/>
                    <a:pt x="84809" y="112873"/>
                  </a:cubicBezTo>
                  <a:cubicBezTo>
                    <a:pt x="83976" y="116562"/>
                    <a:pt x="83976" y="120403"/>
                    <a:pt x="84809" y="124092"/>
                  </a:cubicBezTo>
                  <a:cubicBezTo>
                    <a:pt x="84919" y="125461"/>
                    <a:pt x="85377" y="126754"/>
                    <a:pt x="86140" y="127895"/>
                  </a:cubicBezTo>
                  <a:cubicBezTo>
                    <a:pt x="87087" y="128979"/>
                    <a:pt x="88174" y="129949"/>
                    <a:pt x="89372" y="130748"/>
                  </a:cubicBezTo>
                  <a:cubicBezTo>
                    <a:pt x="90956" y="131793"/>
                    <a:pt x="92424" y="132991"/>
                    <a:pt x="93746" y="134361"/>
                  </a:cubicBezTo>
                  <a:cubicBezTo>
                    <a:pt x="97998" y="139152"/>
                    <a:pt x="100065" y="145484"/>
                    <a:pt x="99451" y="151855"/>
                  </a:cubicBezTo>
                  <a:cubicBezTo>
                    <a:pt x="99158" y="155316"/>
                    <a:pt x="98585" y="158757"/>
                    <a:pt x="97739" y="162123"/>
                  </a:cubicBezTo>
                  <a:cubicBezTo>
                    <a:pt x="96657" y="163207"/>
                    <a:pt x="95642" y="164348"/>
                    <a:pt x="94697" y="16554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05" name="Полилиния: фигура 504">
              <a:extLst>
                <a:ext uri="{FF2B5EF4-FFF2-40B4-BE49-F238E27FC236}">
                  <a16:creationId xmlns:a16="http://schemas.microsoft.com/office/drawing/2014/main" id="{014006A5-A231-C919-3FAE-E49FDCE081B7}"/>
                </a:ext>
              </a:extLst>
            </p:cNvPr>
            <p:cNvSpPr/>
            <p:nvPr/>
          </p:nvSpPr>
          <p:spPr>
            <a:xfrm>
              <a:off x="4688840" y="4193916"/>
              <a:ext cx="429954" cy="334354"/>
            </a:xfrm>
            <a:custGeom>
              <a:avLst/>
              <a:gdLst>
                <a:gd name="connsiteX0" fmla="*/ 275153 w 473012"/>
                <a:gd name="connsiteY0" fmla="*/ 333867 h 366763"/>
                <a:gd name="connsiteX1" fmla="*/ 294168 w 473012"/>
                <a:gd name="connsiteY1" fmla="*/ 344706 h 366763"/>
                <a:gd name="connsiteX2" fmla="*/ 301774 w 473012"/>
                <a:gd name="connsiteY2" fmla="*/ 349079 h 366763"/>
                <a:gd name="connsiteX3" fmla="*/ 324593 w 473012"/>
                <a:gd name="connsiteY3" fmla="*/ 358206 h 366763"/>
                <a:gd name="connsiteX4" fmla="*/ 343608 w 473012"/>
                <a:gd name="connsiteY4" fmla="*/ 366763 h 366763"/>
                <a:gd name="connsiteX5" fmla="*/ 355588 w 473012"/>
                <a:gd name="connsiteY5" fmla="*/ 353072 h 366763"/>
                <a:gd name="connsiteX6" fmla="*/ 379357 w 473012"/>
                <a:gd name="connsiteY6" fmla="*/ 317704 h 366763"/>
                <a:gd name="connsiteX7" fmla="*/ 381068 w 473012"/>
                <a:gd name="connsiteY7" fmla="*/ 312379 h 366763"/>
                <a:gd name="connsiteX8" fmla="*/ 381068 w 473012"/>
                <a:gd name="connsiteY8" fmla="*/ 298308 h 366763"/>
                <a:gd name="connsiteX9" fmla="*/ 379357 w 473012"/>
                <a:gd name="connsiteY9" fmla="*/ 286899 h 366763"/>
                <a:gd name="connsiteX10" fmla="*/ 380498 w 473012"/>
                <a:gd name="connsiteY10" fmla="*/ 275680 h 366763"/>
                <a:gd name="connsiteX11" fmla="*/ 385632 w 473012"/>
                <a:gd name="connsiteY11" fmla="*/ 267693 h 366763"/>
                <a:gd name="connsiteX12" fmla="*/ 402175 w 473012"/>
                <a:gd name="connsiteY12" fmla="*/ 263890 h 366763"/>
                <a:gd name="connsiteX13" fmla="*/ 408831 w 473012"/>
                <a:gd name="connsiteY13" fmla="*/ 267503 h 366763"/>
                <a:gd name="connsiteX14" fmla="*/ 411493 w 473012"/>
                <a:gd name="connsiteY14" fmla="*/ 269024 h 366763"/>
                <a:gd name="connsiteX15" fmla="*/ 421381 w 473012"/>
                <a:gd name="connsiteY15" fmla="*/ 265982 h 366763"/>
                <a:gd name="connsiteX16" fmla="*/ 428797 w 473012"/>
                <a:gd name="connsiteY16" fmla="*/ 262939 h 366763"/>
                <a:gd name="connsiteX17" fmla="*/ 431649 w 473012"/>
                <a:gd name="connsiteY17" fmla="*/ 262939 h 366763"/>
                <a:gd name="connsiteX18" fmla="*/ 463405 w 473012"/>
                <a:gd name="connsiteY18" fmla="*/ 250009 h 366763"/>
                <a:gd name="connsiteX19" fmla="*/ 472913 w 473012"/>
                <a:gd name="connsiteY19" fmla="*/ 238790 h 366763"/>
                <a:gd name="connsiteX20" fmla="*/ 472913 w 473012"/>
                <a:gd name="connsiteY20" fmla="*/ 233085 h 366763"/>
                <a:gd name="connsiteX21" fmla="*/ 471011 w 473012"/>
                <a:gd name="connsiteY21" fmla="*/ 223768 h 366763"/>
                <a:gd name="connsiteX22" fmla="*/ 467969 w 473012"/>
                <a:gd name="connsiteY22" fmla="*/ 206844 h 366763"/>
                <a:gd name="connsiteX23" fmla="*/ 464356 w 473012"/>
                <a:gd name="connsiteY23" fmla="*/ 206844 h 366763"/>
                <a:gd name="connsiteX24" fmla="*/ 434502 w 473012"/>
                <a:gd name="connsiteY24" fmla="*/ 190871 h 366763"/>
                <a:gd name="connsiteX25" fmla="*/ 434502 w 473012"/>
                <a:gd name="connsiteY25" fmla="*/ 186497 h 366763"/>
                <a:gd name="connsiteX26" fmla="*/ 453517 w 473012"/>
                <a:gd name="connsiteY26" fmla="*/ 174518 h 366763"/>
                <a:gd name="connsiteX27" fmla="*/ 463975 w 473012"/>
                <a:gd name="connsiteY27" fmla="*/ 171475 h 366763"/>
                <a:gd name="connsiteX28" fmla="*/ 465306 w 473012"/>
                <a:gd name="connsiteY28" fmla="*/ 169764 h 366763"/>
                <a:gd name="connsiteX29" fmla="*/ 465306 w 473012"/>
                <a:gd name="connsiteY29" fmla="*/ 168623 h 366763"/>
                <a:gd name="connsiteX30" fmla="*/ 460172 w 473012"/>
                <a:gd name="connsiteY30" fmla="*/ 168623 h 366763"/>
                <a:gd name="connsiteX31" fmla="*/ 458461 w 473012"/>
                <a:gd name="connsiteY31" fmla="*/ 168623 h 366763"/>
                <a:gd name="connsiteX32" fmla="*/ 443059 w 473012"/>
                <a:gd name="connsiteY32" fmla="*/ 161968 h 366763"/>
                <a:gd name="connsiteX33" fmla="*/ 440586 w 473012"/>
                <a:gd name="connsiteY33" fmla="*/ 143903 h 366763"/>
                <a:gd name="connsiteX34" fmla="*/ 442678 w 473012"/>
                <a:gd name="connsiteY34" fmla="*/ 136487 h 366763"/>
                <a:gd name="connsiteX35" fmla="*/ 445150 w 473012"/>
                <a:gd name="connsiteY35" fmla="*/ 131733 h 366763"/>
                <a:gd name="connsiteX36" fmla="*/ 446862 w 473012"/>
                <a:gd name="connsiteY36" fmla="*/ 128310 h 366763"/>
                <a:gd name="connsiteX37" fmla="*/ 446862 w 473012"/>
                <a:gd name="connsiteY37" fmla="*/ 126789 h 366763"/>
                <a:gd name="connsiteX38" fmla="*/ 437544 w 473012"/>
                <a:gd name="connsiteY38" fmla="*/ 126789 h 366763"/>
                <a:gd name="connsiteX39" fmla="*/ 404267 w 473012"/>
                <a:gd name="connsiteY39" fmla="*/ 142191 h 366763"/>
                <a:gd name="connsiteX40" fmla="*/ 396851 w 473012"/>
                <a:gd name="connsiteY40" fmla="*/ 149037 h 366763"/>
                <a:gd name="connsiteX41" fmla="*/ 372702 w 473012"/>
                <a:gd name="connsiteY41" fmla="*/ 166341 h 366763"/>
                <a:gd name="connsiteX42" fmla="*/ 332009 w 473012"/>
                <a:gd name="connsiteY42" fmla="*/ 173187 h 366763"/>
                <a:gd name="connsiteX43" fmla="*/ 328966 w 473012"/>
                <a:gd name="connsiteY43" fmla="*/ 135156 h 366763"/>
                <a:gd name="connsiteX44" fmla="*/ 328966 w 473012"/>
                <a:gd name="connsiteY44" fmla="*/ 128691 h 366763"/>
                <a:gd name="connsiteX45" fmla="*/ 330487 w 473012"/>
                <a:gd name="connsiteY45" fmla="*/ 99597 h 366763"/>
                <a:gd name="connsiteX46" fmla="*/ 318888 w 473012"/>
                <a:gd name="connsiteY46" fmla="*/ 74307 h 366763"/>
                <a:gd name="connsiteX47" fmla="*/ 317747 w 473012"/>
                <a:gd name="connsiteY47" fmla="*/ 62137 h 366763"/>
                <a:gd name="connsiteX48" fmla="*/ 314134 w 473012"/>
                <a:gd name="connsiteY48" fmla="*/ 57763 h 366763"/>
                <a:gd name="connsiteX49" fmla="*/ 307289 w 473012"/>
                <a:gd name="connsiteY49" fmla="*/ 48636 h 366763"/>
                <a:gd name="connsiteX50" fmla="*/ 307289 w 473012"/>
                <a:gd name="connsiteY50" fmla="*/ 32283 h 366763"/>
                <a:gd name="connsiteX51" fmla="*/ 307289 w 473012"/>
                <a:gd name="connsiteY51" fmla="*/ 27339 h 366763"/>
                <a:gd name="connsiteX52" fmla="*/ 307289 w 473012"/>
                <a:gd name="connsiteY52" fmla="*/ 24867 h 366763"/>
                <a:gd name="connsiteX53" fmla="*/ 307289 w 473012"/>
                <a:gd name="connsiteY53" fmla="*/ 22014 h 366763"/>
                <a:gd name="connsiteX54" fmla="*/ 307289 w 473012"/>
                <a:gd name="connsiteY54" fmla="*/ 17641 h 366763"/>
                <a:gd name="connsiteX55" fmla="*/ 307289 w 473012"/>
                <a:gd name="connsiteY55" fmla="*/ 13648 h 366763"/>
                <a:gd name="connsiteX56" fmla="*/ 303486 w 473012"/>
                <a:gd name="connsiteY56" fmla="*/ 9654 h 366763"/>
                <a:gd name="connsiteX57" fmla="*/ 303486 w 473012"/>
                <a:gd name="connsiteY57" fmla="*/ 9654 h 366763"/>
                <a:gd name="connsiteX58" fmla="*/ 299112 w 473012"/>
                <a:gd name="connsiteY58" fmla="*/ 12507 h 366763"/>
                <a:gd name="connsiteX59" fmla="*/ 268117 w 473012"/>
                <a:gd name="connsiteY59" fmla="*/ 6992 h 366763"/>
                <a:gd name="connsiteX60" fmla="*/ 266215 w 473012"/>
                <a:gd name="connsiteY60" fmla="*/ 5471 h 366763"/>
                <a:gd name="connsiteX61" fmla="*/ 251003 w 473012"/>
                <a:gd name="connsiteY61" fmla="*/ 1288 h 366763"/>
                <a:gd name="connsiteX62" fmla="*/ 247770 w 473012"/>
                <a:gd name="connsiteY62" fmla="*/ 2999 h 366763"/>
                <a:gd name="connsiteX63" fmla="*/ 238073 w 473012"/>
                <a:gd name="connsiteY63" fmla="*/ 6422 h 366763"/>
                <a:gd name="connsiteX64" fmla="*/ 238073 w 473012"/>
                <a:gd name="connsiteY64" fmla="*/ 6422 h 366763"/>
                <a:gd name="connsiteX65" fmla="*/ 226854 w 473012"/>
                <a:gd name="connsiteY65" fmla="*/ 2809 h 366763"/>
                <a:gd name="connsiteX66" fmla="*/ 221719 w 473012"/>
                <a:gd name="connsiteY66" fmla="*/ 527 h 366763"/>
                <a:gd name="connsiteX67" fmla="*/ 208218 w 473012"/>
                <a:gd name="connsiteY67" fmla="*/ 4900 h 366763"/>
                <a:gd name="connsiteX68" fmla="*/ 201183 w 473012"/>
                <a:gd name="connsiteY68" fmla="*/ 9654 h 366763"/>
                <a:gd name="connsiteX69" fmla="*/ 168286 w 473012"/>
                <a:gd name="connsiteY69" fmla="*/ 19732 h 366763"/>
                <a:gd name="connsiteX70" fmla="*/ 156306 w 473012"/>
                <a:gd name="connsiteY70" fmla="*/ 22014 h 366763"/>
                <a:gd name="connsiteX71" fmla="*/ 151553 w 473012"/>
                <a:gd name="connsiteY71" fmla="*/ 22014 h 366763"/>
                <a:gd name="connsiteX72" fmla="*/ 140524 w 473012"/>
                <a:gd name="connsiteY72" fmla="*/ 24486 h 366763"/>
                <a:gd name="connsiteX73" fmla="*/ 131016 w 473012"/>
                <a:gd name="connsiteY73" fmla="*/ 26958 h 366763"/>
                <a:gd name="connsiteX74" fmla="*/ 113141 w 473012"/>
                <a:gd name="connsiteY74" fmla="*/ 35325 h 366763"/>
                <a:gd name="connsiteX75" fmla="*/ 99260 w 473012"/>
                <a:gd name="connsiteY75" fmla="*/ 42361 h 366763"/>
                <a:gd name="connsiteX76" fmla="*/ 92415 w 473012"/>
                <a:gd name="connsiteY76" fmla="*/ 44643 h 366763"/>
                <a:gd name="connsiteX77" fmla="*/ 80245 w 473012"/>
                <a:gd name="connsiteY77" fmla="*/ 52059 h 366763"/>
                <a:gd name="connsiteX78" fmla="*/ 82907 w 473012"/>
                <a:gd name="connsiteY78" fmla="*/ 57763 h 366763"/>
                <a:gd name="connsiteX79" fmla="*/ 86900 w 473012"/>
                <a:gd name="connsiteY79" fmla="*/ 73736 h 366763"/>
                <a:gd name="connsiteX80" fmla="*/ 86900 w 473012"/>
                <a:gd name="connsiteY80" fmla="*/ 73736 h 366763"/>
                <a:gd name="connsiteX81" fmla="*/ 69977 w 473012"/>
                <a:gd name="connsiteY81" fmla="*/ 92752 h 366763"/>
                <a:gd name="connsiteX82" fmla="*/ 48870 w 473012"/>
                <a:gd name="connsiteY82" fmla="*/ 97125 h 366763"/>
                <a:gd name="connsiteX83" fmla="*/ 29854 w 473012"/>
                <a:gd name="connsiteY83" fmla="*/ 92942 h 366763"/>
                <a:gd name="connsiteX84" fmla="*/ 27953 w 473012"/>
                <a:gd name="connsiteY84" fmla="*/ 92942 h 366763"/>
                <a:gd name="connsiteX85" fmla="*/ 11599 w 473012"/>
                <a:gd name="connsiteY85" fmla="*/ 90660 h 366763"/>
                <a:gd name="connsiteX86" fmla="*/ 5324 w 473012"/>
                <a:gd name="connsiteY86" fmla="*/ 93512 h 366763"/>
                <a:gd name="connsiteX87" fmla="*/ 0 w 473012"/>
                <a:gd name="connsiteY87" fmla="*/ 95794 h 366763"/>
                <a:gd name="connsiteX88" fmla="*/ 4183 w 473012"/>
                <a:gd name="connsiteY88" fmla="*/ 109485 h 366763"/>
                <a:gd name="connsiteX89" fmla="*/ 11599 w 473012"/>
                <a:gd name="connsiteY89" fmla="*/ 107584 h 366763"/>
                <a:gd name="connsiteX90" fmla="*/ 20537 w 473012"/>
                <a:gd name="connsiteY90" fmla="*/ 104731 h 366763"/>
                <a:gd name="connsiteX91" fmla="*/ 42024 w 473012"/>
                <a:gd name="connsiteY91" fmla="*/ 109295 h 366763"/>
                <a:gd name="connsiteX92" fmla="*/ 66364 w 473012"/>
                <a:gd name="connsiteY92" fmla="*/ 128310 h 366763"/>
                <a:gd name="connsiteX93" fmla="*/ 73780 w 473012"/>
                <a:gd name="connsiteY93" fmla="*/ 136297 h 366763"/>
                <a:gd name="connsiteX94" fmla="*/ 111810 w 473012"/>
                <a:gd name="connsiteY94" fmla="*/ 149798 h 366763"/>
                <a:gd name="connsiteX95" fmla="*/ 137862 w 473012"/>
                <a:gd name="connsiteY95" fmla="*/ 160446 h 366763"/>
                <a:gd name="connsiteX96" fmla="*/ 141475 w 473012"/>
                <a:gd name="connsiteY96" fmla="*/ 175468 h 366763"/>
                <a:gd name="connsiteX97" fmla="*/ 141475 w 473012"/>
                <a:gd name="connsiteY97" fmla="*/ 175468 h 366763"/>
                <a:gd name="connsiteX98" fmla="*/ 136530 w 473012"/>
                <a:gd name="connsiteY98" fmla="*/ 184786 h 366763"/>
                <a:gd name="connsiteX99" fmla="*/ 133678 w 473012"/>
                <a:gd name="connsiteY99" fmla="*/ 189730 h 366763"/>
                <a:gd name="connsiteX100" fmla="*/ 143186 w 473012"/>
                <a:gd name="connsiteY100" fmla="*/ 200379 h 366763"/>
                <a:gd name="connsiteX101" fmla="*/ 146989 w 473012"/>
                <a:gd name="connsiteY101" fmla="*/ 203611 h 366763"/>
                <a:gd name="connsiteX102" fmla="*/ 150222 w 473012"/>
                <a:gd name="connsiteY102" fmla="*/ 206464 h 366763"/>
                <a:gd name="connsiteX103" fmla="*/ 152313 w 473012"/>
                <a:gd name="connsiteY103" fmla="*/ 208175 h 366763"/>
                <a:gd name="connsiteX104" fmla="*/ 162011 w 473012"/>
                <a:gd name="connsiteY104" fmla="*/ 219394 h 366763"/>
                <a:gd name="connsiteX105" fmla="*/ 162011 w 473012"/>
                <a:gd name="connsiteY105" fmla="*/ 219394 h 366763"/>
                <a:gd name="connsiteX106" fmla="*/ 165434 w 473012"/>
                <a:gd name="connsiteY106" fmla="*/ 226430 h 366763"/>
                <a:gd name="connsiteX107" fmla="*/ 169427 w 473012"/>
                <a:gd name="connsiteY107" fmla="*/ 233846 h 366763"/>
                <a:gd name="connsiteX108" fmla="*/ 175132 w 473012"/>
                <a:gd name="connsiteY108" fmla="*/ 237839 h 366763"/>
                <a:gd name="connsiteX109" fmla="*/ 182548 w 473012"/>
                <a:gd name="connsiteY109" fmla="*/ 243353 h 366763"/>
                <a:gd name="connsiteX110" fmla="*/ 188062 w 473012"/>
                <a:gd name="connsiteY110" fmla="*/ 250009 h 366763"/>
                <a:gd name="connsiteX111" fmla="*/ 197380 w 473012"/>
                <a:gd name="connsiteY111" fmla="*/ 256664 h 366763"/>
                <a:gd name="connsiteX112" fmla="*/ 213162 w 473012"/>
                <a:gd name="connsiteY112" fmla="*/ 254192 h 366763"/>
                <a:gd name="connsiteX113" fmla="*/ 237692 w 473012"/>
                <a:gd name="connsiteY113" fmla="*/ 251910 h 366763"/>
                <a:gd name="connsiteX114" fmla="*/ 270779 w 473012"/>
                <a:gd name="connsiteY114" fmla="*/ 284997 h 366763"/>
                <a:gd name="connsiteX115" fmla="*/ 275723 w 473012"/>
                <a:gd name="connsiteY115" fmla="*/ 330444 h 366763"/>
                <a:gd name="connsiteX116" fmla="*/ 275723 w 473012"/>
                <a:gd name="connsiteY116" fmla="*/ 331965 h 366763"/>
                <a:gd name="connsiteX117" fmla="*/ 274392 w 473012"/>
                <a:gd name="connsiteY117" fmla="*/ 336148 h 366763"/>
                <a:gd name="connsiteX118" fmla="*/ 274392 w 473012"/>
                <a:gd name="connsiteY118" fmla="*/ 336148 h 366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473012" h="366763">
                  <a:moveTo>
                    <a:pt x="275153" y="333867"/>
                  </a:moveTo>
                  <a:lnTo>
                    <a:pt x="294168" y="344706"/>
                  </a:lnTo>
                  <a:lnTo>
                    <a:pt x="301774" y="349079"/>
                  </a:lnTo>
                  <a:lnTo>
                    <a:pt x="324593" y="358206"/>
                  </a:lnTo>
                  <a:lnTo>
                    <a:pt x="343608" y="366763"/>
                  </a:lnTo>
                  <a:cubicBezTo>
                    <a:pt x="343608" y="366763"/>
                    <a:pt x="350644" y="359347"/>
                    <a:pt x="355588" y="353072"/>
                  </a:cubicBezTo>
                  <a:cubicBezTo>
                    <a:pt x="365172" y="342500"/>
                    <a:pt x="373177" y="330577"/>
                    <a:pt x="379357" y="317704"/>
                  </a:cubicBezTo>
                  <a:cubicBezTo>
                    <a:pt x="380156" y="316011"/>
                    <a:pt x="380726" y="314224"/>
                    <a:pt x="381068" y="312379"/>
                  </a:cubicBezTo>
                  <a:cubicBezTo>
                    <a:pt x="382000" y="307740"/>
                    <a:pt x="382000" y="302948"/>
                    <a:pt x="381068" y="298308"/>
                  </a:cubicBezTo>
                  <a:cubicBezTo>
                    <a:pt x="380175" y="294562"/>
                    <a:pt x="379604" y="290740"/>
                    <a:pt x="379357" y="286899"/>
                  </a:cubicBezTo>
                  <a:cubicBezTo>
                    <a:pt x="379129" y="283115"/>
                    <a:pt x="379509" y="279331"/>
                    <a:pt x="380498" y="275680"/>
                  </a:cubicBezTo>
                  <a:cubicBezTo>
                    <a:pt x="381506" y="272618"/>
                    <a:pt x="383274" y="269880"/>
                    <a:pt x="385632" y="267693"/>
                  </a:cubicBezTo>
                  <a:cubicBezTo>
                    <a:pt x="390234" y="263890"/>
                    <a:pt x="396376" y="262483"/>
                    <a:pt x="402175" y="263890"/>
                  </a:cubicBezTo>
                  <a:cubicBezTo>
                    <a:pt x="404685" y="264461"/>
                    <a:pt x="406986" y="265697"/>
                    <a:pt x="408831" y="267503"/>
                  </a:cubicBezTo>
                  <a:cubicBezTo>
                    <a:pt x="409610" y="268168"/>
                    <a:pt x="410523" y="268701"/>
                    <a:pt x="411493" y="269024"/>
                  </a:cubicBezTo>
                  <a:cubicBezTo>
                    <a:pt x="414973" y="268701"/>
                    <a:pt x="418338" y="267674"/>
                    <a:pt x="421381" y="265982"/>
                  </a:cubicBezTo>
                  <a:cubicBezTo>
                    <a:pt x="423796" y="264841"/>
                    <a:pt x="426268" y="263814"/>
                    <a:pt x="428797" y="262939"/>
                  </a:cubicBezTo>
                  <a:lnTo>
                    <a:pt x="431649" y="262939"/>
                  </a:lnTo>
                  <a:cubicBezTo>
                    <a:pt x="442868" y="260391"/>
                    <a:pt x="453593" y="256018"/>
                    <a:pt x="463405" y="250009"/>
                  </a:cubicBezTo>
                  <a:cubicBezTo>
                    <a:pt x="470251" y="245445"/>
                    <a:pt x="472722" y="243353"/>
                    <a:pt x="472913" y="238790"/>
                  </a:cubicBezTo>
                  <a:cubicBezTo>
                    <a:pt x="473046" y="236888"/>
                    <a:pt x="473046" y="234987"/>
                    <a:pt x="472913" y="233085"/>
                  </a:cubicBezTo>
                  <a:cubicBezTo>
                    <a:pt x="472913" y="229852"/>
                    <a:pt x="471582" y="226810"/>
                    <a:pt x="471011" y="223768"/>
                  </a:cubicBezTo>
                  <a:cubicBezTo>
                    <a:pt x="469623" y="218196"/>
                    <a:pt x="468615" y="212548"/>
                    <a:pt x="467969" y="206844"/>
                  </a:cubicBezTo>
                  <a:lnTo>
                    <a:pt x="464356" y="206844"/>
                  </a:lnTo>
                  <a:cubicBezTo>
                    <a:pt x="455038" y="206844"/>
                    <a:pt x="435643" y="206844"/>
                    <a:pt x="434502" y="190871"/>
                  </a:cubicBezTo>
                  <a:cubicBezTo>
                    <a:pt x="434311" y="189426"/>
                    <a:pt x="434311" y="187943"/>
                    <a:pt x="434502" y="186497"/>
                  </a:cubicBezTo>
                  <a:cubicBezTo>
                    <a:pt x="436213" y="177180"/>
                    <a:pt x="446671" y="175468"/>
                    <a:pt x="453517" y="174518"/>
                  </a:cubicBezTo>
                  <a:cubicBezTo>
                    <a:pt x="457206" y="174423"/>
                    <a:pt x="460819" y="173377"/>
                    <a:pt x="463975" y="171475"/>
                  </a:cubicBezTo>
                  <a:cubicBezTo>
                    <a:pt x="463975" y="171475"/>
                    <a:pt x="465306" y="170144"/>
                    <a:pt x="465306" y="169764"/>
                  </a:cubicBezTo>
                  <a:cubicBezTo>
                    <a:pt x="465306" y="169384"/>
                    <a:pt x="465306" y="169764"/>
                    <a:pt x="465306" y="168623"/>
                  </a:cubicBezTo>
                  <a:cubicBezTo>
                    <a:pt x="465306" y="167482"/>
                    <a:pt x="463785" y="167482"/>
                    <a:pt x="460172" y="168623"/>
                  </a:cubicBezTo>
                  <a:lnTo>
                    <a:pt x="458461" y="168623"/>
                  </a:lnTo>
                  <a:cubicBezTo>
                    <a:pt x="452509" y="169288"/>
                    <a:pt x="446652" y="166760"/>
                    <a:pt x="443059" y="161968"/>
                  </a:cubicBezTo>
                  <a:cubicBezTo>
                    <a:pt x="439826" y="156529"/>
                    <a:pt x="438932" y="150007"/>
                    <a:pt x="440586" y="143903"/>
                  </a:cubicBezTo>
                  <a:cubicBezTo>
                    <a:pt x="441024" y="141355"/>
                    <a:pt x="441727" y="138883"/>
                    <a:pt x="442678" y="136487"/>
                  </a:cubicBezTo>
                  <a:lnTo>
                    <a:pt x="445150" y="131733"/>
                  </a:lnTo>
                  <a:cubicBezTo>
                    <a:pt x="445873" y="130668"/>
                    <a:pt x="446443" y="129527"/>
                    <a:pt x="446862" y="128310"/>
                  </a:cubicBezTo>
                  <a:cubicBezTo>
                    <a:pt x="447052" y="127816"/>
                    <a:pt x="447052" y="127283"/>
                    <a:pt x="446862" y="126789"/>
                  </a:cubicBezTo>
                  <a:cubicBezTo>
                    <a:pt x="445721" y="125078"/>
                    <a:pt x="440206" y="126789"/>
                    <a:pt x="437544" y="126789"/>
                  </a:cubicBezTo>
                  <a:cubicBezTo>
                    <a:pt x="425336" y="129033"/>
                    <a:pt x="413889" y="134338"/>
                    <a:pt x="404267" y="142191"/>
                  </a:cubicBezTo>
                  <a:lnTo>
                    <a:pt x="396851" y="149037"/>
                  </a:lnTo>
                  <a:cubicBezTo>
                    <a:pt x="389891" y="156206"/>
                    <a:pt x="381715" y="162063"/>
                    <a:pt x="372702" y="166341"/>
                  </a:cubicBezTo>
                  <a:cubicBezTo>
                    <a:pt x="355778" y="173757"/>
                    <a:pt x="339995" y="179462"/>
                    <a:pt x="332009" y="173187"/>
                  </a:cubicBezTo>
                  <a:cubicBezTo>
                    <a:pt x="324022" y="166912"/>
                    <a:pt x="326494" y="154171"/>
                    <a:pt x="328966" y="135156"/>
                  </a:cubicBezTo>
                  <a:cubicBezTo>
                    <a:pt x="328966" y="132304"/>
                    <a:pt x="328966" y="130022"/>
                    <a:pt x="328966" y="128691"/>
                  </a:cubicBezTo>
                  <a:cubicBezTo>
                    <a:pt x="328966" y="118803"/>
                    <a:pt x="330107" y="109675"/>
                    <a:pt x="330487" y="99597"/>
                  </a:cubicBezTo>
                  <a:cubicBezTo>
                    <a:pt x="321474" y="94634"/>
                    <a:pt x="316777" y="84366"/>
                    <a:pt x="318888" y="74307"/>
                  </a:cubicBezTo>
                  <a:cubicBezTo>
                    <a:pt x="319420" y="70218"/>
                    <a:pt x="319021" y="66054"/>
                    <a:pt x="317747" y="62137"/>
                  </a:cubicBezTo>
                  <a:cubicBezTo>
                    <a:pt x="316929" y="60387"/>
                    <a:pt x="315693" y="58885"/>
                    <a:pt x="314134" y="57763"/>
                  </a:cubicBezTo>
                  <a:cubicBezTo>
                    <a:pt x="311073" y="55405"/>
                    <a:pt x="308696" y="52249"/>
                    <a:pt x="307289" y="48636"/>
                  </a:cubicBezTo>
                  <a:cubicBezTo>
                    <a:pt x="305767" y="43293"/>
                    <a:pt x="305767" y="37626"/>
                    <a:pt x="307289" y="32283"/>
                  </a:cubicBezTo>
                  <a:cubicBezTo>
                    <a:pt x="307289" y="30571"/>
                    <a:pt x="307289" y="28860"/>
                    <a:pt x="307289" y="27339"/>
                  </a:cubicBezTo>
                  <a:lnTo>
                    <a:pt x="307289" y="24867"/>
                  </a:lnTo>
                  <a:cubicBezTo>
                    <a:pt x="307289" y="24867"/>
                    <a:pt x="307289" y="23155"/>
                    <a:pt x="307289" y="22014"/>
                  </a:cubicBezTo>
                  <a:cubicBezTo>
                    <a:pt x="307517" y="20569"/>
                    <a:pt x="307517" y="19086"/>
                    <a:pt x="307289" y="17641"/>
                  </a:cubicBezTo>
                  <a:cubicBezTo>
                    <a:pt x="307745" y="16348"/>
                    <a:pt x="307745" y="14940"/>
                    <a:pt x="307289" y="13648"/>
                  </a:cubicBezTo>
                  <a:cubicBezTo>
                    <a:pt x="306376" y="12012"/>
                    <a:pt x="305064" y="10643"/>
                    <a:pt x="303486" y="9654"/>
                  </a:cubicBezTo>
                  <a:lnTo>
                    <a:pt x="303486" y="9654"/>
                  </a:lnTo>
                  <a:cubicBezTo>
                    <a:pt x="302097" y="10719"/>
                    <a:pt x="300633" y="11670"/>
                    <a:pt x="299112" y="12507"/>
                  </a:cubicBezTo>
                  <a:cubicBezTo>
                    <a:pt x="284280" y="21444"/>
                    <a:pt x="276864" y="14788"/>
                    <a:pt x="268117" y="6992"/>
                  </a:cubicBezTo>
                  <a:lnTo>
                    <a:pt x="266215" y="5471"/>
                  </a:lnTo>
                  <a:cubicBezTo>
                    <a:pt x="259370" y="-614"/>
                    <a:pt x="258609" y="-994"/>
                    <a:pt x="251003" y="1288"/>
                  </a:cubicBezTo>
                  <a:cubicBezTo>
                    <a:pt x="249881" y="1744"/>
                    <a:pt x="248797" y="2333"/>
                    <a:pt x="247770" y="2999"/>
                  </a:cubicBezTo>
                  <a:cubicBezTo>
                    <a:pt x="245013" y="5186"/>
                    <a:pt x="241591" y="6403"/>
                    <a:pt x="238073" y="6422"/>
                  </a:cubicBezTo>
                  <a:lnTo>
                    <a:pt x="238073" y="6422"/>
                  </a:lnTo>
                  <a:cubicBezTo>
                    <a:pt x="234079" y="6232"/>
                    <a:pt x="230204" y="4996"/>
                    <a:pt x="226854" y="2809"/>
                  </a:cubicBezTo>
                  <a:cubicBezTo>
                    <a:pt x="225222" y="1877"/>
                    <a:pt x="223501" y="1117"/>
                    <a:pt x="221719" y="527"/>
                  </a:cubicBezTo>
                  <a:cubicBezTo>
                    <a:pt x="216764" y="-481"/>
                    <a:pt x="211643" y="1173"/>
                    <a:pt x="208218" y="4900"/>
                  </a:cubicBezTo>
                  <a:cubicBezTo>
                    <a:pt x="205963" y="6612"/>
                    <a:pt x="203615" y="8209"/>
                    <a:pt x="201183" y="9654"/>
                  </a:cubicBezTo>
                  <a:cubicBezTo>
                    <a:pt x="190817" y="14731"/>
                    <a:pt x="179714" y="18135"/>
                    <a:pt x="168286" y="19732"/>
                  </a:cubicBezTo>
                  <a:lnTo>
                    <a:pt x="156306" y="22014"/>
                  </a:lnTo>
                  <a:lnTo>
                    <a:pt x="151553" y="22014"/>
                  </a:lnTo>
                  <a:lnTo>
                    <a:pt x="140524" y="24486"/>
                  </a:lnTo>
                  <a:cubicBezTo>
                    <a:pt x="137310" y="25133"/>
                    <a:pt x="134136" y="25951"/>
                    <a:pt x="131016" y="26958"/>
                  </a:cubicBezTo>
                  <a:cubicBezTo>
                    <a:pt x="124769" y="29088"/>
                    <a:pt x="118774" y="31883"/>
                    <a:pt x="113141" y="35325"/>
                  </a:cubicBezTo>
                  <a:cubicBezTo>
                    <a:pt x="108578" y="37797"/>
                    <a:pt x="104204" y="40269"/>
                    <a:pt x="99260" y="42361"/>
                  </a:cubicBezTo>
                  <a:cubicBezTo>
                    <a:pt x="97051" y="43312"/>
                    <a:pt x="94759" y="44091"/>
                    <a:pt x="92415" y="44643"/>
                  </a:cubicBezTo>
                  <a:cubicBezTo>
                    <a:pt x="84428" y="47115"/>
                    <a:pt x="80625" y="48826"/>
                    <a:pt x="80245" y="52059"/>
                  </a:cubicBezTo>
                  <a:cubicBezTo>
                    <a:pt x="80538" y="54188"/>
                    <a:pt x="81466" y="56166"/>
                    <a:pt x="82907" y="57763"/>
                  </a:cubicBezTo>
                  <a:cubicBezTo>
                    <a:pt x="86594" y="62213"/>
                    <a:pt x="88062" y="68088"/>
                    <a:pt x="86900" y="73736"/>
                  </a:cubicBezTo>
                  <a:lnTo>
                    <a:pt x="86900" y="73736"/>
                  </a:lnTo>
                  <a:cubicBezTo>
                    <a:pt x="84613" y="82407"/>
                    <a:pt x="78326" y="89481"/>
                    <a:pt x="69977" y="92752"/>
                  </a:cubicBezTo>
                  <a:cubicBezTo>
                    <a:pt x="63327" y="95680"/>
                    <a:pt x="56133" y="97163"/>
                    <a:pt x="48870" y="97125"/>
                  </a:cubicBezTo>
                  <a:cubicBezTo>
                    <a:pt x="42288" y="97258"/>
                    <a:pt x="35770" y="95832"/>
                    <a:pt x="29854" y="92942"/>
                  </a:cubicBezTo>
                  <a:lnTo>
                    <a:pt x="27953" y="92942"/>
                  </a:lnTo>
                  <a:cubicBezTo>
                    <a:pt x="20537" y="88948"/>
                    <a:pt x="19206" y="88188"/>
                    <a:pt x="11599" y="90660"/>
                  </a:cubicBezTo>
                  <a:lnTo>
                    <a:pt x="5324" y="93512"/>
                  </a:lnTo>
                  <a:lnTo>
                    <a:pt x="0" y="95794"/>
                  </a:lnTo>
                  <a:cubicBezTo>
                    <a:pt x="0" y="102259"/>
                    <a:pt x="1141" y="108344"/>
                    <a:pt x="4183" y="109485"/>
                  </a:cubicBezTo>
                  <a:cubicBezTo>
                    <a:pt x="7226" y="110626"/>
                    <a:pt x="8177" y="109485"/>
                    <a:pt x="11599" y="107584"/>
                  </a:cubicBezTo>
                  <a:cubicBezTo>
                    <a:pt x="14437" y="106234"/>
                    <a:pt x="17443" y="105283"/>
                    <a:pt x="20537" y="104731"/>
                  </a:cubicBezTo>
                  <a:cubicBezTo>
                    <a:pt x="27941" y="104712"/>
                    <a:pt x="35268" y="106272"/>
                    <a:pt x="42024" y="109295"/>
                  </a:cubicBezTo>
                  <a:cubicBezTo>
                    <a:pt x="51762" y="113231"/>
                    <a:pt x="60197" y="119810"/>
                    <a:pt x="66364" y="128310"/>
                  </a:cubicBezTo>
                  <a:cubicBezTo>
                    <a:pt x="68646" y="130782"/>
                    <a:pt x="71118" y="133635"/>
                    <a:pt x="73780" y="136297"/>
                  </a:cubicBezTo>
                  <a:cubicBezTo>
                    <a:pt x="84388" y="145272"/>
                    <a:pt x="97912" y="150083"/>
                    <a:pt x="111810" y="149798"/>
                  </a:cubicBezTo>
                  <a:cubicBezTo>
                    <a:pt x="121560" y="149760"/>
                    <a:pt x="130927" y="153601"/>
                    <a:pt x="137862" y="160446"/>
                  </a:cubicBezTo>
                  <a:cubicBezTo>
                    <a:pt x="141138" y="164725"/>
                    <a:pt x="142450" y="170182"/>
                    <a:pt x="141475" y="175468"/>
                  </a:cubicBezTo>
                  <a:lnTo>
                    <a:pt x="141475" y="175468"/>
                  </a:lnTo>
                  <a:cubicBezTo>
                    <a:pt x="140657" y="178948"/>
                    <a:pt x="138955" y="182162"/>
                    <a:pt x="136530" y="184786"/>
                  </a:cubicBezTo>
                  <a:cubicBezTo>
                    <a:pt x="135207" y="186193"/>
                    <a:pt x="134230" y="187885"/>
                    <a:pt x="133678" y="189730"/>
                  </a:cubicBezTo>
                  <a:cubicBezTo>
                    <a:pt x="133678" y="192772"/>
                    <a:pt x="139763" y="197526"/>
                    <a:pt x="143186" y="200379"/>
                  </a:cubicBezTo>
                  <a:lnTo>
                    <a:pt x="146989" y="203611"/>
                  </a:lnTo>
                  <a:lnTo>
                    <a:pt x="150222" y="206464"/>
                  </a:lnTo>
                  <a:lnTo>
                    <a:pt x="152313" y="208175"/>
                  </a:lnTo>
                  <a:cubicBezTo>
                    <a:pt x="156090" y="211407"/>
                    <a:pt x="159358" y="215192"/>
                    <a:pt x="162011" y="219394"/>
                  </a:cubicBezTo>
                  <a:lnTo>
                    <a:pt x="162011" y="219394"/>
                  </a:lnTo>
                  <a:cubicBezTo>
                    <a:pt x="163340" y="221638"/>
                    <a:pt x="164485" y="223996"/>
                    <a:pt x="165434" y="226430"/>
                  </a:cubicBezTo>
                  <a:cubicBezTo>
                    <a:pt x="166293" y="229130"/>
                    <a:pt x="167647" y="231640"/>
                    <a:pt x="169427" y="233846"/>
                  </a:cubicBezTo>
                  <a:cubicBezTo>
                    <a:pt x="171150" y="235405"/>
                    <a:pt x="173069" y="236755"/>
                    <a:pt x="175132" y="237839"/>
                  </a:cubicBezTo>
                  <a:cubicBezTo>
                    <a:pt x="177819" y="239360"/>
                    <a:pt x="180310" y="241224"/>
                    <a:pt x="182548" y="243353"/>
                  </a:cubicBezTo>
                  <a:cubicBezTo>
                    <a:pt x="184651" y="245331"/>
                    <a:pt x="186503" y="247575"/>
                    <a:pt x="188062" y="250009"/>
                  </a:cubicBezTo>
                  <a:cubicBezTo>
                    <a:pt x="190914" y="254002"/>
                    <a:pt x="192436" y="256094"/>
                    <a:pt x="197380" y="256664"/>
                  </a:cubicBezTo>
                  <a:cubicBezTo>
                    <a:pt x="202748" y="256816"/>
                    <a:pt x="208101" y="255980"/>
                    <a:pt x="213162" y="254192"/>
                  </a:cubicBezTo>
                  <a:cubicBezTo>
                    <a:pt x="221039" y="251473"/>
                    <a:pt x="229451" y="250693"/>
                    <a:pt x="237692" y="251910"/>
                  </a:cubicBezTo>
                  <a:cubicBezTo>
                    <a:pt x="253855" y="255333"/>
                    <a:pt x="266215" y="276250"/>
                    <a:pt x="270779" y="284997"/>
                  </a:cubicBezTo>
                  <a:cubicBezTo>
                    <a:pt x="276883" y="299335"/>
                    <a:pt x="278594" y="315136"/>
                    <a:pt x="275723" y="330444"/>
                  </a:cubicBezTo>
                  <a:cubicBezTo>
                    <a:pt x="275723" y="330444"/>
                    <a:pt x="275723" y="331585"/>
                    <a:pt x="275723" y="331965"/>
                  </a:cubicBezTo>
                  <a:cubicBezTo>
                    <a:pt x="275381" y="333391"/>
                    <a:pt x="274943" y="334798"/>
                    <a:pt x="274392" y="336148"/>
                  </a:cubicBezTo>
                  <a:lnTo>
                    <a:pt x="274392" y="336148"/>
                  </a:ln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06" name="Полилиния: фигура 505">
              <a:extLst>
                <a:ext uri="{FF2B5EF4-FFF2-40B4-BE49-F238E27FC236}">
                  <a16:creationId xmlns:a16="http://schemas.microsoft.com/office/drawing/2014/main" id="{74ACD028-C542-AA58-75AD-D509D6888800}"/>
                </a:ext>
              </a:extLst>
            </p:cNvPr>
            <p:cNvSpPr/>
            <p:nvPr/>
          </p:nvSpPr>
          <p:spPr>
            <a:xfrm>
              <a:off x="4991492" y="4354574"/>
              <a:ext cx="433959" cy="580959"/>
            </a:xfrm>
            <a:custGeom>
              <a:avLst/>
              <a:gdLst>
                <a:gd name="connsiteX0" fmla="*/ 462454 w 477418"/>
                <a:gd name="connsiteY0" fmla="*/ 220388 h 637272"/>
                <a:gd name="connsiteX1" fmla="*/ 462454 w 477418"/>
                <a:gd name="connsiteY1" fmla="*/ 218297 h 637272"/>
                <a:gd name="connsiteX2" fmla="*/ 468539 w 477418"/>
                <a:gd name="connsiteY2" fmla="*/ 199281 h 637272"/>
                <a:gd name="connsiteX3" fmla="*/ 470821 w 477418"/>
                <a:gd name="connsiteY3" fmla="*/ 196239 h 637272"/>
                <a:gd name="connsiteX4" fmla="*/ 477286 w 477418"/>
                <a:gd name="connsiteY4" fmla="*/ 182928 h 637272"/>
                <a:gd name="connsiteX5" fmla="*/ 471391 w 477418"/>
                <a:gd name="connsiteY5" fmla="*/ 179125 h 637272"/>
                <a:gd name="connsiteX6" fmla="*/ 465687 w 477418"/>
                <a:gd name="connsiteY6" fmla="*/ 179125 h 637272"/>
                <a:gd name="connsiteX7" fmla="*/ 463595 w 477418"/>
                <a:gd name="connsiteY7" fmla="*/ 179125 h 637272"/>
                <a:gd name="connsiteX8" fmla="*/ 452566 w 477418"/>
                <a:gd name="connsiteY8" fmla="*/ 179125 h 637272"/>
                <a:gd name="connsiteX9" fmla="*/ 449524 w 477418"/>
                <a:gd name="connsiteY9" fmla="*/ 179125 h 637272"/>
                <a:gd name="connsiteX10" fmla="*/ 439636 w 477418"/>
                <a:gd name="connsiteY10" fmla="*/ 171519 h 637272"/>
                <a:gd name="connsiteX11" fmla="*/ 436213 w 477418"/>
                <a:gd name="connsiteY11" fmla="*/ 167525 h 637272"/>
                <a:gd name="connsiteX12" fmla="*/ 424423 w 477418"/>
                <a:gd name="connsiteY12" fmla="*/ 161440 h 637272"/>
                <a:gd name="connsiteX13" fmla="*/ 412824 w 477418"/>
                <a:gd name="connsiteY13" fmla="*/ 156306 h 637272"/>
                <a:gd name="connsiteX14" fmla="*/ 403887 w 477418"/>
                <a:gd name="connsiteY14" fmla="*/ 148891 h 637272"/>
                <a:gd name="connsiteX15" fmla="*/ 386963 w 477418"/>
                <a:gd name="connsiteY15" fmla="*/ 139573 h 637272"/>
                <a:gd name="connsiteX16" fmla="*/ 367948 w 477418"/>
                <a:gd name="connsiteY16" fmla="*/ 126072 h 637272"/>
                <a:gd name="connsiteX17" fmla="*/ 366426 w 477418"/>
                <a:gd name="connsiteY17" fmla="*/ 114663 h 637272"/>
                <a:gd name="connsiteX18" fmla="*/ 356348 w 477418"/>
                <a:gd name="connsiteY18" fmla="*/ 114663 h 637272"/>
                <a:gd name="connsiteX19" fmla="*/ 339995 w 477418"/>
                <a:gd name="connsiteY19" fmla="*/ 113332 h 637272"/>
                <a:gd name="connsiteX20" fmla="*/ 324783 w 477418"/>
                <a:gd name="connsiteY20" fmla="*/ 102303 h 637272"/>
                <a:gd name="connsiteX21" fmla="*/ 321740 w 477418"/>
                <a:gd name="connsiteY21" fmla="*/ 86140 h 637272"/>
                <a:gd name="connsiteX22" fmla="*/ 321740 w 477418"/>
                <a:gd name="connsiteY22" fmla="*/ 83478 h 637272"/>
                <a:gd name="connsiteX23" fmla="*/ 317937 w 477418"/>
                <a:gd name="connsiteY23" fmla="*/ 73019 h 637272"/>
                <a:gd name="connsiteX24" fmla="*/ 312423 w 477418"/>
                <a:gd name="connsiteY24" fmla="*/ 71688 h 637272"/>
                <a:gd name="connsiteX25" fmla="*/ 301774 w 477418"/>
                <a:gd name="connsiteY25" fmla="*/ 68075 h 637272"/>
                <a:gd name="connsiteX26" fmla="*/ 293788 w 477418"/>
                <a:gd name="connsiteY26" fmla="*/ 52102 h 637272"/>
                <a:gd name="connsiteX27" fmla="*/ 290175 w 477418"/>
                <a:gd name="connsiteY27" fmla="*/ 42975 h 637272"/>
                <a:gd name="connsiteX28" fmla="*/ 284850 w 477418"/>
                <a:gd name="connsiteY28" fmla="*/ 42975 h 637272"/>
                <a:gd name="connsiteX29" fmla="*/ 252714 w 477418"/>
                <a:gd name="connsiteY29" fmla="*/ 39362 h 637272"/>
                <a:gd name="connsiteX30" fmla="*/ 220578 w 477418"/>
                <a:gd name="connsiteY30" fmla="*/ 5514 h 637272"/>
                <a:gd name="connsiteX31" fmla="*/ 219057 w 477418"/>
                <a:gd name="connsiteY31" fmla="*/ 2282 h 637272"/>
                <a:gd name="connsiteX32" fmla="*/ 211831 w 477418"/>
                <a:gd name="connsiteY32" fmla="*/ 0 h 637272"/>
                <a:gd name="connsiteX33" fmla="*/ 203845 w 477418"/>
                <a:gd name="connsiteY33" fmla="*/ 0 h 637272"/>
                <a:gd name="connsiteX34" fmla="*/ 198330 w 477418"/>
                <a:gd name="connsiteY34" fmla="*/ 14642 h 637272"/>
                <a:gd name="connsiteX35" fmla="*/ 177033 w 477418"/>
                <a:gd name="connsiteY35" fmla="*/ 21297 h 637272"/>
                <a:gd name="connsiteX36" fmla="*/ 165814 w 477418"/>
                <a:gd name="connsiteY36" fmla="*/ 22628 h 637272"/>
                <a:gd name="connsiteX37" fmla="*/ 163152 w 477418"/>
                <a:gd name="connsiteY37" fmla="*/ 24910 h 637272"/>
                <a:gd name="connsiteX38" fmla="*/ 155165 w 477418"/>
                <a:gd name="connsiteY38" fmla="*/ 30044 h 637272"/>
                <a:gd name="connsiteX39" fmla="*/ 146038 w 477418"/>
                <a:gd name="connsiteY39" fmla="*/ 31185 h 637272"/>
                <a:gd name="connsiteX40" fmla="*/ 144137 w 477418"/>
                <a:gd name="connsiteY40" fmla="*/ 31185 h 637272"/>
                <a:gd name="connsiteX41" fmla="*/ 146799 w 477418"/>
                <a:gd name="connsiteY41" fmla="*/ 45256 h 637272"/>
                <a:gd name="connsiteX42" fmla="*/ 148890 w 477418"/>
                <a:gd name="connsiteY42" fmla="*/ 54764 h 637272"/>
                <a:gd name="connsiteX43" fmla="*/ 135389 w 477418"/>
                <a:gd name="connsiteY43" fmla="*/ 82717 h 637272"/>
                <a:gd name="connsiteX44" fmla="*/ 100591 w 477418"/>
                <a:gd name="connsiteY44" fmla="*/ 97169 h 637272"/>
                <a:gd name="connsiteX45" fmla="*/ 97739 w 477418"/>
                <a:gd name="connsiteY45" fmla="*/ 97169 h 637272"/>
                <a:gd name="connsiteX46" fmla="*/ 92034 w 477418"/>
                <a:gd name="connsiteY46" fmla="*/ 99450 h 637272"/>
                <a:gd name="connsiteX47" fmla="*/ 76822 w 477418"/>
                <a:gd name="connsiteY47" fmla="*/ 103634 h 637272"/>
                <a:gd name="connsiteX48" fmla="*/ 68265 w 477418"/>
                <a:gd name="connsiteY48" fmla="*/ 99640 h 637272"/>
                <a:gd name="connsiteX49" fmla="*/ 66364 w 477418"/>
                <a:gd name="connsiteY49" fmla="*/ 98310 h 637272"/>
                <a:gd name="connsiteX50" fmla="*/ 58757 w 477418"/>
                <a:gd name="connsiteY50" fmla="*/ 99450 h 637272"/>
                <a:gd name="connsiteX51" fmla="*/ 56095 w 477418"/>
                <a:gd name="connsiteY51" fmla="*/ 109909 h 637272"/>
                <a:gd name="connsiteX52" fmla="*/ 57807 w 477418"/>
                <a:gd name="connsiteY52" fmla="*/ 119797 h 637272"/>
                <a:gd name="connsiteX53" fmla="*/ 56286 w 477418"/>
                <a:gd name="connsiteY53" fmla="*/ 145658 h 637272"/>
                <a:gd name="connsiteX54" fmla="*/ 30995 w 477418"/>
                <a:gd name="connsiteY54" fmla="*/ 183688 h 637272"/>
                <a:gd name="connsiteX55" fmla="*/ 11980 w 477418"/>
                <a:gd name="connsiteY55" fmla="*/ 209740 h 637272"/>
                <a:gd name="connsiteX56" fmla="*/ 0 w 477418"/>
                <a:gd name="connsiteY56" fmla="*/ 245108 h 637272"/>
                <a:gd name="connsiteX57" fmla="*/ 2092 w 477418"/>
                <a:gd name="connsiteY57" fmla="*/ 261271 h 637272"/>
                <a:gd name="connsiteX58" fmla="*/ 4373 w 477418"/>
                <a:gd name="connsiteY58" fmla="*/ 280287 h 637272"/>
                <a:gd name="connsiteX59" fmla="*/ 4373 w 477418"/>
                <a:gd name="connsiteY59" fmla="*/ 282949 h 637272"/>
                <a:gd name="connsiteX60" fmla="*/ 8937 w 477418"/>
                <a:gd name="connsiteY60" fmla="*/ 305197 h 637272"/>
                <a:gd name="connsiteX61" fmla="*/ 15973 w 477418"/>
                <a:gd name="connsiteY61" fmla="*/ 313564 h 637272"/>
                <a:gd name="connsiteX62" fmla="*/ 26241 w 477418"/>
                <a:gd name="connsiteY62" fmla="*/ 327255 h 637272"/>
                <a:gd name="connsiteX63" fmla="*/ 40313 w 477418"/>
                <a:gd name="connsiteY63" fmla="*/ 364145 h 637272"/>
                <a:gd name="connsiteX64" fmla="*/ 40313 w 477418"/>
                <a:gd name="connsiteY64" fmla="*/ 379927 h 637272"/>
                <a:gd name="connsiteX65" fmla="*/ 41834 w 477418"/>
                <a:gd name="connsiteY65" fmla="*/ 400274 h 637272"/>
                <a:gd name="connsiteX66" fmla="*/ 45827 w 477418"/>
                <a:gd name="connsiteY66" fmla="*/ 406929 h 637272"/>
                <a:gd name="connsiteX67" fmla="*/ 53053 w 477418"/>
                <a:gd name="connsiteY67" fmla="*/ 424804 h 637272"/>
                <a:gd name="connsiteX68" fmla="*/ 50961 w 477418"/>
                <a:gd name="connsiteY68" fmla="*/ 440776 h 637272"/>
                <a:gd name="connsiteX69" fmla="*/ 49630 w 477418"/>
                <a:gd name="connsiteY69" fmla="*/ 446862 h 637272"/>
                <a:gd name="connsiteX70" fmla="*/ 49630 w 477418"/>
                <a:gd name="connsiteY70" fmla="*/ 449714 h 637272"/>
                <a:gd name="connsiteX71" fmla="*/ 49630 w 477418"/>
                <a:gd name="connsiteY71" fmla="*/ 478047 h 637272"/>
                <a:gd name="connsiteX72" fmla="*/ 53623 w 477418"/>
                <a:gd name="connsiteY72" fmla="*/ 479378 h 637272"/>
                <a:gd name="connsiteX73" fmla="*/ 62370 w 477418"/>
                <a:gd name="connsiteY73" fmla="*/ 475004 h 637272"/>
                <a:gd name="connsiteX74" fmla="*/ 78533 w 477418"/>
                <a:gd name="connsiteY74" fmla="*/ 467969 h 637272"/>
                <a:gd name="connsiteX75" fmla="*/ 103824 w 477418"/>
                <a:gd name="connsiteY75" fmla="*/ 482801 h 637272"/>
                <a:gd name="connsiteX76" fmla="*/ 94126 w 477418"/>
                <a:gd name="connsiteY76" fmla="*/ 519310 h 637272"/>
                <a:gd name="connsiteX77" fmla="*/ 86140 w 477418"/>
                <a:gd name="connsiteY77" fmla="*/ 523494 h 637272"/>
                <a:gd name="connsiteX78" fmla="*/ 79484 w 477418"/>
                <a:gd name="connsiteY78" fmla="*/ 528057 h 637272"/>
                <a:gd name="connsiteX79" fmla="*/ 84809 w 477418"/>
                <a:gd name="connsiteY79" fmla="*/ 533382 h 637272"/>
                <a:gd name="connsiteX80" fmla="*/ 93556 w 477418"/>
                <a:gd name="connsiteY80" fmla="*/ 540417 h 637272"/>
                <a:gd name="connsiteX81" fmla="*/ 90513 w 477418"/>
                <a:gd name="connsiteY81" fmla="*/ 564757 h 637272"/>
                <a:gd name="connsiteX82" fmla="*/ 88231 w 477418"/>
                <a:gd name="connsiteY82" fmla="*/ 567799 h 637272"/>
                <a:gd name="connsiteX83" fmla="*/ 86710 w 477418"/>
                <a:gd name="connsiteY83" fmla="*/ 569891 h 637272"/>
                <a:gd name="connsiteX84" fmla="*/ 81005 w 477418"/>
                <a:gd name="connsiteY84" fmla="*/ 583772 h 637272"/>
                <a:gd name="connsiteX85" fmla="*/ 81005 w 477418"/>
                <a:gd name="connsiteY85" fmla="*/ 586054 h 637272"/>
                <a:gd name="connsiteX86" fmla="*/ 87090 w 477418"/>
                <a:gd name="connsiteY86" fmla="*/ 589857 h 637272"/>
                <a:gd name="connsiteX87" fmla="*/ 94506 w 477418"/>
                <a:gd name="connsiteY87" fmla="*/ 600696 h 637272"/>
                <a:gd name="connsiteX88" fmla="*/ 101162 w 477418"/>
                <a:gd name="connsiteY88" fmla="*/ 610014 h 637272"/>
                <a:gd name="connsiteX89" fmla="*/ 124931 w 477418"/>
                <a:gd name="connsiteY89" fmla="*/ 610014 h 637272"/>
                <a:gd name="connsiteX90" fmla="*/ 151553 w 477418"/>
                <a:gd name="connsiteY90" fmla="*/ 604879 h 637272"/>
                <a:gd name="connsiteX91" fmla="*/ 169237 w 477418"/>
                <a:gd name="connsiteY91" fmla="*/ 620472 h 637272"/>
                <a:gd name="connsiteX92" fmla="*/ 177223 w 477418"/>
                <a:gd name="connsiteY92" fmla="*/ 629599 h 637272"/>
                <a:gd name="connsiteX93" fmla="*/ 202704 w 477418"/>
                <a:gd name="connsiteY93" fmla="*/ 637015 h 637272"/>
                <a:gd name="connsiteX94" fmla="*/ 222860 w 477418"/>
                <a:gd name="connsiteY94" fmla="*/ 618000 h 637272"/>
                <a:gd name="connsiteX95" fmla="*/ 231607 w 477418"/>
                <a:gd name="connsiteY95" fmla="*/ 604689 h 637272"/>
                <a:gd name="connsiteX96" fmla="*/ 253095 w 477418"/>
                <a:gd name="connsiteY96" fmla="*/ 593470 h 637272"/>
                <a:gd name="connsiteX97" fmla="*/ 259750 w 477418"/>
                <a:gd name="connsiteY97" fmla="*/ 559433 h 637272"/>
                <a:gd name="connsiteX98" fmla="*/ 267737 w 477418"/>
                <a:gd name="connsiteY98" fmla="*/ 545171 h 637272"/>
                <a:gd name="connsiteX99" fmla="*/ 273441 w 477418"/>
                <a:gd name="connsiteY99" fmla="*/ 535663 h 637272"/>
                <a:gd name="connsiteX100" fmla="*/ 286752 w 477418"/>
                <a:gd name="connsiteY100" fmla="*/ 521211 h 637272"/>
                <a:gd name="connsiteX101" fmla="*/ 291126 w 477418"/>
                <a:gd name="connsiteY101" fmla="*/ 517979 h 637272"/>
                <a:gd name="connsiteX102" fmla="*/ 304246 w 477418"/>
                <a:gd name="connsiteY102" fmla="*/ 492688 h 637272"/>
                <a:gd name="connsiteX103" fmla="*/ 310331 w 477418"/>
                <a:gd name="connsiteY103" fmla="*/ 475955 h 637272"/>
                <a:gd name="connsiteX104" fmla="*/ 315465 w 477418"/>
                <a:gd name="connsiteY104" fmla="*/ 463595 h 637272"/>
                <a:gd name="connsiteX105" fmla="*/ 346270 w 477418"/>
                <a:gd name="connsiteY105" fmla="*/ 417007 h 637272"/>
                <a:gd name="connsiteX106" fmla="*/ 365286 w 477418"/>
                <a:gd name="connsiteY106" fmla="*/ 414155 h 637272"/>
                <a:gd name="connsiteX107" fmla="*/ 372702 w 477418"/>
                <a:gd name="connsiteY107" fmla="*/ 408831 h 637272"/>
                <a:gd name="connsiteX108" fmla="*/ 391717 w 477418"/>
                <a:gd name="connsiteY108" fmla="*/ 400844 h 637272"/>
                <a:gd name="connsiteX109" fmla="*/ 403506 w 477418"/>
                <a:gd name="connsiteY109" fmla="*/ 406739 h 637272"/>
                <a:gd name="connsiteX110" fmla="*/ 410922 w 477418"/>
                <a:gd name="connsiteY110" fmla="*/ 410162 h 637272"/>
                <a:gd name="connsiteX111" fmla="*/ 415866 w 477418"/>
                <a:gd name="connsiteY111" fmla="*/ 401795 h 637272"/>
                <a:gd name="connsiteX112" fmla="*/ 415866 w 477418"/>
                <a:gd name="connsiteY112" fmla="*/ 399133 h 637272"/>
                <a:gd name="connsiteX113" fmla="*/ 434882 w 477418"/>
                <a:gd name="connsiteY113" fmla="*/ 372511 h 637272"/>
                <a:gd name="connsiteX114" fmla="*/ 445150 w 477418"/>
                <a:gd name="connsiteY114" fmla="*/ 364525 h 637272"/>
                <a:gd name="connsiteX115" fmla="*/ 451045 w 477418"/>
                <a:gd name="connsiteY115" fmla="*/ 347982 h 637272"/>
                <a:gd name="connsiteX116" fmla="*/ 439826 w 477418"/>
                <a:gd name="connsiteY116" fmla="*/ 341326 h 637272"/>
                <a:gd name="connsiteX117" fmla="*/ 422712 w 477418"/>
                <a:gd name="connsiteY117" fmla="*/ 347221 h 637272"/>
                <a:gd name="connsiteX118" fmla="*/ 398562 w 477418"/>
                <a:gd name="connsiteY118" fmla="*/ 354066 h 637272"/>
                <a:gd name="connsiteX119" fmla="*/ 390766 w 477418"/>
                <a:gd name="connsiteY119" fmla="*/ 353116 h 637272"/>
                <a:gd name="connsiteX120" fmla="*/ 372892 w 477418"/>
                <a:gd name="connsiteY120" fmla="*/ 351024 h 637272"/>
                <a:gd name="connsiteX121" fmla="*/ 353876 w 477418"/>
                <a:gd name="connsiteY121" fmla="*/ 344369 h 637272"/>
                <a:gd name="connsiteX122" fmla="*/ 351975 w 477418"/>
                <a:gd name="connsiteY122" fmla="*/ 343418 h 637272"/>
                <a:gd name="connsiteX123" fmla="*/ 329917 w 477418"/>
                <a:gd name="connsiteY123" fmla="*/ 336953 h 637272"/>
                <a:gd name="connsiteX124" fmla="*/ 324783 w 477418"/>
                <a:gd name="connsiteY124" fmla="*/ 336953 h 637272"/>
                <a:gd name="connsiteX125" fmla="*/ 304056 w 477418"/>
                <a:gd name="connsiteY125" fmla="*/ 328586 h 637272"/>
                <a:gd name="connsiteX126" fmla="*/ 297971 w 477418"/>
                <a:gd name="connsiteY126" fmla="*/ 304246 h 637272"/>
                <a:gd name="connsiteX127" fmla="*/ 292647 w 477418"/>
                <a:gd name="connsiteY127" fmla="*/ 282759 h 637272"/>
                <a:gd name="connsiteX128" fmla="*/ 288273 w 477418"/>
                <a:gd name="connsiteY128" fmla="*/ 278005 h 637272"/>
                <a:gd name="connsiteX129" fmla="*/ 279906 w 477418"/>
                <a:gd name="connsiteY129" fmla="*/ 260891 h 637272"/>
                <a:gd name="connsiteX130" fmla="*/ 288083 w 477418"/>
                <a:gd name="connsiteY130" fmla="*/ 239023 h 637272"/>
                <a:gd name="connsiteX131" fmla="*/ 328396 w 477418"/>
                <a:gd name="connsiteY131" fmla="*/ 209169 h 637272"/>
                <a:gd name="connsiteX132" fmla="*/ 347411 w 477418"/>
                <a:gd name="connsiteY132" fmla="*/ 220959 h 637272"/>
                <a:gd name="connsiteX133" fmla="*/ 352355 w 477418"/>
                <a:gd name="connsiteY133" fmla="*/ 226473 h 637272"/>
                <a:gd name="connsiteX134" fmla="*/ 357679 w 477418"/>
                <a:gd name="connsiteY134" fmla="*/ 229896 h 637272"/>
                <a:gd name="connsiteX135" fmla="*/ 366807 w 477418"/>
                <a:gd name="connsiteY135" fmla="*/ 236741 h 637272"/>
                <a:gd name="connsiteX136" fmla="*/ 375173 w 477418"/>
                <a:gd name="connsiteY136" fmla="*/ 252905 h 637272"/>
                <a:gd name="connsiteX137" fmla="*/ 391146 w 477418"/>
                <a:gd name="connsiteY137" fmla="*/ 262032 h 637272"/>
                <a:gd name="connsiteX138" fmla="*/ 421001 w 477418"/>
                <a:gd name="connsiteY138" fmla="*/ 262032 h 637272"/>
                <a:gd name="connsiteX139" fmla="*/ 423473 w 477418"/>
                <a:gd name="connsiteY139" fmla="*/ 262032 h 637272"/>
                <a:gd name="connsiteX140" fmla="*/ 442488 w 477418"/>
                <a:gd name="connsiteY140" fmla="*/ 259940 h 637272"/>
                <a:gd name="connsiteX141" fmla="*/ 450665 w 477418"/>
                <a:gd name="connsiteY141" fmla="*/ 258039 h 637272"/>
                <a:gd name="connsiteX142" fmla="*/ 458461 w 477418"/>
                <a:gd name="connsiteY142" fmla="*/ 256898 h 637272"/>
                <a:gd name="connsiteX143" fmla="*/ 466638 w 477418"/>
                <a:gd name="connsiteY143" fmla="*/ 255186 h 637272"/>
                <a:gd name="connsiteX144" fmla="*/ 465687 w 477418"/>
                <a:gd name="connsiteY144" fmla="*/ 248911 h 637272"/>
                <a:gd name="connsiteX145" fmla="*/ 463975 w 477418"/>
                <a:gd name="connsiteY145" fmla="*/ 244728 h 637272"/>
                <a:gd name="connsiteX146" fmla="*/ 461123 w 477418"/>
                <a:gd name="connsiteY146" fmla="*/ 233509 h 637272"/>
                <a:gd name="connsiteX147" fmla="*/ 462264 w 477418"/>
                <a:gd name="connsiteY147" fmla="*/ 225142 h 637272"/>
                <a:gd name="connsiteX148" fmla="*/ 462454 w 477418"/>
                <a:gd name="connsiteY148" fmla="*/ 220388 h 637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477418" h="637272">
                  <a:moveTo>
                    <a:pt x="462454" y="220388"/>
                  </a:moveTo>
                  <a:lnTo>
                    <a:pt x="462454" y="218297"/>
                  </a:lnTo>
                  <a:cubicBezTo>
                    <a:pt x="462416" y="211470"/>
                    <a:pt x="464546" y="204815"/>
                    <a:pt x="468539" y="199281"/>
                  </a:cubicBezTo>
                  <a:lnTo>
                    <a:pt x="470821" y="196239"/>
                  </a:lnTo>
                  <a:cubicBezTo>
                    <a:pt x="473863" y="192055"/>
                    <a:pt x="478237" y="185590"/>
                    <a:pt x="477286" y="182928"/>
                  </a:cubicBezTo>
                  <a:cubicBezTo>
                    <a:pt x="476335" y="180266"/>
                    <a:pt x="474814" y="180266"/>
                    <a:pt x="471391" y="179125"/>
                  </a:cubicBezTo>
                  <a:cubicBezTo>
                    <a:pt x="469509" y="178840"/>
                    <a:pt x="467569" y="178840"/>
                    <a:pt x="465687" y="179125"/>
                  </a:cubicBezTo>
                  <a:lnTo>
                    <a:pt x="463595" y="179125"/>
                  </a:lnTo>
                  <a:cubicBezTo>
                    <a:pt x="459944" y="179809"/>
                    <a:pt x="456217" y="179809"/>
                    <a:pt x="452566" y="179125"/>
                  </a:cubicBezTo>
                  <a:lnTo>
                    <a:pt x="449524" y="179125"/>
                  </a:lnTo>
                  <a:cubicBezTo>
                    <a:pt x="445473" y="177775"/>
                    <a:pt x="441975" y="175094"/>
                    <a:pt x="439636" y="171519"/>
                  </a:cubicBezTo>
                  <a:cubicBezTo>
                    <a:pt x="438571" y="170130"/>
                    <a:pt x="437430" y="168800"/>
                    <a:pt x="436213" y="167525"/>
                  </a:cubicBezTo>
                  <a:cubicBezTo>
                    <a:pt x="432733" y="164730"/>
                    <a:pt x="428721" y="162658"/>
                    <a:pt x="424423" y="161440"/>
                  </a:cubicBezTo>
                  <a:cubicBezTo>
                    <a:pt x="420373" y="160186"/>
                    <a:pt x="416475" y="158455"/>
                    <a:pt x="412824" y="156306"/>
                  </a:cubicBezTo>
                  <a:cubicBezTo>
                    <a:pt x="409648" y="154082"/>
                    <a:pt x="406663" y="151610"/>
                    <a:pt x="403887" y="148891"/>
                  </a:cubicBezTo>
                  <a:cubicBezTo>
                    <a:pt x="399646" y="143737"/>
                    <a:pt x="393580" y="140391"/>
                    <a:pt x="386963" y="139573"/>
                  </a:cubicBezTo>
                  <a:cubicBezTo>
                    <a:pt x="378558" y="139116"/>
                    <a:pt x="371161" y="133849"/>
                    <a:pt x="367948" y="126072"/>
                  </a:cubicBezTo>
                  <a:cubicBezTo>
                    <a:pt x="366560" y="122440"/>
                    <a:pt x="366027" y="118523"/>
                    <a:pt x="366426" y="114663"/>
                  </a:cubicBezTo>
                  <a:lnTo>
                    <a:pt x="356348" y="114663"/>
                  </a:lnTo>
                  <a:cubicBezTo>
                    <a:pt x="350853" y="115062"/>
                    <a:pt x="345338" y="114606"/>
                    <a:pt x="339995" y="113332"/>
                  </a:cubicBezTo>
                  <a:cubicBezTo>
                    <a:pt x="333568" y="112019"/>
                    <a:pt x="328034" y="107988"/>
                    <a:pt x="324783" y="102303"/>
                  </a:cubicBezTo>
                  <a:cubicBezTo>
                    <a:pt x="322330" y="97283"/>
                    <a:pt x="321284" y="91711"/>
                    <a:pt x="321740" y="86140"/>
                  </a:cubicBezTo>
                  <a:lnTo>
                    <a:pt x="321740" y="83478"/>
                  </a:lnTo>
                  <a:cubicBezTo>
                    <a:pt x="321740" y="80435"/>
                    <a:pt x="321740" y="74921"/>
                    <a:pt x="317937" y="73019"/>
                  </a:cubicBezTo>
                  <a:cubicBezTo>
                    <a:pt x="316207" y="72220"/>
                    <a:pt x="314324" y="71764"/>
                    <a:pt x="312423" y="71688"/>
                  </a:cubicBezTo>
                  <a:cubicBezTo>
                    <a:pt x="308639" y="71346"/>
                    <a:pt x="304988" y="70110"/>
                    <a:pt x="301774" y="68075"/>
                  </a:cubicBezTo>
                  <a:cubicBezTo>
                    <a:pt x="297191" y="63949"/>
                    <a:pt x="294339" y="58244"/>
                    <a:pt x="293788" y="52102"/>
                  </a:cubicBezTo>
                  <a:cubicBezTo>
                    <a:pt x="293788" y="47158"/>
                    <a:pt x="292076" y="43925"/>
                    <a:pt x="290175" y="42975"/>
                  </a:cubicBezTo>
                  <a:cubicBezTo>
                    <a:pt x="288406" y="42651"/>
                    <a:pt x="286619" y="42651"/>
                    <a:pt x="284850" y="42975"/>
                  </a:cubicBezTo>
                  <a:cubicBezTo>
                    <a:pt x="274012" y="43640"/>
                    <a:pt x="263135" y="42423"/>
                    <a:pt x="252714" y="39362"/>
                  </a:cubicBezTo>
                  <a:cubicBezTo>
                    <a:pt x="237141" y="33961"/>
                    <a:pt x="225161" y="21335"/>
                    <a:pt x="220578" y="5514"/>
                  </a:cubicBezTo>
                  <a:cubicBezTo>
                    <a:pt x="220179" y="4393"/>
                    <a:pt x="219666" y="3309"/>
                    <a:pt x="219057" y="2282"/>
                  </a:cubicBezTo>
                  <a:cubicBezTo>
                    <a:pt x="216908" y="856"/>
                    <a:pt x="214417" y="57"/>
                    <a:pt x="211831" y="0"/>
                  </a:cubicBezTo>
                  <a:lnTo>
                    <a:pt x="203845" y="0"/>
                  </a:lnTo>
                  <a:cubicBezTo>
                    <a:pt x="203921" y="5400"/>
                    <a:pt x="201943" y="10629"/>
                    <a:pt x="198330" y="14642"/>
                  </a:cubicBezTo>
                  <a:cubicBezTo>
                    <a:pt x="192626" y="20023"/>
                    <a:pt x="184772" y="22476"/>
                    <a:pt x="177033" y="21297"/>
                  </a:cubicBezTo>
                  <a:cubicBezTo>
                    <a:pt x="173249" y="20917"/>
                    <a:pt x="169408" y="21373"/>
                    <a:pt x="165814" y="22628"/>
                  </a:cubicBezTo>
                  <a:cubicBezTo>
                    <a:pt x="164749" y="23161"/>
                    <a:pt x="163837" y="23940"/>
                    <a:pt x="163152" y="24910"/>
                  </a:cubicBezTo>
                  <a:cubicBezTo>
                    <a:pt x="160965" y="27268"/>
                    <a:pt x="158227" y="29036"/>
                    <a:pt x="155165" y="30044"/>
                  </a:cubicBezTo>
                  <a:cubicBezTo>
                    <a:pt x="152199" y="30900"/>
                    <a:pt x="149119" y="31280"/>
                    <a:pt x="146038" y="31185"/>
                  </a:cubicBezTo>
                  <a:lnTo>
                    <a:pt x="144137" y="31185"/>
                  </a:lnTo>
                  <a:cubicBezTo>
                    <a:pt x="144137" y="35749"/>
                    <a:pt x="145848" y="40313"/>
                    <a:pt x="146799" y="45256"/>
                  </a:cubicBezTo>
                  <a:cubicBezTo>
                    <a:pt x="147749" y="50201"/>
                    <a:pt x="148320" y="51532"/>
                    <a:pt x="148890" y="54764"/>
                  </a:cubicBezTo>
                  <a:cubicBezTo>
                    <a:pt x="151553" y="69216"/>
                    <a:pt x="147179" y="74921"/>
                    <a:pt x="135389" y="82717"/>
                  </a:cubicBezTo>
                  <a:cubicBezTo>
                    <a:pt x="124665" y="89429"/>
                    <a:pt x="112913" y="94316"/>
                    <a:pt x="100591" y="97169"/>
                  </a:cubicBezTo>
                  <a:lnTo>
                    <a:pt x="97739" y="97169"/>
                  </a:lnTo>
                  <a:lnTo>
                    <a:pt x="92034" y="99450"/>
                  </a:lnTo>
                  <a:cubicBezTo>
                    <a:pt x="87357" y="101979"/>
                    <a:pt x="82146" y="103425"/>
                    <a:pt x="76822" y="103634"/>
                  </a:cubicBezTo>
                  <a:cubicBezTo>
                    <a:pt x="73647" y="103177"/>
                    <a:pt x="70661" y="101789"/>
                    <a:pt x="68265" y="99640"/>
                  </a:cubicBezTo>
                  <a:cubicBezTo>
                    <a:pt x="67752" y="99051"/>
                    <a:pt x="67086" y="98595"/>
                    <a:pt x="66364" y="98310"/>
                  </a:cubicBezTo>
                  <a:cubicBezTo>
                    <a:pt x="63797" y="97492"/>
                    <a:pt x="60982" y="97910"/>
                    <a:pt x="58757" y="99450"/>
                  </a:cubicBezTo>
                  <a:cubicBezTo>
                    <a:pt x="56495" y="102436"/>
                    <a:pt x="55544" y="106201"/>
                    <a:pt x="56095" y="109909"/>
                  </a:cubicBezTo>
                  <a:cubicBezTo>
                    <a:pt x="56438" y="113237"/>
                    <a:pt x="57008" y="116545"/>
                    <a:pt x="57807" y="119797"/>
                  </a:cubicBezTo>
                  <a:cubicBezTo>
                    <a:pt x="60184" y="128354"/>
                    <a:pt x="59651" y="137443"/>
                    <a:pt x="56286" y="145658"/>
                  </a:cubicBezTo>
                  <a:cubicBezTo>
                    <a:pt x="49668" y="159463"/>
                    <a:pt x="41168" y="172260"/>
                    <a:pt x="30995" y="183688"/>
                  </a:cubicBezTo>
                  <a:cubicBezTo>
                    <a:pt x="23997" y="191865"/>
                    <a:pt x="17646" y="200574"/>
                    <a:pt x="11980" y="209740"/>
                  </a:cubicBezTo>
                  <a:cubicBezTo>
                    <a:pt x="4925" y="220255"/>
                    <a:pt x="799" y="232463"/>
                    <a:pt x="0" y="245108"/>
                  </a:cubicBezTo>
                  <a:cubicBezTo>
                    <a:pt x="247" y="250547"/>
                    <a:pt x="932" y="255947"/>
                    <a:pt x="2092" y="261271"/>
                  </a:cubicBezTo>
                  <a:cubicBezTo>
                    <a:pt x="3442" y="267527"/>
                    <a:pt x="4202" y="273897"/>
                    <a:pt x="4373" y="280287"/>
                  </a:cubicBezTo>
                  <a:lnTo>
                    <a:pt x="4373" y="282949"/>
                  </a:lnTo>
                  <a:cubicBezTo>
                    <a:pt x="3442" y="290669"/>
                    <a:pt x="5058" y="298465"/>
                    <a:pt x="8937" y="305197"/>
                  </a:cubicBezTo>
                  <a:cubicBezTo>
                    <a:pt x="11067" y="308163"/>
                    <a:pt x="13425" y="310959"/>
                    <a:pt x="15973" y="313564"/>
                  </a:cubicBezTo>
                  <a:cubicBezTo>
                    <a:pt x="19985" y="317652"/>
                    <a:pt x="23446" y="322254"/>
                    <a:pt x="26241" y="327255"/>
                  </a:cubicBezTo>
                  <a:cubicBezTo>
                    <a:pt x="33144" y="338588"/>
                    <a:pt x="37917" y="351100"/>
                    <a:pt x="40313" y="364145"/>
                  </a:cubicBezTo>
                  <a:cubicBezTo>
                    <a:pt x="40807" y="369393"/>
                    <a:pt x="40807" y="374679"/>
                    <a:pt x="40313" y="379927"/>
                  </a:cubicBezTo>
                  <a:cubicBezTo>
                    <a:pt x="38696" y="386697"/>
                    <a:pt x="39229" y="393808"/>
                    <a:pt x="41834" y="400274"/>
                  </a:cubicBezTo>
                  <a:cubicBezTo>
                    <a:pt x="43013" y="402575"/>
                    <a:pt x="44344" y="404799"/>
                    <a:pt x="45827" y="406929"/>
                  </a:cubicBezTo>
                  <a:cubicBezTo>
                    <a:pt x="49953" y="412044"/>
                    <a:pt x="52463" y="418262"/>
                    <a:pt x="53053" y="424804"/>
                  </a:cubicBezTo>
                  <a:cubicBezTo>
                    <a:pt x="53015" y="430185"/>
                    <a:pt x="52311" y="435566"/>
                    <a:pt x="50961" y="440776"/>
                  </a:cubicBezTo>
                  <a:cubicBezTo>
                    <a:pt x="50961" y="442868"/>
                    <a:pt x="50961" y="444960"/>
                    <a:pt x="49630" y="446862"/>
                  </a:cubicBezTo>
                  <a:lnTo>
                    <a:pt x="49630" y="449714"/>
                  </a:lnTo>
                  <a:cubicBezTo>
                    <a:pt x="48299" y="456749"/>
                    <a:pt x="45447" y="473103"/>
                    <a:pt x="49630" y="478047"/>
                  </a:cubicBezTo>
                  <a:cubicBezTo>
                    <a:pt x="49630" y="478047"/>
                    <a:pt x="51151" y="479378"/>
                    <a:pt x="53623" y="479378"/>
                  </a:cubicBezTo>
                  <a:cubicBezTo>
                    <a:pt x="56894" y="478788"/>
                    <a:pt x="59937" y="477267"/>
                    <a:pt x="62370" y="475004"/>
                  </a:cubicBezTo>
                  <a:cubicBezTo>
                    <a:pt x="66801" y="470878"/>
                    <a:pt x="72506" y="468387"/>
                    <a:pt x="78533" y="467969"/>
                  </a:cubicBezTo>
                  <a:cubicBezTo>
                    <a:pt x="88935" y="468330"/>
                    <a:pt x="98443" y="473901"/>
                    <a:pt x="103824" y="482801"/>
                  </a:cubicBezTo>
                  <a:cubicBezTo>
                    <a:pt x="108483" y="495807"/>
                    <a:pt x="104623" y="510335"/>
                    <a:pt x="94126" y="519310"/>
                  </a:cubicBezTo>
                  <a:cubicBezTo>
                    <a:pt x="91654" y="521041"/>
                    <a:pt x="88973" y="522448"/>
                    <a:pt x="86140" y="523494"/>
                  </a:cubicBezTo>
                  <a:cubicBezTo>
                    <a:pt x="81386" y="525395"/>
                    <a:pt x="79674" y="526346"/>
                    <a:pt x="79484" y="528057"/>
                  </a:cubicBezTo>
                  <a:cubicBezTo>
                    <a:pt x="79294" y="529769"/>
                    <a:pt x="79484" y="530719"/>
                    <a:pt x="84809" y="533382"/>
                  </a:cubicBezTo>
                  <a:cubicBezTo>
                    <a:pt x="88288" y="534941"/>
                    <a:pt x="91293" y="537356"/>
                    <a:pt x="93556" y="540417"/>
                  </a:cubicBezTo>
                  <a:cubicBezTo>
                    <a:pt x="98614" y="548194"/>
                    <a:pt x="97321" y="558463"/>
                    <a:pt x="90513" y="564757"/>
                  </a:cubicBezTo>
                  <a:lnTo>
                    <a:pt x="88231" y="567799"/>
                  </a:lnTo>
                  <a:lnTo>
                    <a:pt x="86710" y="569891"/>
                  </a:lnTo>
                  <a:cubicBezTo>
                    <a:pt x="83478" y="574455"/>
                    <a:pt x="79865" y="579589"/>
                    <a:pt x="81005" y="583772"/>
                  </a:cubicBezTo>
                  <a:cubicBezTo>
                    <a:pt x="80891" y="584533"/>
                    <a:pt x="80891" y="585294"/>
                    <a:pt x="81005" y="586054"/>
                  </a:cubicBezTo>
                  <a:cubicBezTo>
                    <a:pt x="83306" y="586815"/>
                    <a:pt x="85398" y="588127"/>
                    <a:pt x="87090" y="589857"/>
                  </a:cubicBezTo>
                  <a:cubicBezTo>
                    <a:pt x="89981" y="593166"/>
                    <a:pt x="92453" y="596817"/>
                    <a:pt x="94506" y="600696"/>
                  </a:cubicBezTo>
                  <a:cubicBezTo>
                    <a:pt x="96408" y="604005"/>
                    <a:pt x="98652" y="607142"/>
                    <a:pt x="101162" y="610014"/>
                  </a:cubicBezTo>
                  <a:cubicBezTo>
                    <a:pt x="108578" y="617620"/>
                    <a:pt x="114473" y="615338"/>
                    <a:pt x="124931" y="610014"/>
                  </a:cubicBezTo>
                  <a:cubicBezTo>
                    <a:pt x="132822" y="604975"/>
                    <a:pt x="142349" y="603130"/>
                    <a:pt x="151553" y="604879"/>
                  </a:cubicBezTo>
                  <a:cubicBezTo>
                    <a:pt x="158950" y="608074"/>
                    <a:pt x="165149" y="613531"/>
                    <a:pt x="169237" y="620472"/>
                  </a:cubicBezTo>
                  <a:cubicBezTo>
                    <a:pt x="171519" y="623838"/>
                    <a:pt x="174200" y="626899"/>
                    <a:pt x="177223" y="629599"/>
                  </a:cubicBezTo>
                  <a:cubicBezTo>
                    <a:pt x="184335" y="635475"/>
                    <a:pt x="193558" y="638156"/>
                    <a:pt x="202704" y="637015"/>
                  </a:cubicBezTo>
                  <a:cubicBezTo>
                    <a:pt x="212402" y="635304"/>
                    <a:pt x="217346" y="627127"/>
                    <a:pt x="222860" y="618000"/>
                  </a:cubicBezTo>
                  <a:cubicBezTo>
                    <a:pt x="225427" y="613341"/>
                    <a:pt x="228337" y="608892"/>
                    <a:pt x="231607" y="604689"/>
                  </a:cubicBezTo>
                  <a:cubicBezTo>
                    <a:pt x="236722" y="597920"/>
                    <a:pt x="244614" y="593793"/>
                    <a:pt x="253095" y="593470"/>
                  </a:cubicBezTo>
                  <a:cubicBezTo>
                    <a:pt x="252886" y="581776"/>
                    <a:pt x="255148" y="570176"/>
                    <a:pt x="259750" y="559433"/>
                  </a:cubicBezTo>
                  <a:cubicBezTo>
                    <a:pt x="262108" y="554508"/>
                    <a:pt x="264770" y="549754"/>
                    <a:pt x="267737" y="545171"/>
                  </a:cubicBezTo>
                  <a:cubicBezTo>
                    <a:pt x="269828" y="541938"/>
                    <a:pt x="271730" y="538896"/>
                    <a:pt x="273441" y="535663"/>
                  </a:cubicBezTo>
                  <a:cubicBezTo>
                    <a:pt x="276598" y="529807"/>
                    <a:pt x="281180" y="524844"/>
                    <a:pt x="286752" y="521211"/>
                  </a:cubicBezTo>
                  <a:lnTo>
                    <a:pt x="291126" y="517979"/>
                  </a:lnTo>
                  <a:cubicBezTo>
                    <a:pt x="297876" y="511019"/>
                    <a:pt x="302440" y="502215"/>
                    <a:pt x="304246" y="492688"/>
                  </a:cubicBezTo>
                  <a:cubicBezTo>
                    <a:pt x="305824" y="486965"/>
                    <a:pt x="307859" y="481355"/>
                    <a:pt x="310331" y="475955"/>
                  </a:cubicBezTo>
                  <a:cubicBezTo>
                    <a:pt x="311852" y="472532"/>
                    <a:pt x="313564" y="468159"/>
                    <a:pt x="315465" y="463595"/>
                  </a:cubicBezTo>
                  <a:cubicBezTo>
                    <a:pt x="322501" y="446291"/>
                    <a:pt x="331248" y="424423"/>
                    <a:pt x="346270" y="417007"/>
                  </a:cubicBezTo>
                  <a:cubicBezTo>
                    <a:pt x="353876" y="413394"/>
                    <a:pt x="360722" y="415866"/>
                    <a:pt x="365286" y="414155"/>
                  </a:cubicBezTo>
                  <a:cubicBezTo>
                    <a:pt x="368081" y="412881"/>
                    <a:pt x="370610" y="411075"/>
                    <a:pt x="372702" y="408831"/>
                  </a:cubicBezTo>
                  <a:cubicBezTo>
                    <a:pt x="377322" y="403183"/>
                    <a:pt x="384453" y="400198"/>
                    <a:pt x="391717" y="400844"/>
                  </a:cubicBezTo>
                  <a:cubicBezTo>
                    <a:pt x="396148" y="401586"/>
                    <a:pt x="400255" y="403639"/>
                    <a:pt x="403506" y="406739"/>
                  </a:cubicBezTo>
                  <a:cubicBezTo>
                    <a:pt x="406929" y="409591"/>
                    <a:pt x="408641" y="410732"/>
                    <a:pt x="410922" y="410162"/>
                  </a:cubicBezTo>
                  <a:cubicBezTo>
                    <a:pt x="413204" y="409591"/>
                    <a:pt x="414535" y="408450"/>
                    <a:pt x="415866" y="401795"/>
                  </a:cubicBezTo>
                  <a:lnTo>
                    <a:pt x="415866" y="399133"/>
                  </a:lnTo>
                  <a:cubicBezTo>
                    <a:pt x="417654" y="387762"/>
                    <a:pt x="424709" y="377893"/>
                    <a:pt x="434882" y="372511"/>
                  </a:cubicBezTo>
                  <a:cubicBezTo>
                    <a:pt x="438476" y="370077"/>
                    <a:pt x="441898" y="367396"/>
                    <a:pt x="445150" y="364525"/>
                  </a:cubicBezTo>
                  <a:cubicBezTo>
                    <a:pt x="450018" y="360513"/>
                    <a:pt x="452281" y="354162"/>
                    <a:pt x="451045" y="347982"/>
                  </a:cubicBezTo>
                  <a:cubicBezTo>
                    <a:pt x="448953" y="343741"/>
                    <a:pt x="444561" y="341136"/>
                    <a:pt x="439826" y="341326"/>
                  </a:cubicBezTo>
                  <a:cubicBezTo>
                    <a:pt x="433627" y="341345"/>
                    <a:pt x="427599" y="343418"/>
                    <a:pt x="422712" y="347221"/>
                  </a:cubicBezTo>
                  <a:cubicBezTo>
                    <a:pt x="415714" y="352279"/>
                    <a:pt x="407157" y="354694"/>
                    <a:pt x="398562" y="354066"/>
                  </a:cubicBezTo>
                  <a:lnTo>
                    <a:pt x="390766" y="353116"/>
                  </a:lnTo>
                  <a:cubicBezTo>
                    <a:pt x="384852" y="352089"/>
                    <a:pt x="378881" y="351404"/>
                    <a:pt x="372892" y="351024"/>
                  </a:cubicBezTo>
                  <a:cubicBezTo>
                    <a:pt x="366141" y="350206"/>
                    <a:pt x="359657" y="347943"/>
                    <a:pt x="353876" y="344369"/>
                  </a:cubicBezTo>
                  <a:lnTo>
                    <a:pt x="351975" y="343418"/>
                  </a:lnTo>
                  <a:cubicBezTo>
                    <a:pt x="345338" y="339330"/>
                    <a:pt x="337713" y="337086"/>
                    <a:pt x="329917" y="336953"/>
                  </a:cubicBezTo>
                  <a:lnTo>
                    <a:pt x="324783" y="336953"/>
                  </a:lnTo>
                  <a:cubicBezTo>
                    <a:pt x="316796" y="338949"/>
                    <a:pt x="308430" y="335565"/>
                    <a:pt x="304056" y="328586"/>
                  </a:cubicBezTo>
                  <a:cubicBezTo>
                    <a:pt x="300120" y="321075"/>
                    <a:pt x="298028" y="312727"/>
                    <a:pt x="297971" y="304246"/>
                  </a:cubicBezTo>
                  <a:cubicBezTo>
                    <a:pt x="298180" y="296735"/>
                    <a:pt x="296336" y="289300"/>
                    <a:pt x="292647" y="282759"/>
                  </a:cubicBezTo>
                  <a:cubicBezTo>
                    <a:pt x="291297" y="281085"/>
                    <a:pt x="289832" y="279488"/>
                    <a:pt x="288273" y="278005"/>
                  </a:cubicBezTo>
                  <a:cubicBezTo>
                    <a:pt x="282892" y="273973"/>
                    <a:pt x="279792" y="267603"/>
                    <a:pt x="279906" y="260891"/>
                  </a:cubicBezTo>
                  <a:cubicBezTo>
                    <a:pt x="280591" y="253000"/>
                    <a:pt x="283424" y="245432"/>
                    <a:pt x="288083" y="239023"/>
                  </a:cubicBezTo>
                  <a:cubicBezTo>
                    <a:pt x="291316" y="234079"/>
                    <a:pt x="307099" y="209169"/>
                    <a:pt x="328396" y="209169"/>
                  </a:cubicBezTo>
                  <a:cubicBezTo>
                    <a:pt x="336230" y="209930"/>
                    <a:pt x="343247" y="214284"/>
                    <a:pt x="347411" y="220959"/>
                  </a:cubicBezTo>
                  <a:cubicBezTo>
                    <a:pt x="348894" y="222936"/>
                    <a:pt x="350549" y="224781"/>
                    <a:pt x="352355" y="226473"/>
                  </a:cubicBezTo>
                  <a:cubicBezTo>
                    <a:pt x="354066" y="227728"/>
                    <a:pt x="355835" y="228869"/>
                    <a:pt x="357679" y="229896"/>
                  </a:cubicBezTo>
                  <a:cubicBezTo>
                    <a:pt x="361083" y="231645"/>
                    <a:pt x="364183" y="233965"/>
                    <a:pt x="366807" y="236741"/>
                  </a:cubicBezTo>
                  <a:cubicBezTo>
                    <a:pt x="370553" y="241571"/>
                    <a:pt x="373386" y="247048"/>
                    <a:pt x="375173" y="252905"/>
                  </a:cubicBezTo>
                  <a:cubicBezTo>
                    <a:pt x="378216" y="261842"/>
                    <a:pt x="379167" y="264504"/>
                    <a:pt x="391146" y="262032"/>
                  </a:cubicBezTo>
                  <a:cubicBezTo>
                    <a:pt x="400996" y="259940"/>
                    <a:pt x="411151" y="259940"/>
                    <a:pt x="421001" y="262032"/>
                  </a:cubicBezTo>
                  <a:lnTo>
                    <a:pt x="423473" y="262032"/>
                  </a:lnTo>
                  <a:cubicBezTo>
                    <a:pt x="429881" y="262640"/>
                    <a:pt x="436365" y="261918"/>
                    <a:pt x="442488" y="259940"/>
                  </a:cubicBezTo>
                  <a:lnTo>
                    <a:pt x="450665" y="258039"/>
                  </a:lnTo>
                  <a:lnTo>
                    <a:pt x="458461" y="256898"/>
                  </a:lnTo>
                  <a:cubicBezTo>
                    <a:pt x="461256" y="256727"/>
                    <a:pt x="464013" y="256156"/>
                    <a:pt x="466638" y="255186"/>
                  </a:cubicBezTo>
                  <a:cubicBezTo>
                    <a:pt x="466638" y="255186"/>
                    <a:pt x="466638" y="253855"/>
                    <a:pt x="465687" y="248911"/>
                  </a:cubicBezTo>
                  <a:cubicBezTo>
                    <a:pt x="465249" y="247466"/>
                    <a:pt x="464679" y="246059"/>
                    <a:pt x="463975" y="244728"/>
                  </a:cubicBezTo>
                  <a:cubicBezTo>
                    <a:pt x="462017" y="241324"/>
                    <a:pt x="461047" y="237445"/>
                    <a:pt x="461123" y="233509"/>
                  </a:cubicBezTo>
                  <a:cubicBezTo>
                    <a:pt x="461123" y="230676"/>
                    <a:pt x="461522" y="227861"/>
                    <a:pt x="462264" y="225142"/>
                  </a:cubicBezTo>
                  <a:cubicBezTo>
                    <a:pt x="461884" y="223240"/>
                    <a:pt x="462264" y="221719"/>
                    <a:pt x="462454" y="220388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815AD802-F690-EFE4-6958-45F8B9757EB7}"/>
              </a:ext>
            </a:extLst>
          </p:cNvPr>
          <p:cNvGrpSpPr/>
          <p:nvPr/>
        </p:nvGrpSpPr>
        <p:grpSpPr>
          <a:xfrm>
            <a:off x="3715725" y="3230562"/>
            <a:ext cx="1278702" cy="915027"/>
            <a:chOff x="3715725" y="3534930"/>
            <a:chExt cx="1278702" cy="915027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457" name="Полилиния: фигура 456">
              <a:extLst>
                <a:ext uri="{FF2B5EF4-FFF2-40B4-BE49-F238E27FC236}">
                  <a16:creationId xmlns:a16="http://schemas.microsoft.com/office/drawing/2014/main" id="{DC1A662A-8CAC-8E59-B0F4-F965EBEC868F}"/>
                </a:ext>
              </a:extLst>
            </p:cNvPr>
            <p:cNvSpPr/>
            <p:nvPr/>
          </p:nvSpPr>
          <p:spPr>
            <a:xfrm>
              <a:off x="4089415" y="3534930"/>
              <a:ext cx="351079" cy="266101"/>
            </a:xfrm>
            <a:custGeom>
              <a:avLst/>
              <a:gdLst>
                <a:gd name="connsiteX0" fmla="*/ 27382 w 386238"/>
                <a:gd name="connsiteY0" fmla="*/ 121516 h 291893"/>
                <a:gd name="connsiteX1" fmla="*/ 21678 w 386238"/>
                <a:gd name="connsiteY1" fmla="*/ 133685 h 291893"/>
                <a:gd name="connsiteX2" fmla="*/ 16543 w 386238"/>
                <a:gd name="connsiteY2" fmla="*/ 148327 h 291893"/>
                <a:gd name="connsiteX3" fmla="*/ 5514 w 386238"/>
                <a:gd name="connsiteY3" fmla="*/ 155173 h 291893"/>
                <a:gd name="connsiteX4" fmla="*/ 1141 w 386238"/>
                <a:gd name="connsiteY4" fmla="*/ 157074 h 291893"/>
                <a:gd name="connsiteX5" fmla="*/ 0 w 386238"/>
                <a:gd name="connsiteY5" fmla="*/ 165441 h 291893"/>
                <a:gd name="connsiteX6" fmla="*/ 0 w 386238"/>
                <a:gd name="connsiteY6" fmla="*/ 179322 h 291893"/>
                <a:gd name="connsiteX7" fmla="*/ 19015 w 386238"/>
                <a:gd name="connsiteY7" fmla="*/ 195105 h 291893"/>
                <a:gd name="connsiteX8" fmla="*/ 29474 w 386238"/>
                <a:gd name="connsiteY8" fmla="*/ 205754 h 291893"/>
                <a:gd name="connsiteX9" fmla="*/ 42785 w 386238"/>
                <a:gd name="connsiteY9" fmla="*/ 208606 h 291893"/>
                <a:gd name="connsiteX10" fmla="*/ 55715 w 386238"/>
                <a:gd name="connsiteY10" fmla="*/ 210507 h 291893"/>
                <a:gd name="connsiteX11" fmla="*/ 76062 w 386238"/>
                <a:gd name="connsiteY11" fmla="*/ 215832 h 291893"/>
                <a:gd name="connsiteX12" fmla="*/ 98310 w 386238"/>
                <a:gd name="connsiteY12" fmla="*/ 221917 h 291893"/>
                <a:gd name="connsiteX13" fmla="*/ 111430 w 386238"/>
                <a:gd name="connsiteY13" fmla="*/ 224579 h 291893"/>
                <a:gd name="connsiteX14" fmla="*/ 134249 w 386238"/>
                <a:gd name="connsiteY14" fmla="*/ 231424 h 291893"/>
                <a:gd name="connsiteX15" fmla="*/ 140143 w 386238"/>
                <a:gd name="connsiteY15" fmla="*/ 235037 h 291893"/>
                <a:gd name="connsiteX16" fmla="*/ 167906 w 386238"/>
                <a:gd name="connsiteY16" fmla="*/ 239601 h 291893"/>
                <a:gd name="connsiteX17" fmla="*/ 182548 w 386238"/>
                <a:gd name="connsiteY17" fmla="*/ 237890 h 291893"/>
                <a:gd name="connsiteX18" fmla="*/ 205176 w 386238"/>
                <a:gd name="connsiteY18" fmla="*/ 232565 h 291893"/>
                <a:gd name="connsiteX19" fmla="*/ 210691 w 386238"/>
                <a:gd name="connsiteY19" fmla="*/ 223438 h 291893"/>
                <a:gd name="connsiteX20" fmla="*/ 231037 w 386238"/>
                <a:gd name="connsiteY20" fmla="*/ 209367 h 291893"/>
                <a:gd name="connsiteX21" fmla="*/ 257849 w 386238"/>
                <a:gd name="connsiteY21" fmla="*/ 224959 h 291893"/>
                <a:gd name="connsiteX22" fmla="*/ 260701 w 386238"/>
                <a:gd name="connsiteY22" fmla="*/ 227431 h 291893"/>
                <a:gd name="connsiteX23" fmla="*/ 270209 w 386238"/>
                <a:gd name="connsiteY23" fmla="*/ 243024 h 291893"/>
                <a:gd name="connsiteX24" fmla="*/ 274012 w 386238"/>
                <a:gd name="connsiteY24" fmla="*/ 251771 h 291893"/>
                <a:gd name="connsiteX25" fmla="*/ 281047 w 386238"/>
                <a:gd name="connsiteY25" fmla="*/ 255574 h 291893"/>
                <a:gd name="connsiteX26" fmla="*/ 288083 w 386238"/>
                <a:gd name="connsiteY26" fmla="*/ 255574 h 291893"/>
                <a:gd name="connsiteX27" fmla="*/ 301014 w 386238"/>
                <a:gd name="connsiteY27" fmla="*/ 261849 h 291893"/>
                <a:gd name="connsiteX28" fmla="*/ 306148 w 386238"/>
                <a:gd name="connsiteY28" fmla="*/ 265272 h 291893"/>
                <a:gd name="connsiteX29" fmla="*/ 319078 w 386238"/>
                <a:gd name="connsiteY29" fmla="*/ 265272 h 291893"/>
                <a:gd name="connsiteX30" fmla="*/ 338094 w 386238"/>
                <a:gd name="connsiteY30" fmla="*/ 265272 h 291893"/>
                <a:gd name="connsiteX31" fmla="*/ 352355 w 386238"/>
                <a:gd name="connsiteY31" fmla="*/ 274780 h 291893"/>
                <a:gd name="connsiteX32" fmla="*/ 359581 w 386238"/>
                <a:gd name="connsiteY32" fmla="*/ 280294 h 291893"/>
                <a:gd name="connsiteX33" fmla="*/ 381259 w 386238"/>
                <a:gd name="connsiteY33" fmla="*/ 291893 h 291893"/>
                <a:gd name="connsiteX34" fmla="*/ 381259 w 386238"/>
                <a:gd name="connsiteY34" fmla="*/ 291893 h 291893"/>
                <a:gd name="connsiteX35" fmla="*/ 382970 w 386238"/>
                <a:gd name="connsiteY35" fmla="*/ 286759 h 291893"/>
                <a:gd name="connsiteX36" fmla="*/ 386202 w 386238"/>
                <a:gd name="connsiteY36" fmla="*/ 269075 h 291893"/>
                <a:gd name="connsiteX37" fmla="*/ 378216 w 386238"/>
                <a:gd name="connsiteY37" fmla="*/ 252912 h 291893"/>
                <a:gd name="connsiteX38" fmla="*/ 375174 w 386238"/>
                <a:gd name="connsiteY38" fmla="*/ 247968 h 291893"/>
                <a:gd name="connsiteX39" fmla="*/ 367567 w 386238"/>
                <a:gd name="connsiteY39" fmla="*/ 240932 h 291893"/>
                <a:gd name="connsiteX40" fmla="*/ 363004 w 386238"/>
                <a:gd name="connsiteY40" fmla="*/ 239411 h 291893"/>
                <a:gd name="connsiteX41" fmla="*/ 351404 w 386238"/>
                <a:gd name="connsiteY41" fmla="*/ 219255 h 291893"/>
                <a:gd name="connsiteX42" fmla="*/ 364525 w 386238"/>
                <a:gd name="connsiteY42" fmla="*/ 188069 h 291893"/>
                <a:gd name="connsiteX43" fmla="*/ 364525 w 386238"/>
                <a:gd name="connsiteY43" fmla="*/ 188069 h 291893"/>
                <a:gd name="connsiteX44" fmla="*/ 360151 w 386238"/>
                <a:gd name="connsiteY44" fmla="*/ 180843 h 291893"/>
                <a:gd name="connsiteX45" fmla="*/ 357489 w 386238"/>
                <a:gd name="connsiteY45" fmla="*/ 173047 h 291893"/>
                <a:gd name="connsiteX46" fmla="*/ 352735 w 386238"/>
                <a:gd name="connsiteY46" fmla="*/ 162399 h 291893"/>
                <a:gd name="connsiteX47" fmla="*/ 347601 w 386238"/>
                <a:gd name="connsiteY47" fmla="*/ 157645 h 291893"/>
                <a:gd name="connsiteX48" fmla="*/ 339044 w 386238"/>
                <a:gd name="connsiteY48" fmla="*/ 148517 h 291893"/>
                <a:gd name="connsiteX49" fmla="*/ 331818 w 386238"/>
                <a:gd name="connsiteY49" fmla="*/ 117712 h 291893"/>
                <a:gd name="connsiteX50" fmla="*/ 331818 w 386238"/>
                <a:gd name="connsiteY50" fmla="*/ 109916 h 291893"/>
                <a:gd name="connsiteX51" fmla="*/ 326114 w 386238"/>
                <a:gd name="connsiteY51" fmla="*/ 103261 h 291893"/>
                <a:gd name="connsiteX52" fmla="*/ 313944 w 386238"/>
                <a:gd name="connsiteY52" fmla="*/ 87478 h 291893"/>
                <a:gd name="connsiteX53" fmla="*/ 301964 w 386238"/>
                <a:gd name="connsiteY53" fmla="*/ 78160 h 291893"/>
                <a:gd name="connsiteX54" fmla="*/ 297020 w 386238"/>
                <a:gd name="connsiteY54" fmla="*/ 78160 h 291893"/>
                <a:gd name="connsiteX55" fmla="*/ 271730 w 386238"/>
                <a:gd name="connsiteY55" fmla="*/ 74928 h 291893"/>
                <a:gd name="connsiteX56" fmla="*/ 265645 w 386238"/>
                <a:gd name="connsiteY56" fmla="*/ 59906 h 291893"/>
                <a:gd name="connsiteX57" fmla="*/ 267546 w 386238"/>
                <a:gd name="connsiteY57" fmla="*/ 47355 h 291893"/>
                <a:gd name="connsiteX58" fmla="*/ 269068 w 386238"/>
                <a:gd name="connsiteY58" fmla="*/ 35376 h 291893"/>
                <a:gd name="connsiteX59" fmla="*/ 268117 w 386238"/>
                <a:gd name="connsiteY59" fmla="*/ 33094 h 291893"/>
                <a:gd name="connsiteX60" fmla="*/ 266596 w 386238"/>
                <a:gd name="connsiteY60" fmla="*/ 33094 h 291893"/>
                <a:gd name="connsiteX61" fmla="*/ 262412 w 386238"/>
                <a:gd name="connsiteY61" fmla="*/ 31573 h 291893"/>
                <a:gd name="connsiteX62" fmla="*/ 254426 w 386238"/>
                <a:gd name="connsiteY62" fmla="*/ 27009 h 291893"/>
                <a:gd name="connsiteX63" fmla="*/ 240545 w 386238"/>
                <a:gd name="connsiteY63" fmla="*/ 22635 h 291893"/>
                <a:gd name="connsiteX64" fmla="*/ 229896 w 386238"/>
                <a:gd name="connsiteY64" fmla="*/ 26629 h 291893"/>
                <a:gd name="connsiteX65" fmla="*/ 200612 w 386238"/>
                <a:gd name="connsiteY65" fmla="*/ 25107 h 291893"/>
                <a:gd name="connsiteX66" fmla="*/ 177033 w 386238"/>
                <a:gd name="connsiteY66" fmla="*/ 19403 h 291893"/>
                <a:gd name="connsiteX67" fmla="*/ 172660 w 386238"/>
                <a:gd name="connsiteY67" fmla="*/ 19403 h 291893"/>
                <a:gd name="connsiteX68" fmla="*/ 136530 w 386238"/>
                <a:gd name="connsiteY68" fmla="*/ 6092 h 291893"/>
                <a:gd name="connsiteX69" fmla="*/ 127783 w 386238"/>
                <a:gd name="connsiteY69" fmla="*/ 197 h 291893"/>
                <a:gd name="connsiteX70" fmla="*/ 115233 w 386238"/>
                <a:gd name="connsiteY70" fmla="*/ 6853 h 291893"/>
                <a:gd name="connsiteX71" fmla="*/ 100401 w 386238"/>
                <a:gd name="connsiteY71" fmla="*/ 15029 h 291893"/>
                <a:gd name="connsiteX72" fmla="*/ 93556 w 386238"/>
                <a:gd name="connsiteY72" fmla="*/ 16170 h 291893"/>
                <a:gd name="connsiteX73" fmla="*/ 89753 w 386238"/>
                <a:gd name="connsiteY73" fmla="*/ 16170 h 291893"/>
                <a:gd name="connsiteX74" fmla="*/ 82146 w 386238"/>
                <a:gd name="connsiteY74" fmla="*/ 15219 h 291893"/>
                <a:gd name="connsiteX75" fmla="*/ 64652 w 386238"/>
                <a:gd name="connsiteY75" fmla="*/ 16741 h 291893"/>
                <a:gd name="connsiteX76" fmla="*/ 59898 w 386238"/>
                <a:gd name="connsiteY76" fmla="*/ 46595 h 291893"/>
                <a:gd name="connsiteX77" fmla="*/ 61800 w 386238"/>
                <a:gd name="connsiteY77" fmla="*/ 55532 h 291893"/>
                <a:gd name="connsiteX78" fmla="*/ 58187 w 386238"/>
                <a:gd name="connsiteY78" fmla="*/ 88239 h 291893"/>
                <a:gd name="connsiteX79" fmla="*/ 27382 w 386238"/>
                <a:gd name="connsiteY79" fmla="*/ 121516 h 29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386238" h="291893">
                  <a:moveTo>
                    <a:pt x="27382" y="121516"/>
                  </a:moveTo>
                  <a:cubicBezTo>
                    <a:pt x="23824" y="124558"/>
                    <a:pt x="21748" y="129008"/>
                    <a:pt x="21678" y="133685"/>
                  </a:cubicBezTo>
                  <a:cubicBezTo>
                    <a:pt x="21117" y="138895"/>
                    <a:pt x="19360" y="143916"/>
                    <a:pt x="16543" y="148327"/>
                  </a:cubicBezTo>
                  <a:cubicBezTo>
                    <a:pt x="13881" y="151940"/>
                    <a:pt x="9932" y="154393"/>
                    <a:pt x="5514" y="155173"/>
                  </a:cubicBezTo>
                  <a:cubicBezTo>
                    <a:pt x="3917" y="155420"/>
                    <a:pt x="2409" y="156066"/>
                    <a:pt x="1141" y="157074"/>
                  </a:cubicBezTo>
                  <a:cubicBezTo>
                    <a:pt x="0" y="158215"/>
                    <a:pt x="0" y="162969"/>
                    <a:pt x="0" y="165441"/>
                  </a:cubicBezTo>
                  <a:lnTo>
                    <a:pt x="0" y="179322"/>
                  </a:lnTo>
                  <a:cubicBezTo>
                    <a:pt x="7680" y="182726"/>
                    <a:pt x="14263" y="188183"/>
                    <a:pt x="19015" y="195105"/>
                  </a:cubicBezTo>
                  <a:cubicBezTo>
                    <a:pt x="21955" y="199155"/>
                    <a:pt x="25481" y="202749"/>
                    <a:pt x="29474" y="205754"/>
                  </a:cubicBezTo>
                  <a:cubicBezTo>
                    <a:pt x="33564" y="207921"/>
                    <a:pt x="38170" y="208891"/>
                    <a:pt x="42785" y="208606"/>
                  </a:cubicBezTo>
                  <a:cubicBezTo>
                    <a:pt x="47164" y="208625"/>
                    <a:pt x="51517" y="209271"/>
                    <a:pt x="55715" y="210507"/>
                  </a:cubicBezTo>
                  <a:cubicBezTo>
                    <a:pt x="62561" y="212599"/>
                    <a:pt x="69216" y="214120"/>
                    <a:pt x="76062" y="215832"/>
                  </a:cubicBezTo>
                  <a:cubicBezTo>
                    <a:pt x="82907" y="217543"/>
                    <a:pt x="90894" y="219445"/>
                    <a:pt x="98310" y="221917"/>
                  </a:cubicBezTo>
                  <a:cubicBezTo>
                    <a:pt x="102615" y="223114"/>
                    <a:pt x="107000" y="224008"/>
                    <a:pt x="111430" y="224579"/>
                  </a:cubicBezTo>
                  <a:cubicBezTo>
                    <a:pt x="119403" y="225377"/>
                    <a:pt x="127150" y="227697"/>
                    <a:pt x="134249" y="231424"/>
                  </a:cubicBezTo>
                  <a:lnTo>
                    <a:pt x="140143" y="235037"/>
                  </a:lnTo>
                  <a:cubicBezTo>
                    <a:pt x="147902" y="241445"/>
                    <a:pt x="158505" y="243195"/>
                    <a:pt x="167906" y="239601"/>
                  </a:cubicBezTo>
                  <a:cubicBezTo>
                    <a:pt x="172732" y="238631"/>
                    <a:pt x="177628" y="238061"/>
                    <a:pt x="182548" y="237890"/>
                  </a:cubicBezTo>
                  <a:cubicBezTo>
                    <a:pt x="190454" y="238422"/>
                    <a:pt x="198336" y="236558"/>
                    <a:pt x="205176" y="232565"/>
                  </a:cubicBezTo>
                  <a:cubicBezTo>
                    <a:pt x="207739" y="230017"/>
                    <a:pt x="209633" y="226880"/>
                    <a:pt x="210691" y="223438"/>
                  </a:cubicBezTo>
                  <a:cubicBezTo>
                    <a:pt x="212607" y="214063"/>
                    <a:pt x="221581" y="207845"/>
                    <a:pt x="231037" y="209367"/>
                  </a:cubicBezTo>
                  <a:cubicBezTo>
                    <a:pt x="241216" y="212048"/>
                    <a:pt x="250480" y="217448"/>
                    <a:pt x="257849" y="224959"/>
                  </a:cubicBezTo>
                  <a:lnTo>
                    <a:pt x="260701" y="227431"/>
                  </a:lnTo>
                  <a:cubicBezTo>
                    <a:pt x="265715" y="231253"/>
                    <a:pt x="269110" y="236825"/>
                    <a:pt x="270209" y="243024"/>
                  </a:cubicBezTo>
                  <a:cubicBezTo>
                    <a:pt x="271057" y="246104"/>
                    <a:pt x="272338" y="249051"/>
                    <a:pt x="274012" y="251771"/>
                  </a:cubicBezTo>
                  <a:cubicBezTo>
                    <a:pt x="276294" y="255384"/>
                    <a:pt x="277054" y="255384"/>
                    <a:pt x="281047" y="255574"/>
                  </a:cubicBezTo>
                  <a:cubicBezTo>
                    <a:pt x="283386" y="255327"/>
                    <a:pt x="285744" y="255327"/>
                    <a:pt x="288083" y="255574"/>
                  </a:cubicBezTo>
                  <a:cubicBezTo>
                    <a:pt x="292848" y="256563"/>
                    <a:pt x="297292" y="258711"/>
                    <a:pt x="301014" y="261849"/>
                  </a:cubicBezTo>
                  <a:lnTo>
                    <a:pt x="306148" y="265272"/>
                  </a:lnTo>
                  <a:cubicBezTo>
                    <a:pt x="310249" y="267173"/>
                    <a:pt x="314977" y="267173"/>
                    <a:pt x="319078" y="265272"/>
                  </a:cubicBezTo>
                  <a:cubicBezTo>
                    <a:pt x="325197" y="262914"/>
                    <a:pt x="331974" y="262914"/>
                    <a:pt x="338094" y="265272"/>
                  </a:cubicBezTo>
                  <a:cubicBezTo>
                    <a:pt x="343353" y="267611"/>
                    <a:pt x="348177" y="270824"/>
                    <a:pt x="352355" y="274780"/>
                  </a:cubicBezTo>
                  <a:cubicBezTo>
                    <a:pt x="354827" y="276681"/>
                    <a:pt x="357109" y="278773"/>
                    <a:pt x="359581" y="280294"/>
                  </a:cubicBezTo>
                  <a:cubicBezTo>
                    <a:pt x="366236" y="284477"/>
                    <a:pt x="373272" y="287900"/>
                    <a:pt x="381259" y="291893"/>
                  </a:cubicBezTo>
                  <a:lnTo>
                    <a:pt x="381259" y="291893"/>
                  </a:lnTo>
                  <a:lnTo>
                    <a:pt x="382970" y="286759"/>
                  </a:lnTo>
                  <a:cubicBezTo>
                    <a:pt x="385352" y="281188"/>
                    <a:pt x="386457" y="275141"/>
                    <a:pt x="386202" y="269075"/>
                  </a:cubicBezTo>
                  <a:cubicBezTo>
                    <a:pt x="384522" y="263256"/>
                    <a:pt x="381818" y="257780"/>
                    <a:pt x="378216" y="252912"/>
                  </a:cubicBezTo>
                  <a:cubicBezTo>
                    <a:pt x="377075" y="251010"/>
                    <a:pt x="375934" y="249489"/>
                    <a:pt x="375174" y="247968"/>
                  </a:cubicBezTo>
                  <a:cubicBezTo>
                    <a:pt x="371751" y="242263"/>
                    <a:pt x="371751" y="242263"/>
                    <a:pt x="367567" y="240932"/>
                  </a:cubicBezTo>
                  <a:lnTo>
                    <a:pt x="363004" y="239411"/>
                  </a:lnTo>
                  <a:cubicBezTo>
                    <a:pt x="351024" y="235037"/>
                    <a:pt x="348742" y="231234"/>
                    <a:pt x="351404" y="219255"/>
                  </a:cubicBezTo>
                  <a:cubicBezTo>
                    <a:pt x="354595" y="208397"/>
                    <a:pt x="358995" y="197938"/>
                    <a:pt x="364525" y="188069"/>
                  </a:cubicBezTo>
                  <a:lnTo>
                    <a:pt x="364525" y="188069"/>
                  </a:lnTo>
                  <a:cubicBezTo>
                    <a:pt x="362779" y="185845"/>
                    <a:pt x="361311" y="183430"/>
                    <a:pt x="360151" y="180843"/>
                  </a:cubicBezTo>
                  <a:cubicBezTo>
                    <a:pt x="359125" y="178295"/>
                    <a:pt x="358235" y="175690"/>
                    <a:pt x="357489" y="173047"/>
                  </a:cubicBezTo>
                  <a:cubicBezTo>
                    <a:pt x="356729" y="169187"/>
                    <a:pt x="355105" y="165536"/>
                    <a:pt x="352735" y="162399"/>
                  </a:cubicBezTo>
                  <a:cubicBezTo>
                    <a:pt x="351216" y="160611"/>
                    <a:pt x="349493" y="159014"/>
                    <a:pt x="347601" y="157645"/>
                  </a:cubicBezTo>
                  <a:cubicBezTo>
                    <a:pt x="344243" y="155116"/>
                    <a:pt x="341347" y="152035"/>
                    <a:pt x="339044" y="148517"/>
                  </a:cubicBezTo>
                  <a:cubicBezTo>
                    <a:pt x="334011" y="139048"/>
                    <a:pt x="331522" y="128437"/>
                    <a:pt x="331818" y="117712"/>
                  </a:cubicBezTo>
                  <a:cubicBezTo>
                    <a:pt x="331818" y="115050"/>
                    <a:pt x="331818" y="112578"/>
                    <a:pt x="331818" y="109916"/>
                  </a:cubicBezTo>
                  <a:cubicBezTo>
                    <a:pt x="331818" y="107254"/>
                    <a:pt x="330107" y="104972"/>
                    <a:pt x="326114" y="103261"/>
                  </a:cubicBezTo>
                  <a:cubicBezTo>
                    <a:pt x="319196" y="100998"/>
                    <a:pt x="314368" y="94742"/>
                    <a:pt x="313944" y="87478"/>
                  </a:cubicBezTo>
                  <a:cubicBezTo>
                    <a:pt x="312803" y="77019"/>
                    <a:pt x="312803" y="77019"/>
                    <a:pt x="301964" y="78160"/>
                  </a:cubicBezTo>
                  <a:lnTo>
                    <a:pt x="297020" y="78160"/>
                  </a:lnTo>
                  <a:cubicBezTo>
                    <a:pt x="288503" y="80594"/>
                    <a:pt x="279361" y="79415"/>
                    <a:pt x="271730" y="74928"/>
                  </a:cubicBezTo>
                  <a:cubicBezTo>
                    <a:pt x="267668" y="71011"/>
                    <a:pt x="265459" y="65553"/>
                    <a:pt x="265645" y="59906"/>
                  </a:cubicBezTo>
                  <a:cubicBezTo>
                    <a:pt x="265666" y="55646"/>
                    <a:pt x="266307" y="51425"/>
                    <a:pt x="267546" y="47355"/>
                  </a:cubicBezTo>
                  <a:cubicBezTo>
                    <a:pt x="268689" y="43476"/>
                    <a:pt x="269203" y="39426"/>
                    <a:pt x="269068" y="35376"/>
                  </a:cubicBezTo>
                  <a:cubicBezTo>
                    <a:pt x="268900" y="34558"/>
                    <a:pt x="268577" y="33778"/>
                    <a:pt x="268117" y="33094"/>
                  </a:cubicBezTo>
                  <a:lnTo>
                    <a:pt x="266596" y="33094"/>
                  </a:lnTo>
                  <a:cubicBezTo>
                    <a:pt x="265154" y="32733"/>
                    <a:pt x="263753" y="32219"/>
                    <a:pt x="262412" y="31573"/>
                  </a:cubicBezTo>
                  <a:cubicBezTo>
                    <a:pt x="259627" y="30280"/>
                    <a:pt x="256955" y="28758"/>
                    <a:pt x="254426" y="27009"/>
                  </a:cubicBezTo>
                  <a:cubicBezTo>
                    <a:pt x="248911" y="23586"/>
                    <a:pt x="245489" y="21494"/>
                    <a:pt x="240545" y="22635"/>
                  </a:cubicBezTo>
                  <a:cubicBezTo>
                    <a:pt x="236863" y="23586"/>
                    <a:pt x="233294" y="24917"/>
                    <a:pt x="229896" y="26629"/>
                  </a:cubicBezTo>
                  <a:cubicBezTo>
                    <a:pt x="220856" y="32599"/>
                    <a:pt x="208987" y="31972"/>
                    <a:pt x="200612" y="25107"/>
                  </a:cubicBezTo>
                  <a:cubicBezTo>
                    <a:pt x="194571" y="18718"/>
                    <a:pt x="185330" y="16475"/>
                    <a:pt x="177033" y="19403"/>
                  </a:cubicBezTo>
                  <a:lnTo>
                    <a:pt x="172660" y="19403"/>
                  </a:lnTo>
                  <a:cubicBezTo>
                    <a:pt x="158991" y="25183"/>
                    <a:pt x="143180" y="19365"/>
                    <a:pt x="136530" y="6092"/>
                  </a:cubicBezTo>
                  <a:cubicBezTo>
                    <a:pt x="133298" y="768"/>
                    <a:pt x="132347" y="-563"/>
                    <a:pt x="127783" y="197"/>
                  </a:cubicBezTo>
                  <a:cubicBezTo>
                    <a:pt x="123155" y="1452"/>
                    <a:pt x="118867" y="3734"/>
                    <a:pt x="115233" y="6853"/>
                  </a:cubicBezTo>
                  <a:cubicBezTo>
                    <a:pt x="110835" y="10465"/>
                    <a:pt x="105807" y="13242"/>
                    <a:pt x="100401" y="15029"/>
                  </a:cubicBezTo>
                  <a:cubicBezTo>
                    <a:pt x="98161" y="15619"/>
                    <a:pt x="95868" y="15999"/>
                    <a:pt x="93556" y="16170"/>
                  </a:cubicBezTo>
                  <a:lnTo>
                    <a:pt x="89753" y="16170"/>
                  </a:lnTo>
                  <a:lnTo>
                    <a:pt x="82146" y="15219"/>
                  </a:lnTo>
                  <a:cubicBezTo>
                    <a:pt x="75111" y="15219"/>
                    <a:pt x="68455" y="13508"/>
                    <a:pt x="64652" y="16741"/>
                  </a:cubicBezTo>
                  <a:cubicBezTo>
                    <a:pt x="60849" y="19973"/>
                    <a:pt x="57807" y="35756"/>
                    <a:pt x="59898" y="46595"/>
                  </a:cubicBezTo>
                  <a:cubicBezTo>
                    <a:pt x="59898" y="49827"/>
                    <a:pt x="61230" y="52680"/>
                    <a:pt x="61800" y="55532"/>
                  </a:cubicBezTo>
                  <a:cubicBezTo>
                    <a:pt x="66082" y="66352"/>
                    <a:pt x="64730" y="78598"/>
                    <a:pt x="58187" y="88239"/>
                  </a:cubicBezTo>
                  <a:cubicBezTo>
                    <a:pt x="49921" y="101036"/>
                    <a:pt x="39499" y="112293"/>
                    <a:pt x="27382" y="12151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58" name="Полилиния: фигура 457">
              <a:extLst>
                <a:ext uri="{FF2B5EF4-FFF2-40B4-BE49-F238E27FC236}">
                  <a16:creationId xmlns:a16="http://schemas.microsoft.com/office/drawing/2014/main" id="{3FEF0B49-3A0F-7331-501A-C13CCD170256}"/>
                </a:ext>
              </a:extLst>
            </p:cNvPr>
            <p:cNvSpPr/>
            <p:nvPr/>
          </p:nvSpPr>
          <p:spPr>
            <a:xfrm>
              <a:off x="3715725" y="4010652"/>
              <a:ext cx="252181" cy="239530"/>
            </a:xfrm>
            <a:custGeom>
              <a:avLst/>
              <a:gdLst>
                <a:gd name="connsiteX0" fmla="*/ 22058 w 277436"/>
                <a:gd name="connsiteY0" fmla="*/ 132113 h 262748"/>
                <a:gd name="connsiteX1" fmla="*/ 34038 w 277436"/>
                <a:gd name="connsiteY1" fmla="*/ 128690 h 262748"/>
                <a:gd name="connsiteX2" fmla="*/ 62751 w 277436"/>
                <a:gd name="connsiteY2" fmla="*/ 134585 h 262748"/>
                <a:gd name="connsiteX3" fmla="*/ 68455 w 277436"/>
                <a:gd name="connsiteY3" fmla="*/ 142191 h 262748"/>
                <a:gd name="connsiteX4" fmla="*/ 76822 w 277436"/>
                <a:gd name="connsiteY4" fmla="*/ 151889 h 262748"/>
                <a:gd name="connsiteX5" fmla="*/ 88612 w 277436"/>
                <a:gd name="connsiteY5" fmla="*/ 158925 h 262748"/>
                <a:gd name="connsiteX6" fmla="*/ 100401 w 277436"/>
                <a:gd name="connsiteY6" fmla="*/ 165961 h 262748"/>
                <a:gd name="connsiteX7" fmla="*/ 130826 w 277436"/>
                <a:gd name="connsiteY7" fmla="*/ 219964 h 262748"/>
                <a:gd name="connsiteX8" fmla="*/ 123980 w 277436"/>
                <a:gd name="connsiteY8" fmla="*/ 240881 h 262748"/>
                <a:gd name="connsiteX9" fmla="*/ 117515 w 277436"/>
                <a:gd name="connsiteY9" fmla="*/ 262749 h 262748"/>
                <a:gd name="connsiteX10" fmla="*/ 121698 w 277436"/>
                <a:gd name="connsiteY10" fmla="*/ 262749 h 262748"/>
                <a:gd name="connsiteX11" fmla="*/ 133298 w 277436"/>
                <a:gd name="connsiteY11" fmla="*/ 259706 h 262748"/>
                <a:gd name="connsiteX12" fmla="*/ 136911 w 277436"/>
                <a:gd name="connsiteY12" fmla="*/ 256854 h 262748"/>
                <a:gd name="connsiteX13" fmla="*/ 144707 w 277436"/>
                <a:gd name="connsiteY13" fmla="*/ 251339 h 262748"/>
                <a:gd name="connsiteX14" fmla="*/ 162772 w 277436"/>
                <a:gd name="connsiteY14" fmla="*/ 251339 h 262748"/>
                <a:gd name="connsiteX15" fmla="*/ 166385 w 277436"/>
                <a:gd name="connsiteY15" fmla="*/ 252480 h 262748"/>
                <a:gd name="connsiteX16" fmla="*/ 172279 w 277436"/>
                <a:gd name="connsiteY16" fmla="*/ 254192 h 262748"/>
                <a:gd name="connsiteX17" fmla="*/ 175512 w 277436"/>
                <a:gd name="connsiteY17" fmla="*/ 254192 h 262748"/>
                <a:gd name="connsiteX18" fmla="*/ 182738 w 277436"/>
                <a:gd name="connsiteY18" fmla="*/ 251339 h 262748"/>
                <a:gd name="connsiteX19" fmla="*/ 182738 w 277436"/>
                <a:gd name="connsiteY19" fmla="*/ 250009 h 262748"/>
                <a:gd name="connsiteX20" fmla="*/ 184259 w 277436"/>
                <a:gd name="connsiteY20" fmla="*/ 246396 h 262748"/>
                <a:gd name="connsiteX21" fmla="*/ 198330 w 277436"/>
                <a:gd name="connsiteY21" fmla="*/ 239170 h 262748"/>
                <a:gd name="connsiteX22" fmla="*/ 215825 w 277436"/>
                <a:gd name="connsiteY22" fmla="*/ 230232 h 262748"/>
                <a:gd name="connsiteX23" fmla="*/ 219247 w 277436"/>
                <a:gd name="connsiteY23" fmla="*/ 218253 h 262748"/>
                <a:gd name="connsiteX24" fmla="*/ 219247 w 277436"/>
                <a:gd name="connsiteY24" fmla="*/ 211787 h 262748"/>
                <a:gd name="connsiteX25" fmla="*/ 222290 w 277436"/>
                <a:gd name="connsiteY25" fmla="*/ 205703 h 262748"/>
                <a:gd name="connsiteX26" fmla="*/ 227804 w 277436"/>
                <a:gd name="connsiteY26" fmla="*/ 202280 h 262748"/>
                <a:gd name="connsiteX27" fmla="*/ 250242 w 277436"/>
                <a:gd name="connsiteY27" fmla="*/ 202280 h 262748"/>
                <a:gd name="connsiteX28" fmla="*/ 252714 w 277436"/>
                <a:gd name="connsiteY28" fmla="*/ 202280 h 262748"/>
                <a:gd name="connsiteX29" fmla="*/ 259750 w 277436"/>
                <a:gd name="connsiteY29" fmla="*/ 203991 h 262748"/>
                <a:gd name="connsiteX30" fmla="*/ 261842 w 277436"/>
                <a:gd name="connsiteY30" fmla="*/ 199428 h 262748"/>
                <a:gd name="connsiteX31" fmla="*/ 261842 w 277436"/>
                <a:gd name="connsiteY31" fmla="*/ 195815 h 262748"/>
                <a:gd name="connsiteX32" fmla="*/ 261842 w 277436"/>
                <a:gd name="connsiteY32" fmla="*/ 188018 h 262748"/>
                <a:gd name="connsiteX33" fmla="*/ 264124 w 277436"/>
                <a:gd name="connsiteY33" fmla="*/ 182694 h 262748"/>
                <a:gd name="connsiteX34" fmla="*/ 265455 w 277436"/>
                <a:gd name="connsiteY34" fmla="*/ 180032 h 262748"/>
                <a:gd name="connsiteX35" fmla="*/ 268117 w 277436"/>
                <a:gd name="connsiteY35" fmla="*/ 173757 h 262748"/>
                <a:gd name="connsiteX36" fmla="*/ 268117 w 277436"/>
                <a:gd name="connsiteY36" fmla="*/ 171855 h 262748"/>
                <a:gd name="connsiteX37" fmla="*/ 268117 w 277436"/>
                <a:gd name="connsiteY37" fmla="*/ 171855 h 262748"/>
                <a:gd name="connsiteX38" fmla="*/ 264504 w 277436"/>
                <a:gd name="connsiteY38" fmla="*/ 162728 h 262748"/>
                <a:gd name="connsiteX39" fmla="*/ 260321 w 277436"/>
                <a:gd name="connsiteY39" fmla="*/ 153791 h 262748"/>
                <a:gd name="connsiteX40" fmla="*/ 265455 w 277436"/>
                <a:gd name="connsiteY40" fmla="*/ 123936 h 262748"/>
                <a:gd name="connsiteX41" fmla="*/ 270969 w 277436"/>
                <a:gd name="connsiteY41" fmla="*/ 116520 h 262748"/>
                <a:gd name="connsiteX42" fmla="*/ 277434 w 277436"/>
                <a:gd name="connsiteY42" fmla="*/ 104921 h 262748"/>
                <a:gd name="connsiteX43" fmla="*/ 272681 w 277436"/>
                <a:gd name="connsiteY43" fmla="*/ 88568 h 262748"/>
                <a:gd name="connsiteX44" fmla="*/ 269258 w 277436"/>
                <a:gd name="connsiteY44" fmla="*/ 81532 h 262748"/>
                <a:gd name="connsiteX45" fmla="*/ 263363 w 277436"/>
                <a:gd name="connsiteY45" fmla="*/ 48826 h 262748"/>
                <a:gd name="connsiteX46" fmla="*/ 263363 w 277436"/>
                <a:gd name="connsiteY46" fmla="*/ 36846 h 262748"/>
                <a:gd name="connsiteX47" fmla="*/ 260891 w 277436"/>
                <a:gd name="connsiteY47" fmla="*/ 36846 h 262748"/>
                <a:gd name="connsiteX48" fmla="*/ 246059 w 277436"/>
                <a:gd name="connsiteY48" fmla="*/ 40079 h 262748"/>
                <a:gd name="connsiteX49" fmla="*/ 198901 w 277436"/>
                <a:gd name="connsiteY49" fmla="*/ 47685 h 262748"/>
                <a:gd name="connsiteX50" fmla="*/ 187682 w 277436"/>
                <a:gd name="connsiteY50" fmla="*/ 48826 h 262748"/>
                <a:gd name="connsiteX51" fmla="*/ 176273 w 277436"/>
                <a:gd name="connsiteY51" fmla="*/ 48826 h 262748"/>
                <a:gd name="connsiteX52" fmla="*/ 166194 w 277436"/>
                <a:gd name="connsiteY52" fmla="*/ 48826 h 262748"/>
                <a:gd name="connsiteX53" fmla="*/ 147179 w 277436"/>
                <a:gd name="connsiteY53" fmla="*/ 53389 h 262748"/>
                <a:gd name="connsiteX54" fmla="*/ 124551 w 277436"/>
                <a:gd name="connsiteY54" fmla="*/ 54720 h 262748"/>
                <a:gd name="connsiteX55" fmla="*/ 102113 w 277436"/>
                <a:gd name="connsiteY55" fmla="*/ 47304 h 262748"/>
                <a:gd name="connsiteX56" fmla="*/ 94887 w 277436"/>
                <a:gd name="connsiteY56" fmla="*/ 24106 h 262748"/>
                <a:gd name="connsiteX57" fmla="*/ 92985 w 277436"/>
                <a:gd name="connsiteY57" fmla="*/ 12126 h 262748"/>
                <a:gd name="connsiteX58" fmla="*/ 81956 w 277436"/>
                <a:gd name="connsiteY58" fmla="*/ 336 h 262748"/>
                <a:gd name="connsiteX59" fmla="*/ 67885 w 277436"/>
                <a:gd name="connsiteY59" fmla="*/ 4139 h 262748"/>
                <a:gd name="connsiteX60" fmla="*/ 52102 w 277436"/>
                <a:gd name="connsiteY60" fmla="*/ 31332 h 262748"/>
                <a:gd name="connsiteX61" fmla="*/ 41073 w 277436"/>
                <a:gd name="connsiteY61" fmla="*/ 54340 h 262748"/>
                <a:gd name="connsiteX62" fmla="*/ 0 w 277436"/>
                <a:gd name="connsiteY62" fmla="*/ 100548 h 262748"/>
                <a:gd name="connsiteX63" fmla="*/ 3613 w 277436"/>
                <a:gd name="connsiteY63" fmla="*/ 110245 h 262748"/>
                <a:gd name="connsiteX64" fmla="*/ 22058 w 277436"/>
                <a:gd name="connsiteY64" fmla="*/ 132113 h 262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77436" h="262748">
                  <a:moveTo>
                    <a:pt x="22058" y="132113"/>
                  </a:moveTo>
                  <a:cubicBezTo>
                    <a:pt x="26224" y="131695"/>
                    <a:pt x="30282" y="130535"/>
                    <a:pt x="34038" y="128690"/>
                  </a:cubicBezTo>
                  <a:cubicBezTo>
                    <a:pt x="43635" y="122606"/>
                    <a:pt x="56327" y="125210"/>
                    <a:pt x="62751" y="134585"/>
                  </a:cubicBezTo>
                  <a:cubicBezTo>
                    <a:pt x="64877" y="136943"/>
                    <a:pt x="66786" y="139491"/>
                    <a:pt x="68455" y="142191"/>
                  </a:cubicBezTo>
                  <a:cubicBezTo>
                    <a:pt x="70610" y="145918"/>
                    <a:pt x="73447" y="149208"/>
                    <a:pt x="76822" y="151889"/>
                  </a:cubicBezTo>
                  <a:cubicBezTo>
                    <a:pt x="80562" y="154532"/>
                    <a:pt x="84504" y="156890"/>
                    <a:pt x="88612" y="158925"/>
                  </a:cubicBezTo>
                  <a:cubicBezTo>
                    <a:pt x="92605" y="161207"/>
                    <a:pt x="96598" y="163298"/>
                    <a:pt x="100401" y="165961"/>
                  </a:cubicBezTo>
                  <a:cubicBezTo>
                    <a:pt x="111050" y="173377"/>
                    <a:pt x="135390" y="193533"/>
                    <a:pt x="130826" y="219964"/>
                  </a:cubicBezTo>
                  <a:cubicBezTo>
                    <a:pt x="129293" y="227152"/>
                    <a:pt x="126998" y="234169"/>
                    <a:pt x="123980" y="240881"/>
                  </a:cubicBezTo>
                  <a:cubicBezTo>
                    <a:pt x="120651" y="247765"/>
                    <a:pt x="118466" y="255162"/>
                    <a:pt x="117515" y="262749"/>
                  </a:cubicBezTo>
                  <a:lnTo>
                    <a:pt x="121698" y="262749"/>
                  </a:lnTo>
                  <a:cubicBezTo>
                    <a:pt x="125751" y="262673"/>
                    <a:pt x="129725" y="261627"/>
                    <a:pt x="133298" y="259706"/>
                  </a:cubicBezTo>
                  <a:cubicBezTo>
                    <a:pt x="134583" y="258869"/>
                    <a:pt x="135791" y="257900"/>
                    <a:pt x="136911" y="256854"/>
                  </a:cubicBezTo>
                  <a:cubicBezTo>
                    <a:pt x="139164" y="254572"/>
                    <a:pt x="141803" y="252709"/>
                    <a:pt x="144707" y="251339"/>
                  </a:cubicBezTo>
                  <a:cubicBezTo>
                    <a:pt x="150512" y="249058"/>
                    <a:pt x="156966" y="249058"/>
                    <a:pt x="162772" y="251339"/>
                  </a:cubicBezTo>
                  <a:lnTo>
                    <a:pt x="166385" y="252480"/>
                  </a:lnTo>
                  <a:cubicBezTo>
                    <a:pt x="168273" y="253279"/>
                    <a:pt x="170252" y="253869"/>
                    <a:pt x="172279" y="254192"/>
                  </a:cubicBezTo>
                  <a:cubicBezTo>
                    <a:pt x="173340" y="254458"/>
                    <a:pt x="174451" y="254458"/>
                    <a:pt x="175512" y="254192"/>
                  </a:cubicBezTo>
                  <a:cubicBezTo>
                    <a:pt x="178256" y="254591"/>
                    <a:pt x="181007" y="253507"/>
                    <a:pt x="182738" y="251339"/>
                  </a:cubicBezTo>
                  <a:cubicBezTo>
                    <a:pt x="182763" y="250902"/>
                    <a:pt x="182763" y="250446"/>
                    <a:pt x="182738" y="250009"/>
                  </a:cubicBezTo>
                  <a:cubicBezTo>
                    <a:pt x="183150" y="248772"/>
                    <a:pt x="183658" y="247556"/>
                    <a:pt x="184259" y="246396"/>
                  </a:cubicBezTo>
                  <a:cubicBezTo>
                    <a:pt x="187678" y="242060"/>
                    <a:pt x="192814" y="239417"/>
                    <a:pt x="198330" y="239170"/>
                  </a:cubicBezTo>
                  <a:cubicBezTo>
                    <a:pt x="205146" y="238732"/>
                    <a:pt x="211478" y="235500"/>
                    <a:pt x="215825" y="230232"/>
                  </a:cubicBezTo>
                  <a:cubicBezTo>
                    <a:pt x="217751" y="226505"/>
                    <a:pt x="218915" y="222436"/>
                    <a:pt x="219247" y="218253"/>
                  </a:cubicBezTo>
                  <a:cubicBezTo>
                    <a:pt x="219247" y="215971"/>
                    <a:pt x="219247" y="213879"/>
                    <a:pt x="219247" y="211787"/>
                  </a:cubicBezTo>
                  <a:cubicBezTo>
                    <a:pt x="219709" y="209525"/>
                    <a:pt x="220759" y="207433"/>
                    <a:pt x="222290" y="205703"/>
                  </a:cubicBezTo>
                  <a:cubicBezTo>
                    <a:pt x="223796" y="204105"/>
                    <a:pt x="225697" y="202926"/>
                    <a:pt x="227804" y="202280"/>
                  </a:cubicBezTo>
                  <a:cubicBezTo>
                    <a:pt x="235081" y="199808"/>
                    <a:pt x="242965" y="199808"/>
                    <a:pt x="250242" y="202280"/>
                  </a:cubicBezTo>
                  <a:lnTo>
                    <a:pt x="252714" y="202280"/>
                  </a:lnTo>
                  <a:cubicBezTo>
                    <a:pt x="255377" y="203421"/>
                    <a:pt x="258419" y="204752"/>
                    <a:pt x="259750" y="203991"/>
                  </a:cubicBezTo>
                  <a:cubicBezTo>
                    <a:pt x="260999" y="202793"/>
                    <a:pt x="261747" y="201158"/>
                    <a:pt x="261842" y="199428"/>
                  </a:cubicBezTo>
                  <a:cubicBezTo>
                    <a:pt x="261743" y="198230"/>
                    <a:pt x="261743" y="197013"/>
                    <a:pt x="261842" y="195815"/>
                  </a:cubicBezTo>
                  <a:cubicBezTo>
                    <a:pt x="261492" y="193228"/>
                    <a:pt x="261492" y="190604"/>
                    <a:pt x="261842" y="188018"/>
                  </a:cubicBezTo>
                  <a:cubicBezTo>
                    <a:pt x="262405" y="186174"/>
                    <a:pt x="263171" y="184386"/>
                    <a:pt x="264124" y="182694"/>
                  </a:cubicBezTo>
                  <a:cubicBezTo>
                    <a:pt x="264451" y="181762"/>
                    <a:pt x="264899" y="180849"/>
                    <a:pt x="265455" y="180032"/>
                  </a:cubicBezTo>
                  <a:cubicBezTo>
                    <a:pt x="266596" y="178054"/>
                    <a:pt x="267489" y="175944"/>
                    <a:pt x="268117" y="173757"/>
                  </a:cubicBezTo>
                  <a:cubicBezTo>
                    <a:pt x="268210" y="173129"/>
                    <a:pt x="268210" y="172483"/>
                    <a:pt x="268117" y="171855"/>
                  </a:cubicBezTo>
                  <a:lnTo>
                    <a:pt x="268117" y="171855"/>
                  </a:lnTo>
                  <a:cubicBezTo>
                    <a:pt x="267571" y="168585"/>
                    <a:pt x="266341" y="165485"/>
                    <a:pt x="264504" y="162728"/>
                  </a:cubicBezTo>
                  <a:cubicBezTo>
                    <a:pt x="262882" y="159857"/>
                    <a:pt x="261484" y="156871"/>
                    <a:pt x="260321" y="153791"/>
                  </a:cubicBezTo>
                  <a:cubicBezTo>
                    <a:pt x="257628" y="143560"/>
                    <a:pt x="259501" y="132684"/>
                    <a:pt x="265455" y="123936"/>
                  </a:cubicBezTo>
                  <a:cubicBezTo>
                    <a:pt x="267166" y="121274"/>
                    <a:pt x="269068" y="118993"/>
                    <a:pt x="270969" y="116520"/>
                  </a:cubicBezTo>
                  <a:cubicBezTo>
                    <a:pt x="274217" y="113383"/>
                    <a:pt x="276467" y="109333"/>
                    <a:pt x="277434" y="104921"/>
                  </a:cubicBezTo>
                  <a:cubicBezTo>
                    <a:pt x="277505" y="99122"/>
                    <a:pt x="275850" y="93436"/>
                    <a:pt x="272681" y="88568"/>
                  </a:cubicBezTo>
                  <a:cubicBezTo>
                    <a:pt x="271388" y="86305"/>
                    <a:pt x="270243" y="83947"/>
                    <a:pt x="269258" y="81532"/>
                  </a:cubicBezTo>
                  <a:cubicBezTo>
                    <a:pt x="265540" y="71017"/>
                    <a:pt x="263549" y="59969"/>
                    <a:pt x="263363" y="48826"/>
                  </a:cubicBezTo>
                  <a:cubicBezTo>
                    <a:pt x="263363" y="44832"/>
                    <a:pt x="263363" y="40649"/>
                    <a:pt x="263363" y="36846"/>
                  </a:cubicBezTo>
                  <a:lnTo>
                    <a:pt x="260891" y="36846"/>
                  </a:lnTo>
                  <a:cubicBezTo>
                    <a:pt x="255896" y="37664"/>
                    <a:pt x="250944" y="38748"/>
                    <a:pt x="246059" y="40079"/>
                  </a:cubicBezTo>
                  <a:cubicBezTo>
                    <a:pt x="230617" y="44110"/>
                    <a:pt x="214826" y="46658"/>
                    <a:pt x="198901" y="47685"/>
                  </a:cubicBezTo>
                  <a:lnTo>
                    <a:pt x="187682" y="48826"/>
                  </a:lnTo>
                  <a:lnTo>
                    <a:pt x="176273" y="48826"/>
                  </a:lnTo>
                  <a:cubicBezTo>
                    <a:pt x="172920" y="49130"/>
                    <a:pt x="169547" y="49130"/>
                    <a:pt x="166194" y="48826"/>
                  </a:cubicBezTo>
                  <a:cubicBezTo>
                    <a:pt x="161325" y="53979"/>
                    <a:pt x="153861" y="55785"/>
                    <a:pt x="147179" y="53389"/>
                  </a:cubicBezTo>
                  <a:cubicBezTo>
                    <a:pt x="139615" y="52553"/>
                    <a:pt x="131965" y="53009"/>
                    <a:pt x="124551" y="54720"/>
                  </a:cubicBezTo>
                  <a:cubicBezTo>
                    <a:pt x="116300" y="56185"/>
                    <a:pt x="107869" y="53389"/>
                    <a:pt x="102113" y="47304"/>
                  </a:cubicBezTo>
                  <a:cubicBezTo>
                    <a:pt x="97231" y="40573"/>
                    <a:pt x="94695" y="32415"/>
                    <a:pt x="94887" y="24106"/>
                  </a:cubicBezTo>
                  <a:cubicBezTo>
                    <a:pt x="94700" y="20055"/>
                    <a:pt x="94061" y="16043"/>
                    <a:pt x="92985" y="12126"/>
                  </a:cubicBezTo>
                  <a:cubicBezTo>
                    <a:pt x="91243" y="6745"/>
                    <a:pt x="87201" y="2428"/>
                    <a:pt x="81956" y="336"/>
                  </a:cubicBezTo>
                  <a:cubicBezTo>
                    <a:pt x="76929" y="-709"/>
                    <a:pt x="71705" y="717"/>
                    <a:pt x="67885" y="4139"/>
                  </a:cubicBezTo>
                  <a:cubicBezTo>
                    <a:pt x="60340" y="11669"/>
                    <a:pt x="54899" y="21044"/>
                    <a:pt x="52102" y="31332"/>
                  </a:cubicBezTo>
                  <a:cubicBezTo>
                    <a:pt x="49398" y="39432"/>
                    <a:pt x="45694" y="47152"/>
                    <a:pt x="41073" y="54340"/>
                  </a:cubicBezTo>
                  <a:cubicBezTo>
                    <a:pt x="28761" y="70922"/>
                    <a:pt x="15018" y="86381"/>
                    <a:pt x="0" y="100548"/>
                  </a:cubicBezTo>
                  <a:cubicBezTo>
                    <a:pt x="1331" y="103590"/>
                    <a:pt x="2472" y="106823"/>
                    <a:pt x="3613" y="110245"/>
                  </a:cubicBezTo>
                  <a:cubicBezTo>
                    <a:pt x="8177" y="124507"/>
                    <a:pt x="11599" y="132874"/>
                    <a:pt x="22058" y="13211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62" name="Полилиния: фигура 461">
              <a:extLst>
                <a:ext uri="{FF2B5EF4-FFF2-40B4-BE49-F238E27FC236}">
                  <a16:creationId xmlns:a16="http://schemas.microsoft.com/office/drawing/2014/main" id="{1A81AA0D-D877-1382-1A47-6B1FA6028FC2}"/>
                </a:ext>
              </a:extLst>
            </p:cNvPr>
            <p:cNvSpPr/>
            <p:nvPr/>
          </p:nvSpPr>
          <p:spPr>
            <a:xfrm>
              <a:off x="3868197" y="3804931"/>
              <a:ext cx="313343" cy="244439"/>
            </a:xfrm>
            <a:custGeom>
              <a:avLst/>
              <a:gdLst>
                <a:gd name="connsiteX0" fmla="*/ 5299 w 344723"/>
                <a:gd name="connsiteY0" fmla="*/ 200705 h 268133"/>
                <a:gd name="connsiteX1" fmla="*/ 14236 w 344723"/>
                <a:gd name="connsiteY1" fmla="*/ 210213 h 268133"/>
                <a:gd name="connsiteX2" fmla="*/ 12335 w 344723"/>
                <a:gd name="connsiteY2" fmla="*/ 245392 h 268133"/>
                <a:gd name="connsiteX3" fmla="*/ 7581 w 344723"/>
                <a:gd name="connsiteY3" fmla="*/ 256801 h 268133"/>
                <a:gd name="connsiteX4" fmla="*/ 6440 w 344723"/>
                <a:gd name="connsiteY4" fmla="*/ 261174 h 268133"/>
                <a:gd name="connsiteX5" fmla="*/ 4919 w 344723"/>
                <a:gd name="connsiteY5" fmla="*/ 266879 h 268133"/>
                <a:gd name="connsiteX6" fmla="*/ 19941 w 344723"/>
                <a:gd name="connsiteY6" fmla="*/ 266879 h 268133"/>
                <a:gd name="connsiteX7" fmla="*/ 31350 w 344723"/>
                <a:gd name="connsiteY7" fmla="*/ 265738 h 268133"/>
                <a:gd name="connsiteX8" fmla="*/ 76417 w 344723"/>
                <a:gd name="connsiteY8" fmla="*/ 258322 h 268133"/>
                <a:gd name="connsiteX9" fmla="*/ 92580 w 344723"/>
                <a:gd name="connsiteY9" fmla="*/ 254899 h 268133"/>
                <a:gd name="connsiteX10" fmla="*/ 94862 w 344723"/>
                <a:gd name="connsiteY10" fmla="*/ 254899 h 268133"/>
                <a:gd name="connsiteX11" fmla="*/ 105510 w 344723"/>
                <a:gd name="connsiteY11" fmla="*/ 252808 h 268133"/>
                <a:gd name="connsiteX12" fmla="*/ 119582 w 344723"/>
                <a:gd name="connsiteY12" fmla="*/ 244441 h 268133"/>
                <a:gd name="connsiteX13" fmla="*/ 168831 w 344723"/>
                <a:gd name="connsiteY13" fmla="*/ 235123 h 268133"/>
                <a:gd name="connsiteX14" fmla="*/ 177008 w 344723"/>
                <a:gd name="connsiteY14" fmla="*/ 254139 h 268133"/>
                <a:gd name="connsiteX15" fmla="*/ 181762 w 344723"/>
                <a:gd name="connsiteY15" fmla="*/ 265738 h 268133"/>
                <a:gd name="connsiteX16" fmla="*/ 188227 w 344723"/>
                <a:gd name="connsiteY16" fmla="*/ 265738 h 268133"/>
                <a:gd name="connsiteX17" fmla="*/ 192410 w 344723"/>
                <a:gd name="connsiteY17" fmla="*/ 263646 h 268133"/>
                <a:gd name="connsiteX18" fmla="*/ 206482 w 344723"/>
                <a:gd name="connsiteY18" fmla="*/ 262315 h 268133"/>
                <a:gd name="connsiteX19" fmla="*/ 214088 w 344723"/>
                <a:gd name="connsiteY19" fmla="*/ 265358 h 268133"/>
                <a:gd name="connsiteX20" fmla="*/ 226638 w 344723"/>
                <a:gd name="connsiteY20" fmla="*/ 268020 h 268133"/>
                <a:gd name="connsiteX21" fmla="*/ 236526 w 344723"/>
                <a:gd name="connsiteY21" fmla="*/ 263837 h 268133"/>
                <a:gd name="connsiteX22" fmla="*/ 249457 w 344723"/>
                <a:gd name="connsiteY22" fmla="*/ 258702 h 268133"/>
                <a:gd name="connsiteX23" fmla="*/ 262577 w 344723"/>
                <a:gd name="connsiteY23" fmla="*/ 258702 h 268133"/>
                <a:gd name="connsiteX24" fmla="*/ 273987 w 344723"/>
                <a:gd name="connsiteY24" fmla="*/ 258702 h 268133"/>
                <a:gd name="connsiteX25" fmla="*/ 295284 w 344723"/>
                <a:gd name="connsiteY25" fmla="*/ 248244 h 268133"/>
                <a:gd name="connsiteX26" fmla="*/ 299277 w 344723"/>
                <a:gd name="connsiteY26" fmla="*/ 245772 h 268133"/>
                <a:gd name="connsiteX27" fmla="*/ 308024 w 344723"/>
                <a:gd name="connsiteY27" fmla="*/ 226756 h 268133"/>
                <a:gd name="connsiteX28" fmla="*/ 310496 w 344723"/>
                <a:gd name="connsiteY28" fmla="*/ 222763 h 268133"/>
                <a:gd name="connsiteX29" fmla="*/ 313729 w 344723"/>
                <a:gd name="connsiteY29" fmla="*/ 216869 h 268133"/>
                <a:gd name="connsiteX30" fmla="*/ 325138 w 344723"/>
                <a:gd name="connsiteY30" fmla="*/ 200135 h 268133"/>
                <a:gd name="connsiteX31" fmla="*/ 333124 w 344723"/>
                <a:gd name="connsiteY31" fmla="*/ 195571 h 268133"/>
                <a:gd name="connsiteX32" fmla="*/ 339209 w 344723"/>
                <a:gd name="connsiteY32" fmla="*/ 191768 h 268133"/>
                <a:gd name="connsiteX33" fmla="*/ 343012 w 344723"/>
                <a:gd name="connsiteY33" fmla="*/ 183401 h 268133"/>
                <a:gd name="connsiteX34" fmla="*/ 344724 w 344723"/>
                <a:gd name="connsiteY34" fmla="*/ 178838 h 268133"/>
                <a:gd name="connsiteX35" fmla="*/ 316771 w 344723"/>
                <a:gd name="connsiteY35" fmla="*/ 159822 h 268133"/>
                <a:gd name="connsiteX36" fmla="*/ 308785 w 344723"/>
                <a:gd name="connsiteY36" fmla="*/ 138715 h 268133"/>
                <a:gd name="connsiteX37" fmla="*/ 300608 w 344723"/>
                <a:gd name="connsiteY37" fmla="*/ 120841 h 268133"/>
                <a:gd name="connsiteX38" fmla="*/ 271514 w 344723"/>
                <a:gd name="connsiteY38" fmla="*/ 118179 h 268133"/>
                <a:gd name="connsiteX39" fmla="*/ 265430 w 344723"/>
                <a:gd name="connsiteY39" fmla="*/ 119510 h 268133"/>
                <a:gd name="connsiteX40" fmla="*/ 208383 w 344723"/>
                <a:gd name="connsiteY40" fmla="*/ 91747 h 268133"/>
                <a:gd name="connsiteX41" fmla="*/ 193742 w 344723"/>
                <a:gd name="connsiteY41" fmla="*/ 75394 h 268133"/>
                <a:gd name="connsiteX42" fmla="*/ 171113 w 344723"/>
                <a:gd name="connsiteY42" fmla="*/ 44019 h 268133"/>
                <a:gd name="connsiteX43" fmla="*/ 158183 w 344723"/>
                <a:gd name="connsiteY43" fmla="*/ 25003 h 268133"/>
                <a:gd name="connsiteX44" fmla="*/ 158183 w 344723"/>
                <a:gd name="connsiteY44" fmla="*/ 25003 h 268133"/>
                <a:gd name="connsiteX45" fmla="*/ 158183 w 344723"/>
                <a:gd name="connsiteY45" fmla="*/ 25003 h 268133"/>
                <a:gd name="connsiteX46" fmla="*/ 150577 w 344723"/>
                <a:gd name="connsiteY46" fmla="*/ 15115 h 268133"/>
                <a:gd name="connsiteX47" fmla="*/ 146774 w 344723"/>
                <a:gd name="connsiteY47" fmla="*/ 9601 h 268133"/>
                <a:gd name="connsiteX48" fmla="*/ 120722 w 344723"/>
                <a:gd name="connsiteY48" fmla="*/ 1044 h 268133"/>
                <a:gd name="connsiteX49" fmla="*/ 107222 w 344723"/>
                <a:gd name="connsiteY49" fmla="*/ 4657 h 268133"/>
                <a:gd name="connsiteX50" fmla="*/ 92580 w 344723"/>
                <a:gd name="connsiteY50" fmla="*/ 21771 h 268133"/>
                <a:gd name="connsiteX51" fmla="*/ 84593 w 344723"/>
                <a:gd name="connsiteY51" fmla="*/ 29377 h 268133"/>
                <a:gd name="connsiteX52" fmla="*/ 79079 w 344723"/>
                <a:gd name="connsiteY52" fmla="*/ 36603 h 268133"/>
                <a:gd name="connsiteX53" fmla="*/ 68240 w 344723"/>
                <a:gd name="connsiteY53" fmla="*/ 49153 h 268133"/>
                <a:gd name="connsiteX54" fmla="*/ 55119 w 344723"/>
                <a:gd name="connsiteY54" fmla="*/ 55428 h 268133"/>
                <a:gd name="connsiteX55" fmla="*/ 45422 w 344723"/>
                <a:gd name="connsiteY55" fmla="*/ 59611 h 268133"/>
                <a:gd name="connsiteX56" fmla="*/ 35153 w 344723"/>
                <a:gd name="connsiteY56" fmla="*/ 82050 h 268133"/>
                <a:gd name="connsiteX57" fmla="*/ 30970 w 344723"/>
                <a:gd name="connsiteY57" fmla="*/ 100114 h 268133"/>
                <a:gd name="connsiteX58" fmla="*/ 25075 w 344723"/>
                <a:gd name="connsiteY58" fmla="*/ 112854 h 268133"/>
                <a:gd name="connsiteX59" fmla="*/ 15758 w 344723"/>
                <a:gd name="connsiteY59" fmla="*/ 146131 h 268133"/>
                <a:gd name="connsiteX60" fmla="*/ 7201 w 344723"/>
                <a:gd name="connsiteY60" fmla="*/ 178457 h 268133"/>
                <a:gd name="connsiteX61" fmla="*/ 2827 w 344723"/>
                <a:gd name="connsiteY61" fmla="*/ 187965 h 268133"/>
                <a:gd name="connsiteX62" fmla="*/ 5299 w 344723"/>
                <a:gd name="connsiteY62" fmla="*/ 200705 h 268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4723" h="268133">
                  <a:moveTo>
                    <a:pt x="5299" y="200705"/>
                  </a:moveTo>
                  <a:cubicBezTo>
                    <a:pt x="8598" y="203558"/>
                    <a:pt x="11593" y="206752"/>
                    <a:pt x="14236" y="210213"/>
                  </a:cubicBezTo>
                  <a:cubicBezTo>
                    <a:pt x="20760" y="221242"/>
                    <a:pt x="20011" y="235123"/>
                    <a:pt x="12335" y="245392"/>
                  </a:cubicBezTo>
                  <a:cubicBezTo>
                    <a:pt x="10382" y="249023"/>
                    <a:pt x="8790" y="252846"/>
                    <a:pt x="7581" y="256801"/>
                  </a:cubicBezTo>
                  <a:lnTo>
                    <a:pt x="6440" y="261174"/>
                  </a:lnTo>
                  <a:cubicBezTo>
                    <a:pt x="6440" y="263076"/>
                    <a:pt x="6440" y="264977"/>
                    <a:pt x="4919" y="266879"/>
                  </a:cubicBezTo>
                  <a:cubicBezTo>
                    <a:pt x="9916" y="267335"/>
                    <a:pt x="14944" y="267335"/>
                    <a:pt x="19941" y="266879"/>
                  </a:cubicBezTo>
                  <a:lnTo>
                    <a:pt x="31350" y="265738"/>
                  </a:lnTo>
                  <a:cubicBezTo>
                    <a:pt x="46582" y="264768"/>
                    <a:pt x="61678" y="262277"/>
                    <a:pt x="76417" y="258322"/>
                  </a:cubicBezTo>
                  <a:cubicBezTo>
                    <a:pt x="81735" y="256877"/>
                    <a:pt x="87132" y="255736"/>
                    <a:pt x="92580" y="254899"/>
                  </a:cubicBezTo>
                  <a:lnTo>
                    <a:pt x="94862" y="254899"/>
                  </a:lnTo>
                  <a:cubicBezTo>
                    <a:pt x="98450" y="254424"/>
                    <a:pt x="102008" y="253720"/>
                    <a:pt x="105510" y="252808"/>
                  </a:cubicBezTo>
                  <a:cubicBezTo>
                    <a:pt x="110848" y="251286"/>
                    <a:pt x="115697" y="248396"/>
                    <a:pt x="119582" y="244441"/>
                  </a:cubicBezTo>
                  <a:cubicBezTo>
                    <a:pt x="138597" y="225425"/>
                    <a:pt x="155901" y="222383"/>
                    <a:pt x="168831" y="235123"/>
                  </a:cubicBezTo>
                  <a:cubicBezTo>
                    <a:pt x="173353" y="240524"/>
                    <a:pt x="176196" y="247141"/>
                    <a:pt x="177008" y="254139"/>
                  </a:cubicBezTo>
                  <a:cubicBezTo>
                    <a:pt x="178149" y="258892"/>
                    <a:pt x="179480" y="264407"/>
                    <a:pt x="181762" y="265738"/>
                  </a:cubicBezTo>
                  <a:cubicBezTo>
                    <a:pt x="183867" y="266404"/>
                    <a:pt x="186122" y="266404"/>
                    <a:pt x="188227" y="265738"/>
                  </a:cubicBezTo>
                  <a:lnTo>
                    <a:pt x="192410" y="263646"/>
                  </a:lnTo>
                  <a:cubicBezTo>
                    <a:pt x="196562" y="260813"/>
                    <a:pt x="201874" y="260319"/>
                    <a:pt x="206482" y="262315"/>
                  </a:cubicBezTo>
                  <a:cubicBezTo>
                    <a:pt x="209116" y="263057"/>
                    <a:pt x="211664" y="264084"/>
                    <a:pt x="214088" y="265358"/>
                  </a:cubicBezTo>
                  <a:cubicBezTo>
                    <a:pt x="217889" y="267544"/>
                    <a:pt x="222280" y="268476"/>
                    <a:pt x="226638" y="268020"/>
                  </a:cubicBezTo>
                  <a:cubicBezTo>
                    <a:pt x="230160" y="267240"/>
                    <a:pt x="233510" y="265814"/>
                    <a:pt x="236526" y="263837"/>
                  </a:cubicBezTo>
                  <a:cubicBezTo>
                    <a:pt x="240542" y="261460"/>
                    <a:pt x="244904" y="259729"/>
                    <a:pt x="249457" y="258702"/>
                  </a:cubicBezTo>
                  <a:cubicBezTo>
                    <a:pt x="253811" y="258132"/>
                    <a:pt x="258223" y="258132"/>
                    <a:pt x="262577" y="258702"/>
                  </a:cubicBezTo>
                  <a:cubicBezTo>
                    <a:pt x="266359" y="259273"/>
                    <a:pt x="270204" y="259273"/>
                    <a:pt x="273987" y="258702"/>
                  </a:cubicBezTo>
                  <a:cubicBezTo>
                    <a:pt x="281650" y="256497"/>
                    <a:pt x="288860" y="252960"/>
                    <a:pt x="295284" y="248244"/>
                  </a:cubicBezTo>
                  <a:lnTo>
                    <a:pt x="299277" y="245772"/>
                  </a:lnTo>
                  <a:cubicBezTo>
                    <a:pt x="300819" y="238888"/>
                    <a:pt x="303799" y="232404"/>
                    <a:pt x="308024" y="226756"/>
                  </a:cubicBezTo>
                  <a:lnTo>
                    <a:pt x="310496" y="222763"/>
                  </a:lnTo>
                  <a:lnTo>
                    <a:pt x="313729" y="216869"/>
                  </a:lnTo>
                  <a:cubicBezTo>
                    <a:pt x="316450" y="210631"/>
                    <a:pt x="320321" y="204946"/>
                    <a:pt x="325138" y="200135"/>
                  </a:cubicBezTo>
                  <a:cubicBezTo>
                    <a:pt x="327515" y="198157"/>
                    <a:pt x="330217" y="196617"/>
                    <a:pt x="333124" y="195571"/>
                  </a:cubicBezTo>
                  <a:cubicBezTo>
                    <a:pt x="335414" y="194773"/>
                    <a:pt x="337496" y="193479"/>
                    <a:pt x="339209" y="191768"/>
                  </a:cubicBezTo>
                  <a:cubicBezTo>
                    <a:pt x="340955" y="189220"/>
                    <a:pt x="342242" y="186387"/>
                    <a:pt x="343012" y="183401"/>
                  </a:cubicBezTo>
                  <a:lnTo>
                    <a:pt x="344724" y="178838"/>
                  </a:lnTo>
                  <a:cubicBezTo>
                    <a:pt x="333623" y="175624"/>
                    <a:pt x="323832" y="168969"/>
                    <a:pt x="316771" y="159822"/>
                  </a:cubicBezTo>
                  <a:cubicBezTo>
                    <a:pt x="312369" y="153566"/>
                    <a:pt x="309621" y="146321"/>
                    <a:pt x="308785" y="138715"/>
                  </a:cubicBezTo>
                  <a:cubicBezTo>
                    <a:pt x="308439" y="131927"/>
                    <a:pt x="305514" y="125538"/>
                    <a:pt x="300608" y="120841"/>
                  </a:cubicBezTo>
                  <a:cubicBezTo>
                    <a:pt x="291481" y="113615"/>
                    <a:pt x="283114" y="115517"/>
                    <a:pt x="271514" y="118179"/>
                  </a:cubicBezTo>
                  <a:lnTo>
                    <a:pt x="265430" y="119510"/>
                  </a:lnTo>
                  <a:cubicBezTo>
                    <a:pt x="235956" y="125785"/>
                    <a:pt x="221694" y="108481"/>
                    <a:pt x="208383" y="91747"/>
                  </a:cubicBezTo>
                  <a:cubicBezTo>
                    <a:pt x="203856" y="85985"/>
                    <a:pt x="198965" y="80528"/>
                    <a:pt x="193742" y="75394"/>
                  </a:cubicBezTo>
                  <a:cubicBezTo>
                    <a:pt x="184430" y="66324"/>
                    <a:pt x="176772" y="55713"/>
                    <a:pt x="171113" y="44019"/>
                  </a:cubicBezTo>
                  <a:cubicBezTo>
                    <a:pt x="167502" y="37230"/>
                    <a:pt x="163167" y="30860"/>
                    <a:pt x="158183" y="25003"/>
                  </a:cubicBezTo>
                  <a:lnTo>
                    <a:pt x="158183" y="25003"/>
                  </a:lnTo>
                  <a:lnTo>
                    <a:pt x="158183" y="25003"/>
                  </a:lnTo>
                  <a:cubicBezTo>
                    <a:pt x="155521" y="21771"/>
                    <a:pt x="153049" y="18538"/>
                    <a:pt x="150577" y="15115"/>
                  </a:cubicBezTo>
                  <a:cubicBezTo>
                    <a:pt x="149202" y="13347"/>
                    <a:pt x="147932" y="11521"/>
                    <a:pt x="146774" y="9601"/>
                  </a:cubicBezTo>
                  <a:cubicBezTo>
                    <a:pt x="141069" y="663"/>
                    <a:pt x="133843" y="-1618"/>
                    <a:pt x="120722" y="1044"/>
                  </a:cubicBezTo>
                  <a:cubicBezTo>
                    <a:pt x="116153" y="1976"/>
                    <a:pt x="111645" y="3174"/>
                    <a:pt x="107222" y="4657"/>
                  </a:cubicBezTo>
                  <a:cubicBezTo>
                    <a:pt x="103593" y="11331"/>
                    <a:pt x="98606" y="17150"/>
                    <a:pt x="92580" y="21771"/>
                  </a:cubicBezTo>
                  <a:cubicBezTo>
                    <a:pt x="89777" y="24147"/>
                    <a:pt x="87111" y="26696"/>
                    <a:pt x="84593" y="29377"/>
                  </a:cubicBezTo>
                  <a:cubicBezTo>
                    <a:pt x="82591" y="31659"/>
                    <a:pt x="80748" y="34074"/>
                    <a:pt x="79079" y="36603"/>
                  </a:cubicBezTo>
                  <a:cubicBezTo>
                    <a:pt x="76226" y="41395"/>
                    <a:pt x="72558" y="45635"/>
                    <a:pt x="68240" y="49153"/>
                  </a:cubicBezTo>
                  <a:cubicBezTo>
                    <a:pt x="64163" y="51815"/>
                    <a:pt x="59752" y="53926"/>
                    <a:pt x="55119" y="55428"/>
                  </a:cubicBezTo>
                  <a:cubicBezTo>
                    <a:pt x="51735" y="56436"/>
                    <a:pt x="48479" y="57843"/>
                    <a:pt x="45422" y="59611"/>
                  </a:cubicBezTo>
                  <a:cubicBezTo>
                    <a:pt x="38582" y="64993"/>
                    <a:pt x="34758" y="73360"/>
                    <a:pt x="35153" y="82050"/>
                  </a:cubicBezTo>
                  <a:cubicBezTo>
                    <a:pt x="34558" y="88230"/>
                    <a:pt x="33151" y="94295"/>
                    <a:pt x="30970" y="100114"/>
                  </a:cubicBezTo>
                  <a:cubicBezTo>
                    <a:pt x="29068" y="104868"/>
                    <a:pt x="26977" y="109051"/>
                    <a:pt x="25075" y="112854"/>
                  </a:cubicBezTo>
                  <a:cubicBezTo>
                    <a:pt x="19017" y="122895"/>
                    <a:pt x="15796" y="134399"/>
                    <a:pt x="15758" y="146131"/>
                  </a:cubicBezTo>
                  <a:cubicBezTo>
                    <a:pt x="16022" y="157502"/>
                    <a:pt x="13054" y="168703"/>
                    <a:pt x="7201" y="178457"/>
                  </a:cubicBezTo>
                  <a:cubicBezTo>
                    <a:pt x="5870" y="181310"/>
                    <a:pt x="4348" y="184352"/>
                    <a:pt x="2827" y="187965"/>
                  </a:cubicBezTo>
                  <a:cubicBezTo>
                    <a:pt x="-1927" y="194621"/>
                    <a:pt x="-405" y="195952"/>
                    <a:pt x="5299" y="20070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63" name="Полилиния: фигура 462">
              <a:extLst>
                <a:ext uri="{FF2B5EF4-FFF2-40B4-BE49-F238E27FC236}">
                  <a16:creationId xmlns:a16="http://schemas.microsoft.com/office/drawing/2014/main" id="{AE9AFDD6-3228-B960-F63D-9A85E3FF37BA}"/>
                </a:ext>
              </a:extLst>
            </p:cNvPr>
            <p:cNvSpPr/>
            <p:nvPr/>
          </p:nvSpPr>
          <p:spPr>
            <a:xfrm>
              <a:off x="3962838" y="4021350"/>
              <a:ext cx="241172" cy="166426"/>
            </a:xfrm>
            <a:custGeom>
              <a:avLst/>
              <a:gdLst>
                <a:gd name="connsiteX0" fmla="*/ 4814 w 265324"/>
                <a:gd name="connsiteY0" fmla="*/ 119998 h 182558"/>
                <a:gd name="connsiteX1" fmla="*/ 631 w 265324"/>
                <a:gd name="connsiteY1" fmla="*/ 141105 h 182558"/>
                <a:gd name="connsiteX2" fmla="*/ 4053 w 265324"/>
                <a:gd name="connsiteY2" fmla="*/ 148140 h 182558"/>
                <a:gd name="connsiteX3" fmla="*/ 8997 w 265324"/>
                <a:gd name="connsiteY3" fmla="*/ 166015 h 182558"/>
                <a:gd name="connsiteX4" fmla="*/ 7666 w 265324"/>
                <a:gd name="connsiteY4" fmla="*/ 170579 h 182558"/>
                <a:gd name="connsiteX5" fmla="*/ 17174 w 265324"/>
                <a:gd name="connsiteY5" fmla="*/ 174952 h 182558"/>
                <a:gd name="connsiteX6" fmla="*/ 30105 w 265324"/>
                <a:gd name="connsiteY6" fmla="*/ 173621 h 182558"/>
                <a:gd name="connsiteX7" fmla="*/ 49120 w 265324"/>
                <a:gd name="connsiteY7" fmla="*/ 172290 h 182558"/>
                <a:gd name="connsiteX8" fmla="*/ 57296 w 265324"/>
                <a:gd name="connsiteY8" fmla="*/ 175903 h 182558"/>
                <a:gd name="connsiteX9" fmla="*/ 59768 w 265324"/>
                <a:gd name="connsiteY9" fmla="*/ 177424 h 182558"/>
                <a:gd name="connsiteX10" fmla="*/ 68325 w 265324"/>
                <a:gd name="connsiteY10" fmla="*/ 179516 h 182558"/>
                <a:gd name="connsiteX11" fmla="*/ 70988 w 265324"/>
                <a:gd name="connsiteY11" fmla="*/ 179516 h 182558"/>
                <a:gd name="connsiteX12" fmla="*/ 81826 w 265324"/>
                <a:gd name="connsiteY12" fmla="*/ 182558 h 182558"/>
                <a:gd name="connsiteX13" fmla="*/ 81826 w 265324"/>
                <a:gd name="connsiteY13" fmla="*/ 180086 h 182558"/>
                <a:gd name="connsiteX14" fmla="*/ 115674 w 265324"/>
                <a:gd name="connsiteY14" fmla="*/ 157078 h 182558"/>
                <a:gd name="connsiteX15" fmla="*/ 124801 w 265324"/>
                <a:gd name="connsiteY15" fmla="*/ 153084 h 182558"/>
                <a:gd name="connsiteX16" fmla="*/ 179375 w 265324"/>
                <a:gd name="connsiteY16" fmla="*/ 158789 h 182558"/>
                <a:gd name="connsiteX17" fmla="*/ 182418 w 265324"/>
                <a:gd name="connsiteY17" fmla="*/ 162212 h 182558"/>
                <a:gd name="connsiteX18" fmla="*/ 189834 w 265324"/>
                <a:gd name="connsiteY18" fmla="*/ 167156 h 182558"/>
                <a:gd name="connsiteX19" fmla="*/ 192496 w 265324"/>
                <a:gd name="connsiteY19" fmla="*/ 163163 h 182558"/>
                <a:gd name="connsiteX20" fmla="*/ 196299 w 265324"/>
                <a:gd name="connsiteY20" fmla="*/ 156317 h 182558"/>
                <a:gd name="connsiteX21" fmla="*/ 217596 w 265324"/>
                <a:gd name="connsiteY21" fmla="*/ 151563 h 182558"/>
                <a:gd name="connsiteX22" fmla="*/ 221780 w 265324"/>
                <a:gd name="connsiteY22" fmla="*/ 153275 h 182558"/>
                <a:gd name="connsiteX23" fmla="*/ 236802 w 265324"/>
                <a:gd name="connsiteY23" fmla="*/ 153275 h 182558"/>
                <a:gd name="connsiteX24" fmla="*/ 244788 w 265324"/>
                <a:gd name="connsiteY24" fmla="*/ 150802 h 182558"/>
                <a:gd name="connsiteX25" fmla="*/ 250303 w 265324"/>
                <a:gd name="connsiteY25" fmla="*/ 133308 h 182558"/>
                <a:gd name="connsiteX26" fmla="*/ 256768 w 265324"/>
                <a:gd name="connsiteY26" fmla="*/ 121709 h 182558"/>
                <a:gd name="connsiteX27" fmla="*/ 265325 w 265324"/>
                <a:gd name="connsiteY27" fmla="*/ 100982 h 182558"/>
                <a:gd name="connsiteX28" fmla="*/ 249542 w 265324"/>
                <a:gd name="connsiteY28" fmla="*/ 70748 h 182558"/>
                <a:gd name="connsiteX29" fmla="*/ 238703 w 265324"/>
                <a:gd name="connsiteY29" fmla="*/ 66184 h 182558"/>
                <a:gd name="connsiteX30" fmla="*/ 219688 w 265324"/>
                <a:gd name="connsiteY30" fmla="*/ 53444 h 182558"/>
                <a:gd name="connsiteX31" fmla="*/ 201813 w 265324"/>
                <a:gd name="connsiteY31" fmla="*/ 27963 h 182558"/>
                <a:gd name="connsiteX32" fmla="*/ 198961 w 265324"/>
                <a:gd name="connsiteY32" fmla="*/ 23970 h 182558"/>
                <a:gd name="connsiteX33" fmla="*/ 195919 w 265324"/>
                <a:gd name="connsiteY33" fmla="*/ 18265 h 182558"/>
                <a:gd name="connsiteX34" fmla="*/ 171199 w 265324"/>
                <a:gd name="connsiteY34" fmla="*/ 30055 h 182558"/>
                <a:gd name="connsiteX35" fmla="*/ 156367 w 265324"/>
                <a:gd name="connsiteY35" fmla="*/ 30055 h 182558"/>
                <a:gd name="connsiteX36" fmla="*/ 146098 w 265324"/>
                <a:gd name="connsiteY36" fmla="*/ 30055 h 182558"/>
                <a:gd name="connsiteX37" fmla="*/ 136781 w 265324"/>
                <a:gd name="connsiteY37" fmla="*/ 34048 h 182558"/>
                <a:gd name="connsiteX38" fmla="*/ 123090 w 265324"/>
                <a:gd name="connsiteY38" fmla="*/ 39372 h 182558"/>
                <a:gd name="connsiteX39" fmla="*/ 104074 w 265324"/>
                <a:gd name="connsiteY39" fmla="*/ 35759 h 182558"/>
                <a:gd name="connsiteX40" fmla="*/ 99891 w 265324"/>
                <a:gd name="connsiteY40" fmla="*/ 33478 h 182558"/>
                <a:gd name="connsiteX41" fmla="*/ 94567 w 265324"/>
                <a:gd name="connsiteY41" fmla="*/ 33478 h 182558"/>
                <a:gd name="connsiteX42" fmla="*/ 88101 w 265324"/>
                <a:gd name="connsiteY42" fmla="*/ 36520 h 182558"/>
                <a:gd name="connsiteX43" fmla="*/ 73079 w 265324"/>
                <a:gd name="connsiteY43" fmla="*/ 36520 h 182558"/>
                <a:gd name="connsiteX44" fmla="*/ 63001 w 265324"/>
                <a:gd name="connsiteY44" fmla="*/ 17505 h 182558"/>
                <a:gd name="connsiteX45" fmla="*/ 57677 w 265324"/>
                <a:gd name="connsiteY45" fmla="*/ 4194 h 182558"/>
                <a:gd name="connsiteX46" fmla="*/ 23829 w 265324"/>
                <a:gd name="connsiteY46" fmla="*/ 13511 h 182558"/>
                <a:gd name="connsiteX47" fmla="*/ 4814 w 265324"/>
                <a:gd name="connsiteY47" fmla="*/ 24730 h 182558"/>
                <a:gd name="connsiteX48" fmla="*/ 5955 w 265324"/>
                <a:gd name="connsiteY48" fmla="*/ 38231 h 182558"/>
                <a:gd name="connsiteX49" fmla="*/ 11089 w 265324"/>
                <a:gd name="connsiteY49" fmla="*/ 67515 h 182558"/>
                <a:gd name="connsiteX50" fmla="*/ 13941 w 265324"/>
                <a:gd name="connsiteY50" fmla="*/ 73980 h 182558"/>
                <a:gd name="connsiteX51" fmla="*/ 20026 w 265324"/>
                <a:gd name="connsiteY51" fmla="*/ 96418 h 182558"/>
                <a:gd name="connsiteX52" fmla="*/ 11089 w 265324"/>
                <a:gd name="connsiteY52" fmla="*/ 113532 h 182558"/>
                <a:gd name="connsiteX53" fmla="*/ 4814 w 265324"/>
                <a:gd name="connsiteY53" fmla="*/ 119998 h 182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65324" h="182558">
                  <a:moveTo>
                    <a:pt x="4814" y="119998"/>
                  </a:moveTo>
                  <a:cubicBezTo>
                    <a:pt x="534" y="126140"/>
                    <a:pt x="-984" y="133803"/>
                    <a:pt x="631" y="141105"/>
                  </a:cubicBezTo>
                  <a:cubicBezTo>
                    <a:pt x="1538" y="143558"/>
                    <a:pt x="2684" y="145915"/>
                    <a:pt x="4053" y="148140"/>
                  </a:cubicBezTo>
                  <a:cubicBezTo>
                    <a:pt x="7558" y="153427"/>
                    <a:pt x="9288" y="159683"/>
                    <a:pt x="8997" y="166015"/>
                  </a:cubicBezTo>
                  <a:cubicBezTo>
                    <a:pt x="8784" y="167593"/>
                    <a:pt x="8336" y="169133"/>
                    <a:pt x="7666" y="170579"/>
                  </a:cubicBezTo>
                  <a:cubicBezTo>
                    <a:pt x="10475" y="172727"/>
                    <a:pt x="13721" y="174210"/>
                    <a:pt x="17174" y="174952"/>
                  </a:cubicBezTo>
                  <a:cubicBezTo>
                    <a:pt x="21530" y="175427"/>
                    <a:pt x="25936" y="174971"/>
                    <a:pt x="30105" y="173621"/>
                  </a:cubicBezTo>
                  <a:cubicBezTo>
                    <a:pt x="36271" y="171795"/>
                    <a:pt x="42759" y="171358"/>
                    <a:pt x="49120" y="172290"/>
                  </a:cubicBezTo>
                  <a:cubicBezTo>
                    <a:pt x="52052" y="172956"/>
                    <a:pt x="54828" y="174191"/>
                    <a:pt x="57296" y="175903"/>
                  </a:cubicBezTo>
                  <a:cubicBezTo>
                    <a:pt x="58010" y="176568"/>
                    <a:pt x="58850" y="177082"/>
                    <a:pt x="59768" y="177424"/>
                  </a:cubicBezTo>
                  <a:cubicBezTo>
                    <a:pt x="62554" y="178375"/>
                    <a:pt x="65418" y="179059"/>
                    <a:pt x="68325" y="179516"/>
                  </a:cubicBezTo>
                  <a:lnTo>
                    <a:pt x="70988" y="179516"/>
                  </a:lnTo>
                  <a:cubicBezTo>
                    <a:pt x="74659" y="180314"/>
                    <a:pt x="78278" y="181322"/>
                    <a:pt x="81826" y="182558"/>
                  </a:cubicBezTo>
                  <a:cubicBezTo>
                    <a:pt x="81748" y="181740"/>
                    <a:pt x="81748" y="180904"/>
                    <a:pt x="81826" y="180086"/>
                  </a:cubicBezTo>
                  <a:cubicBezTo>
                    <a:pt x="87151" y="169247"/>
                    <a:pt x="102933" y="162592"/>
                    <a:pt x="115674" y="157078"/>
                  </a:cubicBezTo>
                  <a:cubicBezTo>
                    <a:pt x="118790" y="155918"/>
                    <a:pt x="121839" y="154587"/>
                    <a:pt x="124801" y="153084"/>
                  </a:cubicBezTo>
                  <a:cubicBezTo>
                    <a:pt x="141896" y="141200"/>
                    <a:pt x="165106" y="143634"/>
                    <a:pt x="179375" y="158789"/>
                  </a:cubicBezTo>
                  <a:cubicBezTo>
                    <a:pt x="180482" y="159835"/>
                    <a:pt x="181501" y="160995"/>
                    <a:pt x="182418" y="162212"/>
                  </a:cubicBezTo>
                  <a:cubicBezTo>
                    <a:pt x="186221" y="166395"/>
                    <a:pt x="187932" y="167726"/>
                    <a:pt x="189834" y="167156"/>
                  </a:cubicBezTo>
                  <a:cubicBezTo>
                    <a:pt x="191735" y="166585"/>
                    <a:pt x="191355" y="165825"/>
                    <a:pt x="192496" y="163163"/>
                  </a:cubicBezTo>
                  <a:cubicBezTo>
                    <a:pt x="193275" y="160633"/>
                    <a:pt x="194570" y="158314"/>
                    <a:pt x="196299" y="156317"/>
                  </a:cubicBezTo>
                  <a:cubicBezTo>
                    <a:pt x="200982" y="149281"/>
                    <a:pt x="210368" y="147189"/>
                    <a:pt x="217596" y="151563"/>
                  </a:cubicBezTo>
                  <a:lnTo>
                    <a:pt x="221780" y="153275"/>
                  </a:lnTo>
                  <a:cubicBezTo>
                    <a:pt x="226427" y="155956"/>
                    <a:pt x="232154" y="155956"/>
                    <a:pt x="236802" y="153275"/>
                  </a:cubicBezTo>
                  <a:cubicBezTo>
                    <a:pt x="239384" y="152210"/>
                    <a:pt x="242058" y="151392"/>
                    <a:pt x="244788" y="150802"/>
                  </a:cubicBezTo>
                  <a:cubicBezTo>
                    <a:pt x="246104" y="144813"/>
                    <a:pt x="247949" y="138956"/>
                    <a:pt x="250303" y="133308"/>
                  </a:cubicBezTo>
                  <a:cubicBezTo>
                    <a:pt x="252238" y="129315"/>
                    <a:pt x="254397" y="125455"/>
                    <a:pt x="256768" y="121709"/>
                  </a:cubicBezTo>
                  <a:cubicBezTo>
                    <a:pt x="261396" y="115681"/>
                    <a:pt x="264347" y="108531"/>
                    <a:pt x="265325" y="100982"/>
                  </a:cubicBezTo>
                  <a:cubicBezTo>
                    <a:pt x="263073" y="89592"/>
                    <a:pt x="257595" y="79095"/>
                    <a:pt x="249542" y="70748"/>
                  </a:cubicBezTo>
                  <a:cubicBezTo>
                    <a:pt x="246290" y="68485"/>
                    <a:pt x="242598" y="66926"/>
                    <a:pt x="238703" y="66184"/>
                  </a:cubicBezTo>
                  <a:cubicBezTo>
                    <a:pt x="230759" y="65043"/>
                    <a:pt x="223763" y="60365"/>
                    <a:pt x="219688" y="53444"/>
                  </a:cubicBezTo>
                  <a:cubicBezTo>
                    <a:pt x="214173" y="44506"/>
                    <a:pt x="208088" y="36520"/>
                    <a:pt x="201813" y="27963"/>
                  </a:cubicBezTo>
                  <a:lnTo>
                    <a:pt x="198961" y="23970"/>
                  </a:lnTo>
                  <a:cubicBezTo>
                    <a:pt x="197657" y="22239"/>
                    <a:pt x="196632" y="20319"/>
                    <a:pt x="195919" y="18265"/>
                  </a:cubicBezTo>
                  <a:cubicBezTo>
                    <a:pt x="188459" y="23665"/>
                    <a:pt x="180085" y="27659"/>
                    <a:pt x="171199" y="30055"/>
                  </a:cubicBezTo>
                  <a:cubicBezTo>
                    <a:pt x="166300" y="31005"/>
                    <a:pt x="161265" y="31005"/>
                    <a:pt x="156367" y="30055"/>
                  </a:cubicBezTo>
                  <a:cubicBezTo>
                    <a:pt x="152959" y="29598"/>
                    <a:pt x="149506" y="29598"/>
                    <a:pt x="146098" y="30055"/>
                  </a:cubicBezTo>
                  <a:cubicBezTo>
                    <a:pt x="142792" y="30853"/>
                    <a:pt x="139643" y="32203"/>
                    <a:pt x="136781" y="34048"/>
                  </a:cubicBezTo>
                  <a:cubicBezTo>
                    <a:pt x="132565" y="36615"/>
                    <a:pt x="127931" y="38421"/>
                    <a:pt x="123090" y="39372"/>
                  </a:cubicBezTo>
                  <a:cubicBezTo>
                    <a:pt x="116526" y="40304"/>
                    <a:pt x="109840" y="39030"/>
                    <a:pt x="104074" y="35759"/>
                  </a:cubicBezTo>
                  <a:lnTo>
                    <a:pt x="99891" y="33478"/>
                  </a:lnTo>
                  <a:cubicBezTo>
                    <a:pt x="96468" y="32527"/>
                    <a:pt x="96278" y="33478"/>
                    <a:pt x="94567" y="33478"/>
                  </a:cubicBezTo>
                  <a:cubicBezTo>
                    <a:pt x="92562" y="34790"/>
                    <a:pt x="90387" y="35816"/>
                    <a:pt x="88101" y="36520"/>
                  </a:cubicBezTo>
                  <a:cubicBezTo>
                    <a:pt x="83344" y="38745"/>
                    <a:pt x="77837" y="38745"/>
                    <a:pt x="73079" y="36520"/>
                  </a:cubicBezTo>
                  <a:cubicBezTo>
                    <a:pt x="67055" y="31994"/>
                    <a:pt x="63362" y="25035"/>
                    <a:pt x="63001" y="17505"/>
                  </a:cubicBezTo>
                  <a:cubicBezTo>
                    <a:pt x="62258" y="12713"/>
                    <a:pt x="60438" y="8168"/>
                    <a:pt x="57677" y="4194"/>
                  </a:cubicBezTo>
                  <a:cubicBezTo>
                    <a:pt x="47218" y="-5884"/>
                    <a:pt x="33527" y="4194"/>
                    <a:pt x="23829" y="13511"/>
                  </a:cubicBezTo>
                  <a:cubicBezTo>
                    <a:pt x="18615" y="18893"/>
                    <a:pt x="12046" y="22772"/>
                    <a:pt x="4814" y="24730"/>
                  </a:cubicBezTo>
                  <a:cubicBezTo>
                    <a:pt x="4814" y="29294"/>
                    <a:pt x="4814" y="33858"/>
                    <a:pt x="5955" y="38231"/>
                  </a:cubicBezTo>
                  <a:cubicBezTo>
                    <a:pt x="6048" y="48214"/>
                    <a:pt x="7782" y="58102"/>
                    <a:pt x="11089" y="67515"/>
                  </a:cubicBezTo>
                  <a:cubicBezTo>
                    <a:pt x="11089" y="69607"/>
                    <a:pt x="12991" y="71889"/>
                    <a:pt x="13941" y="73980"/>
                  </a:cubicBezTo>
                  <a:cubicBezTo>
                    <a:pt x="18262" y="80636"/>
                    <a:pt x="20390" y="88489"/>
                    <a:pt x="20026" y="96418"/>
                  </a:cubicBezTo>
                  <a:cubicBezTo>
                    <a:pt x="18826" y="102884"/>
                    <a:pt x="15714" y="108855"/>
                    <a:pt x="11089" y="113532"/>
                  </a:cubicBezTo>
                  <a:cubicBezTo>
                    <a:pt x="8047" y="116004"/>
                    <a:pt x="6335" y="117906"/>
                    <a:pt x="4814" y="119998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68" name="Полилиния: фигура 467">
              <a:extLst>
                <a:ext uri="{FF2B5EF4-FFF2-40B4-BE49-F238E27FC236}">
                  <a16:creationId xmlns:a16="http://schemas.microsoft.com/office/drawing/2014/main" id="{599103C4-1831-14B0-A56B-8B12DFA4A103}"/>
                </a:ext>
              </a:extLst>
            </p:cNvPr>
            <p:cNvSpPr/>
            <p:nvPr/>
          </p:nvSpPr>
          <p:spPr>
            <a:xfrm>
              <a:off x="4150256" y="3959338"/>
              <a:ext cx="234895" cy="300552"/>
            </a:xfrm>
            <a:custGeom>
              <a:avLst/>
              <a:gdLst>
                <a:gd name="connsiteX0" fmla="*/ 21678 w 258419"/>
                <a:gd name="connsiteY0" fmla="*/ 37039 h 329685"/>
                <a:gd name="connsiteX1" fmla="*/ 12930 w 258419"/>
                <a:gd name="connsiteY1" fmla="*/ 50540 h 329685"/>
                <a:gd name="connsiteX2" fmla="*/ 9318 w 258419"/>
                <a:gd name="connsiteY2" fmla="*/ 57005 h 329685"/>
                <a:gd name="connsiteX3" fmla="*/ 6846 w 258419"/>
                <a:gd name="connsiteY3" fmla="*/ 61189 h 329685"/>
                <a:gd name="connsiteX4" fmla="*/ 2852 w 258419"/>
                <a:gd name="connsiteY4" fmla="*/ 67844 h 329685"/>
                <a:gd name="connsiteX5" fmla="*/ 0 w 258419"/>
                <a:gd name="connsiteY5" fmla="*/ 80964 h 329685"/>
                <a:gd name="connsiteX6" fmla="*/ 2472 w 258419"/>
                <a:gd name="connsiteY6" fmla="*/ 85908 h 329685"/>
                <a:gd name="connsiteX7" fmla="*/ 5324 w 258419"/>
                <a:gd name="connsiteY7" fmla="*/ 89712 h 329685"/>
                <a:gd name="connsiteX8" fmla="*/ 24340 w 258419"/>
                <a:gd name="connsiteY8" fmla="*/ 115953 h 329685"/>
                <a:gd name="connsiteX9" fmla="*/ 36510 w 258419"/>
                <a:gd name="connsiteY9" fmla="*/ 123939 h 329685"/>
                <a:gd name="connsiteX10" fmla="*/ 50961 w 258419"/>
                <a:gd name="connsiteY10" fmla="*/ 130405 h 329685"/>
                <a:gd name="connsiteX11" fmla="*/ 70927 w 258419"/>
                <a:gd name="connsiteY11" fmla="*/ 168435 h 329685"/>
                <a:gd name="connsiteX12" fmla="*/ 60849 w 258419"/>
                <a:gd name="connsiteY12" fmla="*/ 195057 h 329685"/>
                <a:gd name="connsiteX13" fmla="*/ 55145 w 258419"/>
                <a:gd name="connsiteY13" fmla="*/ 205515 h 329685"/>
                <a:gd name="connsiteX14" fmla="*/ 50771 w 258419"/>
                <a:gd name="connsiteY14" fmla="*/ 218826 h 329685"/>
                <a:gd name="connsiteX15" fmla="*/ 58377 w 258419"/>
                <a:gd name="connsiteY15" fmla="*/ 226622 h 329685"/>
                <a:gd name="connsiteX16" fmla="*/ 65033 w 258419"/>
                <a:gd name="connsiteY16" fmla="*/ 235369 h 329685"/>
                <a:gd name="connsiteX17" fmla="*/ 73399 w 258419"/>
                <a:gd name="connsiteY17" fmla="*/ 238412 h 329685"/>
                <a:gd name="connsiteX18" fmla="*/ 85950 w 258419"/>
                <a:gd name="connsiteY18" fmla="*/ 241454 h 329685"/>
                <a:gd name="connsiteX19" fmla="*/ 95838 w 258419"/>
                <a:gd name="connsiteY19" fmla="*/ 266935 h 329685"/>
                <a:gd name="connsiteX20" fmla="*/ 95838 w 258419"/>
                <a:gd name="connsiteY20" fmla="*/ 271499 h 329685"/>
                <a:gd name="connsiteX21" fmla="*/ 95838 w 258419"/>
                <a:gd name="connsiteY21" fmla="*/ 272830 h 329685"/>
                <a:gd name="connsiteX22" fmla="*/ 92415 w 258419"/>
                <a:gd name="connsiteY22" fmla="*/ 300782 h 329685"/>
                <a:gd name="connsiteX23" fmla="*/ 86330 w 258419"/>
                <a:gd name="connsiteY23" fmla="*/ 309720 h 329685"/>
                <a:gd name="connsiteX24" fmla="*/ 79104 w 258419"/>
                <a:gd name="connsiteY24" fmla="*/ 322460 h 329685"/>
                <a:gd name="connsiteX25" fmla="*/ 77963 w 258419"/>
                <a:gd name="connsiteY25" fmla="*/ 329686 h 329685"/>
                <a:gd name="connsiteX26" fmla="*/ 81196 w 258419"/>
                <a:gd name="connsiteY26" fmla="*/ 328545 h 329685"/>
                <a:gd name="connsiteX27" fmla="*/ 86330 w 258419"/>
                <a:gd name="connsiteY27" fmla="*/ 326453 h 329685"/>
                <a:gd name="connsiteX28" fmla="*/ 93175 w 258419"/>
                <a:gd name="connsiteY28" fmla="*/ 319227 h 329685"/>
                <a:gd name="connsiteX29" fmla="*/ 119797 w 258419"/>
                <a:gd name="connsiteY29" fmla="*/ 308313 h 329685"/>
                <a:gd name="connsiteX30" fmla="*/ 123980 w 258419"/>
                <a:gd name="connsiteY30" fmla="*/ 310670 h 329685"/>
                <a:gd name="connsiteX31" fmla="*/ 127974 w 258419"/>
                <a:gd name="connsiteY31" fmla="*/ 312192 h 329685"/>
                <a:gd name="connsiteX32" fmla="*/ 150222 w 258419"/>
                <a:gd name="connsiteY32" fmla="*/ 314093 h 329685"/>
                <a:gd name="connsiteX33" fmla="*/ 158588 w 258419"/>
                <a:gd name="connsiteY33" fmla="*/ 310100 h 329685"/>
                <a:gd name="connsiteX34" fmla="*/ 174181 w 258419"/>
                <a:gd name="connsiteY34" fmla="*/ 304395 h 329685"/>
                <a:gd name="connsiteX35" fmla="*/ 190534 w 258419"/>
                <a:gd name="connsiteY35" fmla="*/ 309339 h 329685"/>
                <a:gd name="connsiteX36" fmla="*/ 198330 w 258419"/>
                <a:gd name="connsiteY36" fmla="*/ 312762 h 329685"/>
                <a:gd name="connsiteX37" fmla="*/ 203845 w 258419"/>
                <a:gd name="connsiteY37" fmla="*/ 309339 h 329685"/>
                <a:gd name="connsiteX38" fmla="*/ 210881 w 258419"/>
                <a:gd name="connsiteY38" fmla="*/ 304395 h 329685"/>
                <a:gd name="connsiteX39" fmla="*/ 244538 w 258419"/>
                <a:gd name="connsiteY39" fmla="*/ 300782 h 329685"/>
                <a:gd name="connsiteX40" fmla="*/ 251764 w 258419"/>
                <a:gd name="connsiteY40" fmla="*/ 278534 h 329685"/>
                <a:gd name="connsiteX41" fmla="*/ 258419 w 258419"/>
                <a:gd name="connsiteY41" fmla="*/ 254195 h 329685"/>
                <a:gd name="connsiteX42" fmla="*/ 252334 w 258419"/>
                <a:gd name="connsiteY42" fmla="*/ 245257 h 329685"/>
                <a:gd name="connsiteX43" fmla="*/ 244348 w 258419"/>
                <a:gd name="connsiteY43" fmla="*/ 239743 h 329685"/>
                <a:gd name="connsiteX44" fmla="*/ 236361 w 258419"/>
                <a:gd name="connsiteY44" fmla="*/ 227003 h 329685"/>
                <a:gd name="connsiteX45" fmla="*/ 233699 w 258419"/>
                <a:gd name="connsiteY45" fmla="*/ 221298 h 329685"/>
                <a:gd name="connsiteX46" fmla="*/ 232178 w 258419"/>
                <a:gd name="connsiteY46" fmla="*/ 221298 h 329685"/>
                <a:gd name="connsiteX47" fmla="*/ 227234 w 258419"/>
                <a:gd name="connsiteY47" fmla="*/ 215974 h 329685"/>
                <a:gd name="connsiteX48" fmla="*/ 225332 w 258419"/>
                <a:gd name="connsiteY48" fmla="*/ 206656 h 329685"/>
                <a:gd name="connsiteX49" fmla="*/ 225332 w 258419"/>
                <a:gd name="connsiteY49" fmla="*/ 202663 h 329685"/>
                <a:gd name="connsiteX50" fmla="*/ 220959 w 258419"/>
                <a:gd name="connsiteY50" fmla="*/ 196198 h 329685"/>
                <a:gd name="connsiteX51" fmla="*/ 214494 w 258419"/>
                <a:gd name="connsiteY51" fmla="*/ 185169 h 329685"/>
                <a:gd name="connsiteX52" fmla="*/ 227424 w 258419"/>
                <a:gd name="connsiteY52" fmla="*/ 137250 h 329685"/>
                <a:gd name="connsiteX53" fmla="*/ 232368 w 258419"/>
                <a:gd name="connsiteY53" fmla="*/ 128313 h 329685"/>
                <a:gd name="connsiteX54" fmla="*/ 257468 w 258419"/>
                <a:gd name="connsiteY54" fmla="*/ 97128 h 329685"/>
                <a:gd name="connsiteX55" fmla="*/ 257468 w 258419"/>
                <a:gd name="connsiteY55" fmla="*/ 97128 h 329685"/>
                <a:gd name="connsiteX56" fmla="*/ 257468 w 258419"/>
                <a:gd name="connsiteY56" fmla="*/ 95036 h 329685"/>
                <a:gd name="connsiteX57" fmla="*/ 257468 w 258419"/>
                <a:gd name="connsiteY57" fmla="*/ 95036 h 329685"/>
                <a:gd name="connsiteX58" fmla="*/ 251954 w 258419"/>
                <a:gd name="connsiteY58" fmla="*/ 82486 h 329685"/>
                <a:gd name="connsiteX59" fmla="*/ 243967 w 258419"/>
                <a:gd name="connsiteY59" fmla="*/ 67273 h 329685"/>
                <a:gd name="connsiteX60" fmla="*/ 222480 w 258419"/>
                <a:gd name="connsiteY60" fmla="*/ 57766 h 329685"/>
                <a:gd name="connsiteX61" fmla="*/ 208409 w 258419"/>
                <a:gd name="connsiteY61" fmla="*/ 53773 h 329685"/>
                <a:gd name="connsiteX62" fmla="*/ 188442 w 258419"/>
                <a:gd name="connsiteY62" fmla="*/ 51110 h 329685"/>
                <a:gd name="connsiteX63" fmla="*/ 169427 w 258419"/>
                <a:gd name="connsiteY63" fmla="*/ 49209 h 329685"/>
                <a:gd name="connsiteX64" fmla="*/ 152503 w 258419"/>
                <a:gd name="connsiteY64" fmla="*/ 40652 h 329685"/>
                <a:gd name="connsiteX65" fmla="*/ 147559 w 258419"/>
                <a:gd name="connsiteY65" fmla="*/ 37419 h 329685"/>
                <a:gd name="connsiteX66" fmla="*/ 136530 w 258419"/>
                <a:gd name="connsiteY66" fmla="*/ 32666 h 329685"/>
                <a:gd name="connsiteX67" fmla="*/ 128734 w 258419"/>
                <a:gd name="connsiteY67" fmla="*/ 29813 h 329685"/>
                <a:gd name="connsiteX68" fmla="*/ 112191 w 258419"/>
                <a:gd name="connsiteY68" fmla="*/ 13460 h 329685"/>
                <a:gd name="connsiteX69" fmla="*/ 105155 w 258419"/>
                <a:gd name="connsiteY69" fmla="*/ 3382 h 329685"/>
                <a:gd name="connsiteX70" fmla="*/ 84809 w 258419"/>
                <a:gd name="connsiteY70" fmla="*/ 3382 h 329685"/>
                <a:gd name="connsiteX71" fmla="*/ 80815 w 258419"/>
                <a:gd name="connsiteY71" fmla="*/ 4713 h 329685"/>
                <a:gd name="connsiteX72" fmla="*/ 46398 w 258419"/>
                <a:gd name="connsiteY72" fmla="*/ 10418 h 329685"/>
                <a:gd name="connsiteX73" fmla="*/ 46398 w 258419"/>
                <a:gd name="connsiteY73" fmla="*/ 10418 h 329685"/>
                <a:gd name="connsiteX74" fmla="*/ 43926 w 258419"/>
                <a:gd name="connsiteY74" fmla="*/ 16692 h 329685"/>
                <a:gd name="connsiteX75" fmla="*/ 38031 w 258419"/>
                <a:gd name="connsiteY75" fmla="*/ 28482 h 329685"/>
                <a:gd name="connsiteX76" fmla="*/ 26812 w 258419"/>
                <a:gd name="connsiteY76" fmla="*/ 34947 h 329685"/>
                <a:gd name="connsiteX77" fmla="*/ 21678 w 258419"/>
                <a:gd name="connsiteY77" fmla="*/ 37039 h 32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258419" h="329685">
                  <a:moveTo>
                    <a:pt x="21678" y="37039"/>
                  </a:moveTo>
                  <a:cubicBezTo>
                    <a:pt x="18055" y="41032"/>
                    <a:pt x="15102" y="45596"/>
                    <a:pt x="12930" y="50540"/>
                  </a:cubicBezTo>
                  <a:cubicBezTo>
                    <a:pt x="11790" y="52822"/>
                    <a:pt x="10458" y="55104"/>
                    <a:pt x="9318" y="57005"/>
                  </a:cubicBezTo>
                  <a:lnTo>
                    <a:pt x="6846" y="61189"/>
                  </a:lnTo>
                  <a:lnTo>
                    <a:pt x="2852" y="67844"/>
                  </a:lnTo>
                  <a:lnTo>
                    <a:pt x="0" y="80964"/>
                  </a:lnTo>
                  <a:cubicBezTo>
                    <a:pt x="470" y="82771"/>
                    <a:pt x="1312" y="84444"/>
                    <a:pt x="2472" y="85908"/>
                  </a:cubicBezTo>
                  <a:lnTo>
                    <a:pt x="5324" y="89712"/>
                  </a:lnTo>
                  <a:cubicBezTo>
                    <a:pt x="11790" y="98459"/>
                    <a:pt x="17874" y="106635"/>
                    <a:pt x="24340" y="115953"/>
                  </a:cubicBezTo>
                  <a:cubicBezTo>
                    <a:pt x="26876" y="120421"/>
                    <a:pt x="31406" y="123388"/>
                    <a:pt x="36510" y="123939"/>
                  </a:cubicBezTo>
                  <a:cubicBezTo>
                    <a:pt x="41762" y="124947"/>
                    <a:pt x="46707" y="127153"/>
                    <a:pt x="50961" y="130405"/>
                  </a:cubicBezTo>
                  <a:cubicBezTo>
                    <a:pt x="61591" y="140559"/>
                    <a:pt x="68604" y="153927"/>
                    <a:pt x="70927" y="168435"/>
                  </a:cubicBezTo>
                  <a:cubicBezTo>
                    <a:pt x="70307" y="178114"/>
                    <a:pt x="66795" y="187394"/>
                    <a:pt x="60849" y="195057"/>
                  </a:cubicBezTo>
                  <a:cubicBezTo>
                    <a:pt x="58769" y="198442"/>
                    <a:pt x="56866" y="201940"/>
                    <a:pt x="55145" y="205515"/>
                  </a:cubicBezTo>
                  <a:cubicBezTo>
                    <a:pt x="53317" y="209813"/>
                    <a:pt x="51855" y="214281"/>
                    <a:pt x="50771" y="218826"/>
                  </a:cubicBezTo>
                  <a:cubicBezTo>
                    <a:pt x="54063" y="220556"/>
                    <a:pt x="56725" y="223295"/>
                    <a:pt x="58377" y="226622"/>
                  </a:cubicBezTo>
                  <a:cubicBezTo>
                    <a:pt x="60336" y="229722"/>
                    <a:pt x="62563" y="232650"/>
                    <a:pt x="65033" y="235369"/>
                  </a:cubicBezTo>
                  <a:cubicBezTo>
                    <a:pt x="67181" y="237651"/>
                    <a:pt x="70287" y="238773"/>
                    <a:pt x="73399" y="238412"/>
                  </a:cubicBezTo>
                  <a:cubicBezTo>
                    <a:pt x="77798" y="238108"/>
                    <a:pt x="82183" y="239173"/>
                    <a:pt x="85950" y="241454"/>
                  </a:cubicBezTo>
                  <a:cubicBezTo>
                    <a:pt x="94506" y="246779"/>
                    <a:pt x="95267" y="258378"/>
                    <a:pt x="95838" y="266935"/>
                  </a:cubicBezTo>
                  <a:cubicBezTo>
                    <a:pt x="95735" y="268456"/>
                    <a:pt x="95735" y="269977"/>
                    <a:pt x="95838" y="271499"/>
                  </a:cubicBezTo>
                  <a:lnTo>
                    <a:pt x="95838" y="272830"/>
                  </a:lnTo>
                  <a:cubicBezTo>
                    <a:pt x="97809" y="282261"/>
                    <a:pt x="96606" y="292092"/>
                    <a:pt x="92415" y="300782"/>
                  </a:cubicBezTo>
                  <a:cubicBezTo>
                    <a:pt x="90586" y="303901"/>
                    <a:pt x="88553" y="306886"/>
                    <a:pt x="86330" y="309720"/>
                  </a:cubicBezTo>
                  <a:cubicBezTo>
                    <a:pt x="83118" y="313466"/>
                    <a:pt x="80665" y="317782"/>
                    <a:pt x="79104" y="322460"/>
                  </a:cubicBezTo>
                  <a:cubicBezTo>
                    <a:pt x="78539" y="324837"/>
                    <a:pt x="78157" y="327252"/>
                    <a:pt x="77963" y="329686"/>
                  </a:cubicBezTo>
                  <a:cubicBezTo>
                    <a:pt x="78975" y="329134"/>
                    <a:pt x="80066" y="328754"/>
                    <a:pt x="81196" y="328545"/>
                  </a:cubicBezTo>
                  <a:lnTo>
                    <a:pt x="86330" y="326453"/>
                  </a:lnTo>
                  <a:cubicBezTo>
                    <a:pt x="89292" y="324799"/>
                    <a:pt x="91679" y="322270"/>
                    <a:pt x="93175" y="319227"/>
                  </a:cubicBezTo>
                  <a:cubicBezTo>
                    <a:pt x="97511" y="308864"/>
                    <a:pt x="109430" y="303977"/>
                    <a:pt x="119797" y="308313"/>
                  </a:cubicBezTo>
                  <a:cubicBezTo>
                    <a:pt x="121280" y="308921"/>
                    <a:pt x="122683" y="309720"/>
                    <a:pt x="123980" y="310670"/>
                  </a:cubicBezTo>
                  <a:lnTo>
                    <a:pt x="127974" y="312192"/>
                  </a:lnTo>
                  <a:cubicBezTo>
                    <a:pt x="134910" y="315519"/>
                    <a:pt x="142821" y="316185"/>
                    <a:pt x="150222" y="314093"/>
                  </a:cubicBezTo>
                  <a:cubicBezTo>
                    <a:pt x="153135" y="313047"/>
                    <a:pt x="155938" y="311697"/>
                    <a:pt x="158588" y="310100"/>
                  </a:cubicBezTo>
                  <a:cubicBezTo>
                    <a:pt x="163346" y="307153"/>
                    <a:pt x="168651" y="305213"/>
                    <a:pt x="174181" y="304395"/>
                  </a:cubicBezTo>
                  <a:cubicBezTo>
                    <a:pt x="180047" y="304053"/>
                    <a:pt x="185843" y="305802"/>
                    <a:pt x="190534" y="309339"/>
                  </a:cubicBezTo>
                  <a:cubicBezTo>
                    <a:pt x="192841" y="311051"/>
                    <a:pt x="195507" y="312230"/>
                    <a:pt x="198330" y="312762"/>
                  </a:cubicBezTo>
                  <a:cubicBezTo>
                    <a:pt x="200232" y="312762"/>
                    <a:pt x="201563" y="311431"/>
                    <a:pt x="203845" y="309339"/>
                  </a:cubicBezTo>
                  <a:cubicBezTo>
                    <a:pt x="205965" y="307400"/>
                    <a:pt x="208331" y="305726"/>
                    <a:pt x="210881" y="304395"/>
                  </a:cubicBezTo>
                  <a:cubicBezTo>
                    <a:pt x="221685" y="300687"/>
                    <a:pt x="233190" y="299451"/>
                    <a:pt x="244538" y="300782"/>
                  </a:cubicBezTo>
                  <a:cubicBezTo>
                    <a:pt x="245818" y="293043"/>
                    <a:pt x="248253" y="285551"/>
                    <a:pt x="251764" y="278534"/>
                  </a:cubicBezTo>
                  <a:cubicBezTo>
                    <a:pt x="255770" y="271023"/>
                    <a:pt x="258044" y="262695"/>
                    <a:pt x="258419" y="254195"/>
                  </a:cubicBezTo>
                  <a:cubicBezTo>
                    <a:pt x="258419" y="248110"/>
                    <a:pt x="256518" y="247349"/>
                    <a:pt x="252334" y="245257"/>
                  </a:cubicBezTo>
                  <a:cubicBezTo>
                    <a:pt x="249490" y="243698"/>
                    <a:pt x="246812" y="241854"/>
                    <a:pt x="244348" y="239743"/>
                  </a:cubicBezTo>
                  <a:cubicBezTo>
                    <a:pt x="240759" y="236149"/>
                    <a:pt x="238029" y="231795"/>
                    <a:pt x="236361" y="227003"/>
                  </a:cubicBezTo>
                  <a:cubicBezTo>
                    <a:pt x="235633" y="225025"/>
                    <a:pt x="234743" y="223123"/>
                    <a:pt x="233699" y="221298"/>
                  </a:cubicBezTo>
                  <a:lnTo>
                    <a:pt x="232178" y="221298"/>
                  </a:lnTo>
                  <a:cubicBezTo>
                    <a:pt x="230075" y="220005"/>
                    <a:pt x="228365" y="218160"/>
                    <a:pt x="227234" y="215974"/>
                  </a:cubicBezTo>
                  <a:cubicBezTo>
                    <a:pt x="225770" y="213102"/>
                    <a:pt x="225114" y="209870"/>
                    <a:pt x="225332" y="206656"/>
                  </a:cubicBezTo>
                  <a:cubicBezTo>
                    <a:pt x="225559" y="205344"/>
                    <a:pt x="225559" y="203975"/>
                    <a:pt x="225332" y="202663"/>
                  </a:cubicBezTo>
                  <a:cubicBezTo>
                    <a:pt x="224186" y="200305"/>
                    <a:pt x="222714" y="198137"/>
                    <a:pt x="220959" y="196198"/>
                  </a:cubicBezTo>
                  <a:cubicBezTo>
                    <a:pt x="218133" y="192965"/>
                    <a:pt x="215941" y="189219"/>
                    <a:pt x="214494" y="185169"/>
                  </a:cubicBezTo>
                  <a:cubicBezTo>
                    <a:pt x="212423" y="168131"/>
                    <a:pt x="217061" y="150941"/>
                    <a:pt x="227424" y="137250"/>
                  </a:cubicBezTo>
                  <a:cubicBezTo>
                    <a:pt x="229326" y="134018"/>
                    <a:pt x="231037" y="130975"/>
                    <a:pt x="232368" y="128313"/>
                  </a:cubicBezTo>
                  <a:cubicBezTo>
                    <a:pt x="237683" y="115801"/>
                    <a:pt x="246373" y="105000"/>
                    <a:pt x="257468" y="97128"/>
                  </a:cubicBezTo>
                  <a:lnTo>
                    <a:pt x="257468" y="97128"/>
                  </a:lnTo>
                  <a:cubicBezTo>
                    <a:pt x="257375" y="96443"/>
                    <a:pt x="257375" y="95740"/>
                    <a:pt x="257468" y="95036"/>
                  </a:cubicBezTo>
                  <a:lnTo>
                    <a:pt x="257468" y="95036"/>
                  </a:lnTo>
                  <a:cubicBezTo>
                    <a:pt x="255236" y="91043"/>
                    <a:pt x="253389" y="86840"/>
                    <a:pt x="251954" y="82486"/>
                  </a:cubicBezTo>
                  <a:cubicBezTo>
                    <a:pt x="250378" y="76914"/>
                    <a:pt x="247658" y="71742"/>
                    <a:pt x="243967" y="67273"/>
                  </a:cubicBezTo>
                  <a:cubicBezTo>
                    <a:pt x="237827" y="62177"/>
                    <a:pt x="230387" y="58869"/>
                    <a:pt x="222480" y="57766"/>
                  </a:cubicBezTo>
                  <a:cubicBezTo>
                    <a:pt x="217701" y="56758"/>
                    <a:pt x="213001" y="55427"/>
                    <a:pt x="208409" y="53773"/>
                  </a:cubicBezTo>
                  <a:cubicBezTo>
                    <a:pt x="201995" y="51567"/>
                    <a:pt x="195208" y="50673"/>
                    <a:pt x="188442" y="51110"/>
                  </a:cubicBezTo>
                  <a:cubicBezTo>
                    <a:pt x="182053" y="51186"/>
                    <a:pt x="175674" y="50559"/>
                    <a:pt x="169427" y="49209"/>
                  </a:cubicBezTo>
                  <a:cubicBezTo>
                    <a:pt x="163296" y="47440"/>
                    <a:pt x="157554" y="44550"/>
                    <a:pt x="152503" y="40652"/>
                  </a:cubicBezTo>
                  <a:lnTo>
                    <a:pt x="147559" y="37419"/>
                  </a:lnTo>
                  <a:cubicBezTo>
                    <a:pt x="144083" y="35404"/>
                    <a:pt x="140381" y="33806"/>
                    <a:pt x="136530" y="32666"/>
                  </a:cubicBezTo>
                  <a:lnTo>
                    <a:pt x="128734" y="29813"/>
                  </a:lnTo>
                  <a:cubicBezTo>
                    <a:pt x="121316" y="26694"/>
                    <a:pt x="115389" y="20838"/>
                    <a:pt x="112191" y="13460"/>
                  </a:cubicBezTo>
                  <a:cubicBezTo>
                    <a:pt x="110407" y="9733"/>
                    <a:pt x="108032" y="6329"/>
                    <a:pt x="105155" y="3382"/>
                  </a:cubicBezTo>
                  <a:cubicBezTo>
                    <a:pt x="99641" y="-1943"/>
                    <a:pt x="94126" y="-231"/>
                    <a:pt x="84809" y="3382"/>
                  </a:cubicBezTo>
                  <a:lnTo>
                    <a:pt x="80815" y="4713"/>
                  </a:lnTo>
                  <a:cubicBezTo>
                    <a:pt x="69828" y="8858"/>
                    <a:pt x="58134" y="10798"/>
                    <a:pt x="46398" y="10418"/>
                  </a:cubicBezTo>
                  <a:lnTo>
                    <a:pt x="46398" y="10418"/>
                  </a:lnTo>
                  <a:cubicBezTo>
                    <a:pt x="45428" y="12452"/>
                    <a:pt x="44601" y="14544"/>
                    <a:pt x="43926" y="16692"/>
                  </a:cubicBezTo>
                  <a:cubicBezTo>
                    <a:pt x="42739" y="20971"/>
                    <a:pt x="40737" y="24964"/>
                    <a:pt x="38031" y="28482"/>
                  </a:cubicBezTo>
                  <a:cubicBezTo>
                    <a:pt x="34895" y="31543"/>
                    <a:pt x="31035" y="33768"/>
                    <a:pt x="26812" y="34947"/>
                  </a:cubicBezTo>
                  <a:cubicBezTo>
                    <a:pt x="25039" y="35480"/>
                    <a:pt x="23320" y="36183"/>
                    <a:pt x="21678" y="3703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69" name="Полилиния: фигура 468">
              <a:extLst>
                <a:ext uri="{FF2B5EF4-FFF2-40B4-BE49-F238E27FC236}">
                  <a16:creationId xmlns:a16="http://schemas.microsoft.com/office/drawing/2014/main" id="{B4B99AC9-A1FE-DBDF-AA0F-9B2938ADD599}"/>
                </a:ext>
              </a:extLst>
            </p:cNvPr>
            <p:cNvSpPr/>
            <p:nvPr/>
          </p:nvSpPr>
          <p:spPr>
            <a:xfrm>
              <a:off x="4183788" y="4243618"/>
              <a:ext cx="267390" cy="206339"/>
            </a:xfrm>
            <a:custGeom>
              <a:avLst/>
              <a:gdLst>
                <a:gd name="connsiteX0" fmla="*/ 34798 w 294168"/>
                <a:gd name="connsiteY0" fmla="*/ 167692 h 226340"/>
                <a:gd name="connsiteX1" fmla="*/ 36510 w 294168"/>
                <a:gd name="connsiteY1" fmla="*/ 170544 h 226340"/>
                <a:gd name="connsiteX2" fmla="*/ 38982 w 294168"/>
                <a:gd name="connsiteY2" fmla="*/ 174728 h 226340"/>
                <a:gd name="connsiteX3" fmla="*/ 42975 w 294168"/>
                <a:gd name="connsiteY3" fmla="*/ 177200 h 226340"/>
                <a:gd name="connsiteX4" fmla="*/ 48109 w 294168"/>
                <a:gd name="connsiteY4" fmla="*/ 178721 h 226340"/>
                <a:gd name="connsiteX5" fmla="*/ 61610 w 294168"/>
                <a:gd name="connsiteY5" fmla="*/ 180242 h 226340"/>
                <a:gd name="connsiteX6" fmla="*/ 64842 w 294168"/>
                <a:gd name="connsiteY6" fmla="*/ 180242 h 226340"/>
                <a:gd name="connsiteX7" fmla="*/ 70737 w 294168"/>
                <a:gd name="connsiteY7" fmla="*/ 178911 h 226340"/>
                <a:gd name="connsiteX8" fmla="*/ 94887 w 294168"/>
                <a:gd name="connsiteY8" fmla="*/ 192032 h 226340"/>
                <a:gd name="connsiteX9" fmla="*/ 98880 w 294168"/>
                <a:gd name="connsiteY9" fmla="*/ 197927 h 226340"/>
                <a:gd name="connsiteX10" fmla="*/ 108007 w 294168"/>
                <a:gd name="connsiteY10" fmla="*/ 208955 h 226340"/>
                <a:gd name="connsiteX11" fmla="*/ 122839 w 294168"/>
                <a:gd name="connsiteY11" fmla="*/ 212568 h 226340"/>
                <a:gd name="connsiteX12" fmla="*/ 136150 w 294168"/>
                <a:gd name="connsiteY12" fmla="*/ 205152 h 226340"/>
                <a:gd name="connsiteX13" fmla="*/ 142045 w 294168"/>
                <a:gd name="connsiteY13" fmla="*/ 198497 h 226340"/>
                <a:gd name="connsiteX14" fmla="*/ 154025 w 294168"/>
                <a:gd name="connsiteY14" fmla="*/ 199828 h 226340"/>
                <a:gd name="connsiteX15" fmla="*/ 199091 w 294168"/>
                <a:gd name="connsiteY15" fmla="*/ 226260 h 226340"/>
                <a:gd name="connsiteX16" fmla="*/ 199091 w 294168"/>
                <a:gd name="connsiteY16" fmla="*/ 226260 h 226340"/>
                <a:gd name="connsiteX17" fmla="*/ 203845 w 294168"/>
                <a:gd name="connsiteY17" fmla="*/ 226260 h 226340"/>
                <a:gd name="connsiteX18" fmla="*/ 218487 w 294168"/>
                <a:gd name="connsiteY18" fmla="*/ 221315 h 226340"/>
                <a:gd name="connsiteX19" fmla="*/ 229135 w 294168"/>
                <a:gd name="connsiteY19" fmla="*/ 207054 h 226340"/>
                <a:gd name="connsiteX20" fmla="*/ 236742 w 294168"/>
                <a:gd name="connsiteY20" fmla="*/ 196215 h 226340"/>
                <a:gd name="connsiteX21" fmla="*/ 254616 w 294168"/>
                <a:gd name="connsiteY21" fmla="*/ 182524 h 226340"/>
                <a:gd name="connsiteX22" fmla="*/ 270969 w 294168"/>
                <a:gd name="connsiteY22" fmla="*/ 168833 h 226340"/>
                <a:gd name="connsiteX23" fmla="*/ 274962 w 294168"/>
                <a:gd name="connsiteY23" fmla="*/ 159706 h 226340"/>
                <a:gd name="connsiteX24" fmla="*/ 284280 w 294168"/>
                <a:gd name="connsiteY24" fmla="*/ 143162 h 226340"/>
                <a:gd name="connsiteX25" fmla="*/ 285991 w 294168"/>
                <a:gd name="connsiteY25" fmla="*/ 141641 h 226340"/>
                <a:gd name="connsiteX26" fmla="*/ 288463 w 294168"/>
                <a:gd name="connsiteY26" fmla="*/ 139359 h 226340"/>
                <a:gd name="connsiteX27" fmla="*/ 294168 w 294168"/>
                <a:gd name="connsiteY27" fmla="*/ 133084 h 226340"/>
                <a:gd name="connsiteX28" fmla="*/ 292267 w 294168"/>
                <a:gd name="connsiteY28" fmla="*/ 127570 h 226340"/>
                <a:gd name="connsiteX29" fmla="*/ 285801 w 294168"/>
                <a:gd name="connsiteY29" fmla="*/ 121485 h 226340"/>
                <a:gd name="connsiteX30" fmla="*/ 272681 w 294168"/>
                <a:gd name="connsiteY30" fmla="*/ 99807 h 226340"/>
                <a:gd name="connsiteX31" fmla="*/ 274962 w 294168"/>
                <a:gd name="connsiteY31" fmla="*/ 89349 h 226340"/>
                <a:gd name="connsiteX32" fmla="*/ 251003 w 294168"/>
                <a:gd name="connsiteY32" fmla="*/ 63868 h 226340"/>
                <a:gd name="connsiteX33" fmla="*/ 245679 w 294168"/>
                <a:gd name="connsiteY33" fmla="*/ 49987 h 226340"/>
                <a:gd name="connsiteX34" fmla="*/ 242446 w 294168"/>
                <a:gd name="connsiteY34" fmla="*/ 40669 h 226340"/>
                <a:gd name="connsiteX35" fmla="*/ 236361 w 294168"/>
                <a:gd name="connsiteY35" fmla="*/ 37817 h 226340"/>
                <a:gd name="connsiteX36" fmla="*/ 227614 w 294168"/>
                <a:gd name="connsiteY36" fmla="*/ 34584 h 226340"/>
                <a:gd name="connsiteX37" fmla="*/ 220388 w 294168"/>
                <a:gd name="connsiteY37" fmla="*/ 20513 h 226340"/>
                <a:gd name="connsiteX38" fmla="*/ 220388 w 294168"/>
                <a:gd name="connsiteY38" fmla="*/ 15569 h 226340"/>
                <a:gd name="connsiteX39" fmla="*/ 216585 w 294168"/>
                <a:gd name="connsiteY39" fmla="*/ 11766 h 226340"/>
                <a:gd name="connsiteX40" fmla="*/ 208409 w 294168"/>
                <a:gd name="connsiteY40" fmla="*/ 547 h 226340"/>
                <a:gd name="connsiteX41" fmla="*/ 178935 w 294168"/>
                <a:gd name="connsiteY41" fmla="*/ 3209 h 226340"/>
                <a:gd name="connsiteX42" fmla="*/ 174942 w 294168"/>
                <a:gd name="connsiteY42" fmla="*/ 6251 h 226340"/>
                <a:gd name="connsiteX43" fmla="*/ 161821 w 294168"/>
                <a:gd name="connsiteY43" fmla="*/ 12336 h 226340"/>
                <a:gd name="connsiteX44" fmla="*/ 148700 w 294168"/>
                <a:gd name="connsiteY44" fmla="*/ 7583 h 226340"/>
                <a:gd name="connsiteX45" fmla="*/ 139193 w 294168"/>
                <a:gd name="connsiteY45" fmla="*/ 3970 h 226340"/>
                <a:gd name="connsiteX46" fmla="*/ 127593 w 294168"/>
                <a:gd name="connsiteY46" fmla="*/ 8533 h 226340"/>
                <a:gd name="connsiteX47" fmla="*/ 117325 w 294168"/>
                <a:gd name="connsiteY47" fmla="*/ 13287 h 226340"/>
                <a:gd name="connsiteX48" fmla="*/ 88612 w 294168"/>
                <a:gd name="connsiteY48" fmla="*/ 11386 h 226340"/>
                <a:gd name="connsiteX49" fmla="*/ 83858 w 294168"/>
                <a:gd name="connsiteY49" fmla="*/ 9674 h 226340"/>
                <a:gd name="connsiteX50" fmla="*/ 71498 w 294168"/>
                <a:gd name="connsiteY50" fmla="*/ 7583 h 226340"/>
                <a:gd name="connsiteX51" fmla="*/ 66174 w 294168"/>
                <a:gd name="connsiteY51" fmla="*/ 13667 h 226340"/>
                <a:gd name="connsiteX52" fmla="*/ 54954 w 294168"/>
                <a:gd name="connsiteY52" fmla="*/ 25077 h 226340"/>
                <a:gd name="connsiteX53" fmla="*/ 46968 w 294168"/>
                <a:gd name="connsiteY53" fmla="*/ 27358 h 226340"/>
                <a:gd name="connsiteX54" fmla="*/ 40693 w 294168"/>
                <a:gd name="connsiteY54" fmla="*/ 30021 h 226340"/>
                <a:gd name="connsiteX55" fmla="*/ 32136 w 294168"/>
                <a:gd name="connsiteY55" fmla="*/ 41430 h 226340"/>
                <a:gd name="connsiteX56" fmla="*/ 29284 w 294168"/>
                <a:gd name="connsiteY56" fmla="*/ 47515 h 226340"/>
                <a:gd name="connsiteX57" fmla="*/ 25671 w 294168"/>
                <a:gd name="connsiteY57" fmla="*/ 55311 h 226340"/>
                <a:gd name="connsiteX58" fmla="*/ 21297 w 294168"/>
                <a:gd name="connsiteY58" fmla="*/ 64248 h 226340"/>
                <a:gd name="connsiteX59" fmla="*/ 0 w 294168"/>
                <a:gd name="connsiteY59" fmla="*/ 99997 h 226340"/>
                <a:gd name="connsiteX60" fmla="*/ 3233 w 294168"/>
                <a:gd name="connsiteY60" fmla="*/ 106463 h 226340"/>
                <a:gd name="connsiteX61" fmla="*/ 11029 w 294168"/>
                <a:gd name="connsiteY61" fmla="*/ 123576 h 226340"/>
                <a:gd name="connsiteX62" fmla="*/ 14262 w 294168"/>
                <a:gd name="connsiteY62" fmla="*/ 134035 h 226340"/>
                <a:gd name="connsiteX63" fmla="*/ 21678 w 294168"/>
                <a:gd name="connsiteY63" fmla="*/ 153050 h 226340"/>
                <a:gd name="connsiteX64" fmla="*/ 26812 w 294168"/>
                <a:gd name="connsiteY64" fmla="*/ 158945 h 226340"/>
                <a:gd name="connsiteX65" fmla="*/ 34038 w 294168"/>
                <a:gd name="connsiteY65" fmla="*/ 168072 h 226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94168" h="226340">
                  <a:moveTo>
                    <a:pt x="34798" y="167692"/>
                  </a:moveTo>
                  <a:lnTo>
                    <a:pt x="36510" y="170544"/>
                  </a:lnTo>
                  <a:cubicBezTo>
                    <a:pt x="37133" y="172046"/>
                    <a:pt x="37964" y="173454"/>
                    <a:pt x="38982" y="174728"/>
                  </a:cubicBezTo>
                  <a:cubicBezTo>
                    <a:pt x="40183" y="175735"/>
                    <a:pt x="41530" y="176572"/>
                    <a:pt x="42975" y="177200"/>
                  </a:cubicBezTo>
                  <a:lnTo>
                    <a:pt x="48109" y="178721"/>
                  </a:lnTo>
                  <a:cubicBezTo>
                    <a:pt x="52460" y="180147"/>
                    <a:pt x="57054" y="180660"/>
                    <a:pt x="61610" y="180242"/>
                  </a:cubicBezTo>
                  <a:lnTo>
                    <a:pt x="64842" y="180242"/>
                  </a:lnTo>
                  <a:cubicBezTo>
                    <a:pt x="66757" y="179596"/>
                    <a:pt x="68731" y="179158"/>
                    <a:pt x="70737" y="178911"/>
                  </a:cubicBezTo>
                  <a:cubicBezTo>
                    <a:pt x="80578" y="178550"/>
                    <a:pt x="89831" y="183589"/>
                    <a:pt x="94887" y="192032"/>
                  </a:cubicBezTo>
                  <a:lnTo>
                    <a:pt x="98880" y="197927"/>
                  </a:lnTo>
                  <a:cubicBezTo>
                    <a:pt x="101249" y="202110"/>
                    <a:pt x="104339" y="205837"/>
                    <a:pt x="108007" y="208955"/>
                  </a:cubicBezTo>
                  <a:cubicBezTo>
                    <a:pt x="112229" y="212169"/>
                    <a:pt x="117608" y="213481"/>
                    <a:pt x="122839" y="212568"/>
                  </a:cubicBezTo>
                  <a:cubicBezTo>
                    <a:pt x="128116" y="212055"/>
                    <a:pt x="132940" y="209374"/>
                    <a:pt x="136150" y="205152"/>
                  </a:cubicBezTo>
                  <a:cubicBezTo>
                    <a:pt x="137437" y="202414"/>
                    <a:pt x="139484" y="200113"/>
                    <a:pt x="142045" y="198497"/>
                  </a:cubicBezTo>
                  <a:cubicBezTo>
                    <a:pt x="146038" y="197147"/>
                    <a:pt x="150425" y="197641"/>
                    <a:pt x="154025" y="199828"/>
                  </a:cubicBezTo>
                  <a:cubicBezTo>
                    <a:pt x="169944" y="207016"/>
                    <a:pt x="185052" y="215877"/>
                    <a:pt x="199091" y="226260"/>
                  </a:cubicBezTo>
                  <a:lnTo>
                    <a:pt x="199091" y="226260"/>
                  </a:lnTo>
                  <a:lnTo>
                    <a:pt x="203845" y="226260"/>
                  </a:lnTo>
                  <a:cubicBezTo>
                    <a:pt x="209205" y="226754"/>
                    <a:pt x="214526" y="224966"/>
                    <a:pt x="218487" y="221315"/>
                  </a:cubicBezTo>
                  <a:cubicBezTo>
                    <a:pt x="222529" y="216942"/>
                    <a:pt x="226099" y="212169"/>
                    <a:pt x="229135" y="207054"/>
                  </a:cubicBezTo>
                  <a:cubicBezTo>
                    <a:pt x="231607" y="203441"/>
                    <a:pt x="234079" y="199638"/>
                    <a:pt x="236742" y="196215"/>
                  </a:cubicBezTo>
                  <a:cubicBezTo>
                    <a:pt x="241731" y="190511"/>
                    <a:pt x="247808" y="185852"/>
                    <a:pt x="254616" y="182524"/>
                  </a:cubicBezTo>
                  <a:cubicBezTo>
                    <a:pt x="261169" y="179462"/>
                    <a:pt x="266805" y="174747"/>
                    <a:pt x="270969" y="168833"/>
                  </a:cubicBezTo>
                  <a:cubicBezTo>
                    <a:pt x="272572" y="165924"/>
                    <a:pt x="273909" y="162862"/>
                    <a:pt x="274962" y="159706"/>
                  </a:cubicBezTo>
                  <a:cubicBezTo>
                    <a:pt x="276760" y="153545"/>
                    <a:pt x="279948" y="147897"/>
                    <a:pt x="284280" y="143162"/>
                  </a:cubicBezTo>
                  <a:lnTo>
                    <a:pt x="285991" y="141641"/>
                  </a:lnTo>
                  <a:lnTo>
                    <a:pt x="288463" y="139359"/>
                  </a:lnTo>
                  <a:cubicBezTo>
                    <a:pt x="290726" y="137629"/>
                    <a:pt x="292658" y="135499"/>
                    <a:pt x="294168" y="133084"/>
                  </a:cubicBezTo>
                  <a:cubicBezTo>
                    <a:pt x="294168" y="131183"/>
                    <a:pt x="294168" y="129851"/>
                    <a:pt x="292267" y="127570"/>
                  </a:cubicBezTo>
                  <a:cubicBezTo>
                    <a:pt x="290344" y="125307"/>
                    <a:pt x="288176" y="123272"/>
                    <a:pt x="285801" y="121485"/>
                  </a:cubicBezTo>
                  <a:cubicBezTo>
                    <a:pt x="278304" y="116693"/>
                    <a:pt x="273456" y="108668"/>
                    <a:pt x="272681" y="99807"/>
                  </a:cubicBezTo>
                  <a:cubicBezTo>
                    <a:pt x="272331" y="96175"/>
                    <a:pt x="273128" y="92505"/>
                    <a:pt x="274962" y="89349"/>
                  </a:cubicBezTo>
                  <a:cubicBezTo>
                    <a:pt x="265930" y="81895"/>
                    <a:pt x="257881" y="73338"/>
                    <a:pt x="251003" y="63868"/>
                  </a:cubicBezTo>
                  <a:cubicBezTo>
                    <a:pt x="248442" y="59590"/>
                    <a:pt x="246641" y="54893"/>
                    <a:pt x="245679" y="49987"/>
                  </a:cubicBezTo>
                  <a:cubicBezTo>
                    <a:pt x="245249" y="46697"/>
                    <a:pt x="244148" y="43522"/>
                    <a:pt x="242446" y="40669"/>
                  </a:cubicBezTo>
                  <a:cubicBezTo>
                    <a:pt x="242446" y="39148"/>
                    <a:pt x="239404" y="38577"/>
                    <a:pt x="236361" y="37817"/>
                  </a:cubicBezTo>
                  <a:cubicBezTo>
                    <a:pt x="233258" y="37341"/>
                    <a:pt x="230284" y="36239"/>
                    <a:pt x="227614" y="34584"/>
                  </a:cubicBezTo>
                  <a:cubicBezTo>
                    <a:pt x="222507" y="31865"/>
                    <a:pt x="219628" y="26256"/>
                    <a:pt x="220388" y="20513"/>
                  </a:cubicBezTo>
                  <a:cubicBezTo>
                    <a:pt x="220864" y="18896"/>
                    <a:pt x="220864" y="17185"/>
                    <a:pt x="220388" y="15569"/>
                  </a:cubicBezTo>
                  <a:cubicBezTo>
                    <a:pt x="219692" y="13839"/>
                    <a:pt x="218319" y="12469"/>
                    <a:pt x="216585" y="11766"/>
                  </a:cubicBezTo>
                  <a:cubicBezTo>
                    <a:pt x="212292" y="9465"/>
                    <a:pt x="209281" y="5339"/>
                    <a:pt x="208409" y="547"/>
                  </a:cubicBezTo>
                  <a:cubicBezTo>
                    <a:pt x="198507" y="-708"/>
                    <a:pt x="188452" y="205"/>
                    <a:pt x="178935" y="3209"/>
                  </a:cubicBezTo>
                  <a:cubicBezTo>
                    <a:pt x="177539" y="4141"/>
                    <a:pt x="176204" y="5149"/>
                    <a:pt x="174942" y="6251"/>
                  </a:cubicBezTo>
                  <a:cubicBezTo>
                    <a:pt x="171540" y="9921"/>
                    <a:pt x="166826" y="12108"/>
                    <a:pt x="161821" y="12336"/>
                  </a:cubicBezTo>
                  <a:cubicBezTo>
                    <a:pt x="157107" y="11937"/>
                    <a:pt x="152581" y="10283"/>
                    <a:pt x="148700" y="7583"/>
                  </a:cubicBezTo>
                  <a:cubicBezTo>
                    <a:pt x="146112" y="5206"/>
                    <a:pt x="142709" y="3912"/>
                    <a:pt x="139193" y="3970"/>
                  </a:cubicBezTo>
                  <a:cubicBezTo>
                    <a:pt x="135070" y="4730"/>
                    <a:pt x="131132" y="6289"/>
                    <a:pt x="127593" y="8533"/>
                  </a:cubicBezTo>
                  <a:cubicBezTo>
                    <a:pt x="124319" y="10416"/>
                    <a:pt x="120883" y="12013"/>
                    <a:pt x="117325" y="13287"/>
                  </a:cubicBezTo>
                  <a:cubicBezTo>
                    <a:pt x="107836" y="16120"/>
                    <a:pt x="97644" y="15436"/>
                    <a:pt x="88612" y="11386"/>
                  </a:cubicBezTo>
                  <a:lnTo>
                    <a:pt x="83858" y="9674"/>
                  </a:lnTo>
                  <a:cubicBezTo>
                    <a:pt x="79484" y="7963"/>
                    <a:pt x="74540" y="5871"/>
                    <a:pt x="71498" y="7583"/>
                  </a:cubicBezTo>
                  <a:cubicBezTo>
                    <a:pt x="69212" y="9104"/>
                    <a:pt x="67375" y="11195"/>
                    <a:pt x="66174" y="13667"/>
                  </a:cubicBezTo>
                  <a:cubicBezTo>
                    <a:pt x="63683" y="18516"/>
                    <a:pt x="59769" y="22509"/>
                    <a:pt x="54954" y="25077"/>
                  </a:cubicBezTo>
                  <a:cubicBezTo>
                    <a:pt x="52353" y="26027"/>
                    <a:pt x="49683" y="26807"/>
                    <a:pt x="46968" y="27358"/>
                  </a:cubicBezTo>
                  <a:cubicBezTo>
                    <a:pt x="44800" y="28062"/>
                    <a:pt x="42701" y="28956"/>
                    <a:pt x="40693" y="30021"/>
                  </a:cubicBezTo>
                  <a:cubicBezTo>
                    <a:pt x="36319" y="35535"/>
                    <a:pt x="34798" y="37437"/>
                    <a:pt x="32136" y="41430"/>
                  </a:cubicBezTo>
                  <a:lnTo>
                    <a:pt x="29284" y="47515"/>
                  </a:lnTo>
                  <a:cubicBezTo>
                    <a:pt x="28143" y="50177"/>
                    <a:pt x="26812" y="52839"/>
                    <a:pt x="25671" y="55311"/>
                  </a:cubicBezTo>
                  <a:cubicBezTo>
                    <a:pt x="24530" y="57783"/>
                    <a:pt x="23009" y="60825"/>
                    <a:pt x="21297" y="64248"/>
                  </a:cubicBezTo>
                  <a:cubicBezTo>
                    <a:pt x="16148" y="77217"/>
                    <a:pt x="8958" y="89292"/>
                    <a:pt x="0" y="99997"/>
                  </a:cubicBezTo>
                  <a:lnTo>
                    <a:pt x="3233" y="106463"/>
                  </a:lnTo>
                  <a:cubicBezTo>
                    <a:pt x="6216" y="111977"/>
                    <a:pt x="8819" y="117701"/>
                    <a:pt x="11029" y="123576"/>
                  </a:cubicBezTo>
                  <a:cubicBezTo>
                    <a:pt x="12307" y="126999"/>
                    <a:pt x="13385" y="130498"/>
                    <a:pt x="14262" y="134035"/>
                  </a:cubicBezTo>
                  <a:cubicBezTo>
                    <a:pt x="15570" y="140766"/>
                    <a:pt x="18082" y="147212"/>
                    <a:pt x="21678" y="153050"/>
                  </a:cubicBezTo>
                  <a:cubicBezTo>
                    <a:pt x="23182" y="155180"/>
                    <a:pt x="24903" y="157158"/>
                    <a:pt x="26812" y="158945"/>
                  </a:cubicBezTo>
                  <a:cubicBezTo>
                    <a:pt x="29573" y="161683"/>
                    <a:pt x="31999" y="164764"/>
                    <a:pt x="34038" y="16807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70" name="Полилиния: фигура 469">
              <a:extLst>
                <a:ext uri="{FF2B5EF4-FFF2-40B4-BE49-F238E27FC236}">
                  <a16:creationId xmlns:a16="http://schemas.microsoft.com/office/drawing/2014/main" id="{05DCCB4C-76EC-7707-8DFD-38096DFC6456}"/>
                </a:ext>
              </a:extLst>
            </p:cNvPr>
            <p:cNvSpPr/>
            <p:nvPr/>
          </p:nvSpPr>
          <p:spPr>
            <a:xfrm>
              <a:off x="4015092" y="3706828"/>
              <a:ext cx="480749" cy="323025"/>
            </a:xfrm>
            <a:custGeom>
              <a:avLst/>
              <a:gdLst>
                <a:gd name="connsiteX0" fmla="*/ 70927 w 528894"/>
                <a:gd name="connsiteY0" fmla="*/ 650 h 354336"/>
                <a:gd name="connsiteX1" fmla="*/ 60469 w 528894"/>
                <a:gd name="connsiteY1" fmla="*/ 14531 h 354336"/>
                <a:gd name="connsiteX2" fmla="*/ 58567 w 528894"/>
                <a:gd name="connsiteY2" fmla="*/ 21947 h 354336"/>
                <a:gd name="connsiteX3" fmla="*/ 51532 w 528894"/>
                <a:gd name="connsiteY3" fmla="*/ 39251 h 354336"/>
                <a:gd name="connsiteX4" fmla="*/ 45447 w 528894"/>
                <a:gd name="connsiteY4" fmla="*/ 53893 h 354336"/>
                <a:gd name="connsiteX5" fmla="*/ 43926 w 528894"/>
                <a:gd name="connsiteY5" fmla="*/ 66443 h 354336"/>
                <a:gd name="connsiteX6" fmla="*/ 18635 w 528894"/>
                <a:gd name="connsiteY6" fmla="*/ 99911 h 354336"/>
                <a:gd name="connsiteX7" fmla="*/ 7226 w 528894"/>
                <a:gd name="connsiteY7" fmla="*/ 105425 h 354336"/>
                <a:gd name="connsiteX8" fmla="*/ 0 w 528894"/>
                <a:gd name="connsiteY8" fmla="*/ 118736 h 354336"/>
                <a:gd name="connsiteX9" fmla="*/ 4183 w 528894"/>
                <a:gd name="connsiteY9" fmla="*/ 124060 h 354336"/>
                <a:gd name="connsiteX10" fmla="*/ 18445 w 528894"/>
                <a:gd name="connsiteY10" fmla="*/ 144406 h 354336"/>
                <a:gd name="connsiteX11" fmla="*/ 38982 w 528894"/>
                <a:gd name="connsiteY11" fmla="*/ 173500 h 354336"/>
                <a:gd name="connsiteX12" fmla="*/ 54574 w 528894"/>
                <a:gd name="connsiteY12" fmla="*/ 190804 h 354336"/>
                <a:gd name="connsiteX13" fmla="*/ 101732 w 528894"/>
                <a:gd name="connsiteY13" fmla="*/ 214953 h 354336"/>
                <a:gd name="connsiteX14" fmla="*/ 107437 w 528894"/>
                <a:gd name="connsiteY14" fmla="*/ 213622 h 354336"/>
                <a:gd name="connsiteX15" fmla="*/ 145468 w 528894"/>
                <a:gd name="connsiteY15" fmla="*/ 218376 h 354336"/>
                <a:gd name="connsiteX16" fmla="*/ 157447 w 528894"/>
                <a:gd name="connsiteY16" fmla="*/ 242716 h 354336"/>
                <a:gd name="connsiteX17" fmla="*/ 163342 w 528894"/>
                <a:gd name="connsiteY17" fmla="*/ 258879 h 354336"/>
                <a:gd name="connsiteX18" fmla="*/ 188633 w 528894"/>
                <a:gd name="connsiteY18" fmla="*/ 275042 h 354336"/>
                <a:gd name="connsiteX19" fmla="*/ 201563 w 528894"/>
                <a:gd name="connsiteY19" fmla="*/ 275042 h 354336"/>
                <a:gd name="connsiteX20" fmla="*/ 224952 w 528894"/>
                <a:gd name="connsiteY20" fmla="*/ 269718 h 354336"/>
                <a:gd name="connsiteX21" fmla="*/ 228565 w 528894"/>
                <a:gd name="connsiteY21" fmla="*/ 268387 h 354336"/>
                <a:gd name="connsiteX22" fmla="*/ 260321 w 528894"/>
                <a:gd name="connsiteY22" fmla="*/ 271049 h 354336"/>
                <a:gd name="connsiteX23" fmla="*/ 269258 w 528894"/>
                <a:gd name="connsiteY23" fmla="*/ 283789 h 354336"/>
                <a:gd name="connsiteX24" fmla="*/ 280667 w 528894"/>
                <a:gd name="connsiteY24" fmla="*/ 295389 h 354336"/>
                <a:gd name="connsiteX25" fmla="*/ 287513 w 528894"/>
                <a:gd name="connsiteY25" fmla="*/ 298051 h 354336"/>
                <a:gd name="connsiteX26" fmla="*/ 300633 w 528894"/>
                <a:gd name="connsiteY26" fmla="*/ 303756 h 354336"/>
                <a:gd name="connsiteX27" fmla="*/ 306148 w 528894"/>
                <a:gd name="connsiteY27" fmla="*/ 307178 h 354336"/>
                <a:gd name="connsiteX28" fmla="*/ 319649 w 528894"/>
                <a:gd name="connsiteY28" fmla="*/ 314214 h 354336"/>
                <a:gd name="connsiteX29" fmla="*/ 336192 w 528894"/>
                <a:gd name="connsiteY29" fmla="*/ 315735 h 354336"/>
                <a:gd name="connsiteX30" fmla="*/ 359961 w 528894"/>
                <a:gd name="connsiteY30" fmla="*/ 319158 h 354336"/>
                <a:gd name="connsiteX31" fmla="*/ 372511 w 528894"/>
                <a:gd name="connsiteY31" fmla="*/ 322771 h 354336"/>
                <a:gd name="connsiteX32" fmla="*/ 399323 w 528894"/>
                <a:gd name="connsiteY32" fmla="*/ 335321 h 354336"/>
                <a:gd name="connsiteX33" fmla="*/ 409591 w 528894"/>
                <a:gd name="connsiteY33" fmla="*/ 354336 h 354336"/>
                <a:gd name="connsiteX34" fmla="*/ 409591 w 528894"/>
                <a:gd name="connsiteY34" fmla="*/ 353195 h 354336"/>
                <a:gd name="connsiteX35" fmla="*/ 433171 w 528894"/>
                <a:gd name="connsiteY35" fmla="*/ 337222 h 354336"/>
                <a:gd name="connsiteX36" fmla="*/ 443058 w 528894"/>
                <a:gd name="connsiteY36" fmla="*/ 340075 h 354336"/>
                <a:gd name="connsiteX37" fmla="*/ 448002 w 528894"/>
                <a:gd name="connsiteY37" fmla="*/ 341976 h 354336"/>
                <a:gd name="connsiteX38" fmla="*/ 452756 w 528894"/>
                <a:gd name="connsiteY38" fmla="*/ 337413 h 354336"/>
                <a:gd name="connsiteX39" fmla="*/ 452756 w 528894"/>
                <a:gd name="connsiteY39" fmla="*/ 310030 h 354336"/>
                <a:gd name="connsiteX40" fmla="*/ 449143 w 528894"/>
                <a:gd name="connsiteY40" fmla="*/ 304326 h 354336"/>
                <a:gd name="connsiteX41" fmla="*/ 442488 w 528894"/>
                <a:gd name="connsiteY41" fmla="*/ 285311 h 354336"/>
                <a:gd name="connsiteX42" fmla="*/ 448573 w 528894"/>
                <a:gd name="connsiteY42" fmla="*/ 273901 h 354336"/>
                <a:gd name="connsiteX43" fmla="*/ 451996 w 528894"/>
                <a:gd name="connsiteY43" fmla="*/ 268387 h 354336"/>
                <a:gd name="connsiteX44" fmla="*/ 451996 w 528894"/>
                <a:gd name="connsiteY44" fmla="*/ 258879 h 354336"/>
                <a:gd name="connsiteX45" fmla="*/ 450665 w 528894"/>
                <a:gd name="connsiteY45" fmla="*/ 247470 h 354336"/>
                <a:gd name="connsiteX46" fmla="*/ 459792 w 528894"/>
                <a:gd name="connsiteY46" fmla="*/ 221609 h 354336"/>
                <a:gd name="connsiteX47" fmla="*/ 475955 w 528894"/>
                <a:gd name="connsiteY47" fmla="*/ 212672 h 354336"/>
                <a:gd name="connsiteX48" fmla="*/ 487745 w 528894"/>
                <a:gd name="connsiteY48" fmla="*/ 202403 h 354336"/>
                <a:gd name="connsiteX49" fmla="*/ 510183 w 528894"/>
                <a:gd name="connsiteY49" fmla="*/ 176352 h 354336"/>
                <a:gd name="connsiteX50" fmla="*/ 517789 w 528894"/>
                <a:gd name="connsiteY50" fmla="*/ 173310 h 354336"/>
                <a:gd name="connsiteX51" fmla="*/ 524634 w 528894"/>
                <a:gd name="connsiteY51" fmla="*/ 169507 h 354336"/>
                <a:gd name="connsiteX52" fmla="*/ 528247 w 528894"/>
                <a:gd name="connsiteY52" fmla="*/ 167225 h 354336"/>
                <a:gd name="connsiteX53" fmla="*/ 528247 w 528894"/>
                <a:gd name="connsiteY53" fmla="*/ 135089 h 354336"/>
                <a:gd name="connsiteX54" fmla="*/ 511514 w 528894"/>
                <a:gd name="connsiteY54" fmla="*/ 121968 h 354336"/>
                <a:gd name="connsiteX55" fmla="*/ 508091 w 528894"/>
                <a:gd name="connsiteY55" fmla="*/ 121968 h 354336"/>
                <a:gd name="connsiteX56" fmla="*/ 472152 w 528894"/>
                <a:gd name="connsiteY56" fmla="*/ 118736 h 354336"/>
                <a:gd name="connsiteX57" fmla="*/ 461884 w 528894"/>
                <a:gd name="connsiteY57" fmla="*/ 114933 h 354336"/>
                <a:gd name="connsiteX58" fmla="*/ 458651 w 528894"/>
                <a:gd name="connsiteY58" fmla="*/ 113411 h 354336"/>
                <a:gd name="connsiteX59" fmla="*/ 436023 w 528894"/>
                <a:gd name="connsiteY59" fmla="*/ 101241 h 354336"/>
                <a:gd name="connsiteX60" fmla="*/ 427466 w 528894"/>
                <a:gd name="connsiteY60" fmla="*/ 94776 h 354336"/>
                <a:gd name="connsiteX61" fmla="*/ 416247 w 528894"/>
                <a:gd name="connsiteY61" fmla="*/ 87170 h 354336"/>
                <a:gd name="connsiteX62" fmla="*/ 404647 w 528894"/>
                <a:gd name="connsiteY62" fmla="*/ 87170 h 354336"/>
                <a:gd name="connsiteX63" fmla="*/ 383540 w 528894"/>
                <a:gd name="connsiteY63" fmla="*/ 85839 h 354336"/>
                <a:gd name="connsiteX64" fmla="*/ 377455 w 528894"/>
                <a:gd name="connsiteY64" fmla="*/ 81846 h 354336"/>
                <a:gd name="connsiteX65" fmla="*/ 368708 w 528894"/>
                <a:gd name="connsiteY65" fmla="*/ 77472 h 354336"/>
                <a:gd name="connsiteX66" fmla="*/ 363194 w 528894"/>
                <a:gd name="connsiteY66" fmla="*/ 77472 h 354336"/>
                <a:gd name="connsiteX67" fmla="*/ 347791 w 528894"/>
                <a:gd name="connsiteY67" fmla="*/ 69105 h 354336"/>
                <a:gd name="connsiteX68" fmla="*/ 342657 w 528894"/>
                <a:gd name="connsiteY68" fmla="*/ 57126 h 354336"/>
                <a:gd name="connsiteX69" fmla="*/ 336572 w 528894"/>
                <a:gd name="connsiteY69" fmla="*/ 46857 h 354336"/>
                <a:gd name="connsiteX70" fmla="*/ 333530 w 528894"/>
                <a:gd name="connsiteY70" fmla="*/ 44385 h 354336"/>
                <a:gd name="connsiteX71" fmla="*/ 312423 w 528894"/>
                <a:gd name="connsiteY71" fmla="*/ 31265 h 354336"/>
                <a:gd name="connsiteX72" fmla="*/ 303486 w 528894"/>
                <a:gd name="connsiteY72" fmla="*/ 38871 h 354336"/>
                <a:gd name="connsiteX73" fmla="*/ 294738 w 528894"/>
                <a:gd name="connsiteY73" fmla="*/ 52182 h 354336"/>
                <a:gd name="connsiteX74" fmla="*/ 265835 w 528894"/>
                <a:gd name="connsiteY74" fmla="*/ 59978 h 354336"/>
                <a:gd name="connsiteX75" fmla="*/ 252905 w 528894"/>
                <a:gd name="connsiteY75" fmla="*/ 61309 h 354336"/>
                <a:gd name="connsiteX76" fmla="*/ 217156 w 528894"/>
                <a:gd name="connsiteY76" fmla="*/ 55414 h 354336"/>
                <a:gd name="connsiteX77" fmla="*/ 211451 w 528894"/>
                <a:gd name="connsiteY77" fmla="*/ 51992 h 354336"/>
                <a:gd name="connsiteX78" fmla="*/ 192436 w 528894"/>
                <a:gd name="connsiteY78" fmla="*/ 46477 h 354336"/>
                <a:gd name="connsiteX79" fmla="*/ 177794 w 528894"/>
                <a:gd name="connsiteY79" fmla="*/ 43435 h 354336"/>
                <a:gd name="connsiteX80" fmla="*/ 156116 w 528894"/>
                <a:gd name="connsiteY80" fmla="*/ 37540 h 354336"/>
                <a:gd name="connsiteX81" fmla="*/ 135199 w 528894"/>
                <a:gd name="connsiteY81" fmla="*/ 32025 h 354336"/>
                <a:gd name="connsiteX82" fmla="*/ 124931 w 528894"/>
                <a:gd name="connsiteY82" fmla="*/ 30695 h 354336"/>
                <a:gd name="connsiteX83" fmla="*/ 105916 w 528894"/>
                <a:gd name="connsiteY83" fmla="*/ 26131 h 354336"/>
                <a:gd name="connsiteX84" fmla="*/ 92985 w 528894"/>
                <a:gd name="connsiteY84" fmla="*/ 13200 h 354336"/>
                <a:gd name="connsiteX85" fmla="*/ 82717 w 528894"/>
                <a:gd name="connsiteY85" fmla="*/ 2552 h 354336"/>
                <a:gd name="connsiteX86" fmla="*/ 73399 w 528894"/>
                <a:gd name="connsiteY86" fmla="*/ 80 h 354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528894" h="354336">
                  <a:moveTo>
                    <a:pt x="70927" y="650"/>
                  </a:moveTo>
                  <a:cubicBezTo>
                    <a:pt x="63702" y="1791"/>
                    <a:pt x="62561" y="5594"/>
                    <a:pt x="60469" y="14531"/>
                  </a:cubicBezTo>
                  <a:cubicBezTo>
                    <a:pt x="60469" y="16813"/>
                    <a:pt x="59328" y="19475"/>
                    <a:pt x="58567" y="21947"/>
                  </a:cubicBezTo>
                  <a:cubicBezTo>
                    <a:pt x="56666" y="27842"/>
                    <a:pt x="54004" y="33547"/>
                    <a:pt x="51532" y="39251"/>
                  </a:cubicBezTo>
                  <a:cubicBezTo>
                    <a:pt x="49060" y="44956"/>
                    <a:pt x="47158" y="48949"/>
                    <a:pt x="45447" y="53893"/>
                  </a:cubicBezTo>
                  <a:cubicBezTo>
                    <a:pt x="44277" y="57962"/>
                    <a:pt x="43764" y="62203"/>
                    <a:pt x="43926" y="66443"/>
                  </a:cubicBezTo>
                  <a:cubicBezTo>
                    <a:pt x="46074" y="82644"/>
                    <a:pt x="34802" y="97552"/>
                    <a:pt x="18635" y="99911"/>
                  </a:cubicBezTo>
                  <a:cubicBezTo>
                    <a:pt x="14402" y="100690"/>
                    <a:pt x="10460" y="102592"/>
                    <a:pt x="7226" y="105425"/>
                  </a:cubicBezTo>
                  <a:cubicBezTo>
                    <a:pt x="3820" y="109247"/>
                    <a:pt x="1346" y="113792"/>
                    <a:pt x="0" y="118736"/>
                  </a:cubicBezTo>
                  <a:lnTo>
                    <a:pt x="4183" y="124060"/>
                  </a:lnTo>
                  <a:cubicBezTo>
                    <a:pt x="9428" y="130487"/>
                    <a:pt x="14195" y="137276"/>
                    <a:pt x="18445" y="144406"/>
                  </a:cubicBezTo>
                  <a:cubicBezTo>
                    <a:pt x="23524" y="155245"/>
                    <a:pt x="30476" y="165095"/>
                    <a:pt x="38982" y="173500"/>
                  </a:cubicBezTo>
                  <a:cubicBezTo>
                    <a:pt x="44627" y="178843"/>
                    <a:pt x="49841" y="184643"/>
                    <a:pt x="54574" y="190804"/>
                  </a:cubicBezTo>
                  <a:cubicBezTo>
                    <a:pt x="68075" y="206967"/>
                    <a:pt x="78534" y="219707"/>
                    <a:pt x="101732" y="214953"/>
                  </a:cubicBezTo>
                  <a:lnTo>
                    <a:pt x="107437" y="213622"/>
                  </a:lnTo>
                  <a:cubicBezTo>
                    <a:pt x="120099" y="208659"/>
                    <a:pt x="134416" y="210447"/>
                    <a:pt x="145468" y="218376"/>
                  </a:cubicBezTo>
                  <a:cubicBezTo>
                    <a:pt x="152317" y="224746"/>
                    <a:pt x="156582" y="233398"/>
                    <a:pt x="157447" y="242716"/>
                  </a:cubicBezTo>
                  <a:cubicBezTo>
                    <a:pt x="157961" y="248535"/>
                    <a:pt x="159994" y="254106"/>
                    <a:pt x="163342" y="258879"/>
                  </a:cubicBezTo>
                  <a:cubicBezTo>
                    <a:pt x="169471" y="267227"/>
                    <a:pt x="178486" y="272988"/>
                    <a:pt x="188633" y="275042"/>
                  </a:cubicBezTo>
                  <a:cubicBezTo>
                    <a:pt x="192922" y="275632"/>
                    <a:pt x="197273" y="275632"/>
                    <a:pt x="201563" y="275042"/>
                  </a:cubicBezTo>
                  <a:cubicBezTo>
                    <a:pt x="209551" y="274244"/>
                    <a:pt x="217409" y="272456"/>
                    <a:pt x="224952" y="269718"/>
                  </a:cubicBezTo>
                  <a:lnTo>
                    <a:pt x="228565" y="268387"/>
                  </a:lnTo>
                  <a:cubicBezTo>
                    <a:pt x="238681" y="262625"/>
                    <a:pt x="251305" y="263671"/>
                    <a:pt x="260321" y="271049"/>
                  </a:cubicBezTo>
                  <a:cubicBezTo>
                    <a:pt x="263937" y="274814"/>
                    <a:pt x="266951" y="279111"/>
                    <a:pt x="269258" y="283789"/>
                  </a:cubicBezTo>
                  <a:cubicBezTo>
                    <a:pt x="271302" y="289056"/>
                    <a:pt x="275430" y="293259"/>
                    <a:pt x="280667" y="295389"/>
                  </a:cubicBezTo>
                  <a:cubicBezTo>
                    <a:pt x="282882" y="296434"/>
                    <a:pt x="285170" y="297328"/>
                    <a:pt x="287513" y="298051"/>
                  </a:cubicBezTo>
                  <a:cubicBezTo>
                    <a:pt x="292116" y="299382"/>
                    <a:pt x="296528" y="301283"/>
                    <a:pt x="300633" y="303756"/>
                  </a:cubicBezTo>
                  <a:lnTo>
                    <a:pt x="306148" y="307178"/>
                  </a:lnTo>
                  <a:cubicBezTo>
                    <a:pt x="310154" y="310373"/>
                    <a:pt x="314739" y="312750"/>
                    <a:pt x="319649" y="314214"/>
                  </a:cubicBezTo>
                  <a:cubicBezTo>
                    <a:pt x="325081" y="315393"/>
                    <a:pt x="330636" y="315906"/>
                    <a:pt x="336192" y="315735"/>
                  </a:cubicBezTo>
                  <a:cubicBezTo>
                    <a:pt x="344260" y="315355"/>
                    <a:pt x="352327" y="316515"/>
                    <a:pt x="359961" y="319158"/>
                  </a:cubicBezTo>
                  <a:cubicBezTo>
                    <a:pt x="364048" y="320679"/>
                    <a:pt x="368244" y="321877"/>
                    <a:pt x="372511" y="322771"/>
                  </a:cubicBezTo>
                  <a:cubicBezTo>
                    <a:pt x="382510" y="324159"/>
                    <a:pt x="391858" y="328532"/>
                    <a:pt x="399323" y="335321"/>
                  </a:cubicBezTo>
                  <a:cubicBezTo>
                    <a:pt x="404077" y="340854"/>
                    <a:pt x="407580" y="347339"/>
                    <a:pt x="409591" y="354336"/>
                  </a:cubicBezTo>
                  <a:lnTo>
                    <a:pt x="409591" y="353195"/>
                  </a:lnTo>
                  <a:cubicBezTo>
                    <a:pt x="413845" y="343878"/>
                    <a:pt x="422942" y="337717"/>
                    <a:pt x="433171" y="337222"/>
                  </a:cubicBezTo>
                  <a:cubicBezTo>
                    <a:pt x="436648" y="337356"/>
                    <a:pt x="440043" y="338344"/>
                    <a:pt x="443058" y="340075"/>
                  </a:cubicBezTo>
                  <a:cubicBezTo>
                    <a:pt x="444582" y="340987"/>
                    <a:pt x="446255" y="341634"/>
                    <a:pt x="448002" y="341976"/>
                  </a:cubicBezTo>
                  <a:cubicBezTo>
                    <a:pt x="450212" y="341273"/>
                    <a:pt x="451971" y="339599"/>
                    <a:pt x="452756" y="337413"/>
                  </a:cubicBezTo>
                  <a:cubicBezTo>
                    <a:pt x="456033" y="328570"/>
                    <a:pt x="456033" y="318873"/>
                    <a:pt x="452756" y="310030"/>
                  </a:cubicBezTo>
                  <a:cubicBezTo>
                    <a:pt x="451690" y="308053"/>
                    <a:pt x="450482" y="306132"/>
                    <a:pt x="449143" y="304326"/>
                  </a:cubicBezTo>
                  <a:cubicBezTo>
                    <a:pt x="444555" y="299078"/>
                    <a:pt x="442170" y="292270"/>
                    <a:pt x="442488" y="285311"/>
                  </a:cubicBezTo>
                  <a:cubicBezTo>
                    <a:pt x="443414" y="281013"/>
                    <a:pt x="445521" y="277058"/>
                    <a:pt x="448573" y="273901"/>
                  </a:cubicBezTo>
                  <a:cubicBezTo>
                    <a:pt x="450022" y="272266"/>
                    <a:pt x="451180" y="270402"/>
                    <a:pt x="451996" y="268387"/>
                  </a:cubicBezTo>
                  <a:cubicBezTo>
                    <a:pt x="452616" y="265249"/>
                    <a:pt x="452616" y="262017"/>
                    <a:pt x="451996" y="258879"/>
                  </a:cubicBezTo>
                  <a:cubicBezTo>
                    <a:pt x="451062" y="255152"/>
                    <a:pt x="450615" y="251311"/>
                    <a:pt x="450665" y="247470"/>
                  </a:cubicBezTo>
                  <a:cubicBezTo>
                    <a:pt x="451277" y="238171"/>
                    <a:pt x="454435" y="229234"/>
                    <a:pt x="459792" y="221609"/>
                  </a:cubicBezTo>
                  <a:cubicBezTo>
                    <a:pt x="464196" y="217121"/>
                    <a:pt x="469813" y="214022"/>
                    <a:pt x="475955" y="212672"/>
                  </a:cubicBezTo>
                  <a:cubicBezTo>
                    <a:pt x="482420" y="210770"/>
                    <a:pt x="485843" y="209819"/>
                    <a:pt x="487745" y="202403"/>
                  </a:cubicBezTo>
                  <a:cubicBezTo>
                    <a:pt x="492118" y="183388"/>
                    <a:pt x="497442" y="181106"/>
                    <a:pt x="510183" y="176352"/>
                  </a:cubicBezTo>
                  <a:lnTo>
                    <a:pt x="517789" y="173310"/>
                  </a:lnTo>
                  <a:cubicBezTo>
                    <a:pt x="520173" y="172245"/>
                    <a:pt x="522465" y="170971"/>
                    <a:pt x="524634" y="169507"/>
                  </a:cubicBezTo>
                  <a:lnTo>
                    <a:pt x="528247" y="167225"/>
                  </a:lnTo>
                  <a:cubicBezTo>
                    <a:pt x="529111" y="156538"/>
                    <a:pt x="529111" y="145775"/>
                    <a:pt x="528247" y="135089"/>
                  </a:cubicBezTo>
                  <a:cubicBezTo>
                    <a:pt x="526916" y="125391"/>
                    <a:pt x="522733" y="121398"/>
                    <a:pt x="511514" y="121968"/>
                  </a:cubicBezTo>
                  <a:lnTo>
                    <a:pt x="508091" y="121968"/>
                  </a:lnTo>
                  <a:cubicBezTo>
                    <a:pt x="496018" y="122653"/>
                    <a:pt x="483909" y="121569"/>
                    <a:pt x="472152" y="118736"/>
                  </a:cubicBezTo>
                  <a:lnTo>
                    <a:pt x="461884" y="114933"/>
                  </a:lnTo>
                  <a:lnTo>
                    <a:pt x="458651" y="113411"/>
                  </a:lnTo>
                  <a:cubicBezTo>
                    <a:pt x="450906" y="109741"/>
                    <a:pt x="443353" y="105672"/>
                    <a:pt x="436023" y="101241"/>
                  </a:cubicBezTo>
                  <a:cubicBezTo>
                    <a:pt x="432992" y="99340"/>
                    <a:pt x="430130" y="97172"/>
                    <a:pt x="427466" y="94776"/>
                  </a:cubicBezTo>
                  <a:cubicBezTo>
                    <a:pt x="424148" y="91677"/>
                    <a:pt x="420362" y="89110"/>
                    <a:pt x="416247" y="87170"/>
                  </a:cubicBezTo>
                  <a:cubicBezTo>
                    <a:pt x="412510" y="85744"/>
                    <a:pt x="408384" y="85744"/>
                    <a:pt x="404647" y="87170"/>
                  </a:cubicBezTo>
                  <a:cubicBezTo>
                    <a:pt x="397754" y="89832"/>
                    <a:pt x="390044" y="89338"/>
                    <a:pt x="383540" y="85839"/>
                  </a:cubicBezTo>
                  <a:lnTo>
                    <a:pt x="377455" y="81846"/>
                  </a:lnTo>
                  <a:cubicBezTo>
                    <a:pt x="374947" y="79678"/>
                    <a:pt x="371941" y="78176"/>
                    <a:pt x="368708" y="77472"/>
                  </a:cubicBezTo>
                  <a:cubicBezTo>
                    <a:pt x="366873" y="77320"/>
                    <a:pt x="365029" y="77320"/>
                    <a:pt x="363194" y="77472"/>
                  </a:cubicBezTo>
                  <a:cubicBezTo>
                    <a:pt x="356862" y="77948"/>
                    <a:pt x="350836" y="74677"/>
                    <a:pt x="347791" y="69105"/>
                  </a:cubicBezTo>
                  <a:cubicBezTo>
                    <a:pt x="345312" y="65492"/>
                    <a:pt x="343568" y="61423"/>
                    <a:pt x="342657" y="57126"/>
                  </a:cubicBezTo>
                  <a:cubicBezTo>
                    <a:pt x="341996" y="53057"/>
                    <a:pt x="339822" y="49386"/>
                    <a:pt x="336572" y="46857"/>
                  </a:cubicBezTo>
                  <a:lnTo>
                    <a:pt x="333530" y="44385"/>
                  </a:lnTo>
                  <a:cubicBezTo>
                    <a:pt x="327610" y="38434"/>
                    <a:pt x="320383" y="33946"/>
                    <a:pt x="312423" y="31265"/>
                  </a:cubicBezTo>
                  <a:cubicBezTo>
                    <a:pt x="307098" y="31265"/>
                    <a:pt x="306148" y="32406"/>
                    <a:pt x="303486" y="38871"/>
                  </a:cubicBezTo>
                  <a:cubicBezTo>
                    <a:pt x="301698" y="43948"/>
                    <a:pt x="298696" y="48531"/>
                    <a:pt x="294738" y="52182"/>
                  </a:cubicBezTo>
                  <a:cubicBezTo>
                    <a:pt x="286147" y="57715"/>
                    <a:pt x="276044" y="60435"/>
                    <a:pt x="265835" y="59978"/>
                  </a:cubicBezTo>
                  <a:cubicBezTo>
                    <a:pt x="261492" y="59997"/>
                    <a:pt x="257160" y="60435"/>
                    <a:pt x="252905" y="61309"/>
                  </a:cubicBezTo>
                  <a:cubicBezTo>
                    <a:pt x="240758" y="65512"/>
                    <a:pt x="227310" y="63287"/>
                    <a:pt x="217156" y="55414"/>
                  </a:cubicBezTo>
                  <a:lnTo>
                    <a:pt x="211451" y="51992"/>
                  </a:lnTo>
                  <a:cubicBezTo>
                    <a:pt x="205520" y="48968"/>
                    <a:pt x="199066" y="47086"/>
                    <a:pt x="192436" y="46477"/>
                  </a:cubicBezTo>
                  <a:cubicBezTo>
                    <a:pt x="187490" y="45812"/>
                    <a:pt x="182597" y="44785"/>
                    <a:pt x="177794" y="43435"/>
                  </a:cubicBezTo>
                  <a:cubicBezTo>
                    <a:pt x="170568" y="41153"/>
                    <a:pt x="163342" y="39441"/>
                    <a:pt x="156116" y="37540"/>
                  </a:cubicBezTo>
                  <a:cubicBezTo>
                    <a:pt x="148890" y="35638"/>
                    <a:pt x="142235" y="34117"/>
                    <a:pt x="135199" y="32025"/>
                  </a:cubicBezTo>
                  <a:cubicBezTo>
                    <a:pt x="131845" y="31151"/>
                    <a:pt x="128396" y="30713"/>
                    <a:pt x="124931" y="30695"/>
                  </a:cubicBezTo>
                  <a:cubicBezTo>
                    <a:pt x="118287" y="31018"/>
                    <a:pt x="111691" y="29420"/>
                    <a:pt x="105916" y="26131"/>
                  </a:cubicBezTo>
                  <a:cubicBezTo>
                    <a:pt x="100966" y="22518"/>
                    <a:pt x="96604" y="18144"/>
                    <a:pt x="92985" y="13200"/>
                  </a:cubicBezTo>
                  <a:cubicBezTo>
                    <a:pt x="90053" y="9207"/>
                    <a:pt x="86600" y="5632"/>
                    <a:pt x="82717" y="2552"/>
                  </a:cubicBezTo>
                  <a:cubicBezTo>
                    <a:pt x="80028" y="593"/>
                    <a:pt x="76704" y="-282"/>
                    <a:pt x="73399" y="80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71" name="Полилиния: фигура 470">
              <a:extLst>
                <a:ext uri="{FF2B5EF4-FFF2-40B4-BE49-F238E27FC236}">
                  <a16:creationId xmlns:a16="http://schemas.microsoft.com/office/drawing/2014/main" id="{E636D561-E1A7-A623-7FBC-77D28C15C93B}"/>
                </a:ext>
              </a:extLst>
            </p:cNvPr>
            <p:cNvSpPr/>
            <p:nvPr/>
          </p:nvSpPr>
          <p:spPr>
            <a:xfrm>
              <a:off x="4353100" y="4057592"/>
              <a:ext cx="216820" cy="259333"/>
            </a:xfrm>
            <a:custGeom>
              <a:avLst/>
              <a:gdLst>
                <a:gd name="connsiteX0" fmla="*/ 31838 w 238534"/>
                <a:gd name="connsiteY0" fmla="*/ 193386 h 284469"/>
                <a:gd name="connsiteX1" fmla="*/ 31838 w 238534"/>
                <a:gd name="connsiteY1" fmla="*/ 200802 h 284469"/>
                <a:gd name="connsiteX2" fmla="*/ 33169 w 238534"/>
                <a:gd name="connsiteY2" fmla="*/ 204035 h 284469"/>
                <a:gd name="connsiteX3" fmla="*/ 35260 w 238534"/>
                <a:gd name="connsiteY3" fmla="*/ 205556 h 284469"/>
                <a:gd name="connsiteX4" fmla="*/ 43437 w 238534"/>
                <a:gd name="connsiteY4" fmla="*/ 214303 h 284469"/>
                <a:gd name="connsiteX5" fmla="*/ 44958 w 238534"/>
                <a:gd name="connsiteY5" fmla="*/ 223811 h 284469"/>
                <a:gd name="connsiteX6" fmla="*/ 47240 w 238534"/>
                <a:gd name="connsiteY6" fmla="*/ 228565 h 284469"/>
                <a:gd name="connsiteX7" fmla="*/ 52564 w 238534"/>
                <a:gd name="connsiteY7" fmla="*/ 230276 h 284469"/>
                <a:gd name="connsiteX8" fmla="*/ 64924 w 238534"/>
                <a:gd name="connsiteY8" fmla="*/ 237122 h 284469"/>
                <a:gd name="connsiteX9" fmla="*/ 70059 w 238534"/>
                <a:gd name="connsiteY9" fmla="*/ 250433 h 284469"/>
                <a:gd name="connsiteX10" fmla="*/ 73671 w 238534"/>
                <a:gd name="connsiteY10" fmla="*/ 260511 h 284469"/>
                <a:gd name="connsiteX11" fmla="*/ 96300 w 238534"/>
                <a:gd name="connsiteY11" fmla="*/ 284470 h 284469"/>
                <a:gd name="connsiteX12" fmla="*/ 102004 w 238534"/>
                <a:gd name="connsiteY12" fmla="*/ 281047 h 284469"/>
                <a:gd name="connsiteX13" fmla="*/ 105047 w 238534"/>
                <a:gd name="connsiteY13" fmla="*/ 279336 h 284469"/>
                <a:gd name="connsiteX14" fmla="*/ 118168 w 238534"/>
                <a:gd name="connsiteY14" fmla="*/ 273061 h 284469"/>
                <a:gd name="connsiteX15" fmla="*/ 134901 w 238534"/>
                <a:gd name="connsiteY15" fmla="*/ 264124 h 284469"/>
                <a:gd name="connsiteX16" fmla="*/ 141366 w 238534"/>
                <a:gd name="connsiteY16" fmla="*/ 258039 h 284469"/>
                <a:gd name="connsiteX17" fmla="*/ 160382 w 238534"/>
                <a:gd name="connsiteY17" fmla="*/ 246249 h 284469"/>
                <a:gd name="connsiteX18" fmla="*/ 178066 w 238534"/>
                <a:gd name="connsiteY18" fmla="*/ 243967 h 284469"/>
                <a:gd name="connsiteX19" fmla="*/ 197081 w 238534"/>
                <a:gd name="connsiteY19" fmla="*/ 240735 h 284469"/>
                <a:gd name="connsiteX20" fmla="*/ 225034 w 238534"/>
                <a:gd name="connsiteY20" fmla="*/ 224572 h 284469"/>
                <a:gd name="connsiteX21" fmla="*/ 238535 w 238534"/>
                <a:gd name="connsiteY21" fmla="*/ 205556 h 284469"/>
                <a:gd name="connsiteX22" fmla="*/ 229978 w 238534"/>
                <a:gd name="connsiteY22" fmla="*/ 201943 h 284469"/>
                <a:gd name="connsiteX23" fmla="*/ 225034 w 238534"/>
                <a:gd name="connsiteY23" fmla="*/ 197380 h 284469"/>
                <a:gd name="connsiteX24" fmla="*/ 223323 w 238534"/>
                <a:gd name="connsiteY24" fmla="*/ 195478 h 284469"/>
                <a:gd name="connsiteX25" fmla="*/ 217428 w 238534"/>
                <a:gd name="connsiteY25" fmla="*/ 193196 h 284469"/>
                <a:gd name="connsiteX26" fmla="*/ 211913 w 238534"/>
                <a:gd name="connsiteY26" fmla="*/ 191295 h 284469"/>
                <a:gd name="connsiteX27" fmla="*/ 199363 w 238534"/>
                <a:gd name="connsiteY27" fmla="*/ 176843 h 284469"/>
                <a:gd name="connsiteX28" fmla="*/ 199363 w 238534"/>
                <a:gd name="connsiteY28" fmla="*/ 173040 h 284469"/>
                <a:gd name="connsiteX29" fmla="*/ 189855 w 238534"/>
                <a:gd name="connsiteY29" fmla="*/ 157447 h 284469"/>
                <a:gd name="connsiteX30" fmla="*/ 162663 w 238534"/>
                <a:gd name="connsiteY30" fmla="*/ 136340 h 284469"/>
                <a:gd name="connsiteX31" fmla="*/ 152395 w 238534"/>
                <a:gd name="connsiteY31" fmla="*/ 119417 h 284469"/>
                <a:gd name="connsiteX32" fmla="*/ 148022 w 238534"/>
                <a:gd name="connsiteY32" fmla="*/ 110289 h 284469"/>
                <a:gd name="connsiteX33" fmla="*/ 135662 w 238534"/>
                <a:gd name="connsiteY33" fmla="*/ 103634 h 284469"/>
                <a:gd name="connsiteX34" fmla="*/ 129006 w 238534"/>
                <a:gd name="connsiteY34" fmla="*/ 102113 h 284469"/>
                <a:gd name="connsiteX35" fmla="*/ 103526 w 238534"/>
                <a:gd name="connsiteY35" fmla="*/ 84238 h 284469"/>
                <a:gd name="connsiteX36" fmla="*/ 107899 w 238534"/>
                <a:gd name="connsiteY36" fmla="*/ 60279 h 284469"/>
                <a:gd name="connsiteX37" fmla="*/ 106758 w 238534"/>
                <a:gd name="connsiteY37" fmla="*/ 31756 h 284469"/>
                <a:gd name="connsiteX38" fmla="*/ 104096 w 238534"/>
                <a:gd name="connsiteY38" fmla="*/ 31756 h 284469"/>
                <a:gd name="connsiteX39" fmla="*/ 96110 w 238534"/>
                <a:gd name="connsiteY39" fmla="*/ 34608 h 284469"/>
                <a:gd name="connsiteX40" fmla="*/ 92687 w 238534"/>
                <a:gd name="connsiteY40" fmla="*/ 38221 h 284469"/>
                <a:gd name="connsiteX41" fmla="*/ 80517 w 238534"/>
                <a:gd name="connsiteY41" fmla="*/ 46398 h 284469"/>
                <a:gd name="connsiteX42" fmla="*/ 51804 w 238534"/>
                <a:gd name="connsiteY42" fmla="*/ 27382 h 284469"/>
                <a:gd name="connsiteX43" fmla="*/ 44768 w 238534"/>
                <a:gd name="connsiteY43" fmla="*/ 19015 h 284469"/>
                <a:gd name="connsiteX44" fmla="*/ 34500 w 238534"/>
                <a:gd name="connsiteY44" fmla="*/ 0 h 284469"/>
                <a:gd name="connsiteX45" fmla="*/ 18147 w 238534"/>
                <a:gd name="connsiteY45" fmla="*/ 23579 h 284469"/>
                <a:gd name="connsiteX46" fmla="*/ 13012 w 238534"/>
                <a:gd name="connsiteY46" fmla="*/ 33087 h 284469"/>
                <a:gd name="connsiteX47" fmla="*/ 843 w 238534"/>
                <a:gd name="connsiteY47" fmla="*/ 72449 h 284469"/>
                <a:gd name="connsiteX48" fmla="*/ 5406 w 238534"/>
                <a:gd name="connsiteY48" fmla="*/ 79865 h 284469"/>
                <a:gd name="connsiteX49" fmla="*/ 11301 w 238534"/>
                <a:gd name="connsiteY49" fmla="*/ 88992 h 284469"/>
                <a:gd name="connsiteX50" fmla="*/ 12822 w 238534"/>
                <a:gd name="connsiteY50" fmla="*/ 98310 h 284469"/>
                <a:gd name="connsiteX51" fmla="*/ 12822 w 238534"/>
                <a:gd name="connsiteY51" fmla="*/ 103063 h 284469"/>
                <a:gd name="connsiteX52" fmla="*/ 14534 w 238534"/>
                <a:gd name="connsiteY52" fmla="*/ 104204 h 284469"/>
                <a:gd name="connsiteX53" fmla="*/ 19287 w 238534"/>
                <a:gd name="connsiteY53" fmla="*/ 108958 h 284469"/>
                <a:gd name="connsiteX54" fmla="*/ 22330 w 238534"/>
                <a:gd name="connsiteY54" fmla="*/ 115614 h 284469"/>
                <a:gd name="connsiteX55" fmla="*/ 27844 w 238534"/>
                <a:gd name="connsiteY55" fmla="*/ 124551 h 284469"/>
                <a:gd name="connsiteX56" fmla="*/ 33739 w 238534"/>
                <a:gd name="connsiteY56" fmla="*/ 128544 h 284469"/>
                <a:gd name="connsiteX57" fmla="*/ 45148 w 238534"/>
                <a:gd name="connsiteY57" fmla="*/ 146038 h 284469"/>
                <a:gd name="connsiteX58" fmla="*/ 37732 w 238534"/>
                <a:gd name="connsiteY58" fmla="*/ 175512 h 284469"/>
                <a:gd name="connsiteX59" fmla="*/ 31838 w 238534"/>
                <a:gd name="connsiteY59" fmla="*/ 193386 h 284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38534" h="284469">
                  <a:moveTo>
                    <a:pt x="31838" y="193386"/>
                  </a:moveTo>
                  <a:cubicBezTo>
                    <a:pt x="31459" y="195839"/>
                    <a:pt x="31459" y="198349"/>
                    <a:pt x="31838" y="200802"/>
                  </a:cubicBezTo>
                  <a:cubicBezTo>
                    <a:pt x="31855" y="202019"/>
                    <a:pt x="32330" y="203160"/>
                    <a:pt x="33169" y="204035"/>
                  </a:cubicBezTo>
                  <a:lnTo>
                    <a:pt x="35260" y="205556"/>
                  </a:lnTo>
                  <a:cubicBezTo>
                    <a:pt x="38856" y="207515"/>
                    <a:pt x="41724" y="210576"/>
                    <a:pt x="43437" y="214303"/>
                  </a:cubicBezTo>
                  <a:cubicBezTo>
                    <a:pt x="44656" y="217308"/>
                    <a:pt x="45177" y="220559"/>
                    <a:pt x="44958" y="223811"/>
                  </a:cubicBezTo>
                  <a:cubicBezTo>
                    <a:pt x="44958" y="226663"/>
                    <a:pt x="44958" y="226853"/>
                    <a:pt x="47240" y="228565"/>
                  </a:cubicBezTo>
                  <a:cubicBezTo>
                    <a:pt x="48912" y="229421"/>
                    <a:pt x="50709" y="229991"/>
                    <a:pt x="52564" y="230276"/>
                  </a:cubicBezTo>
                  <a:cubicBezTo>
                    <a:pt x="57411" y="230885"/>
                    <a:pt x="61836" y="233338"/>
                    <a:pt x="64924" y="237122"/>
                  </a:cubicBezTo>
                  <a:cubicBezTo>
                    <a:pt x="67541" y="241153"/>
                    <a:pt x="69290" y="245679"/>
                    <a:pt x="70059" y="250433"/>
                  </a:cubicBezTo>
                  <a:cubicBezTo>
                    <a:pt x="70562" y="254008"/>
                    <a:pt x="71793" y="257430"/>
                    <a:pt x="73671" y="260511"/>
                  </a:cubicBezTo>
                  <a:cubicBezTo>
                    <a:pt x="80103" y="269486"/>
                    <a:pt x="87714" y="277530"/>
                    <a:pt x="96300" y="284470"/>
                  </a:cubicBezTo>
                  <a:cubicBezTo>
                    <a:pt x="98116" y="283196"/>
                    <a:pt x="100021" y="282055"/>
                    <a:pt x="102004" y="281047"/>
                  </a:cubicBezTo>
                  <a:lnTo>
                    <a:pt x="105047" y="279336"/>
                  </a:lnTo>
                  <a:cubicBezTo>
                    <a:pt x="109308" y="277016"/>
                    <a:pt x="113687" y="274924"/>
                    <a:pt x="118168" y="273061"/>
                  </a:cubicBezTo>
                  <a:cubicBezTo>
                    <a:pt x="124110" y="270817"/>
                    <a:pt x="129736" y="267813"/>
                    <a:pt x="134901" y="264124"/>
                  </a:cubicBezTo>
                  <a:cubicBezTo>
                    <a:pt x="137276" y="262336"/>
                    <a:pt x="139444" y="260302"/>
                    <a:pt x="141366" y="258039"/>
                  </a:cubicBezTo>
                  <a:cubicBezTo>
                    <a:pt x="146379" y="252296"/>
                    <a:pt x="153004" y="248189"/>
                    <a:pt x="160382" y="246249"/>
                  </a:cubicBezTo>
                  <a:cubicBezTo>
                    <a:pt x="166195" y="244956"/>
                    <a:pt x="172114" y="244195"/>
                    <a:pt x="178066" y="243967"/>
                  </a:cubicBezTo>
                  <a:cubicBezTo>
                    <a:pt x="184527" y="243815"/>
                    <a:pt x="190932" y="242712"/>
                    <a:pt x="197081" y="240735"/>
                  </a:cubicBezTo>
                  <a:cubicBezTo>
                    <a:pt x="207380" y="237255"/>
                    <a:pt x="216884" y="231760"/>
                    <a:pt x="225034" y="224572"/>
                  </a:cubicBezTo>
                  <a:cubicBezTo>
                    <a:pt x="230546" y="219019"/>
                    <a:pt x="235108" y="212592"/>
                    <a:pt x="238535" y="205556"/>
                  </a:cubicBezTo>
                  <a:cubicBezTo>
                    <a:pt x="235565" y="204663"/>
                    <a:pt x="232697" y="203446"/>
                    <a:pt x="229978" y="201943"/>
                  </a:cubicBezTo>
                  <a:cubicBezTo>
                    <a:pt x="228035" y="200784"/>
                    <a:pt x="226352" y="199224"/>
                    <a:pt x="225034" y="197380"/>
                  </a:cubicBezTo>
                  <a:lnTo>
                    <a:pt x="223323" y="195478"/>
                  </a:lnTo>
                  <a:cubicBezTo>
                    <a:pt x="221476" y="194432"/>
                    <a:pt x="219491" y="193672"/>
                    <a:pt x="217428" y="193196"/>
                  </a:cubicBezTo>
                  <a:lnTo>
                    <a:pt x="211913" y="191295"/>
                  </a:lnTo>
                  <a:cubicBezTo>
                    <a:pt x="202025" y="186921"/>
                    <a:pt x="200504" y="185590"/>
                    <a:pt x="199363" y="176843"/>
                  </a:cubicBezTo>
                  <a:lnTo>
                    <a:pt x="199363" y="173040"/>
                  </a:lnTo>
                  <a:cubicBezTo>
                    <a:pt x="197652" y="162772"/>
                    <a:pt x="197652" y="162772"/>
                    <a:pt x="189855" y="157447"/>
                  </a:cubicBezTo>
                  <a:cubicBezTo>
                    <a:pt x="179869" y="151686"/>
                    <a:pt x="170720" y="144593"/>
                    <a:pt x="162663" y="136340"/>
                  </a:cubicBezTo>
                  <a:cubicBezTo>
                    <a:pt x="158301" y="131320"/>
                    <a:pt x="154829" y="125597"/>
                    <a:pt x="152395" y="119417"/>
                  </a:cubicBezTo>
                  <a:cubicBezTo>
                    <a:pt x="151174" y="116260"/>
                    <a:pt x="149712" y="113218"/>
                    <a:pt x="148022" y="110289"/>
                  </a:cubicBezTo>
                  <a:cubicBezTo>
                    <a:pt x="145169" y="105535"/>
                    <a:pt x="142317" y="104775"/>
                    <a:pt x="135662" y="103634"/>
                  </a:cubicBezTo>
                  <a:lnTo>
                    <a:pt x="129006" y="102113"/>
                  </a:lnTo>
                  <a:cubicBezTo>
                    <a:pt x="118150" y="100553"/>
                    <a:pt x="108686" y="93917"/>
                    <a:pt x="103526" y="84238"/>
                  </a:cubicBezTo>
                  <a:cubicBezTo>
                    <a:pt x="100789" y="76024"/>
                    <a:pt x="102438" y="66991"/>
                    <a:pt x="107899" y="60279"/>
                  </a:cubicBezTo>
                  <a:cubicBezTo>
                    <a:pt x="114889" y="51893"/>
                    <a:pt x="114397" y="39571"/>
                    <a:pt x="106758" y="31756"/>
                  </a:cubicBezTo>
                  <a:lnTo>
                    <a:pt x="104096" y="31756"/>
                  </a:lnTo>
                  <a:cubicBezTo>
                    <a:pt x="101289" y="32231"/>
                    <a:pt x="98587" y="33201"/>
                    <a:pt x="96110" y="34608"/>
                  </a:cubicBezTo>
                  <a:cubicBezTo>
                    <a:pt x="94739" y="35578"/>
                    <a:pt x="93575" y="36795"/>
                    <a:pt x="92687" y="38221"/>
                  </a:cubicBezTo>
                  <a:cubicBezTo>
                    <a:pt x="90042" y="42613"/>
                    <a:pt x="85585" y="45618"/>
                    <a:pt x="80517" y="46398"/>
                  </a:cubicBezTo>
                  <a:cubicBezTo>
                    <a:pt x="68347" y="48109"/>
                    <a:pt x="59030" y="36319"/>
                    <a:pt x="51804" y="27382"/>
                  </a:cubicBezTo>
                  <a:cubicBezTo>
                    <a:pt x="49615" y="24473"/>
                    <a:pt x="47265" y="21678"/>
                    <a:pt x="44768" y="19015"/>
                  </a:cubicBezTo>
                  <a:cubicBezTo>
                    <a:pt x="39434" y="13919"/>
                    <a:pt x="35842" y="7264"/>
                    <a:pt x="34500" y="0"/>
                  </a:cubicBezTo>
                  <a:cubicBezTo>
                    <a:pt x="27603" y="6750"/>
                    <a:pt x="22052" y="14756"/>
                    <a:pt x="18147" y="23579"/>
                  </a:cubicBezTo>
                  <a:lnTo>
                    <a:pt x="13012" y="33087"/>
                  </a:lnTo>
                  <a:cubicBezTo>
                    <a:pt x="5977" y="45637"/>
                    <a:pt x="-2770" y="61039"/>
                    <a:pt x="843" y="72449"/>
                  </a:cubicBezTo>
                  <a:cubicBezTo>
                    <a:pt x="1894" y="75187"/>
                    <a:pt x="3442" y="77697"/>
                    <a:pt x="5406" y="79865"/>
                  </a:cubicBezTo>
                  <a:cubicBezTo>
                    <a:pt x="7863" y="82565"/>
                    <a:pt x="9856" y="85645"/>
                    <a:pt x="11301" y="88992"/>
                  </a:cubicBezTo>
                  <a:cubicBezTo>
                    <a:pt x="12480" y="91958"/>
                    <a:pt x="12999" y="95134"/>
                    <a:pt x="12822" y="98310"/>
                  </a:cubicBezTo>
                  <a:cubicBezTo>
                    <a:pt x="12482" y="99869"/>
                    <a:pt x="12482" y="101504"/>
                    <a:pt x="12822" y="103063"/>
                  </a:cubicBezTo>
                  <a:lnTo>
                    <a:pt x="14534" y="104204"/>
                  </a:lnTo>
                  <a:cubicBezTo>
                    <a:pt x="16433" y="105440"/>
                    <a:pt x="18053" y="107057"/>
                    <a:pt x="19287" y="108958"/>
                  </a:cubicBezTo>
                  <a:cubicBezTo>
                    <a:pt x="20428" y="111240"/>
                    <a:pt x="21379" y="113522"/>
                    <a:pt x="22330" y="115614"/>
                  </a:cubicBezTo>
                  <a:cubicBezTo>
                    <a:pt x="23400" y="118998"/>
                    <a:pt x="25294" y="122079"/>
                    <a:pt x="27844" y="124551"/>
                  </a:cubicBezTo>
                  <a:cubicBezTo>
                    <a:pt x="29639" y="126110"/>
                    <a:pt x="31619" y="127460"/>
                    <a:pt x="33739" y="128544"/>
                  </a:cubicBezTo>
                  <a:cubicBezTo>
                    <a:pt x="40691" y="131586"/>
                    <a:pt x="45175" y="138451"/>
                    <a:pt x="45148" y="146038"/>
                  </a:cubicBezTo>
                  <a:cubicBezTo>
                    <a:pt x="45177" y="156325"/>
                    <a:pt x="42627" y="166461"/>
                    <a:pt x="37732" y="175512"/>
                  </a:cubicBezTo>
                  <a:cubicBezTo>
                    <a:pt x="35063" y="181217"/>
                    <a:pt x="33085" y="187206"/>
                    <a:pt x="31838" y="19338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72" name="Полилиния: фигура 471">
              <a:extLst>
                <a:ext uri="{FF2B5EF4-FFF2-40B4-BE49-F238E27FC236}">
                  <a16:creationId xmlns:a16="http://schemas.microsoft.com/office/drawing/2014/main" id="{40D7DE35-2246-C96F-A874-8A1911A19A95}"/>
                </a:ext>
              </a:extLst>
            </p:cNvPr>
            <p:cNvSpPr/>
            <p:nvPr/>
          </p:nvSpPr>
          <p:spPr>
            <a:xfrm>
              <a:off x="4391201" y="3866235"/>
              <a:ext cx="232821" cy="224876"/>
            </a:xfrm>
            <a:custGeom>
              <a:avLst/>
              <a:gdLst>
                <a:gd name="connsiteX0" fmla="*/ 2282 w 256137"/>
                <a:gd name="connsiteY0" fmla="*/ 202489 h 246672"/>
                <a:gd name="connsiteX1" fmla="*/ 2282 w 256137"/>
                <a:gd name="connsiteY1" fmla="*/ 205341 h 246672"/>
                <a:gd name="connsiteX2" fmla="*/ 9888 w 256137"/>
                <a:gd name="connsiteY2" fmla="*/ 221314 h 246672"/>
                <a:gd name="connsiteX3" fmla="*/ 18065 w 256137"/>
                <a:gd name="connsiteY3" fmla="*/ 231012 h 246672"/>
                <a:gd name="connsiteX4" fmla="*/ 37080 w 256137"/>
                <a:gd name="connsiteY4" fmla="*/ 246604 h 246672"/>
                <a:gd name="connsiteX5" fmla="*/ 42024 w 256137"/>
                <a:gd name="connsiteY5" fmla="*/ 242801 h 246672"/>
                <a:gd name="connsiteX6" fmla="*/ 48679 w 256137"/>
                <a:gd name="connsiteY6" fmla="*/ 236146 h 246672"/>
                <a:gd name="connsiteX7" fmla="*/ 58567 w 256137"/>
                <a:gd name="connsiteY7" fmla="*/ 232343 h 246672"/>
                <a:gd name="connsiteX8" fmla="*/ 69026 w 256137"/>
                <a:gd name="connsiteY8" fmla="*/ 228730 h 246672"/>
                <a:gd name="connsiteX9" fmla="*/ 118276 w 256137"/>
                <a:gd name="connsiteY9" fmla="*/ 219222 h 246672"/>
                <a:gd name="connsiteX10" fmla="*/ 129495 w 256137"/>
                <a:gd name="connsiteY10" fmla="*/ 222645 h 246672"/>
                <a:gd name="connsiteX11" fmla="*/ 147369 w 256137"/>
                <a:gd name="connsiteY11" fmla="*/ 228159 h 246672"/>
                <a:gd name="connsiteX12" fmla="*/ 153644 w 256137"/>
                <a:gd name="connsiteY12" fmla="*/ 219032 h 246672"/>
                <a:gd name="connsiteX13" fmla="*/ 172660 w 256137"/>
                <a:gd name="connsiteY13" fmla="*/ 211045 h 246672"/>
                <a:gd name="connsiteX14" fmla="*/ 178935 w 256137"/>
                <a:gd name="connsiteY14" fmla="*/ 211045 h 246672"/>
                <a:gd name="connsiteX15" fmla="*/ 194718 w 256137"/>
                <a:gd name="connsiteY15" fmla="*/ 197925 h 246672"/>
                <a:gd name="connsiteX16" fmla="*/ 213733 w 256137"/>
                <a:gd name="connsiteY16" fmla="*/ 180050 h 246672"/>
                <a:gd name="connsiteX17" fmla="*/ 226093 w 256137"/>
                <a:gd name="connsiteY17" fmla="*/ 176247 h 246672"/>
                <a:gd name="connsiteX18" fmla="*/ 254236 w 256137"/>
                <a:gd name="connsiteY18" fmla="*/ 161986 h 246672"/>
                <a:gd name="connsiteX19" fmla="*/ 253095 w 256137"/>
                <a:gd name="connsiteY19" fmla="*/ 154380 h 246672"/>
                <a:gd name="connsiteX20" fmla="*/ 251764 w 256137"/>
                <a:gd name="connsiteY20" fmla="*/ 142210 h 246672"/>
                <a:gd name="connsiteX21" fmla="*/ 256137 w 256137"/>
                <a:gd name="connsiteY21" fmla="*/ 130610 h 246672"/>
                <a:gd name="connsiteX22" fmla="*/ 244158 w 256137"/>
                <a:gd name="connsiteY22" fmla="*/ 121483 h 246672"/>
                <a:gd name="connsiteX23" fmla="*/ 234650 w 256137"/>
                <a:gd name="connsiteY23" fmla="*/ 80220 h 246672"/>
                <a:gd name="connsiteX24" fmla="*/ 234650 w 256137"/>
                <a:gd name="connsiteY24" fmla="*/ 68810 h 246672"/>
                <a:gd name="connsiteX25" fmla="*/ 218677 w 256137"/>
                <a:gd name="connsiteY25" fmla="*/ 33822 h 246672"/>
                <a:gd name="connsiteX26" fmla="*/ 202134 w 256137"/>
                <a:gd name="connsiteY26" fmla="*/ 32111 h 246672"/>
                <a:gd name="connsiteX27" fmla="*/ 176843 w 256137"/>
                <a:gd name="connsiteY27" fmla="*/ 29068 h 246672"/>
                <a:gd name="connsiteX28" fmla="*/ 161060 w 256137"/>
                <a:gd name="connsiteY28" fmla="*/ 14997 h 246672"/>
                <a:gd name="connsiteX29" fmla="*/ 142045 w 256137"/>
                <a:gd name="connsiteY29" fmla="*/ 1496 h 246672"/>
                <a:gd name="connsiteX30" fmla="*/ 123030 w 256137"/>
                <a:gd name="connsiteY30" fmla="*/ 355 h 246672"/>
                <a:gd name="connsiteX31" fmla="*/ 123030 w 256137"/>
                <a:gd name="connsiteY31" fmla="*/ 355 h 246672"/>
                <a:gd name="connsiteX32" fmla="*/ 114663 w 256137"/>
                <a:gd name="connsiteY32" fmla="*/ 4538 h 246672"/>
                <a:gd name="connsiteX33" fmla="*/ 112191 w 256137"/>
                <a:gd name="connsiteY33" fmla="*/ 6060 h 246672"/>
                <a:gd name="connsiteX34" fmla="*/ 106106 w 256137"/>
                <a:gd name="connsiteY34" fmla="*/ 9292 h 246672"/>
                <a:gd name="connsiteX35" fmla="*/ 98119 w 256137"/>
                <a:gd name="connsiteY35" fmla="*/ 12525 h 246672"/>
                <a:gd name="connsiteX36" fmla="*/ 82337 w 256137"/>
                <a:gd name="connsiteY36" fmla="*/ 31540 h 246672"/>
                <a:gd name="connsiteX37" fmla="*/ 63321 w 256137"/>
                <a:gd name="connsiteY37" fmla="*/ 50556 h 246672"/>
                <a:gd name="connsiteX38" fmla="*/ 52102 w 256137"/>
                <a:gd name="connsiteY38" fmla="*/ 56260 h 246672"/>
                <a:gd name="connsiteX39" fmla="*/ 45827 w 256137"/>
                <a:gd name="connsiteY39" fmla="*/ 75276 h 246672"/>
                <a:gd name="connsiteX40" fmla="*/ 45827 w 256137"/>
                <a:gd name="connsiteY40" fmla="*/ 83833 h 246672"/>
                <a:gd name="connsiteX41" fmla="*/ 45827 w 256137"/>
                <a:gd name="connsiteY41" fmla="*/ 98094 h 246672"/>
                <a:gd name="connsiteX42" fmla="*/ 40313 w 256137"/>
                <a:gd name="connsiteY42" fmla="*/ 107602 h 246672"/>
                <a:gd name="connsiteX43" fmla="*/ 36510 w 256137"/>
                <a:gd name="connsiteY43" fmla="*/ 113687 h 246672"/>
                <a:gd name="connsiteX44" fmla="*/ 41454 w 256137"/>
                <a:gd name="connsiteY44" fmla="*/ 124906 h 246672"/>
                <a:gd name="connsiteX45" fmla="*/ 45827 w 256137"/>
                <a:gd name="connsiteY45" fmla="*/ 131941 h 246672"/>
                <a:gd name="connsiteX46" fmla="*/ 46778 w 256137"/>
                <a:gd name="connsiteY46" fmla="*/ 168641 h 246672"/>
                <a:gd name="connsiteX47" fmla="*/ 26456 w 256137"/>
                <a:gd name="connsiteY47" fmla="*/ 178510 h 246672"/>
                <a:gd name="connsiteX48" fmla="*/ 22438 w 256137"/>
                <a:gd name="connsiteY48" fmla="*/ 176438 h 246672"/>
                <a:gd name="connsiteX49" fmla="*/ 17494 w 256137"/>
                <a:gd name="connsiteY49" fmla="*/ 174536 h 246672"/>
                <a:gd name="connsiteX50" fmla="*/ 17494 w 256137"/>
                <a:gd name="connsiteY50" fmla="*/ 174536 h 246672"/>
                <a:gd name="connsiteX51" fmla="*/ 3423 w 256137"/>
                <a:gd name="connsiteY51" fmla="*/ 184804 h 246672"/>
                <a:gd name="connsiteX52" fmla="*/ 0 w 256137"/>
                <a:gd name="connsiteY52" fmla="*/ 194882 h 246672"/>
                <a:gd name="connsiteX53" fmla="*/ 0 w 256137"/>
                <a:gd name="connsiteY53" fmla="*/ 194882 h 246672"/>
                <a:gd name="connsiteX54" fmla="*/ 0 w 256137"/>
                <a:gd name="connsiteY54" fmla="*/ 194882 h 246672"/>
                <a:gd name="connsiteX55" fmla="*/ 2282 w 256137"/>
                <a:gd name="connsiteY55" fmla="*/ 202489 h 2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56137" h="246672">
                  <a:moveTo>
                    <a:pt x="2282" y="202489"/>
                  </a:moveTo>
                  <a:cubicBezTo>
                    <a:pt x="2092" y="203439"/>
                    <a:pt x="2092" y="204390"/>
                    <a:pt x="2282" y="205341"/>
                  </a:cubicBezTo>
                  <a:cubicBezTo>
                    <a:pt x="2860" y="211388"/>
                    <a:pt x="5554" y="217054"/>
                    <a:pt x="9888" y="221314"/>
                  </a:cubicBezTo>
                  <a:cubicBezTo>
                    <a:pt x="12837" y="224356"/>
                    <a:pt x="15568" y="227589"/>
                    <a:pt x="18065" y="231012"/>
                  </a:cubicBezTo>
                  <a:cubicBezTo>
                    <a:pt x="23769" y="238428"/>
                    <a:pt x="30805" y="247555"/>
                    <a:pt x="37080" y="246604"/>
                  </a:cubicBezTo>
                  <a:cubicBezTo>
                    <a:pt x="39362" y="246604"/>
                    <a:pt x="40122" y="245273"/>
                    <a:pt x="42024" y="242801"/>
                  </a:cubicBezTo>
                  <a:cubicBezTo>
                    <a:pt x="43789" y="240177"/>
                    <a:pt x="46050" y="237914"/>
                    <a:pt x="48679" y="236146"/>
                  </a:cubicBezTo>
                  <a:cubicBezTo>
                    <a:pt x="51766" y="234396"/>
                    <a:pt x="55099" y="233103"/>
                    <a:pt x="58567" y="232343"/>
                  </a:cubicBezTo>
                  <a:cubicBezTo>
                    <a:pt x="62161" y="231487"/>
                    <a:pt x="65664" y="230270"/>
                    <a:pt x="69026" y="228730"/>
                  </a:cubicBezTo>
                  <a:cubicBezTo>
                    <a:pt x="82941" y="217796"/>
                    <a:pt x="101287" y="214240"/>
                    <a:pt x="118276" y="219222"/>
                  </a:cubicBezTo>
                  <a:lnTo>
                    <a:pt x="129495" y="222645"/>
                  </a:lnTo>
                  <a:cubicBezTo>
                    <a:pt x="135390" y="224356"/>
                    <a:pt x="141475" y="226068"/>
                    <a:pt x="147369" y="228159"/>
                  </a:cubicBezTo>
                  <a:cubicBezTo>
                    <a:pt x="149005" y="224832"/>
                    <a:pt x="151119" y="221751"/>
                    <a:pt x="153644" y="219032"/>
                  </a:cubicBezTo>
                  <a:cubicBezTo>
                    <a:pt x="158516" y="213727"/>
                    <a:pt x="165460" y="210817"/>
                    <a:pt x="172660" y="211045"/>
                  </a:cubicBezTo>
                  <a:lnTo>
                    <a:pt x="178935" y="211045"/>
                  </a:lnTo>
                  <a:cubicBezTo>
                    <a:pt x="186351" y="209905"/>
                    <a:pt x="189964" y="204580"/>
                    <a:pt x="194718" y="197925"/>
                  </a:cubicBezTo>
                  <a:cubicBezTo>
                    <a:pt x="199207" y="190262"/>
                    <a:pt x="205809" y="184063"/>
                    <a:pt x="213733" y="180050"/>
                  </a:cubicBezTo>
                  <a:cubicBezTo>
                    <a:pt x="217776" y="178548"/>
                    <a:pt x="221902" y="177274"/>
                    <a:pt x="226093" y="176247"/>
                  </a:cubicBezTo>
                  <a:cubicBezTo>
                    <a:pt x="237122" y="173585"/>
                    <a:pt x="251954" y="169592"/>
                    <a:pt x="254236" y="161986"/>
                  </a:cubicBezTo>
                  <a:cubicBezTo>
                    <a:pt x="254624" y="159400"/>
                    <a:pt x="254226" y="156737"/>
                    <a:pt x="253095" y="154380"/>
                  </a:cubicBezTo>
                  <a:cubicBezTo>
                    <a:pt x="251745" y="150482"/>
                    <a:pt x="251290" y="146317"/>
                    <a:pt x="251764" y="142210"/>
                  </a:cubicBezTo>
                  <a:cubicBezTo>
                    <a:pt x="252597" y="138141"/>
                    <a:pt x="254072" y="134223"/>
                    <a:pt x="256137" y="130610"/>
                  </a:cubicBezTo>
                  <a:cubicBezTo>
                    <a:pt x="251811" y="128024"/>
                    <a:pt x="247793" y="124963"/>
                    <a:pt x="244158" y="121483"/>
                  </a:cubicBezTo>
                  <a:cubicBezTo>
                    <a:pt x="234884" y="109884"/>
                    <a:pt x="231387" y="94709"/>
                    <a:pt x="234650" y="80220"/>
                  </a:cubicBezTo>
                  <a:cubicBezTo>
                    <a:pt x="234650" y="76417"/>
                    <a:pt x="234650" y="72614"/>
                    <a:pt x="234650" y="68810"/>
                  </a:cubicBezTo>
                  <a:cubicBezTo>
                    <a:pt x="234614" y="55385"/>
                    <a:pt x="228791" y="42645"/>
                    <a:pt x="218677" y="33822"/>
                  </a:cubicBezTo>
                  <a:cubicBezTo>
                    <a:pt x="213585" y="31160"/>
                    <a:pt x="207663" y="30532"/>
                    <a:pt x="202134" y="32111"/>
                  </a:cubicBezTo>
                  <a:cubicBezTo>
                    <a:pt x="193598" y="33898"/>
                    <a:pt x="184712" y="32833"/>
                    <a:pt x="176843" y="29068"/>
                  </a:cubicBezTo>
                  <a:cubicBezTo>
                    <a:pt x="170838" y="25284"/>
                    <a:pt x="165504" y="20530"/>
                    <a:pt x="161060" y="14997"/>
                  </a:cubicBezTo>
                  <a:cubicBezTo>
                    <a:pt x="156584" y="8323"/>
                    <a:pt x="149820" y="3531"/>
                    <a:pt x="142045" y="1496"/>
                  </a:cubicBezTo>
                  <a:cubicBezTo>
                    <a:pt x="135821" y="13"/>
                    <a:pt x="129386" y="-368"/>
                    <a:pt x="123030" y="355"/>
                  </a:cubicBezTo>
                  <a:lnTo>
                    <a:pt x="123030" y="355"/>
                  </a:lnTo>
                  <a:cubicBezTo>
                    <a:pt x="120048" y="1325"/>
                    <a:pt x="117226" y="2732"/>
                    <a:pt x="114663" y="4538"/>
                  </a:cubicBezTo>
                  <a:lnTo>
                    <a:pt x="112191" y="6060"/>
                  </a:lnTo>
                  <a:cubicBezTo>
                    <a:pt x="110247" y="7296"/>
                    <a:pt x="108213" y="8361"/>
                    <a:pt x="106106" y="9292"/>
                  </a:cubicBezTo>
                  <a:lnTo>
                    <a:pt x="98119" y="12525"/>
                  </a:lnTo>
                  <a:cubicBezTo>
                    <a:pt x="87281" y="16518"/>
                    <a:pt x="85569" y="17089"/>
                    <a:pt x="82337" y="31540"/>
                  </a:cubicBezTo>
                  <a:cubicBezTo>
                    <a:pt x="80694" y="41276"/>
                    <a:pt x="73061" y="48920"/>
                    <a:pt x="63321" y="50556"/>
                  </a:cubicBezTo>
                  <a:cubicBezTo>
                    <a:pt x="59077" y="51240"/>
                    <a:pt x="55152" y="53237"/>
                    <a:pt x="52102" y="56260"/>
                  </a:cubicBezTo>
                  <a:cubicBezTo>
                    <a:pt x="48349" y="61927"/>
                    <a:pt x="46183" y="68487"/>
                    <a:pt x="45827" y="75276"/>
                  </a:cubicBezTo>
                  <a:cubicBezTo>
                    <a:pt x="45485" y="78109"/>
                    <a:pt x="45485" y="80999"/>
                    <a:pt x="45827" y="83833"/>
                  </a:cubicBezTo>
                  <a:cubicBezTo>
                    <a:pt x="46877" y="88529"/>
                    <a:pt x="46877" y="93397"/>
                    <a:pt x="45827" y="98094"/>
                  </a:cubicBezTo>
                  <a:cubicBezTo>
                    <a:pt x="44732" y="101631"/>
                    <a:pt x="42846" y="104883"/>
                    <a:pt x="40313" y="107602"/>
                  </a:cubicBezTo>
                  <a:cubicBezTo>
                    <a:pt x="38594" y="109313"/>
                    <a:pt x="37293" y="111386"/>
                    <a:pt x="36510" y="113687"/>
                  </a:cubicBezTo>
                  <a:cubicBezTo>
                    <a:pt x="36875" y="117870"/>
                    <a:pt x="38613" y="121806"/>
                    <a:pt x="41454" y="124906"/>
                  </a:cubicBezTo>
                  <a:cubicBezTo>
                    <a:pt x="42975" y="127188"/>
                    <a:pt x="44496" y="129470"/>
                    <a:pt x="45827" y="131941"/>
                  </a:cubicBezTo>
                  <a:cubicBezTo>
                    <a:pt x="50674" y="143636"/>
                    <a:pt x="51013" y="156719"/>
                    <a:pt x="46778" y="168641"/>
                  </a:cubicBezTo>
                  <a:cubicBezTo>
                    <a:pt x="43891" y="176970"/>
                    <a:pt x="34793" y="181400"/>
                    <a:pt x="26456" y="178510"/>
                  </a:cubicBezTo>
                  <a:cubicBezTo>
                    <a:pt x="25026" y="178016"/>
                    <a:pt x="23672" y="177312"/>
                    <a:pt x="22438" y="176438"/>
                  </a:cubicBezTo>
                  <a:cubicBezTo>
                    <a:pt x="20887" y="175582"/>
                    <a:pt x="19223" y="174935"/>
                    <a:pt x="17494" y="174536"/>
                  </a:cubicBezTo>
                  <a:lnTo>
                    <a:pt x="17494" y="174536"/>
                  </a:lnTo>
                  <a:cubicBezTo>
                    <a:pt x="11312" y="175220"/>
                    <a:pt x="5954" y="179119"/>
                    <a:pt x="3423" y="184804"/>
                  </a:cubicBezTo>
                  <a:cubicBezTo>
                    <a:pt x="1774" y="187961"/>
                    <a:pt x="620" y="191364"/>
                    <a:pt x="0" y="194882"/>
                  </a:cubicBezTo>
                  <a:lnTo>
                    <a:pt x="0" y="194882"/>
                  </a:lnTo>
                  <a:lnTo>
                    <a:pt x="0" y="194882"/>
                  </a:lnTo>
                  <a:cubicBezTo>
                    <a:pt x="525" y="197488"/>
                    <a:pt x="1287" y="200036"/>
                    <a:pt x="2282" y="20248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73" name="Полилиния: фигура 472">
              <a:extLst>
                <a:ext uri="{FF2B5EF4-FFF2-40B4-BE49-F238E27FC236}">
                  <a16:creationId xmlns:a16="http://schemas.microsoft.com/office/drawing/2014/main" id="{66BB0BC8-C62B-06E3-F480-1DDB04C3E1D0}"/>
                </a:ext>
              </a:extLst>
            </p:cNvPr>
            <p:cNvSpPr/>
            <p:nvPr/>
          </p:nvSpPr>
          <p:spPr>
            <a:xfrm>
              <a:off x="4455541" y="4072708"/>
              <a:ext cx="215727" cy="162383"/>
            </a:xfrm>
            <a:custGeom>
              <a:avLst/>
              <a:gdLst>
                <a:gd name="connsiteX0" fmla="*/ 906 w 237331"/>
                <a:gd name="connsiteY0" fmla="*/ 62715 h 178123"/>
                <a:gd name="connsiteX1" fmla="*/ 19922 w 237331"/>
                <a:gd name="connsiteY1" fmla="*/ 73934 h 178123"/>
                <a:gd name="connsiteX2" fmla="*/ 25816 w 237331"/>
                <a:gd name="connsiteY2" fmla="*/ 75265 h 178123"/>
                <a:gd name="connsiteX3" fmla="*/ 44832 w 237331"/>
                <a:gd name="connsiteY3" fmla="*/ 87245 h 178123"/>
                <a:gd name="connsiteX4" fmla="*/ 49776 w 237331"/>
                <a:gd name="connsiteY4" fmla="*/ 97513 h 178123"/>
                <a:gd name="connsiteX5" fmla="*/ 58142 w 237331"/>
                <a:gd name="connsiteY5" fmla="*/ 111584 h 178123"/>
                <a:gd name="connsiteX6" fmla="*/ 82482 w 237331"/>
                <a:gd name="connsiteY6" fmla="*/ 130600 h 178123"/>
                <a:gd name="connsiteX7" fmla="*/ 96744 w 237331"/>
                <a:gd name="connsiteY7" fmla="*/ 153418 h 178123"/>
                <a:gd name="connsiteX8" fmla="*/ 96744 w 237331"/>
                <a:gd name="connsiteY8" fmla="*/ 157411 h 178123"/>
                <a:gd name="connsiteX9" fmla="*/ 96744 w 237331"/>
                <a:gd name="connsiteY9" fmla="*/ 160834 h 178123"/>
                <a:gd name="connsiteX10" fmla="*/ 101688 w 237331"/>
                <a:gd name="connsiteY10" fmla="*/ 163116 h 178123"/>
                <a:gd name="connsiteX11" fmla="*/ 106632 w 237331"/>
                <a:gd name="connsiteY11" fmla="*/ 165018 h 178123"/>
                <a:gd name="connsiteX12" fmla="*/ 115189 w 237331"/>
                <a:gd name="connsiteY12" fmla="*/ 168440 h 178123"/>
                <a:gd name="connsiteX13" fmla="*/ 119562 w 237331"/>
                <a:gd name="connsiteY13" fmla="*/ 172624 h 178123"/>
                <a:gd name="connsiteX14" fmla="*/ 121464 w 237331"/>
                <a:gd name="connsiteY14" fmla="*/ 174715 h 178123"/>
                <a:gd name="connsiteX15" fmla="*/ 128880 w 237331"/>
                <a:gd name="connsiteY15" fmla="*/ 177568 h 178123"/>
                <a:gd name="connsiteX16" fmla="*/ 139909 w 237331"/>
                <a:gd name="connsiteY16" fmla="*/ 177568 h 178123"/>
                <a:gd name="connsiteX17" fmla="*/ 143331 w 237331"/>
                <a:gd name="connsiteY17" fmla="*/ 177568 h 178123"/>
                <a:gd name="connsiteX18" fmla="*/ 148085 w 237331"/>
                <a:gd name="connsiteY18" fmla="*/ 170912 h 178123"/>
                <a:gd name="connsiteX19" fmla="*/ 153790 w 237331"/>
                <a:gd name="connsiteY19" fmla="*/ 160834 h 178123"/>
                <a:gd name="connsiteX20" fmla="*/ 191821 w 237331"/>
                <a:gd name="connsiteY20" fmla="*/ 164257 h 178123"/>
                <a:gd name="connsiteX21" fmla="*/ 210836 w 237331"/>
                <a:gd name="connsiteY21" fmla="*/ 171483 h 178123"/>
                <a:gd name="connsiteX22" fmla="*/ 225858 w 237331"/>
                <a:gd name="connsiteY22" fmla="*/ 157221 h 178123"/>
                <a:gd name="connsiteX23" fmla="*/ 226999 w 237331"/>
                <a:gd name="connsiteY23" fmla="*/ 151136 h 178123"/>
                <a:gd name="connsiteX24" fmla="*/ 226999 w 237331"/>
                <a:gd name="connsiteY24" fmla="*/ 147333 h 178123"/>
                <a:gd name="connsiteX25" fmla="*/ 229091 w 237331"/>
                <a:gd name="connsiteY25" fmla="*/ 140488 h 178123"/>
                <a:gd name="connsiteX26" fmla="*/ 231753 w 237331"/>
                <a:gd name="connsiteY26" fmla="*/ 136685 h 178123"/>
                <a:gd name="connsiteX27" fmla="*/ 232894 w 237331"/>
                <a:gd name="connsiteY27" fmla="*/ 135163 h 178123"/>
                <a:gd name="connsiteX28" fmla="*/ 234986 w 237331"/>
                <a:gd name="connsiteY28" fmla="*/ 132501 h 178123"/>
                <a:gd name="connsiteX29" fmla="*/ 234986 w 237331"/>
                <a:gd name="connsiteY29" fmla="*/ 109302 h 178123"/>
                <a:gd name="connsiteX30" fmla="*/ 228901 w 237331"/>
                <a:gd name="connsiteY30" fmla="*/ 104929 h 178123"/>
                <a:gd name="connsiteX31" fmla="*/ 217111 w 237331"/>
                <a:gd name="connsiteY31" fmla="*/ 91808 h 178123"/>
                <a:gd name="connsiteX32" fmla="*/ 220724 w 237331"/>
                <a:gd name="connsiteY32" fmla="*/ 79068 h 178123"/>
                <a:gd name="connsiteX33" fmla="*/ 222626 w 237331"/>
                <a:gd name="connsiteY33" fmla="*/ 74504 h 178123"/>
                <a:gd name="connsiteX34" fmla="*/ 211787 w 237331"/>
                <a:gd name="connsiteY34" fmla="*/ 68419 h 178123"/>
                <a:gd name="connsiteX35" fmla="*/ 209885 w 237331"/>
                <a:gd name="connsiteY35" fmla="*/ 68419 h 178123"/>
                <a:gd name="connsiteX36" fmla="*/ 205131 w 237331"/>
                <a:gd name="connsiteY36" fmla="*/ 67088 h 178123"/>
                <a:gd name="connsiteX37" fmla="*/ 182883 w 237331"/>
                <a:gd name="connsiteY37" fmla="*/ 54538 h 178123"/>
                <a:gd name="connsiteX38" fmla="*/ 179270 w 237331"/>
                <a:gd name="connsiteY38" fmla="*/ 42939 h 178123"/>
                <a:gd name="connsiteX39" fmla="*/ 175658 w 237331"/>
                <a:gd name="connsiteY39" fmla="*/ 35143 h 178123"/>
                <a:gd name="connsiteX40" fmla="*/ 162347 w 237331"/>
                <a:gd name="connsiteY40" fmla="*/ 35143 h 178123"/>
                <a:gd name="connsiteX41" fmla="*/ 155501 w 237331"/>
                <a:gd name="connsiteY41" fmla="*/ 36093 h 178123"/>
                <a:gd name="connsiteX42" fmla="*/ 141810 w 237331"/>
                <a:gd name="connsiteY42" fmla="*/ 34382 h 178123"/>
                <a:gd name="connsiteX43" fmla="*/ 137056 w 237331"/>
                <a:gd name="connsiteY43" fmla="*/ 33241 h 178123"/>
                <a:gd name="connsiteX44" fmla="*/ 126027 w 237331"/>
                <a:gd name="connsiteY44" fmla="*/ 33241 h 178123"/>
                <a:gd name="connsiteX45" fmla="*/ 107012 w 237331"/>
                <a:gd name="connsiteY45" fmla="*/ 30769 h 178123"/>
                <a:gd name="connsiteX46" fmla="*/ 95603 w 237331"/>
                <a:gd name="connsiteY46" fmla="*/ 22973 h 178123"/>
                <a:gd name="connsiteX47" fmla="*/ 86856 w 237331"/>
                <a:gd name="connsiteY47" fmla="*/ 16888 h 178123"/>
                <a:gd name="connsiteX48" fmla="*/ 81531 w 237331"/>
                <a:gd name="connsiteY48" fmla="*/ 14416 h 178123"/>
                <a:gd name="connsiteX49" fmla="*/ 71453 w 237331"/>
                <a:gd name="connsiteY49" fmla="*/ 10232 h 178123"/>
                <a:gd name="connsiteX50" fmla="*/ 54910 w 237331"/>
                <a:gd name="connsiteY50" fmla="*/ 5098 h 178123"/>
                <a:gd name="connsiteX51" fmla="*/ 43310 w 237331"/>
                <a:gd name="connsiteY51" fmla="*/ 1675 h 178123"/>
                <a:gd name="connsiteX52" fmla="*/ 3378 w 237331"/>
                <a:gd name="connsiteY52" fmla="*/ 9852 h 178123"/>
                <a:gd name="connsiteX53" fmla="*/ 3378 w 237331"/>
                <a:gd name="connsiteY53" fmla="*/ 47883 h 178123"/>
                <a:gd name="connsiteX54" fmla="*/ 906 w 237331"/>
                <a:gd name="connsiteY54" fmla="*/ 62715 h 178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237331" h="178123">
                  <a:moveTo>
                    <a:pt x="906" y="62715"/>
                  </a:moveTo>
                  <a:cubicBezTo>
                    <a:pt x="2808" y="67279"/>
                    <a:pt x="9273" y="71272"/>
                    <a:pt x="19922" y="73934"/>
                  </a:cubicBezTo>
                  <a:lnTo>
                    <a:pt x="25816" y="75265"/>
                  </a:lnTo>
                  <a:cubicBezTo>
                    <a:pt x="33729" y="75911"/>
                    <a:pt x="40827" y="80380"/>
                    <a:pt x="44832" y="87245"/>
                  </a:cubicBezTo>
                  <a:cubicBezTo>
                    <a:pt x="46785" y="90515"/>
                    <a:pt x="48439" y="93957"/>
                    <a:pt x="49776" y="97513"/>
                  </a:cubicBezTo>
                  <a:cubicBezTo>
                    <a:pt x="51803" y="102609"/>
                    <a:pt x="54627" y="107363"/>
                    <a:pt x="58142" y="111584"/>
                  </a:cubicBezTo>
                  <a:cubicBezTo>
                    <a:pt x="65406" y="118943"/>
                    <a:pt x="73587" y="125332"/>
                    <a:pt x="82482" y="130600"/>
                  </a:cubicBezTo>
                  <a:cubicBezTo>
                    <a:pt x="91256" y="134802"/>
                    <a:pt x="96812" y="143682"/>
                    <a:pt x="96744" y="153418"/>
                  </a:cubicBezTo>
                  <a:lnTo>
                    <a:pt x="96744" y="157411"/>
                  </a:lnTo>
                  <a:cubicBezTo>
                    <a:pt x="96647" y="158552"/>
                    <a:pt x="96647" y="159693"/>
                    <a:pt x="96744" y="160834"/>
                  </a:cubicBezTo>
                  <a:lnTo>
                    <a:pt x="101688" y="163116"/>
                  </a:lnTo>
                  <a:lnTo>
                    <a:pt x="106632" y="165018"/>
                  </a:lnTo>
                  <a:cubicBezTo>
                    <a:pt x="109646" y="165702"/>
                    <a:pt x="112532" y="166862"/>
                    <a:pt x="115189" y="168440"/>
                  </a:cubicBezTo>
                  <a:cubicBezTo>
                    <a:pt x="116860" y="169600"/>
                    <a:pt x="118338" y="171008"/>
                    <a:pt x="119562" y="172624"/>
                  </a:cubicBezTo>
                  <a:cubicBezTo>
                    <a:pt x="120102" y="173403"/>
                    <a:pt x="120741" y="174107"/>
                    <a:pt x="121464" y="174715"/>
                  </a:cubicBezTo>
                  <a:cubicBezTo>
                    <a:pt x="123776" y="176047"/>
                    <a:pt x="126276" y="176997"/>
                    <a:pt x="128880" y="177568"/>
                  </a:cubicBezTo>
                  <a:cubicBezTo>
                    <a:pt x="132519" y="178309"/>
                    <a:pt x="136269" y="178309"/>
                    <a:pt x="139909" y="177568"/>
                  </a:cubicBezTo>
                  <a:cubicBezTo>
                    <a:pt x="141042" y="177758"/>
                    <a:pt x="142198" y="177758"/>
                    <a:pt x="143331" y="177568"/>
                  </a:cubicBezTo>
                  <a:cubicBezTo>
                    <a:pt x="145994" y="176237"/>
                    <a:pt x="146754" y="174715"/>
                    <a:pt x="148085" y="170912"/>
                  </a:cubicBezTo>
                  <a:cubicBezTo>
                    <a:pt x="149047" y="167109"/>
                    <a:pt x="151017" y="163630"/>
                    <a:pt x="153790" y="160834"/>
                  </a:cubicBezTo>
                  <a:cubicBezTo>
                    <a:pt x="165389" y="149235"/>
                    <a:pt x="179841" y="157602"/>
                    <a:pt x="191821" y="164257"/>
                  </a:cubicBezTo>
                  <a:cubicBezTo>
                    <a:pt x="198856" y="168440"/>
                    <a:pt x="206272" y="172624"/>
                    <a:pt x="210836" y="171483"/>
                  </a:cubicBezTo>
                  <a:cubicBezTo>
                    <a:pt x="217624" y="169049"/>
                    <a:pt x="223076" y="163877"/>
                    <a:pt x="225858" y="157221"/>
                  </a:cubicBezTo>
                  <a:cubicBezTo>
                    <a:pt x="226383" y="155225"/>
                    <a:pt x="226763" y="153190"/>
                    <a:pt x="226999" y="151136"/>
                  </a:cubicBezTo>
                  <a:cubicBezTo>
                    <a:pt x="226914" y="149862"/>
                    <a:pt x="226914" y="148607"/>
                    <a:pt x="226999" y="147333"/>
                  </a:cubicBezTo>
                  <a:cubicBezTo>
                    <a:pt x="227398" y="144975"/>
                    <a:pt x="228100" y="142675"/>
                    <a:pt x="229091" y="140488"/>
                  </a:cubicBezTo>
                  <a:cubicBezTo>
                    <a:pt x="229819" y="139119"/>
                    <a:pt x="230713" y="137845"/>
                    <a:pt x="231753" y="136685"/>
                  </a:cubicBezTo>
                  <a:lnTo>
                    <a:pt x="232894" y="135163"/>
                  </a:lnTo>
                  <a:cubicBezTo>
                    <a:pt x="233662" y="134327"/>
                    <a:pt x="234362" y="133452"/>
                    <a:pt x="234986" y="132501"/>
                  </a:cubicBezTo>
                  <a:cubicBezTo>
                    <a:pt x="238114" y="125085"/>
                    <a:pt x="238114" y="116718"/>
                    <a:pt x="234986" y="109302"/>
                  </a:cubicBezTo>
                  <a:cubicBezTo>
                    <a:pt x="233327" y="107382"/>
                    <a:pt x="231243" y="105899"/>
                    <a:pt x="228901" y="104929"/>
                  </a:cubicBezTo>
                  <a:cubicBezTo>
                    <a:pt x="223057" y="102761"/>
                    <a:pt x="218651" y="97855"/>
                    <a:pt x="217111" y="91808"/>
                  </a:cubicBezTo>
                  <a:cubicBezTo>
                    <a:pt x="216558" y="87245"/>
                    <a:pt x="217858" y="82662"/>
                    <a:pt x="220724" y="79068"/>
                  </a:cubicBezTo>
                  <a:cubicBezTo>
                    <a:pt x="222435" y="76596"/>
                    <a:pt x="222816" y="75835"/>
                    <a:pt x="222626" y="74504"/>
                  </a:cubicBezTo>
                  <a:cubicBezTo>
                    <a:pt x="222435" y="73173"/>
                    <a:pt x="215970" y="69560"/>
                    <a:pt x="211787" y="68419"/>
                  </a:cubicBezTo>
                  <a:lnTo>
                    <a:pt x="209885" y="68419"/>
                  </a:lnTo>
                  <a:lnTo>
                    <a:pt x="205131" y="67088"/>
                  </a:lnTo>
                  <a:cubicBezTo>
                    <a:pt x="196270" y="66252"/>
                    <a:pt x="188183" y="61688"/>
                    <a:pt x="182883" y="54538"/>
                  </a:cubicBezTo>
                  <a:cubicBezTo>
                    <a:pt x="180877" y="50963"/>
                    <a:pt x="179645" y="47008"/>
                    <a:pt x="179270" y="42939"/>
                  </a:cubicBezTo>
                  <a:cubicBezTo>
                    <a:pt x="179270" y="37995"/>
                    <a:pt x="177939" y="36283"/>
                    <a:pt x="175658" y="35143"/>
                  </a:cubicBezTo>
                  <a:cubicBezTo>
                    <a:pt x="171280" y="34116"/>
                    <a:pt x="166724" y="34116"/>
                    <a:pt x="162347" y="35143"/>
                  </a:cubicBezTo>
                  <a:lnTo>
                    <a:pt x="155501" y="36093"/>
                  </a:lnTo>
                  <a:cubicBezTo>
                    <a:pt x="150869" y="36417"/>
                    <a:pt x="146220" y="35827"/>
                    <a:pt x="141810" y="34382"/>
                  </a:cubicBezTo>
                  <a:lnTo>
                    <a:pt x="137056" y="33241"/>
                  </a:lnTo>
                  <a:cubicBezTo>
                    <a:pt x="133396" y="32766"/>
                    <a:pt x="129688" y="32766"/>
                    <a:pt x="126027" y="33241"/>
                  </a:cubicBezTo>
                  <a:cubicBezTo>
                    <a:pt x="119583" y="34249"/>
                    <a:pt x="112985" y="33393"/>
                    <a:pt x="107012" y="30769"/>
                  </a:cubicBezTo>
                  <a:cubicBezTo>
                    <a:pt x="102964" y="28544"/>
                    <a:pt x="99143" y="25939"/>
                    <a:pt x="95603" y="22973"/>
                  </a:cubicBezTo>
                  <a:cubicBezTo>
                    <a:pt x="92872" y="20691"/>
                    <a:pt x="89944" y="18656"/>
                    <a:pt x="86856" y="16888"/>
                  </a:cubicBezTo>
                  <a:cubicBezTo>
                    <a:pt x="85175" y="15880"/>
                    <a:pt x="83389" y="15043"/>
                    <a:pt x="81531" y="14416"/>
                  </a:cubicBezTo>
                  <a:lnTo>
                    <a:pt x="71453" y="10232"/>
                  </a:lnTo>
                  <a:lnTo>
                    <a:pt x="54910" y="5098"/>
                  </a:lnTo>
                  <a:lnTo>
                    <a:pt x="43310" y="1675"/>
                  </a:lnTo>
                  <a:cubicBezTo>
                    <a:pt x="29462" y="-2242"/>
                    <a:pt x="14571" y="801"/>
                    <a:pt x="3378" y="9852"/>
                  </a:cubicBezTo>
                  <a:cubicBezTo>
                    <a:pt x="12002" y="21071"/>
                    <a:pt x="12002" y="36664"/>
                    <a:pt x="3378" y="47883"/>
                  </a:cubicBezTo>
                  <a:cubicBezTo>
                    <a:pt x="33" y="52066"/>
                    <a:pt x="-902" y="57676"/>
                    <a:pt x="906" y="6271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74" name="Полилиния: фигура 473">
              <a:extLst>
                <a:ext uri="{FF2B5EF4-FFF2-40B4-BE49-F238E27FC236}">
                  <a16:creationId xmlns:a16="http://schemas.microsoft.com/office/drawing/2014/main" id="{59949BCB-CA46-D0B6-F36C-A708E0A703A4}"/>
                </a:ext>
              </a:extLst>
            </p:cNvPr>
            <p:cNvSpPr/>
            <p:nvPr/>
          </p:nvSpPr>
          <p:spPr>
            <a:xfrm>
              <a:off x="4534489" y="3973186"/>
              <a:ext cx="459938" cy="250297"/>
            </a:xfrm>
            <a:custGeom>
              <a:avLst/>
              <a:gdLst>
                <a:gd name="connsiteX0" fmla="*/ 71878 w 505999"/>
                <a:gd name="connsiteY0" fmla="*/ 68813 h 274559"/>
                <a:gd name="connsiteX1" fmla="*/ 60849 w 505999"/>
                <a:gd name="connsiteY1" fmla="*/ 72046 h 274559"/>
                <a:gd name="connsiteX2" fmla="*/ 46207 w 505999"/>
                <a:gd name="connsiteY2" fmla="*/ 86307 h 274559"/>
                <a:gd name="connsiteX3" fmla="*/ 23199 w 505999"/>
                <a:gd name="connsiteY3" fmla="*/ 103801 h 274559"/>
                <a:gd name="connsiteX4" fmla="*/ 15783 w 505999"/>
                <a:gd name="connsiteY4" fmla="*/ 103801 h 274559"/>
                <a:gd name="connsiteX5" fmla="*/ 3993 w 505999"/>
                <a:gd name="connsiteY5" fmla="*/ 108175 h 274559"/>
                <a:gd name="connsiteX6" fmla="*/ 0 w 505999"/>
                <a:gd name="connsiteY6" fmla="*/ 114260 h 274559"/>
                <a:gd name="connsiteX7" fmla="*/ 5895 w 505999"/>
                <a:gd name="connsiteY7" fmla="*/ 117112 h 274559"/>
                <a:gd name="connsiteX8" fmla="*/ 16163 w 505999"/>
                <a:gd name="connsiteY8" fmla="*/ 124148 h 274559"/>
                <a:gd name="connsiteX9" fmla="*/ 25671 w 505999"/>
                <a:gd name="connsiteY9" fmla="*/ 130803 h 274559"/>
                <a:gd name="connsiteX10" fmla="*/ 39552 w 505999"/>
                <a:gd name="connsiteY10" fmla="*/ 132324 h 274559"/>
                <a:gd name="connsiteX11" fmla="*/ 53623 w 505999"/>
                <a:gd name="connsiteY11" fmla="*/ 132324 h 274559"/>
                <a:gd name="connsiteX12" fmla="*/ 58948 w 505999"/>
                <a:gd name="connsiteY12" fmla="*/ 133846 h 274559"/>
                <a:gd name="connsiteX13" fmla="*/ 69216 w 505999"/>
                <a:gd name="connsiteY13" fmla="*/ 134987 h 274559"/>
                <a:gd name="connsiteX14" fmla="*/ 74730 w 505999"/>
                <a:gd name="connsiteY14" fmla="*/ 134987 h 274559"/>
                <a:gd name="connsiteX15" fmla="*/ 95077 w 505999"/>
                <a:gd name="connsiteY15" fmla="*/ 134987 h 274559"/>
                <a:gd name="connsiteX16" fmla="*/ 104204 w 505999"/>
                <a:gd name="connsiteY16" fmla="*/ 150579 h 274559"/>
                <a:gd name="connsiteX17" fmla="*/ 106296 w 505999"/>
                <a:gd name="connsiteY17" fmla="*/ 157995 h 274559"/>
                <a:gd name="connsiteX18" fmla="*/ 121889 w 505999"/>
                <a:gd name="connsiteY18" fmla="*/ 165982 h 274559"/>
                <a:gd name="connsiteX19" fmla="*/ 127213 w 505999"/>
                <a:gd name="connsiteY19" fmla="*/ 167313 h 274559"/>
                <a:gd name="connsiteX20" fmla="*/ 128734 w 505999"/>
                <a:gd name="connsiteY20" fmla="*/ 167313 h 274559"/>
                <a:gd name="connsiteX21" fmla="*/ 147749 w 505999"/>
                <a:gd name="connsiteY21" fmla="*/ 181765 h 274559"/>
                <a:gd name="connsiteX22" fmla="*/ 144137 w 505999"/>
                <a:gd name="connsiteY22" fmla="*/ 194505 h 274559"/>
                <a:gd name="connsiteX23" fmla="*/ 142235 w 505999"/>
                <a:gd name="connsiteY23" fmla="*/ 199259 h 274559"/>
                <a:gd name="connsiteX24" fmla="*/ 148510 w 505999"/>
                <a:gd name="connsiteY24" fmla="*/ 204583 h 274559"/>
                <a:gd name="connsiteX25" fmla="*/ 158778 w 505999"/>
                <a:gd name="connsiteY25" fmla="*/ 212950 h 274559"/>
                <a:gd name="connsiteX26" fmla="*/ 158778 w 505999"/>
                <a:gd name="connsiteY26" fmla="*/ 246417 h 274559"/>
                <a:gd name="connsiteX27" fmla="*/ 185780 w 505999"/>
                <a:gd name="connsiteY27" fmla="*/ 247558 h 274559"/>
                <a:gd name="connsiteX28" fmla="*/ 212972 w 505999"/>
                <a:gd name="connsiteY28" fmla="*/ 247558 h 274559"/>
                <a:gd name="connsiteX29" fmla="*/ 230467 w 505999"/>
                <a:gd name="connsiteY29" fmla="*/ 249269 h 274559"/>
                <a:gd name="connsiteX30" fmla="*/ 239404 w 505999"/>
                <a:gd name="connsiteY30" fmla="*/ 250790 h 274559"/>
                <a:gd name="connsiteX31" fmla="*/ 265455 w 505999"/>
                <a:gd name="connsiteY31" fmla="*/ 242043 h 274559"/>
                <a:gd name="connsiteX32" fmla="*/ 313564 w 505999"/>
                <a:gd name="connsiteY32" fmla="*/ 250981 h 274559"/>
                <a:gd name="connsiteX33" fmla="*/ 332579 w 505999"/>
                <a:gd name="connsiteY33" fmla="*/ 262770 h 274559"/>
                <a:gd name="connsiteX34" fmla="*/ 339425 w 505999"/>
                <a:gd name="connsiteY34" fmla="*/ 262770 h 274559"/>
                <a:gd name="connsiteX35" fmla="*/ 360532 w 505999"/>
                <a:gd name="connsiteY35" fmla="*/ 274559 h 274559"/>
                <a:gd name="connsiteX36" fmla="*/ 371941 w 505999"/>
                <a:gd name="connsiteY36" fmla="*/ 265813 h 274559"/>
                <a:gd name="connsiteX37" fmla="*/ 373272 w 505999"/>
                <a:gd name="connsiteY37" fmla="*/ 264672 h 274559"/>
                <a:gd name="connsiteX38" fmla="*/ 394189 w 505999"/>
                <a:gd name="connsiteY38" fmla="*/ 250220 h 274559"/>
                <a:gd name="connsiteX39" fmla="*/ 422522 w 505999"/>
                <a:gd name="connsiteY39" fmla="*/ 244135 h 274559"/>
                <a:gd name="connsiteX40" fmla="*/ 425184 w 505999"/>
                <a:gd name="connsiteY40" fmla="*/ 244135 h 274559"/>
                <a:gd name="connsiteX41" fmla="*/ 429558 w 505999"/>
                <a:gd name="connsiteY41" fmla="*/ 244135 h 274559"/>
                <a:gd name="connsiteX42" fmla="*/ 435833 w 505999"/>
                <a:gd name="connsiteY42" fmla="*/ 242614 h 274559"/>
                <a:gd name="connsiteX43" fmla="*/ 440206 w 505999"/>
                <a:gd name="connsiteY43" fmla="*/ 241283 h 274559"/>
                <a:gd name="connsiteX44" fmla="*/ 459222 w 505999"/>
                <a:gd name="connsiteY44" fmla="*/ 241283 h 274559"/>
                <a:gd name="connsiteX45" fmla="*/ 463975 w 505999"/>
                <a:gd name="connsiteY45" fmla="*/ 241283 h 274559"/>
                <a:gd name="connsiteX46" fmla="*/ 481850 w 505999"/>
                <a:gd name="connsiteY46" fmla="*/ 237289 h 274559"/>
                <a:gd name="connsiteX47" fmla="*/ 488125 w 505999"/>
                <a:gd name="connsiteY47" fmla="*/ 219415 h 274559"/>
                <a:gd name="connsiteX48" fmla="*/ 488125 w 505999"/>
                <a:gd name="connsiteY48" fmla="*/ 206865 h 274559"/>
                <a:gd name="connsiteX49" fmla="*/ 489266 w 505999"/>
                <a:gd name="connsiteY49" fmla="*/ 187849 h 274559"/>
                <a:gd name="connsiteX50" fmla="*/ 505999 w 505999"/>
                <a:gd name="connsiteY50" fmla="*/ 156854 h 274559"/>
                <a:gd name="connsiteX51" fmla="*/ 490217 w 505999"/>
                <a:gd name="connsiteY51" fmla="*/ 144875 h 274559"/>
                <a:gd name="connsiteX52" fmla="*/ 469870 w 505999"/>
                <a:gd name="connsiteY52" fmla="*/ 148297 h 274559"/>
                <a:gd name="connsiteX53" fmla="*/ 454468 w 505999"/>
                <a:gd name="connsiteY53" fmla="*/ 157235 h 274559"/>
                <a:gd name="connsiteX54" fmla="*/ 425184 w 505999"/>
                <a:gd name="connsiteY54" fmla="*/ 157235 h 274559"/>
                <a:gd name="connsiteX55" fmla="*/ 416627 w 505999"/>
                <a:gd name="connsiteY55" fmla="*/ 154953 h 274559"/>
                <a:gd name="connsiteX56" fmla="*/ 411873 w 505999"/>
                <a:gd name="connsiteY56" fmla="*/ 153432 h 274559"/>
                <a:gd name="connsiteX57" fmla="*/ 406359 w 505999"/>
                <a:gd name="connsiteY57" fmla="*/ 152101 h 274559"/>
                <a:gd name="connsiteX58" fmla="*/ 406359 w 505999"/>
                <a:gd name="connsiteY58" fmla="*/ 152101 h 274559"/>
                <a:gd name="connsiteX59" fmla="*/ 406359 w 505999"/>
                <a:gd name="connsiteY59" fmla="*/ 146776 h 274559"/>
                <a:gd name="connsiteX60" fmla="*/ 403697 w 505999"/>
                <a:gd name="connsiteY60" fmla="*/ 151720 h 274559"/>
                <a:gd name="connsiteX61" fmla="*/ 399323 w 505999"/>
                <a:gd name="connsiteY61" fmla="*/ 149248 h 274559"/>
                <a:gd name="connsiteX62" fmla="*/ 399323 w 505999"/>
                <a:gd name="connsiteY62" fmla="*/ 149248 h 274559"/>
                <a:gd name="connsiteX63" fmla="*/ 393999 w 505999"/>
                <a:gd name="connsiteY63" fmla="*/ 144114 h 274559"/>
                <a:gd name="connsiteX64" fmla="*/ 388675 w 505999"/>
                <a:gd name="connsiteY64" fmla="*/ 139170 h 274559"/>
                <a:gd name="connsiteX65" fmla="*/ 372321 w 505999"/>
                <a:gd name="connsiteY65" fmla="*/ 133465 h 274559"/>
                <a:gd name="connsiteX66" fmla="*/ 365286 w 505999"/>
                <a:gd name="connsiteY66" fmla="*/ 132134 h 274559"/>
                <a:gd name="connsiteX67" fmla="*/ 336572 w 505999"/>
                <a:gd name="connsiteY67" fmla="*/ 106844 h 274559"/>
                <a:gd name="connsiteX68" fmla="*/ 327635 w 505999"/>
                <a:gd name="connsiteY68" fmla="*/ 94294 h 274559"/>
                <a:gd name="connsiteX69" fmla="*/ 310141 w 505999"/>
                <a:gd name="connsiteY69" fmla="*/ 78131 h 274559"/>
                <a:gd name="connsiteX70" fmla="*/ 289794 w 505999"/>
                <a:gd name="connsiteY70" fmla="*/ 59115 h 274559"/>
                <a:gd name="connsiteX71" fmla="*/ 277435 w 505999"/>
                <a:gd name="connsiteY71" fmla="*/ 47136 h 274559"/>
                <a:gd name="connsiteX72" fmla="*/ 258419 w 505999"/>
                <a:gd name="connsiteY72" fmla="*/ 28120 h 274559"/>
                <a:gd name="connsiteX73" fmla="*/ 255377 w 505999"/>
                <a:gd name="connsiteY73" fmla="*/ 22796 h 274559"/>
                <a:gd name="connsiteX74" fmla="*/ 228565 w 505999"/>
                <a:gd name="connsiteY74" fmla="*/ 358 h 274559"/>
                <a:gd name="connsiteX75" fmla="*/ 220198 w 505999"/>
                <a:gd name="connsiteY75" fmla="*/ 4731 h 274559"/>
                <a:gd name="connsiteX76" fmla="*/ 205556 w 505999"/>
                <a:gd name="connsiteY76" fmla="*/ 11006 h 274559"/>
                <a:gd name="connsiteX77" fmla="*/ 186541 w 505999"/>
                <a:gd name="connsiteY77" fmla="*/ 6633 h 274559"/>
                <a:gd name="connsiteX78" fmla="*/ 178554 w 505999"/>
                <a:gd name="connsiteY78" fmla="*/ 3781 h 274559"/>
                <a:gd name="connsiteX79" fmla="*/ 149271 w 505999"/>
                <a:gd name="connsiteY79" fmla="*/ 10246 h 274559"/>
                <a:gd name="connsiteX80" fmla="*/ 136721 w 505999"/>
                <a:gd name="connsiteY80" fmla="*/ 15950 h 274559"/>
                <a:gd name="connsiteX81" fmla="*/ 107247 w 505999"/>
                <a:gd name="connsiteY81" fmla="*/ 15950 h 274559"/>
                <a:gd name="connsiteX82" fmla="*/ 103444 w 505999"/>
                <a:gd name="connsiteY82" fmla="*/ 25078 h 274559"/>
                <a:gd name="connsiteX83" fmla="*/ 104585 w 505999"/>
                <a:gd name="connsiteY83" fmla="*/ 32494 h 274559"/>
                <a:gd name="connsiteX84" fmla="*/ 104585 w 505999"/>
                <a:gd name="connsiteY84" fmla="*/ 45995 h 274559"/>
                <a:gd name="connsiteX85" fmla="*/ 71878 w 505999"/>
                <a:gd name="connsiteY85" fmla="*/ 68813 h 274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505999" h="274559">
                  <a:moveTo>
                    <a:pt x="71878" y="68813"/>
                  </a:moveTo>
                  <a:cubicBezTo>
                    <a:pt x="68144" y="69688"/>
                    <a:pt x="64462" y="70753"/>
                    <a:pt x="60849" y="72046"/>
                  </a:cubicBezTo>
                  <a:cubicBezTo>
                    <a:pt x="54665" y="75240"/>
                    <a:pt x="49569" y="80203"/>
                    <a:pt x="46207" y="86307"/>
                  </a:cubicBezTo>
                  <a:cubicBezTo>
                    <a:pt x="41360" y="95130"/>
                    <a:pt x="32999" y="101482"/>
                    <a:pt x="23199" y="103801"/>
                  </a:cubicBezTo>
                  <a:lnTo>
                    <a:pt x="15783" y="103801"/>
                  </a:lnTo>
                  <a:cubicBezTo>
                    <a:pt x="11373" y="103231"/>
                    <a:pt x="6963" y="104866"/>
                    <a:pt x="3993" y="108175"/>
                  </a:cubicBezTo>
                  <a:cubicBezTo>
                    <a:pt x="2404" y="110019"/>
                    <a:pt x="1063" y="112073"/>
                    <a:pt x="0" y="114260"/>
                  </a:cubicBezTo>
                  <a:cubicBezTo>
                    <a:pt x="2018" y="115097"/>
                    <a:pt x="3986" y="116047"/>
                    <a:pt x="5895" y="117112"/>
                  </a:cubicBezTo>
                  <a:cubicBezTo>
                    <a:pt x="9492" y="119185"/>
                    <a:pt x="12925" y="121543"/>
                    <a:pt x="16163" y="124148"/>
                  </a:cubicBezTo>
                  <a:cubicBezTo>
                    <a:pt x="19097" y="126677"/>
                    <a:pt x="22284" y="128921"/>
                    <a:pt x="25671" y="130803"/>
                  </a:cubicBezTo>
                  <a:cubicBezTo>
                    <a:pt x="30079" y="132553"/>
                    <a:pt x="34872" y="133066"/>
                    <a:pt x="39552" y="132324"/>
                  </a:cubicBezTo>
                  <a:cubicBezTo>
                    <a:pt x="44213" y="131583"/>
                    <a:pt x="48963" y="131583"/>
                    <a:pt x="53623" y="132324"/>
                  </a:cubicBezTo>
                  <a:lnTo>
                    <a:pt x="58948" y="133846"/>
                  </a:lnTo>
                  <a:cubicBezTo>
                    <a:pt x="62258" y="134911"/>
                    <a:pt x="65751" y="135310"/>
                    <a:pt x="69216" y="134987"/>
                  </a:cubicBezTo>
                  <a:cubicBezTo>
                    <a:pt x="71051" y="135139"/>
                    <a:pt x="72896" y="135139"/>
                    <a:pt x="74730" y="134987"/>
                  </a:cubicBezTo>
                  <a:cubicBezTo>
                    <a:pt x="81350" y="132895"/>
                    <a:pt x="88458" y="132895"/>
                    <a:pt x="95077" y="134987"/>
                  </a:cubicBezTo>
                  <a:cubicBezTo>
                    <a:pt x="100552" y="138314"/>
                    <a:pt x="103984" y="144171"/>
                    <a:pt x="104204" y="150579"/>
                  </a:cubicBezTo>
                  <a:cubicBezTo>
                    <a:pt x="104328" y="153184"/>
                    <a:pt x="105045" y="155713"/>
                    <a:pt x="106296" y="157995"/>
                  </a:cubicBezTo>
                  <a:cubicBezTo>
                    <a:pt x="109338" y="162939"/>
                    <a:pt x="114092" y="164270"/>
                    <a:pt x="121889" y="165982"/>
                  </a:cubicBezTo>
                  <a:lnTo>
                    <a:pt x="127213" y="167313"/>
                  </a:lnTo>
                  <a:lnTo>
                    <a:pt x="128734" y="167313"/>
                  </a:lnTo>
                  <a:cubicBezTo>
                    <a:pt x="135009" y="168834"/>
                    <a:pt x="145658" y="171686"/>
                    <a:pt x="147749" y="181765"/>
                  </a:cubicBezTo>
                  <a:cubicBezTo>
                    <a:pt x="148499" y="186328"/>
                    <a:pt x="147173" y="191006"/>
                    <a:pt x="144137" y="194505"/>
                  </a:cubicBezTo>
                  <a:cubicBezTo>
                    <a:pt x="142425" y="196787"/>
                    <a:pt x="141855" y="197547"/>
                    <a:pt x="142235" y="199259"/>
                  </a:cubicBezTo>
                  <a:cubicBezTo>
                    <a:pt x="142615" y="200970"/>
                    <a:pt x="144327" y="202491"/>
                    <a:pt x="148510" y="204583"/>
                  </a:cubicBezTo>
                  <a:cubicBezTo>
                    <a:pt x="152587" y="206446"/>
                    <a:pt x="156122" y="209337"/>
                    <a:pt x="158778" y="212950"/>
                  </a:cubicBezTo>
                  <a:cubicBezTo>
                    <a:pt x="163627" y="223579"/>
                    <a:pt x="163627" y="235787"/>
                    <a:pt x="158778" y="246417"/>
                  </a:cubicBezTo>
                  <a:lnTo>
                    <a:pt x="185780" y="247558"/>
                  </a:lnTo>
                  <a:cubicBezTo>
                    <a:pt x="193957" y="247558"/>
                    <a:pt x="202704" y="247558"/>
                    <a:pt x="212972" y="247558"/>
                  </a:cubicBezTo>
                  <a:cubicBezTo>
                    <a:pt x="218852" y="247406"/>
                    <a:pt x="224728" y="247976"/>
                    <a:pt x="230467" y="249269"/>
                  </a:cubicBezTo>
                  <a:cubicBezTo>
                    <a:pt x="233404" y="249992"/>
                    <a:pt x="236392" y="250505"/>
                    <a:pt x="239404" y="250790"/>
                  </a:cubicBezTo>
                  <a:cubicBezTo>
                    <a:pt x="248807" y="250771"/>
                    <a:pt x="257949" y="247710"/>
                    <a:pt x="265455" y="242043"/>
                  </a:cubicBezTo>
                  <a:cubicBezTo>
                    <a:pt x="279906" y="233867"/>
                    <a:pt x="297781" y="223028"/>
                    <a:pt x="313564" y="250981"/>
                  </a:cubicBezTo>
                  <a:cubicBezTo>
                    <a:pt x="319839" y="262010"/>
                    <a:pt x="321360" y="262010"/>
                    <a:pt x="332579" y="262770"/>
                  </a:cubicBezTo>
                  <a:lnTo>
                    <a:pt x="339425" y="262770"/>
                  </a:lnTo>
                  <a:cubicBezTo>
                    <a:pt x="347708" y="263854"/>
                    <a:pt x="355261" y="268075"/>
                    <a:pt x="360532" y="274559"/>
                  </a:cubicBezTo>
                  <a:lnTo>
                    <a:pt x="371941" y="265813"/>
                  </a:lnTo>
                  <a:lnTo>
                    <a:pt x="373272" y="264672"/>
                  </a:lnTo>
                  <a:cubicBezTo>
                    <a:pt x="379777" y="259214"/>
                    <a:pt x="386781" y="254365"/>
                    <a:pt x="394189" y="250220"/>
                  </a:cubicBezTo>
                  <a:cubicBezTo>
                    <a:pt x="402784" y="245314"/>
                    <a:pt x="412672" y="243184"/>
                    <a:pt x="422522" y="244135"/>
                  </a:cubicBezTo>
                  <a:lnTo>
                    <a:pt x="425184" y="244135"/>
                  </a:lnTo>
                  <a:cubicBezTo>
                    <a:pt x="426629" y="244401"/>
                    <a:pt x="428112" y="244401"/>
                    <a:pt x="429558" y="244135"/>
                  </a:cubicBezTo>
                  <a:cubicBezTo>
                    <a:pt x="431725" y="243964"/>
                    <a:pt x="433836" y="243451"/>
                    <a:pt x="435833" y="242614"/>
                  </a:cubicBezTo>
                  <a:lnTo>
                    <a:pt x="440206" y="241283"/>
                  </a:lnTo>
                  <a:cubicBezTo>
                    <a:pt x="446500" y="240218"/>
                    <a:pt x="452927" y="240218"/>
                    <a:pt x="459222" y="241283"/>
                  </a:cubicBezTo>
                  <a:lnTo>
                    <a:pt x="463975" y="241283"/>
                  </a:lnTo>
                  <a:cubicBezTo>
                    <a:pt x="470212" y="242157"/>
                    <a:pt x="476564" y="240731"/>
                    <a:pt x="481850" y="237289"/>
                  </a:cubicBezTo>
                  <a:cubicBezTo>
                    <a:pt x="486147" y="232345"/>
                    <a:pt x="488391" y="225956"/>
                    <a:pt x="488125" y="219415"/>
                  </a:cubicBezTo>
                  <a:cubicBezTo>
                    <a:pt x="488125" y="215232"/>
                    <a:pt x="488125" y="211048"/>
                    <a:pt x="488125" y="206865"/>
                  </a:cubicBezTo>
                  <a:cubicBezTo>
                    <a:pt x="488144" y="200514"/>
                    <a:pt x="488524" y="194162"/>
                    <a:pt x="489266" y="187849"/>
                  </a:cubicBezTo>
                  <a:cubicBezTo>
                    <a:pt x="490901" y="175832"/>
                    <a:pt x="496853" y="164822"/>
                    <a:pt x="505999" y="156854"/>
                  </a:cubicBezTo>
                  <a:cubicBezTo>
                    <a:pt x="501132" y="152367"/>
                    <a:pt x="495845" y="148354"/>
                    <a:pt x="490217" y="144875"/>
                  </a:cubicBezTo>
                  <a:cubicBezTo>
                    <a:pt x="481279" y="139550"/>
                    <a:pt x="477286" y="142593"/>
                    <a:pt x="469870" y="148297"/>
                  </a:cubicBezTo>
                  <a:cubicBezTo>
                    <a:pt x="465287" y="152139"/>
                    <a:pt x="460077" y="155162"/>
                    <a:pt x="454468" y="157235"/>
                  </a:cubicBezTo>
                  <a:cubicBezTo>
                    <a:pt x="444827" y="159326"/>
                    <a:pt x="434825" y="159326"/>
                    <a:pt x="425184" y="157235"/>
                  </a:cubicBezTo>
                  <a:cubicBezTo>
                    <a:pt x="422256" y="156759"/>
                    <a:pt x="419403" y="155999"/>
                    <a:pt x="416627" y="154953"/>
                  </a:cubicBezTo>
                  <a:lnTo>
                    <a:pt x="411873" y="153432"/>
                  </a:lnTo>
                  <a:lnTo>
                    <a:pt x="406359" y="152101"/>
                  </a:lnTo>
                  <a:lnTo>
                    <a:pt x="406359" y="152101"/>
                  </a:lnTo>
                  <a:lnTo>
                    <a:pt x="406359" y="146776"/>
                  </a:lnTo>
                  <a:lnTo>
                    <a:pt x="403697" y="151720"/>
                  </a:lnTo>
                  <a:lnTo>
                    <a:pt x="399323" y="149248"/>
                  </a:lnTo>
                  <a:lnTo>
                    <a:pt x="399323" y="149248"/>
                  </a:lnTo>
                  <a:cubicBezTo>
                    <a:pt x="397410" y="147689"/>
                    <a:pt x="395630" y="145978"/>
                    <a:pt x="393999" y="144114"/>
                  </a:cubicBezTo>
                  <a:cubicBezTo>
                    <a:pt x="392362" y="142327"/>
                    <a:pt x="390582" y="140672"/>
                    <a:pt x="388675" y="139170"/>
                  </a:cubicBezTo>
                  <a:cubicBezTo>
                    <a:pt x="383896" y="135709"/>
                    <a:pt x="378212" y="133732"/>
                    <a:pt x="372321" y="133465"/>
                  </a:cubicBezTo>
                  <a:lnTo>
                    <a:pt x="365286" y="132134"/>
                  </a:lnTo>
                  <a:cubicBezTo>
                    <a:pt x="352652" y="127989"/>
                    <a:pt x="342271" y="118862"/>
                    <a:pt x="336572" y="106844"/>
                  </a:cubicBezTo>
                  <a:cubicBezTo>
                    <a:pt x="333948" y="102413"/>
                    <a:pt x="330959" y="98211"/>
                    <a:pt x="327635" y="94294"/>
                  </a:cubicBezTo>
                  <a:cubicBezTo>
                    <a:pt x="322218" y="88475"/>
                    <a:pt x="316368" y="83075"/>
                    <a:pt x="310141" y="78131"/>
                  </a:cubicBezTo>
                  <a:cubicBezTo>
                    <a:pt x="302868" y="72331"/>
                    <a:pt x="296066" y="65980"/>
                    <a:pt x="289794" y="59115"/>
                  </a:cubicBezTo>
                  <a:cubicBezTo>
                    <a:pt x="286105" y="54704"/>
                    <a:pt x="281964" y="50691"/>
                    <a:pt x="277435" y="47136"/>
                  </a:cubicBezTo>
                  <a:cubicBezTo>
                    <a:pt x="270106" y="41868"/>
                    <a:pt x="263683" y="35441"/>
                    <a:pt x="258419" y="28120"/>
                  </a:cubicBezTo>
                  <a:lnTo>
                    <a:pt x="255377" y="22796"/>
                  </a:lnTo>
                  <a:cubicBezTo>
                    <a:pt x="247390" y="8534"/>
                    <a:pt x="240354" y="-2114"/>
                    <a:pt x="228565" y="358"/>
                  </a:cubicBezTo>
                  <a:cubicBezTo>
                    <a:pt x="225559" y="1366"/>
                    <a:pt x="222733" y="2830"/>
                    <a:pt x="220198" y="4731"/>
                  </a:cubicBezTo>
                  <a:cubicBezTo>
                    <a:pt x="215943" y="8059"/>
                    <a:pt x="210898" y="10227"/>
                    <a:pt x="205556" y="11006"/>
                  </a:cubicBezTo>
                  <a:cubicBezTo>
                    <a:pt x="198929" y="11387"/>
                    <a:pt x="192333" y="9865"/>
                    <a:pt x="186541" y="6633"/>
                  </a:cubicBezTo>
                  <a:cubicBezTo>
                    <a:pt x="183879" y="5682"/>
                    <a:pt x="181407" y="4541"/>
                    <a:pt x="178554" y="3781"/>
                  </a:cubicBezTo>
                  <a:cubicBezTo>
                    <a:pt x="168320" y="1841"/>
                    <a:pt x="157734" y="4180"/>
                    <a:pt x="149271" y="10246"/>
                  </a:cubicBezTo>
                  <a:cubicBezTo>
                    <a:pt x="145278" y="12147"/>
                    <a:pt x="141094" y="14239"/>
                    <a:pt x="136721" y="15950"/>
                  </a:cubicBezTo>
                  <a:cubicBezTo>
                    <a:pt x="127177" y="19278"/>
                    <a:pt x="116791" y="19278"/>
                    <a:pt x="107247" y="15950"/>
                  </a:cubicBezTo>
                  <a:cubicBezTo>
                    <a:pt x="105378" y="18708"/>
                    <a:pt x="104085" y="21807"/>
                    <a:pt x="103444" y="25078"/>
                  </a:cubicBezTo>
                  <a:cubicBezTo>
                    <a:pt x="103208" y="27607"/>
                    <a:pt x="103600" y="30155"/>
                    <a:pt x="104585" y="32494"/>
                  </a:cubicBezTo>
                  <a:cubicBezTo>
                    <a:pt x="105960" y="36886"/>
                    <a:pt x="105960" y="41602"/>
                    <a:pt x="104585" y="45995"/>
                  </a:cubicBezTo>
                  <a:cubicBezTo>
                    <a:pt x="103824" y="60636"/>
                    <a:pt x="86140" y="65200"/>
                    <a:pt x="71878" y="6881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</p:grpSp>
      <p:grpSp>
        <p:nvGrpSpPr>
          <p:cNvPr id="332" name="Группа 331">
            <a:extLst>
              <a:ext uri="{FF2B5EF4-FFF2-40B4-BE49-F238E27FC236}">
                <a16:creationId xmlns:a16="http://schemas.microsoft.com/office/drawing/2014/main" id="{CCA18F01-AEE1-0A79-C606-64D3C112464C}"/>
              </a:ext>
            </a:extLst>
          </p:cNvPr>
          <p:cNvGrpSpPr/>
          <p:nvPr/>
        </p:nvGrpSpPr>
        <p:grpSpPr>
          <a:xfrm>
            <a:off x="3425348" y="2394313"/>
            <a:ext cx="3284251" cy="1551327"/>
            <a:chOff x="1284582" y="2548624"/>
            <a:chExt cx="3613153" cy="1701700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441" name="Полилиния: фигура 440">
              <a:extLst>
                <a:ext uri="{FF2B5EF4-FFF2-40B4-BE49-F238E27FC236}">
                  <a16:creationId xmlns:a16="http://schemas.microsoft.com/office/drawing/2014/main" id="{55188918-CC91-B195-A8E3-89C1F3289CC5}"/>
                </a:ext>
              </a:extLst>
            </p:cNvPr>
            <p:cNvSpPr/>
            <p:nvPr/>
          </p:nvSpPr>
          <p:spPr>
            <a:xfrm>
              <a:off x="4310417" y="2863653"/>
              <a:ext cx="1547" cy="2920"/>
            </a:xfrm>
            <a:custGeom>
              <a:avLst/>
              <a:gdLst>
                <a:gd name="connsiteX0" fmla="*/ 1414 w 1547"/>
                <a:gd name="connsiteY0" fmla="*/ 2731 h 2920"/>
                <a:gd name="connsiteX1" fmla="*/ 1414 w 1547"/>
                <a:gd name="connsiteY1" fmla="*/ 2731 h 2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7" h="2920">
                  <a:moveTo>
                    <a:pt x="1414" y="2731"/>
                  </a:moveTo>
                  <a:cubicBezTo>
                    <a:pt x="2365" y="4253"/>
                    <a:pt x="-2199" y="-4114"/>
                    <a:pt x="1414" y="2731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42" name="Полилиния: фигура 441">
              <a:extLst>
                <a:ext uri="{FF2B5EF4-FFF2-40B4-BE49-F238E27FC236}">
                  <a16:creationId xmlns:a16="http://schemas.microsoft.com/office/drawing/2014/main" id="{E0DEF07E-4FD9-4425-D714-4C82AE9AD23C}"/>
                </a:ext>
              </a:extLst>
            </p:cNvPr>
            <p:cNvSpPr/>
            <p:nvPr/>
          </p:nvSpPr>
          <p:spPr>
            <a:xfrm>
              <a:off x="1284582" y="3205239"/>
              <a:ext cx="172279" cy="184068"/>
            </a:xfrm>
            <a:custGeom>
              <a:avLst/>
              <a:gdLst>
                <a:gd name="connsiteX0" fmla="*/ 55145 w 172279"/>
                <a:gd name="connsiteY0" fmla="*/ 100972 h 184068"/>
                <a:gd name="connsiteX1" fmla="*/ 70547 w 172279"/>
                <a:gd name="connsiteY1" fmla="*/ 119987 h 184068"/>
                <a:gd name="connsiteX2" fmla="*/ 85569 w 172279"/>
                <a:gd name="connsiteY2" fmla="*/ 142045 h 184068"/>
                <a:gd name="connsiteX3" fmla="*/ 104585 w 172279"/>
                <a:gd name="connsiteY3" fmla="*/ 167716 h 184068"/>
                <a:gd name="connsiteX4" fmla="*/ 112571 w 172279"/>
                <a:gd name="connsiteY4" fmla="*/ 176463 h 184068"/>
                <a:gd name="connsiteX5" fmla="*/ 119797 w 172279"/>
                <a:gd name="connsiteY5" fmla="*/ 184069 h 184068"/>
                <a:gd name="connsiteX6" fmla="*/ 131206 w 172279"/>
                <a:gd name="connsiteY6" fmla="*/ 180266 h 184068"/>
                <a:gd name="connsiteX7" fmla="*/ 172279 w 172279"/>
                <a:gd name="connsiteY7" fmla="*/ 139763 h 184068"/>
                <a:gd name="connsiteX8" fmla="*/ 146038 w 172279"/>
                <a:gd name="connsiteY8" fmla="*/ 65223 h 184068"/>
                <a:gd name="connsiteX9" fmla="*/ 131586 w 172279"/>
                <a:gd name="connsiteY9" fmla="*/ 39932 h 184068"/>
                <a:gd name="connsiteX10" fmla="*/ 103063 w 172279"/>
                <a:gd name="connsiteY10" fmla="*/ 53053 h 184068"/>
                <a:gd name="connsiteX11" fmla="*/ 84048 w 172279"/>
                <a:gd name="connsiteY11" fmla="*/ 34038 h 184068"/>
                <a:gd name="connsiteX12" fmla="*/ 84048 w 172279"/>
                <a:gd name="connsiteY12" fmla="*/ 15022 h 184068"/>
                <a:gd name="connsiteX13" fmla="*/ 35939 w 172279"/>
                <a:gd name="connsiteY13" fmla="*/ 19015 h 184068"/>
                <a:gd name="connsiteX14" fmla="*/ 27953 w 172279"/>
                <a:gd name="connsiteY14" fmla="*/ 6275 h 184068"/>
                <a:gd name="connsiteX15" fmla="*/ 16924 w 172279"/>
                <a:gd name="connsiteY15" fmla="*/ 16543 h 184068"/>
                <a:gd name="connsiteX16" fmla="*/ 8367 w 172279"/>
                <a:gd name="connsiteY16" fmla="*/ 6655 h 184068"/>
                <a:gd name="connsiteX17" fmla="*/ 0 w 172279"/>
                <a:gd name="connsiteY17" fmla="*/ 0 h 184068"/>
                <a:gd name="connsiteX18" fmla="*/ 34038 w 172279"/>
                <a:gd name="connsiteY18" fmla="*/ 77963 h 184068"/>
                <a:gd name="connsiteX19" fmla="*/ 55145 w 172279"/>
                <a:gd name="connsiteY19" fmla="*/ 100972 h 18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2279" h="184068">
                  <a:moveTo>
                    <a:pt x="55145" y="100972"/>
                  </a:moveTo>
                  <a:cubicBezTo>
                    <a:pt x="60469" y="106866"/>
                    <a:pt x="65603" y="112761"/>
                    <a:pt x="70547" y="119987"/>
                  </a:cubicBezTo>
                  <a:cubicBezTo>
                    <a:pt x="75491" y="127213"/>
                    <a:pt x="80815" y="134629"/>
                    <a:pt x="85569" y="142045"/>
                  </a:cubicBezTo>
                  <a:cubicBezTo>
                    <a:pt x="91399" y="150963"/>
                    <a:pt x="97749" y="159539"/>
                    <a:pt x="104585" y="167716"/>
                  </a:cubicBezTo>
                  <a:cubicBezTo>
                    <a:pt x="107057" y="170758"/>
                    <a:pt x="109909" y="173610"/>
                    <a:pt x="112571" y="176463"/>
                  </a:cubicBezTo>
                  <a:cubicBezTo>
                    <a:pt x="115233" y="179315"/>
                    <a:pt x="117515" y="181407"/>
                    <a:pt x="119797" y="184069"/>
                  </a:cubicBezTo>
                  <a:lnTo>
                    <a:pt x="131206" y="180266"/>
                  </a:lnTo>
                  <a:cubicBezTo>
                    <a:pt x="155736" y="172279"/>
                    <a:pt x="170378" y="163152"/>
                    <a:pt x="172279" y="139763"/>
                  </a:cubicBezTo>
                  <a:cubicBezTo>
                    <a:pt x="171829" y="112723"/>
                    <a:pt x="162620" y="86577"/>
                    <a:pt x="146038" y="65223"/>
                  </a:cubicBezTo>
                  <a:cubicBezTo>
                    <a:pt x="141094" y="57046"/>
                    <a:pt x="135960" y="48679"/>
                    <a:pt x="131586" y="39932"/>
                  </a:cubicBezTo>
                  <a:cubicBezTo>
                    <a:pt x="124361" y="51722"/>
                    <a:pt x="117135" y="62941"/>
                    <a:pt x="103063" y="53053"/>
                  </a:cubicBezTo>
                  <a:cubicBezTo>
                    <a:pt x="95457" y="47729"/>
                    <a:pt x="85759" y="43735"/>
                    <a:pt x="84048" y="34038"/>
                  </a:cubicBezTo>
                  <a:cubicBezTo>
                    <a:pt x="84048" y="27572"/>
                    <a:pt x="90513" y="19776"/>
                    <a:pt x="84048" y="15022"/>
                  </a:cubicBezTo>
                  <a:cubicBezTo>
                    <a:pt x="70927" y="3042"/>
                    <a:pt x="49440" y="45637"/>
                    <a:pt x="35939" y="19015"/>
                  </a:cubicBezTo>
                  <a:cubicBezTo>
                    <a:pt x="33087" y="13501"/>
                    <a:pt x="35939" y="2092"/>
                    <a:pt x="27953" y="6275"/>
                  </a:cubicBezTo>
                  <a:cubicBezTo>
                    <a:pt x="22818" y="8937"/>
                    <a:pt x="26812" y="18445"/>
                    <a:pt x="16924" y="16543"/>
                  </a:cubicBezTo>
                  <a:cubicBezTo>
                    <a:pt x="10839" y="15402"/>
                    <a:pt x="11790" y="9698"/>
                    <a:pt x="8367" y="6655"/>
                  </a:cubicBezTo>
                  <a:cubicBezTo>
                    <a:pt x="5918" y="4031"/>
                    <a:pt x="3100" y="1806"/>
                    <a:pt x="0" y="0"/>
                  </a:cubicBezTo>
                  <a:cubicBezTo>
                    <a:pt x="6056" y="27991"/>
                    <a:pt x="17627" y="54498"/>
                    <a:pt x="34038" y="77963"/>
                  </a:cubicBezTo>
                  <a:cubicBezTo>
                    <a:pt x="40695" y="85968"/>
                    <a:pt x="47738" y="93651"/>
                    <a:pt x="55145" y="10097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43" name="Полилиния: фигура 442">
              <a:extLst>
                <a:ext uri="{FF2B5EF4-FFF2-40B4-BE49-F238E27FC236}">
                  <a16:creationId xmlns:a16="http://schemas.microsoft.com/office/drawing/2014/main" id="{5647D9D0-1D8D-8902-5186-6A56CB98D996}"/>
                </a:ext>
              </a:extLst>
            </p:cNvPr>
            <p:cNvSpPr/>
            <p:nvPr/>
          </p:nvSpPr>
          <p:spPr>
            <a:xfrm>
              <a:off x="1812639" y="3324085"/>
              <a:ext cx="288273" cy="438494"/>
            </a:xfrm>
            <a:custGeom>
              <a:avLst/>
              <a:gdLst>
                <a:gd name="connsiteX0" fmla="*/ 6846 w 288273"/>
                <a:gd name="connsiteY0" fmla="*/ 269068 h 438494"/>
                <a:gd name="connsiteX1" fmla="*/ 9698 w 288273"/>
                <a:gd name="connsiteY1" fmla="*/ 273061 h 438494"/>
                <a:gd name="connsiteX2" fmla="*/ 19206 w 288273"/>
                <a:gd name="connsiteY2" fmla="*/ 292076 h 438494"/>
                <a:gd name="connsiteX3" fmla="*/ 21868 w 288273"/>
                <a:gd name="connsiteY3" fmla="*/ 299302 h 438494"/>
                <a:gd name="connsiteX4" fmla="*/ 24340 w 288273"/>
                <a:gd name="connsiteY4" fmla="*/ 305007 h 438494"/>
                <a:gd name="connsiteX5" fmla="*/ 25671 w 288273"/>
                <a:gd name="connsiteY5" fmla="*/ 335431 h 438494"/>
                <a:gd name="connsiteX6" fmla="*/ 35369 w 288273"/>
                <a:gd name="connsiteY6" fmla="*/ 357869 h 438494"/>
                <a:gd name="connsiteX7" fmla="*/ 69787 w 288273"/>
                <a:gd name="connsiteY7" fmla="*/ 428036 h 438494"/>
                <a:gd name="connsiteX8" fmla="*/ 76632 w 288273"/>
                <a:gd name="connsiteY8" fmla="*/ 426135 h 438494"/>
                <a:gd name="connsiteX9" fmla="*/ 113332 w 288273"/>
                <a:gd name="connsiteY9" fmla="*/ 438495 h 438494"/>
                <a:gd name="connsiteX10" fmla="*/ 120177 w 288273"/>
                <a:gd name="connsiteY10" fmla="*/ 427846 h 438494"/>
                <a:gd name="connsiteX11" fmla="*/ 136530 w 288273"/>
                <a:gd name="connsiteY11" fmla="*/ 419479 h 438494"/>
                <a:gd name="connsiteX12" fmla="*/ 154270 w 288273"/>
                <a:gd name="connsiteY12" fmla="*/ 399266 h 438494"/>
                <a:gd name="connsiteX13" fmla="*/ 153834 w 288273"/>
                <a:gd name="connsiteY13" fmla="*/ 396281 h 438494"/>
                <a:gd name="connsiteX14" fmla="*/ 155926 w 288273"/>
                <a:gd name="connsiteY14" fmla="*/ 380498 h 438494"/>
                <a:gd name="connsiteX15" fmla="*/ 162391 w 288273"/>
                <a:gd name="connsiteY15" fmla="*/ 364715 h 438494"/>
                <a:gd name="connsiteX16" fmla="*/ 169047 w 288273"/>
                <a:gd name="connsiteY16" fmla="*/ 348552 h 438494"/>
                <a:gd name="connsiteX17" fmla="*/ 170758 w 288273"/>
                <a:gd name="connsiteY17" fmla="*/ 342087 h 438494"/>
                <a:gd name="connsiteX18" fmla="*/ 191675 w 288273"/>
                <a:gd name="connsiteY18" fmla="*/ 319649 h 438494"/>
                <a:gd name="connsiteX19" fmla="*/ 191675 w 288273"/>
                <a:gd name="connsiteY19" fmla="*/ 309380 h 438494"/>
                <a:gd name="connsiteX20" fmla="*/ 191675 w 288273"/>
                <a:gd name="connsiteY20" fmla="*/ 306908 h 438494"/>
                <a:gd name="connsiteX21" fmla="*/ 195859 w 288273"/>
                <a:gd name="connsiteY21" fmla="*/ 290935 h 438494"/>
                <a:gd name="connsiteX22" fmla="*/ 205176 w 288273"/>
                <a:gd name="connsiteY22" fmla="*/ 286182 h 438494"/>
                <a:gd name="connsiteX23" fmla="*/ 209930 w 288273"/>
                <a:gd name="connsiteY23" fmla="*/ 283710 h 438494"/>
                <a:gd name="connsiteX24" fmla="*/ 213353 w 288273"/>
                <a:gd name="connsiteY24" fmla="*/ 273441 h 438494"/>
                <a:gd name="connsiteX25" fmla="*/ 222860 w 288273"/>
                <a:gd name="connsiteY25" fmla="*/ 254426 h 438494"/>
                <a:gd name="connsiteX26" fmla="*/ 250623 w 288273"/>
                <a:gd name="connsiteY26" fmla="*/ 225522 h 438494"/>
                <a:gd name="connsiteX27" fmla="*/ 253095 w 288273"/>
                <a:gd name="connsiteY27" fmla="*/ 200992 h 438494"/>
                <a:gd name="connsiteX28" fmla="*/ 250813 w 288273"/>
                <a:gd name="connsiteY28" fmla="*/ 191485 h 438494"/>
                <a:gd name="connsiteX29" fmla="*/ 259370 w 288273"/>
                <a:gd name="connsiteY29" fmla="*/ 151362 h 438494"/>
                <a:gd name="connsiteX30" fmla="*/ 285041 w 288273"/>
                <a:gd name="connsiteY30" fmla="*/ 147559 h 438494"/>
                <a:gd name="connsiteX31" fmla="*/ 288273 w 288273"/>
                <a:gd name="connsiteY31" fmla="*/ 147559 h 438494"/>
                <a:gd name="connsiteX32" fmla="*/ 288273 w 288273"/>
                <a:gd name="connsiteY32" fmla="*/ 146608 h 438494"/>
                <a:gd name="connsiteX33" fmla="*/ 285801 w 288273"/>
                <a:gd name="connsiteY33" fmla="*/ 139763 h 438494"/>
                <a:gd name="connsiteX34" fmla="*/ 284280 w 288273"/>
                <a:gd name="connsiteY34" fmla="*/ 117515 h 438494"/>
                <a:gd name="connsiteX35" fmla="*/ 285421 w 288273"/>
                <a:gd name="connsiteY35" fmla="*/ 83287 h 438494"/>
                <a:gd name="connsiteX36" fmla="*/ 283139 w 288273"/>
                <a:gd name="connsiteY36" fmla="*/ 61230 h 438494"/>
                <a:gd name="connsiteX37" fmla="*/ 274963 w 288273"/>
                <a:gd name="connsiteY37" fmla="*/ 50010 h 438494"/>
                <a:gd name="connsiteX38" fmla="*/ 263934 w 288273"/>
                <a:gd name="connsiteY38" fmla="*/ 30995 h 438494"/>
                <a:gd name="connsiteX39" fmla="*/ 263934 w 288273"/>
                <a:gd name="connsiteY39" fmla="*/ 15783 h 438494"/>
                <a:gd name="connsiteX40" fmla="*/ 263934 w 288273"/>
                <a:gd name="connsiteY40" fmla="*/ 0 h 438494"/>
                <a:gd name="connsiteX41" fmla="*/ 260130 w 288273"/>
                <a:gd name="connsiteY41" fmla="*/ 1331 h 438494"/>
                <a:gd name="connsiteX42" fmla="*/ 238453 w 288273"/>
                <a:gd name="connsiteY42" fmla="*/ 5895 h 438494"/>
                <a:gd name="connsiteX43" fmla="*/ 232178 w 288273"/>
                <a:gd name="connsiteY43" fmla="*/ 4754 h 438494"/>
                <a:gd name="connsiteX44" fmla="*/ 224382 w 288273"/>
                <a:gd name="connsiteY44" fmla="*/ 4754 h 438494"/>
                <a:gd name="connsiteX45" fmla="*/ 213733 w 288273"/>
                <a:gd name="connsiteY45" fmla="*/ 17494 h 438494"/>
                <a:gd name="connsiteX46" fmla="*/ 204796 w 288273"/>
                <a:gd name="connsiteY46" fmla="*/ 29854 h 438494"/>
                <a:gd name="connsiteX47" fmla="*/ 190154 w 288273"/>
                <a:gd name="connsiteY47" fmla="*/ 40693 h 438494"/>
                <a:gd name="connsiteX48" fmla="*/ 173610 w 288273"/>
                <a:gd name="connsiteY48" fmla="*/ 54574 h 438494"/>
                <a:gd name="connsiteX49" fmla="*/ 167716 w 288273"/>
                <a:gd name="connsiteY49" fmla="*/ 64652 h 438494"/>
                <a:gd name="connsiteX50" fmla="*/ 148700 w 288273"/>
                <a:gd name="connsiteY50" fmla="*/ 86710 h 438494"/>
                <a:gd name="connsiteX51" fmla="*/ 125311 w 288273"/>
                <a:gd name="connsiteY51" fmla="*/ 91464 h 438494"/>
                <a:gd name="connsiteX52" fmla="*/ 101542 w 288273"/>
                <a:gd name="connsiteY52" fmla="*/ 98119 h 438494"/>
                <a:gd name="connsiteX53" fmla="*/ 99260 w 288273"/>
                <a:gd name="connsiteY53" fmla="*/ 100591 h 438494"/>
                <a:gd name="connsiteX54" fmla="*/ 96028 w 288273"/>
                <a:gd name="connsiteY54" fmla="*/ 108198 h 438494"/>
                <a:gd name="connsiteX55" fmla="*/ 96028 w 288273"/>
                <a:gd name="connsiteY55" fmla="*/ 108198 h 438494"/>
                <a:gd name="connsiteX56" fmla="*/ 94316 w 288273"/>
                <a:gd name="connsiteY56" fmla="*/ 120367 h 438494"/>
                <a:gd name="connsiteX57" fmla="*/ 92795 w 288273"/>
                <a:gd name="connsiteY57" fmla="*/ 133868 h 438494"/>
                <a:gd name="connsiteX58" fmla="*/ 69977 w 288273"/>
                <a:gd name="connsiteY58" fmla="*/ 159349 h 438494"/>
                <a:gd name="connsiteX59" fmla="*/ 62561 w 288273"/>
                <a:gd name="connsiteY59" fmla="*/ 163532 h 438494"/>
                <a:gd name="connsiteX60" fmla="*/ 43545 w 288273"/>
                <a:gd name="connsiteY60" fmla="*/ 196619 h 438494"/>
                <a:gd name="connsiteX61" fmla="*/ 24530 w 288273"/>
                <a:gd name="connsiteY61" fmla="*/ 231988 h 438494"/>
                <a:gd name="connsiteX62" fmla="*/ 0 w 288273"/>
                <a:gd name="connsiteY62" fmla="*/ 244918 h 438494"/>
                <a:gd name="connsiteX63" fmla="*/ 1902 w 288273"/>
                <a:gd name="connsiteY63" fmla="*/ 254236 h 438494"/>
                <a:gd name="connsiteX64" fmla="*/ 6846 w 288273"/>
                <a:gd name="connsiteY64" fmla="*/ 269068 h 438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88273" h="438494">
                  <a:moveTo>
                    <a:pt x="6846" y="269068"/>
                  </a:moveTo>
                  <a:lnTo>
                    <a:pt x="9698" y="273061"/>
                  </a:lnTo>
                  <a:cubicBezTo>
                    <a:pt x="13706" y="278937"/>
                    <a:pt x="16905" y="285345"/>
                    <a:pt x="19206" y="292076"/>
                  </a:cubicBezTo>
                  <a:cubicBezTo>
                    <a:pt x="19206" y="294358"/>
                    <a:pt x="20917" y="296830"/>
                    <a:pt x="21868" y="299302"/>
                  </a:cubicBezTo>
                  <a:lnTo>
                    <a:pt x="24340" y="305007"/>
                  </a:lnTo>
                  <a:cubicBezTo>
                    <a:pt x="29866" y="314286"/>
                    <a:pt x="30366" y="325714"/>
                    <a:pt x="25671" y="335431"/>
                  </a:cubicBezTo>
                  <a:cubicBezTo>
                    <a:pt x="21107" y="347221"/>
                    <a:pt x="23009" y="351595"/>
                    <a:pt x="35369" y="357869"/>
                  </a:cubicBezTo>
                  <a:cubicBezTo>
                    <a:pt x="62802" y="369336"/>
                    <a:pt x="77516" y="399323"/>
                    <a:pt x="69787" y="428036"/>
                  </a:cubicBezTo>
                  <a:lnTo>
                    <a:pt x="76632" y="426135"/>
                  </a:lnTo>
                  <a:cubicBezTo>
                    <a:pt x="90253" y="421533"/>
                    <a:pt x="105275" y="426591"/>
                    <a:pt x="113332" y="438495"/>
                  </a:cubicBezTo>
                  <a:cubicBezTo>
                    <a:pt x="114977" y="434578"/>
                    <a:pt x="117293" y="430965"/>
                    <a:pt x="120177" y="427846"/>
                  </a:cubicBezTo>
                  <a:cubicBezTo>
                    <a:pt x="124747" y="423587"/>
                    <a:pt x="130409" y="420696"/>
                    <a:pt x="136530" y="419479"/>
                  </a:cubicBezTo>
                  <a:cubicBezTo>
                    <a:pt x="147010" y="418795"/>
                    <a:pt x="154953" y="409744"/>
                    <a:pt x="154270" y="399266"/>
                  </a:cubicBezTo>
                  <a:cubicBezTo>
                    <a:pt x="154203" y="398258"/>
                    <a:pt x="154059" y="397269"/>
                    <a:pt x="153834" y="396281"/>
                  </a:cubicBezTo>
                  <a:cubicBezTo>
                    <a:pt x="153745" y="390937"/>
                    <a:pt x="154451" y="385632"/>
                    <a:pt x="155926" y="380498"/>
                  </a:cubicBezTo>
                  <a:cubicBezTo>
                    <a:pt x="157828" y="375173"/>
                    <a:pt x="160110" y="370039"/>
                    <a:pt x="162391" y="364715"/>
                  </a:cubicBezTo>
                  <a:cubicBezTo>
                    <a:pt x="164934" y="359467"/>
                    <a:pt x="167155" y="354066"/>
                    <a:pt x="169047" y="348552"/>
                  </a:cubicBezTo>
                  <a:lnTo>
                    <a:pt x="170758" y="342087"/>
                  </a:lnTo>
                  <a:cubicBezTo>
                    <a:pt x="172850" y="332959"/>
                    <a:pt x="175512" y="321550"/>
                    <a:pt x="191675" y="319649"/>
                  </a:cubicBezTo>
                  <a:cubicBezTo>
                    <a:pt x="191675" y="316226"/>
                    <a:pt x="191675" y="312803"/>
                    <a:pt x="191675" y="309380"/>
                  </a:cubicBezTo>
                  <a:lnTo>
                    <a:pt x="191675" y="306908"/>
                  </a:lnTo>
                  <a:cubicBezTo>
                    <a:pt x="190819" y="301242"/>
                    <a:pt x="192333" y="295461"/>
                    <a:pt x="195859" y="290935"/>
                  </a:cubicBezTo>
                  <a:cubicBezTo>
                    <a:pt x="198460" y="288521"/>
                    <a:pt x="201687" y="286866"/>
                    <a:pt x="205176" y="286182"/>
                  </a:cubicBezTo>
                  <a:cubicBezTo>
                    <a:pt x="207838" y="286182"/>
                    <a:pt x="208979" y="286182"/>
                    <a:pt x="209930" y="283710"/>
                  </a:cubicBezTo>
                  <a:cubicBezTo>
                    <a:pt x="211828" y="280591"/>
                    <a:pt x="212997" y="277073"/>
                    <a:pt x="213353" y="273441"/>
                  </a:cubicBezTo>
                  <a:cubicBezTo>
                    <a:pt x="213722" y="266044"/>
                    <a:pt x="217169" y="259161"/>
                    <a:pt x="222860" y="254426"/>
                  </a:cubicBezTo>
                  <a:cubicBezTo>
                    <a:pt x="233663" y="246401"/>
                    <a:pt x="243045" y="236646"/>
                    <a:pt x="250623" y="225522"/>
                  </a:cubicBezTo>
                  <a:cubicBezTo>
                    <a:pt x="255542" y="218297"/>
                    <a:pt x="256472" y="209055"/>
                    <a:pt x="253095" y="200992"/>
                  </a:cubicBezTo>
                  <a:cubicBezTo>
                    <a:pt x="252157" y="197874"/>
                    <a:pt x="251397" y="194699"/>
                    <a:pt x="250813" y="191485"/>
                  </a:cubicBezTo>
                  <a:cubicBezTo>
                    <a:pt x="250813" y="188633"/>
                    <a:pt x="245869" y="162582"/>
                    <a:pt x="259370" y="151362"/>
                  </a:cubicBezTo>
                  <a:cubicBezTo>
                    <a:pt x="267012" y="146552"/>
                    <a:pt x="276330" y="145164"/>
                    <a:pt x="285041" y="147559"/>
                  </a:cubicBezTo>
                  <a:lnTo>
                    <a:pt x="288273" y="147559"/>
                  </a:lnTo>
                  <a:cubicBezTo>
                    <a:pt x="288273" y="147559"/>
                    <a:pt x="288273" y="147559"/>
                    <a:pt x="288273" y="146608"/>
                  </a:cubicBezTo>
                  <a:lnTo>
                    <a:pt x="285801" y="139763"/>
                  </a:lnTo>
                  <a:cubicBezTo>
                    <a:pt x="284187" y="132461"/>
                    <a:pt x="283675" y="124969"/>
                    <a:pt x="284280" y="117515"/>
                  </a:cubicBezTo>
                  <a:lnTo>
                    <a:pt x="285421" y="83287"/>
                  </a:lnTo>
                  <a:cubicBezTo>
                    <a:pt x="286301" y="75852"/>
                    <a:pt x="285522" y="68322"/>
                    <a:pt x="283139" y="61230"/>
                  </a:cubicBezTo>
                  <a:cubicBezTo>
                    <a:pt x="280969" y="57122"/>
                    <a:pt x="278216" y="53338"/>
                    <a:pt x="274963" y="50010"/>
                  </a:cubicBezTo>
                  <a:cubicBezTo>
                    <a:pt x="269863" y="44610"/>
                    <a:pt x="266086" y="38107"/>
                    <a:pt x="263934" y="30995"/>
                  </a:cubicBezTo>
                  <a:cubicBezTo>
                    <a:pt x="263101" y="25956"/>
                    <a:pt x="263101" y="20822"/>
                    <a:pt x="263934" y="15783"/>
                  </a:cubicBezTo>
                  <a:lnTo>
                    <a:pt x="263934" y="0"/>
                  </a:lnTo>
                  <a:lnTo>
                    <a:pt x="260130" y="1331"/>
                  </a:lnTo>
                  <a:cubicBezTo>
                    <a:pt x="253551" y="5058"/>
                    <a:pt x="245977" y="6655"/>
                    <a:pt x="238453" y="5895"/>
                  </a:cubicBezTo>
                  <a:cubicBezTo>
                    <a:pt x="236338" y="5667"/>
                    <a:pt x="234241" y="5267"/>
                    <a:pt x="232178" y="4754"/>
                  </a:cubicBezTo>
                  <a:cubicBezTo>
                    <a:pt x="229704" y="3613"/>
                    <a:pt x="226856" y="3613"/>
                    <a:pt x="224382" y="4754"/>
                  </a:cubicBezTo>
                  <a:cubicBezTo>
                    <a:pt x="219844" y="8062"/>
                    <a:pt x="216190" y="12436"/>
                    <a:pt x="213733" y="17494"/>
                  </a:cubicBezTo>
                  <a:cubicBezTo>
                    <a:pt x="211388" y="22039"/>
                    <a:pt x="208376" y="26203"/>
                    <a:pt x="204796" y="29854"/>
                  </a:cubicBezTo>
                  <a:cubicBezTo>
                    <a:pt x="200266" y="33923"/>
                    <a:pt x="195364" y="37555"/>
                    <a:pt x="190154" y="40693"/>
                  </a:cubicBezTo>
                  <a:cubicBezTo>
                    <a:pt x="183807" y="44230"/>
                    <a:pt x="178191" y="48927"/>
                    <a:pt x="173610" y="54574"/>
                  </a:cubicBezTo>
                  <a:cubicBezTo>
                    <a:pt x="171395" y="57788"/>
                    <a:pt x="169423" y="61153"/>
                    <a:pt x="167716" y="64652"/>
                  </a:cubicBezTo>
                  <a:cubicBezTo>
                    <a:pt x="164124" y="73989"/>
                    <a:pt x="157402" y="81785"/>
                    <a:pt x="148700" y="86710"/>
                  </a:cubicBezTo>
                  <a:cubicBezTo>
                    <a:pt x="141292" y="89810"/>
                    <a:pt x="133344" y="91426"/>
                    <a:pt x="125311" y="91464"/>
                  </a:cubicBezTo>
                  <a:cubicBezTo>
                    <a:pt x="116869" y="90970"/>
                    <a:pt x="108506" y="93327"/>
                    <a:pt x="101542" y="98119"/>
                  </a:cubicBezTo>
                  <a:lnTo>
                    <a:pt x="99260" y="100591"/>
                  </a:lnTo>
                  <a:cubicBezTo>
                    <a:pt x="97638" y="102854"/>
                    <a:pt x="96535" y="105459"/>
                    <a:pt x="96028" y="108198"/>
                  </a:cubicBezTo>
                  <a:lnTo>
                    <a:pt x="96028" y="108198"/>
                  </a:lnTo>
                  <a:cubicBezTo>
                    <a:pt x="95047" y="112191"/>
                    <a:pt x="94474" y="116260"/>
                    <a:pt x="94316" y="120367"/>
                  </a:cubicBezTo>
                  <a:cubicBezTo>
                    <a:pt x="94197" y="124912"/>
                    <a:pt x="93687" y="129419"/>
                    <a:pt x="92795" y="133868"/>
                  </a:cubicBezTo>
                  <a:cubicBezTo>
                    <a:pt x="90009" y="145677"/>
                    <a:pt x="81416" y="155280"/>
                    <a:pt x="69977" y="159349"/>
                  </a:cubicBezTo>
                  <a:lnTo>
                    <a:pt x="62561" y="163532"/>
                  </a:lnTo>
                  <a:cubicBezTo>
                    <a:pt x="52380" y="171861"/>
                    <a:pt x="45612" y="183632"/>
                    <a:pt x="43545" y="196619"/>
                  </a:cubicBezTo>
                  <a:cubicBezTo>
                    <a:pt x="40490" y="209892"/>
                    <a:pt x="33922" y="222119"/>
                    <a:pt x="24530" y="231988"/>
                  </a:cubicBezTo>
                  <a:cubicBezTo>
                    <a:pt x="17542" y="238244"/>
                    <a:pt x="9116" y="242693"/>
                    <a:pt x="0" y="244918"/>
                  </a:cubicBezTo>
                  <a:cubicBezTo>
                    <a:pt x="359" y="248075"/>
                    <a:pt x="995" y="251193"/>
                    <a:pt x="1902" y="254236"/>
                  </a:cubicBezTo>
                  <a:cubicBezTo>
                    <a:pt x="2470" y="259484"/>
                    <a:pt x="4157" y="264542"/>
                    <a:pt x="6846" y="269068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44" name="Полилиния: фигура 443">
              <a:extLst>
                <a:ext uri="{FF2B5EF4-FFF2-40B4-BE49-F238E27FC236}">
                  <a16:creationId xmlns:a16="http://schemas.microsoft.com/office/drawing/2014/main" id="{CDC70B68-6823-52E6-A9B0-74FE1226D315}"/>
                </a:ext>
              </a:extLst>
            </p:cNvPr>
            <p:cNvSpPr/>
            <p:nvPr/>
          </p:nvSpPr>
          <p:spPr>
            <a:xfrm>
              <a:off x="2086407" y="3208243"/>
              <a:ext cx="505482" cy="438565"/>
            </a:xfrm>
            <a:custGeom>
              <a:avLst/>
              <a:gdLst>
                <a:gd name="connsiteX0" fmla="*/ 9371 w 505482"/>
                <a:gd name="connsiteY0" fmla="*/ 159767 h 438565"/>
                <a:gd name="connsiteX1" fmla="*/ 19069 w 505482"/>
                <a:gd name="connsiteY1" fmla="*/ 173649 h 438565"/>
                <a:gd name="connsiteX2" fmla="*/ 22301 w 505482"/>
                <a:gd name="connsiteY2" fmla="*/ 200460 h 438565"/>
                <a:gd name="connsiteX3" fmla="*/ 20970 w 505482"/>
                <a:gd name="connsiteY3" fmla="*/ 234688 h 438565"/>
                <a:gd name="connsiteX4" fmla="*/ 22301 w 505482"/>
                <a:gd name="connsiteY4" fmla="*/ 253703 h 438565"/>
                <a:gd name="connsiteX5" fmla="*/ 24393 w 505482"/>
                <a:gd name="connsiteY5" fmla="*/ 259598 h 438565"/>
                <a:gd name="connsiteX6" fmla="*/ 25914 w 505482"/>
                <a:gd name="connsiteY6" fmla="*/ 263972 h 438565"/>
                <a:gd name="connsiteX7" fmla="*/ 36943 w 505482"/>
                <a:gd name="connsiteY7" fmla="*/ 257697 h 438565"/>
                <a:gd name="connsiteX8" fmla="*/ 53677 w 505482"/>
                <a:gd name="connsiteY8" fmla="*/ 249140 h 438565"/>
                <a:gd name="connsiteX9" fmla="*/ 73833 w 505482"/>
                <a:gd name="connsiteY9" fmla="*/ 260169 h 438565"/>
                <a:gd name="connsiteX10" fmla="*/ 78967 w 505482"/>
                <a:gd name="connsiteY10" fmla="*/ 266824 h 438565"/>
                <a:gd name="connsiteX11" fmla="*/ 97982 w 505482"/>
                <a:gd name="connsiteY11" fmla="*/ 268345 h 438565"/>
                <a:gd name="connsiteX12" fmla="*/ 102736 w 505482"/>
                <a:gd name="connsiteY12" fmla="*/ 268345 h 438565"/>
                <a:gd name="connsiteX13" fmla="*/ 134492 w 505482"/>
                <a:gd name="connsiteY13" fmla="*/ 276141 h 438565"/>
                <a:gd name="connsiteX14" fmla="*/ 152557 w 505482"/>
                <a:gd name="connsiteY14" fmla="*/ 276141 h 438565"/>
                <a:gd name="connsiteX15" fmla="*/ 165487 w 505482"/>
                <a:gd name="connsiteY15" fmla="*/ 271388 h 438565"/>
                <a:gd name="connsiteX16" fmla="*/ 187545 w 505482"/>
                <a:gd name="connsiteY16" fmla="*/ 277092 h 438565"/>
                <a:gd name="connsiteX17" fmla="*/ 194010 w 505482"/>
                <a:gd name="connsiteY17" fmla="*/ 280895 h 438565"/>
                <a:gd name="connsiteX18" fmla="*/ 197053 w 505482"/>
                <a:gd name="connsiteY18" fmla="*/ 282036 h 438565"/>
                <a:gd name="connsiteX19" fmla="*/ 206751 w 505482"/>
                <a:gd name="connsiteY19" fmla="*/ 292305 h 438565"/>
                <a:gd name="connsiteX20" fmla="*/ 205229 w 505482"/>
                <a:gd name="connsiteY20" fmla="*/ 309418 h 438565"/>
                <a:gd name="connsiteX21" fmla="*/ 203708 w 505482"/>
                <a:gd name="connsiteY21" fmla="*/ 319306 h 438565"/>
                <a:gd name="connsiteX22" fmla="*/ 205990 w 505482"/>
                <a:gd name="connsiteY22" fmla="*/ 326532 h 438565"/>
                <a:gd name="connsiteX23" fmla="*/ 222914 w 505482"/>
                <a:gd name="connsiteY23" fmla="*/ 326532 h 438565"/>
                <a:gd name="connsiteX24" fmla="*/ 228048 w 505482"/>
                <a:gd name="connsiteY24" fmla="*/ 326532 h 438565"/>
                <a:gd name="connsiteX25" fmla="*/ 251817 w 505482"/>
                <a:gd name="connsiteY25" fmla="*/ 345548 h 438565"/>
                <a:gd name="connsiteX26" fmla="*/ 257712 w 505482"/>
                <a:gd name="connsiteY26" fmla="*/ 352583 h 438565"/>
                <a:gd name="connsiteX27" fmla="*/ 269882 w 505482"/>
                <a:gd name="connsiteY27" fmla="*/ 368176 h 438565"/>
                <a:gd name="connsiteX28" fmla="*/ 269882 w 505482"/>
                <a:gd name="connsiteY28" fmla="*/ 376353 h 438565"/>
                <a:gd name="connsiteX29" fmla="*/ 275586 w 505482"/>
                <a:gd name="connsiteY29" fmla="*/ 402214 h 438565"/>
                <a:gd name="connsiteX30" fmla="*/ 281671 w 505482"/>
                <a:gd name="connsiteY30" fmla="*/ 408489 h 438565"/>
                <a:gd name="connsiteX31" fmla="*/ 288136 w 505482"/>
                <a:gd name="connsiteY31" fmla="*/ 414573 h 438565"/>
                <a:gd name="connsiteX32" fmla="*/ 295172 w 505482"/>
                <a:gd name="connsiteY32" fmla="*/ 429215 h 438565"/>
                <a:gd name="connsiteX33" fmla="*/ 297264 w 505482"/>
                <a:gd name="connsiteY33" fmla="*/ 435681 h 438565"/>
                <a:gd name="connsiteX34" fmla="*/ 298785 w 505482"/>
                <a:gd name="connsiteY34" fmla="*/ 438343 h 438565"/>
                <a:gd name="connsiteX35" fmla="*/ 324075 w 505482"/>
                <a:gd name="connsiteY35" fmla="*/ 436061 h 438565"/>
                <a:gd name="connsiteX36" fmla="*/ 337767 w 505482"/>
                <a:gd name="connsiteY36" fmla="*/ 438533 h 438565"/>
                <a:gd name="connsiteX37" fmla="*/ 350127 w 505482"/>
                <a:gd name="connsiteY37" fmla="*/ 432258 h 438565"/>
                <a:gd name="connsiteX38" fmla="*/ 356021 w 505482"/>
                <a:gd name="connsiteY38" fmla="*/ 426173 h 438565"/>
                <a:gd name="connsiteX39" fmla="*/ 363627 w 505482"/>
                <a:gd name="connsiteY39" fmla="*/ 421229 h 438565"/>
                <a:gd name="connsiteX40" fmla="*/ 369712 w 505482"/>
                <a:gd name="connsiteY40" fmla="*/ 417236 h 438565"/>
                <a:gd name="connsiteX41" fmla="*/ 384544 w 505482"/>
                <a:gd name="connsiteY41" fmla="*/ 398220 h 438565"/>
                <a:gd name="connsiteX42" fmla="*/ 388347 w 505482"/>
                <a:gd name="connsiteY42" fmla="*/ 387192 h 438565"/>
                <a:gd name="connsiteX43" fmla="*/ 390059 w 505482"/>
                <a:gd name="connsiteY43" fmla="*/ 377874 h 438565"/>
                <a:gd name="connsiteX44" fmla="*/ 416490 w 505482"/>
                <a:gd name="connsiteY44" fmla="*/ 350111 h 438565"/>
                <a:gd name="connsiteX45" fmla="*/ 431132 w 505482"/>
                <a:gd name="connsiteY45" fmla="*/ 339653 h 438565"/>
                <a:gd name="connsiteX46" fmla="*/ 439879 w 505482"/>
                <a:gd name="connsiteY46" fmla="*/ 327673 h 438565"/>
                <a:gd name="connsiteX47" fmla="*/ 466310 w 505482"/>
                <a:gd name="connsiteY47" fmla="*/ 306947 h 438565"/>
                <a:gd name="connsiteX48" fmla="*/ 473346 w 505482"/>
                <a:gd name="connsiteY48" fmla="*/ 306947 h 438565"/>
                <a:gd name="connsiteX49" fmla="*/ 488559 w 505482"/>
                <a:gd name="connsiteY49" fmla="*/ 302763 h 438565"/>
                <a:gd name="connsiteX50" fmla="*/ 493502 w 505482"/>
                <a:gd name="connsiteY50" fmla="*/ 299531 h 438565"/>
                <a:gd name="connsiteX51" fmla="*/ 505482 w 505482"/>
                <a:gd name="connsiteY51" fmla="*/ 292685 h 438565"/>
                <a:gd name="connsiteX52" fmla="*/ 503390 w 505482"/>
                <a:gd name="connsiteY52" fmla="*/ 290593 h 438565"/>
                <a:gd name="connsiteX53" fmla="*/ 491411 w 505482"/>
                <a:gd name="connsiteY53" fmla="*/ 269486 h 438565"/>
                <a:gd name="connsiteX54" fmla="*/ 489319 w 505482"/>
                <a:gd name="connsiteY54" fmla="*/ 264162 h 438565"/>
                <a:gd name="connsiteX55" fmla="*/ 472586 w 505482"/>
                <a:gd name="connsiteY55" fmla="*/ 250090 h 438565"/>
                <a:gd name="connsiteX56" fmla="*/ 455472 w 505482"/>
                <a:gd name="connsiteY56" fmla="*/ 237921 h 438565"/>
                <a:gd name="connsiteX57" fmla="*/ 452239 w 505482"/>
                <a:gd name="connsiteY57" fmla="*/ 231265 h 438565"/>
                <a:gd name="connsiteX58" fmla="*/ 433224 w 505482"/>
                <a:gd name="connsiteY58" fmla="*/ 214151 h 438565"/>
                <a:gd name="connsiteX59" fmla="*/ 429801 w 505482"/>
                <a:gd name="connsiteY59" fmla="*/ 213011 h 438565"/>
                <a:gd name="connsiteX60" fmla="*/ 429801 w 505482"/>
                <a:gd name="connsiteY60" fmla="*/ 215863 h 438565"/>
                <a:gd name="connsiteX61" fmla="*/ 429801 w 505482"/>
                <a:gd name="connsiteY61" fmla="*/ 217954 h 438565"/>
                <a:gd name="connsiteX62" fmla="*/ 423146 w 505482"/>
                <a:gd name="connsiteY62" fmla="*/ 236970 h 438565"/>
                <a:gd name="connsiteX63" fmla="*/ 412687 w 505482"/>
                <a:gd name="connsiteY63" fmla="*/ 239252 h 438565"/>
                <a:gd name="connsiteX64" fmla="*/ 402609 w 505482"/>
                <a:gd name="connsiteY64" fmla="*/ 228223 h 438565"/>
                <a:gd name="connsiteX65" fmla="*/ 398425 w 505482"/>
                <a:gd name="connsiteY65" fmla="*/ 222898 h 438565"/>
                <a:gd name="connsiteX66" fmla="*/ 384544 w 505482"/>
                <a:gd name="connsiteY66" fmla="*/ 226702 h 438565"/>
                <a:gd name="connsiteX67" fmla="*/ 356972 w 505482"/>
                <a:gd name="connsiteY67" fmla="*/ 229554 h 438565"/>
                <a:gd name="connsiteX68" fmla="*/ 335294 w 505482"/>
                <a:gd name="connsiteY68" fmla="*/ 205785 h 438565"/>
                <a:gd name="connsiteX69" fmla="*/ 310575 w 505482"/>
                <a:gd name="connsiteY69" fmla="*/ 148738 h 438565"/>
                <a:gd name="connsiteX70" fmla="*/ 304490 w 505482"/>
                <a:gd name="connsiteY70" fmla="*/ 130864 h 438565"/>
                <a:gd name="connsiteX71" fmla="*/ 302588 w 505482"/>
                <a:gd name="connsiteY71" fmla="*/ 125350 h 438565"/>
                <a:gd name="connsiteX72" fmla="*/ 275206 w 505482"/>
                <a:gd name="connsiteY72" fmla="*/ 54993 h 438565"/>
                <a:gd name="connsiteX73" fmla="*/ 263416 w 505482"/>
                <a:gd name="connsiteY73" fmla="*/ 31033 h 438565"/>
                <a:gd name="connsiteX74" fmla="*/ 251817 w 505482"/>
                <a:gd name="connsiteY74" fmla="*/ 7454 h 438565"/>
                <a:gd name="connsiteX75" fmla="*/ 224435 w 505482"/>
                <a:gd name="connsiteY75" fmla="*/ 4412 h 438565"/>
                <a:gd name="connsiteX76" fmla="*/ 117568 w 505482"/>
                <a:gd name="connsiteY76" fmla="*/ 6313 h 438565"/>
                <a:gd name="connsiteX77" fmla="*/ 122512 w 505482"/>
                <a:gd name="connsiteY77" fmla="*/ 9356 h 438565"/>
                <a:gd name="connsiteX78" fmla="*/ 129928 w 505482"/>
                <a:gd name="connsiteY78" fmla="*/ 7834 h 438565"/>
                <a:gd name="connsiteX79" fmla="*/ 144380 w 505482"/>
                <a:gd name="connsiteY79" fmla="*/ 11257 h 438565"/>
                <a:gd name="connsiteX80" fmla="*/ 157881 w 505482"/>
                <a:gd name="connsiteY80" fmla="*/ 25519 h 438565"/>
                <a:gd name="connsiteX81" fmla="*/ 142859 w 505482"/>
                <a:gd name="connsiteY81" fmla="*/ 43393 h 438565"/>
                <a:gd name="connsiteX82" fmla="*/ 145901 w 505482"/>
                <a:gd name="connsiteY82" fmla="*/ 65641 h 438565"/>
                <a:gd name="connsiteX83" fmla="*/ 139246 w 505482"/>
                <a:gd name="connsiteY83" fmla="*/ 84657 h 438565"/>
                <a:gd name="connsiteX84" fmla="*/ 156550 w 505482"/>
                <a:gd name="connsiteY84" fmla="*/ 99869 h 438565"/>
                <a:gd name="connsiteX85" fmla="*/ 171192 w 505482"/>
                <a:gd name="connsiteY85" fmla="*/ 117363 h 438565"/>
                <a:gd name="connsiteX86" fmla="*/ 166058 w 505482"/>
                <a:gd name="connsiteY86" fmla="*/ 152732 h 438565"/>
                <a:gd name="connsiteX87" fmla="*/ 138295 w 505482"/>
                <a:gd name="connsiteY87" fmla="*/ 118124 h 438565"/>
                <a:gd name="connsiteX88" fmla="*/ 125745 w 505482"/>
                <a:gd name="connsiteY88" fmla="*/ 102151 h 438565"/>
                <a:gd name="connsiteX89" fmla="*/ 109202 w 505482"/>
                <a:gd name="connsiteY89" fmla="*/ 109757 h 438565"/>
                <a:gd name="connsiteX90" fmla="*/ 89045 w 505482"/>
                <a:gd name="connsiteY90" fmla="*/ 93784 h 438565"/>
                <a:gd name="connsiteX91" fmla="*/ 78777 w 505482"/>
                <a:gd name="connsiteY91" fmla="*/ 83896 h 438565"/>
                <a:gd name="connsiteX92" fmla="*/ 66797 w 505482"/>
                <a:gd name="connsiteY92" fmla="*/ 83896 h 438565"/>
                <a:gd name="connsiteX93" fmla="*/ 55008 w 505482"/>
                <a:gd name="connsiteY93" fmla="*/ 73057 h 438565"/>
                <a:gd name="connsiteX94" fmla="*/ 43408 w 505482"/>
                <a:gd name="connsiteY94" fmla="*/ 81804 h 438565"/>
                <a:gd name="connsiteX95" fmla="*/ 41317 w 505482"/>
                <a:gd name="connsiteY95" fmla="*/ 98538 h 438565"/>
                <a:gd name="connsiteX96" fmla="*/ 26675 w 505482"/>
                <a:gd name="connsiteY96" fmla="*/ 112609 h 438565"/>
                <a:gd name="connsiteX97" fmla="*/ 4997 w 505482"/>
                <a:gd name="connsiteY97" fmla="*/ 116222 h 438565"/>
                <a:gd name="connsiteX98" fmla="*/ 434 w 505482"/>
                <a:gd name="connsiteY98" fmla="*/ 116222 h 438565"/>
                <a:gd name="connsiteX99" fmla="*/ 434 w 505482"/>
                <a:gd name="connsiteY99" fmla="*/ 134097 h 438565"/>
                <a:gd name="connsiteX100" fmla="*/ 434 w 505482"/>
                <a:gd name="connsiteY100" fmla="*/ 146076 h 438565"/>
                <a:gd name="connsiteX101" fmla="*/ 9371 w 505482"/>
                <a:gd name="connsiteY101" fmla="*/ 159767 h 438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505482" h="438565">
                  <a:moveTo>
                    <a:pt x="9371" y="159767"/>
                  </a:moveTo>
                  <a:cubicBezTo>
                    <a:pt x="13178" y="163970"/>
                    <a:pt x="16437" y="168629"/>
                    <a:pt x="19069" y="173649"/>
                  </a:cubicBezTo>
                  <a:cubicBezTo>
                    <a:pt x="22277" y="182206"/>
                    <a:pt x="23385" y="191390"/>
                    <a:pt x="22301" y="200460"/>
                  </a:cubicBezTo>
                  <a:lnTo>
                    <a:pt x="20970" y="234688"/>
                  </a:lnTo>
                  <a:cubicBezTo>
                    <a:pt x="20419" y="241058"/>
                    <a:pt x="20867" y="247466"/>
                    <a:pt x="22301" y="253703"/>
                  </a:cubicBezTo>
                  <a:cubicBezTo>
                    <a:pt x="22883" y="255700"/>
                    <a:pt x="23583" y="257678"/>
                    <a:pt x="24393" y="259598"/>
                  </a:cubicBezTo>
                  <a:cubicBezTo>
                    <a:pt x="24984" y="261024"/>
                    <a:pt x="25492" y="262489"/>
                    <a:pt x="25914" y="263972"/>
                  </a:cubicBezTo>
                  <a:cubicBezTo>
                    <a:pt x="29989" y="262679"/>
                    <a:pt x="33745" y="260530"/>
                    <a:pt x="36943" y="257697"/>
                  </a:cubicBezTo>
                  <a:cubicBezTo>
                    <a:pt x="41718" y="253494"/>
                    <a:pt x="47470" y="250547"/>
                    <a:pt x="53677" y="249140"/>
                  </a:cubicBezTo>
                  <a:cubicBezTo>
                    <a:pt x="62182" y="247447"/>
                    <a:pt x="70680" y="252087"/>
                    <a:pt x="73833" y="260169"/>
                  </a:cubicBezTo>
                  <a:cubicBezTo>
                    <a:pt x="75170" y="262660"/>
                    <a:pt x="76904" y="264904"/>
                    <a:pt x="78967" y="266824"/>
                  </a:cubicBezTo>
                  <a:cubicBezTo>
                    <a:pt x="84482" y="271008"/>
                    <a:pt x="90947" y="269676"/>
                    <a:pt x="97982" y="268345"/>
                  </a:cubicBezTo>
                  <a:lnTo>
                    <a:pt x="102736" y="268345"/>
                  </a:lnTo>
                  <a:cubicBezTo>
                    <a:pt x="113953" y="265094"/>
                    <a:pt x="126059" y="268060"/>
                    <a:pt x="134492" y="276141"/>
                  </a:cubicBezTo>
                  <a:cubicBezTo>
                    <a:pt x="141528" y="281466"/>
                    <a:pt x="144951" y="279945"/>
                    <a:pt x="152557" y="276141"/>
                  </a:cubicBezTo>
                  <a:cubicBezTo>
                    <a:pt x="156668" y="274069"/>
                    <a:pt x="161007" y="272472"/>
                    <a:pt x="165487" y="271388"/>
                  </a:cubicBezTo>
                  <a:cubicBezTo>
                    <a:pt x="173316" y="270076"/>
                    <a:pt x="181336" y="272148"/>
                    <a:pt x="187545" y="277092"/>
                  </a:cubicBezTo>
                  <a:cubicBezTo>
                    <a:pt x="189589" y="278538"/>
                    <a:pt x="191751" y="279812"/>
                    <a:pt x="194010" y="280895"/>
                  </a:cubicBezTo>
                  <a:lnTo>
                    <a:pt x="197053" y="282036"/>
                  </a:lnTo>
                  <a:cubicBezTo>
                    <a:pt x="202061" y="283196"/>
                    <a:pt x="205885" y="287246"/>
                    <a:pt x="206751" y="292305"/>
                  </a:cubicBezTo>
                  <a:cubicBezTo>
                    <a:pt x="207439" y="298047"/>
                    <a:pt x="206920" y="303885"/>
                    <a:pt x="205229" y="309418"/>
                  </a:cubicBezTo>
                  <a:cubicBezTo>
                    <a:pt x="204343" y="312651"/>
                    <a:pt x="203832" y="315960"/>
                    <a:pt x="203708" y="319306"/>
                  </a:cubicBezTo>
                  <a:cubicBezTo>
                    <a:pt x="203575" y="321912"/>
                    <a:pt x="204385" y="324479"/>
                    <a:pt x="205990" y="326532"/>
                  </a:cubicBezTo>
                  <a:cubicBezTo>
                    <a:pt x="208842" y="328814"/>
                    <a:pt x="216068" y="328054"/>
                    <a:pt x="222914" y="326532"/>
                  </a:cubicBezTo>
                  <a:lnTo>
                    <a:pt x="228048" y="326532"/>
                  </a:lnTo>
                  <a:cubicBezTo>
                    <a:pt x="245732" y="324821"/>
                    <a:pt x="250106" y="328244"/>
                    <a:pt x="251817" y="345548"/>
                  </a:cubicBezTo>
                  <a:cubicBezTo>
                    <a:pt x="251817" y="350111"/>
                    <a:pt x="253909" y="350872"/>
                    <a:pt x="257712" y="352583"/>
                  </a:cubicBezTo>
                  <a:cubicBezTo>
                    <a:pt x="264700" y="354618"/>
                    <a:pt x="269600" y="360893"/>
                    <a:pt x="269882" y="368176"/>
                  </a:cubicBezTo>
                  <a:cubicBezTo>
                    <a:pt x="269882" y="371028"/>
                    <a:pt x="269882" y="373690"/>
                    <a:pt x="269882" y="376353"/>
                  </a:cubicBezTo>
                  <a:cubicBezTo>
                    <a:pt x="269435" y="385328"/>
                    <a:pt x="271405" y="394265"/>
                    <a:pt x="275586" y="402214"/>
                  </a:cubicBezTo>
                  <a:cubicBezTo>
                    <a:pt x="277260" y="404628"/>
                    <a:pt x="279315" y="406739"/>
                    <a:pt x="281671" y="408489"/>
                  </a:cubicBezTo>
                  <a:cubicBezTo>
                    <a:pt x="284096" y="410219"/>
                    <a:pt x="286271" y="412254"/>
                    <a:pt x="288136" y="414573"/>
                  </a:cubicBezTo>
                  <a:cubicBezTo>
                    <a:pt x="291464" y="418909"/>
                    <a:pt x="293860" y="423910"/>
                    <a:pt x="295172" y="429215"/>
                  </a:cubicBezTo>
                  <a:cubicBezTo>
                    <a:pt x="295697" y="431421"/>
                    <a:pt x="296395" y="433589"/>
                    <a:pt x="297264" y="435681"/>
                  </a:cubicBezTo>
                  <a:cubicBezTo>
                    <a:pt x="297579" y="436669"/>
                    <a:pt x="298098" y="437563"/>
                    <a:pt x="298785" y="438343"/>
                  </a:cubicBezTo>
                  <a:cubicBezTo>
                    <a:pt x="306134" y="432942"/>
                    <a:pt x="315876" y="432068"/>
                    <a:pt x="324075" y="436061"/>
                  </a:cubicBezTo>
                  <a:cubicBezTo>
                    <a:pt x="328510" y="437487"/>
                    <a:pt x="333113" y="438324"/>
                    <a:pt x="337767" y="438533"/>
                  </a:cubicBezTo>
                  <a:cubicBezTo>
                    <a:pt x="342728" y="438875"/>
                    <a:pt x="347478" y="436460"/>
                    <a:pt x="350127" y="432258"/>
                  </a:cubicBezTo>
                  <a:cubicBezTo>
                    <a:pt x="351939" y="430090"/>
                    <a:pt x="353909" y="428056"/>
                    <a:pt x="356021" y="426173"/>
                  </a:cubicBezTo>
                  <a:cubicBezTo>
                    <a:pt x="358328" y="424195"/>
                    <a:pt x="360885" y="422541"/>
                    <a:pt x="363627" y="421229"/>
                  </a:cubicBezTo>
                  <a:cubicBezTo>
                    <a:pt x="365894" y="420297"/>
                    <a:pt x="367961" y="418947"/>
                    <a:pt x="369712" y="417236"/>
                  </a:cubicBezTo>
                  <a:cubicBezTo>
                    <a:pt x="375314" y="411436"/>
                    <a:pt x="380287" y="405066"/>
                    <a:pt x="384544" y="398220"/>
                  </a:cubicBezTo>
                  <a:cubicBezTo>
                    <a:pt x="386815" y="394969"/>
                    <a:pt x="388131" y="391147"/>
                    <a:pt x="388347" y="387192"/>
                  </a:cubicBezTo>
                  <a:cubicBezTo>
                    <a:pt x="388724" y="384054"/>
                    <a:pt x="389296" y="380935"/>
                    <a:pt x="390059" y="377874"/>
                  </a:cubicBezTo>
                  <a:cubicBezTo>
                    <a:pt x="395162" y="365685"/>
                    <a:pt x="404571" y="355816"/>
                    <a:pt x="416490" y="350111"/>
                  </a:cubicBezTo>
                  <a:cubicBezTo>
                    <a:pt x="421706" y="347126"/>
                    <a:pt x="426610" y="343608"/>
                    <a:pt x="431132" y="339653"/>
                  </a:cubicBezTo>
                  <a:cubicBezTo>
                    <a:pt x="434513" y="336021"/>
                    <a:pt x="437449" y="331990"/>
                    <a:pt x="439879" y="327673"/>
                  </a:cubicBezTo>
                  <a:cubicBezTo>
                    <a:pt x="444996" y="317044"/>
                    <a:pt x="454760" y="309380"/>
                    <a:pt x="466310" y="306947"/>
                  </a:cubicBezTo>
                  <a:lnTo>
                    <a:pt x="473346" y="306947"/>
                  </a:lnTo>
                  <a:cubicBezTo>
                    <a:pt x="478712" y="307023"/>
                    <a:pt x="483991" y="305577"/>
                    <a:pt x="488559" y="302763"/>
                  </a:cubicBezTo>
                  <a:lnTo>
                    <a:pt x="493502" y="299531"/>
                  </a:lnTo>
                  <a:cubicBezTo>
                    <a:pt x="497180" y="296735"/>
                    <a:pt x="501208" y="294434"/>
                    <a:pt x="505482" y="292685"/>
                  </a:cubicBezTo>
                  <a:lnTo>
                    <a:pt x="503390" y="290593"/>
                  </a:lnTo>
                  <a:cubicBezTo>
                    <a:pt x="497859" y="284546"/>
                    <a:pt x="493763" y="277339"/>
                    <a:pt x="491411" y="269486"/>
                  </a:cubicBezTo>
                  <a:lnTo>
                    <a:pt x="489319" y="264162"/>
                  </a:lnTo>
                  <a:cubicBezTo>
                    <a:pt x="485516" y="254464"/>
                    <a:pt x="483424" y="252563"/>
                    <a:pt x="472586" y="250090"/>
                  </a:cubicBezTo>
                  <a:cubicBezTo>
                    <a:pt x="461747" y="247618"/>
                    <a:pt x="458894" y="245337"/>
                    <a:pt x="455472" y="237921"/>
                  </a:cubicBezTo>
                  <a:cubicBezTo>
                    <a:pt x="454517" y="235639"/>
                    <a:pt x="453439" y="233414"/>
                    <a:pt x="452239" y="231265"/>
                  </a:cubicBezTo>
                  <a:cubicBezTo>
                    <a:pt x="447392" y="224096"/>
                    <a:pt x="440864" y="218221"/>
                    <a:pt x="433224" y="214151"/>
                  </a:cubicBezTo>
                  <a:cubicBezTo>
                    <a:pt x="432229" y="213429"/>
                    <a:pt x="431033" y="213030"/>
                    <a:pt x="429801" y="213011"/>
                  </a:cubicBezTo>
                  <a:cubicBezTo>
                    <a:pt x="429801" y="213011"/>
                    <a:pt x="429801" y="213011"/>
                    <a:pt x="429801" y="215863"/>
                  </a:cubicBezTo>
                  <a:lnTo>
                    <a:pt x="429801" y="217954"/>
                  </a:lnTo>
                  <a:cubicBezTo>
                    <a:pt x="430267" y="224933"/>
                    <a:pt x="427863" y="231798"/>
                    <a:pt x="423146" y="236970"/>
                  </a:cubicBezTo>
                  <a:cubicBezTo>
                    <a:pt x="420175" y="239252"/>
                    <a:pt x="416340" y="240088"/>
                    <a:pt x="412687" y="239252"/>
                  </a:cubicBezTo>
                  <a:cubicBezTo>
                    <a:pt x="407467" y="237845"/>
                    <a:pt x="403535" y="233547"/>
                    <a:pt x="402609" y="228223"/>
                  </a:cubicBezTo>
                  <a:cubicBezTo>
                    <a:pt x="401278" y="223659"/>
                    <a:pt x="400707" y="223089"/>
                    <a:pt x="398425" y="222898"/>
                  </a:cubicBezTo>
                  <a:cubicBezTo>
                    <a:pt x="393569" y="223089"/>
                    <a:pt x="388821" y="224401"/>
                    <a:pt x="384544" y="226702"/>
                  </a:cubicBezTo>
                  <a:cubicBezTo>
                    <a:pt x="376284" y="231855"/>
                    <a:pt x="366111" y="232901"/>
                    <a:pt x="356972" y="229554"/>
                  </a:cubicBezTo>
                  <a:cubicBezTo>
                    <a:pt x="348183" y="223203"/>
                    <a:pt x="340803" y="215121"/>
                    <a:pt x="335294" y="205785"/>
                  </a:cubicBezTo>
                  <a:cubicBezTo>
                    <a:pt x="324701" y="187872"/>
                    <a:pt x="316395" y="168705"/>
                    <a:pt x="310575" y="148738"/>
                  </a:cubicBezTo>
                  <a:cubicBezTo>
                    <a:pt x="308673" y="142654"/>
                    <a:pt x="306581" y="136759"/>
                    <a:pt x="304490" y="130864"/>
                  </a:cubicBezTo>
                  <a:lnTo>
                    <a:pt x="302588" y="125350"/>
                  </a:lnTo>
                  <a:cubicBezTo>
                    <a:pt x="294221" y="101961"/>
                    <a:pt x="285474" y="77811"/>
                    <a:pt x="275206" y="54993"/>
                  </a:cubicBezTo>
                  <a:cubicBezTo>
                    <a:pt x="271593" y="46816"/>
                    <a:pt x="267600" y="39020"/>
                    <a:pt x="263416" y="31033"/>
                  </a:cubicBezTo>
                  <a:cubicBezTo>
                    <a:pt x="259233" y="23047"/>
                    <a:pt x="255430" y="15441"/>
                    <a:pt x="251817" y="7454"/>
                  </a:cubicBezTo>
                  <a:cubicBezTo>
                    <a:pt x="242690" y="7454"/>
                    <a:pt x="232801" y="5743"/>
                    <a:pt x="224435" y="4412"/>
                  </a:cubicBezTo>
                  <a:cubicBezTo>
                    <a:pt x="189040" y="-2054"/>
                    <a:pt x="152711" y="-1407"/>
                    <a:pt x="117568" y="6313"/>
                  </a:cubicBezTo>
                  <a:cubicBezTo>
                    <a:pt x="118926" y="7739"/>
                    <a:pt x="120630" y="8785"/>
                    <a:pt x="122512" y="9356"/>
                  </a:cubicBezTo>
                  <a:cubicBezTo>
                    <a:pt x="125015" y="9013"/>
                    <a:pt x="127492" y="8500"/>
                    <a:pt x="129928" y="7834"/>
                  </a:cubicBezTo>
                  <a:cubicBezTo>
                    <a:pt x="134946" y="7834"/>
                    <a:pt x="139894" y="9013"/>
                    <a:pt x="144380" y="11257"/>
                  </a:cubicBezTo>
                  <a:cubicBezTo>
                    <a:pt x="149704" y="13729"/>
                    <a:pt x="159402" y="18293"/>
                    <a:pt x="157881" y="25519"/>
                  </a:cubicBezTo>
                  <a:cubicBezTo>
                    <a:pt x="156360" y="32745"/>
                    <a:pt x="143809" y="33125"/>
                    <a:pt x="142859" y="43393"/>
                  </a:cubicBezTo>
                  <a:cubicBezTo>
                    <a:pt x="141908" y="53662"/>
                    <a:pt x="150085" y="56324"/>
                    <a:pt x="145901" y="65641"/>
                  </a:cubicBezTo>
                  <a:cubicBezTo>
                    <a:pt x="141718" y="74959"/>
                    <a:pt x="133731" y="74198"/>
                    <a:pt x="139246" y="84657"/>
                  </a:cubicBezTo>
                  <a:cubicBezTo>
                    <a:pt x="142288" y="90742"/>
                    <a:pt x="151606" y="95115"/>
                    <a:pt x="156550" y="99869"/>
                  </a:cubicBezTo>
                  <a:cubicBezTo>
                    <a:pt x="162034" y="105174"/>
                    <a:pt x="166942" y="111031"/>
                    <a:pt x="171192" y="117363"/>
                  </a:cubicBezTo>
                  <a:cubicBezTo>
                    <a:pt x="179178" y="129343"/>
                    <a:pt x="186404" y="149119"/>
                    <a:pt x="166058" y="152732"/>
                  </a:cubicBezTo>
                  <a:cubicBezTo>
                    <a:pt x="142478" y="156915"/>
                    <a:pt x="147042" y="131244"/>
                    <a:pt x="138295" y="118124"/>
                  </a:cubicBezTo>
                  <a:cubicBezTo>
                    <a:pt x="135253" y="113750"/>
                    <a:pt x="131069" y="104052"/>
                    <a:pt x="125745" y="102151"/>
                  </a:cubicBezTo>
                  <a:cubicBezTo>
                    <a:pt x="114906" y="97967"/>
                    <a:pt x="118709" y="107855"/>
                    <a:pt x="109202" y="109757"/>
                  </a:cubicBezTo>
                  <a:cubicBezTo>
                    <a:pt x="99694" y="111658"/>
                    <a:pt x="93419" y="99108"/>
                    <a:pt x="89045" y="93784"/>
                  </a:cubicBezTo>
                  <a:cubicBezTo>
                    <a:pt x="86522" y="89658"/>
                    <a:pt x="82987" y="86254"/>
                    <a:pt x="78777" y="83896"/>
                  </a:cubicBezTo>
                  <a:cubicBezTo>
                    <a:pt x="74403" y="82185"/>
                    <a:pt x="70981" y="86558"/>
                    <a:pt x="66797" y="83896"/>
                  </a:cubicBezTo>
                  <a:cubicBezTo>
                    <a:pt x="62614" y="81234"/>
                    <a:pt x="63755" y="72677"/>
                    <a:pt x="55008" y="73057"/>
                  </a:cubicBezTo>
                  <a:cubicBezTo>
                    <a:pt x="50064" y="73057"/>
                    <a:pt x="47021" y="78001"/>
                    <a:pt x="43408" y="81804"/>
                  </a:cubicBezTo>
                  <a:cubicBezTo>
                    <a:pt x="44177" y="87471"/>
                    <a:pt x="43456" y="93233"/>
                    <a:pt x="41317" y="98538"/>
                  </a:cubicBezTo>
                  <a:cubicBezTo>
                    <a:pt x="38597" y="105060"/>
                    <a:pt x="33294" y="110156"/>
                    <a:pt x="26675" y="112609"/>
                  </a:cubicBezTo>
                  <a:cubicBezTo>
                    <a:pt x="19700" y="115005"/>
                    <a:pt x="12373" y="116222"/>
                    <a:pt x="4997" y="116222"/>
                  </a:cubicBezTo>
                  <a:lnTo>
                    <a:pt x="434" y="116222"/>
                  </a:lnTo>
                  <a:lnTo>
                    <a:pt x="434" y="134097"/>
                  </a:lnTo>
                  <a:cubicBezTo>
                    <a:pt x="-145" y="138071"/>
                    <a:pt x="-145" y="142102"/>
                    <a:pt x="434" y="146076"/>
                  </a:cubicBezTo>
                  <a:cubicBezTo>
                    <a:pt x="2385" y="151230"/>
                    <a:pt x="5435" y="155907"/>
                    <a:pt x="9371" y="159767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45" name="Полилиния: фигура 444">
              <a:extLst>
                <a:ext uri="{FF2B5EF4-FFF2-40B4-BE49-F238E27FC236}">
                  <a16:creationId xmlns:a16="http://schemas.microsoft.com/office/drawing/2014/main" id="{6BCC3E84-4F98-A88F-4906-ADDE2644F95D}"/>
                </a:ext>
              </a:extLst>
            </p:cNvPr>
            <p:cNvSpPr/>
            <p:nvPr/>
          </p:nvSpPr>
          <p:spPr>
            <a:xfrm>
              <a:off x="2376829" y="3508059"/>
              <a:ext cx="722771" cy="586890"/>
            </a:xfrm>
            <a:custGeom>
              <a:avLst/>
              <a:gdLst>
                <a:gd name="connsiteX0" fmla="*/ 318124 w 722771"/>
                <a:gd name="connsiteY0" fmla="*/ 97074 h 586890"/>
                <a:gd name="connsiteX1" fmla="*/ 337139 w 722771"/>
                <a:gd name="connsiteY1" fmla="*/ 57521 h 586890"/>
                <a:gd name="connsiteX2" fmla="*/ 340562 w 722771"/>
                <a:gd name="connsiteY2" fmla="*/ 51627 h 586890"/>
                <a:gd name="connsiteX3" fmla="*/ 319645 w 722771"/>
                <a:gd name="connsiteY3" fmla="*/ 39077 h 586890"/>
                <a:gd name="connsiteX4" fmla="*/ 313750 w 722771"/>
                <a:gd name="connsiteY4" fmla="*/ 25956 h 586890"/>
                <a:gd name="connsiteX5" fmla="*/ 309377 w 722771"/>
                <a:gd name="connsiteY5" fmla="*/ 16068 h 586890"/>
                <a:gd name="connsiteX6" fmla="*/ 287699 w 722771"/>
                <a:gd name="connsiteY6" fmla="*/ 7891 h 586890"/>
                <a:gd name="connsiteX7" fmla="*/ 274199 w 722771"/>
                <a:gd name="connsiteY7" fmla="*/ 6941 h 586890"/>
                <a:gd name="connsiteX8" fmla="*/ 253662 w 722771"/>
                <a:gd name="connsiteY8" fmla="*/ 4849 h 586890"/>
                <a:gd name="connsiteX9" fmla="*/ 245485 w 722771"/>
                <a:gd name="connsiteY9" fmla="*/ 1997 h 586890"/>
                <a:gd name="connsiteX10" fmla="*/ 237689 w 722771"/>
                <a:gd name="connsiteY10" fmla="*/ 285 h 586890"/>
                <a:gd name="connsiteX11" fmla="*/ 237689 w 722771"/>
                <a:gd name="connsiteY11" fmla="*/ 285 h 586890"/>
                <a:gd name="connsiteX12" fmla="*/ 229512 w 722771"/>
                <a:gd name="connsiteY12" fmla="*/ 285 h 586890"/>
                <a:gd name="connsiteX13" fmla="*/ 224378 w 722771"/>
                <a:gd name="connsiteY13" fmla="*/ 285 h 586890"/>
                <a:gd name="connsiteX14" fmla="*/ 210877 w 722771"/>
                <a:gd name="connsiteY14" fmla="*/ 7131 h 586890"/>
                <a:gd name="connsiteX15" fmla="*/ 205553 w 722771"/>
                <a:gd name="connsiteY15" fmla="*/ 10553 h 586890"/>
                <a:gd name="connsiteX16" fmla="*/ 185397 w 722771"/>
                <a:gd name="connsiteY16" fmla="*/ 16258 h 586890"/>
                <a:gd name="connsiteX17" fmla="*/ 178931 w 722771"/>
                <a:gd name="connsiteY17" fmla="*/ 16258 h 586890"/>
                <a:gd name="connsiteX18" fmla="*/ 159916 w 722771"/>
                <a:gd name="connsiteY18" fmla="*/ 32041 h 586890"/>
                <a:gd name="connsiteX19" fmla="*/ 149458 w 722771"/>
                <a:gd name="connsiteY19" fmla="*/ 45922 h 586890"/>
                <a:gd name="connsiteX20" fmla="*/ 133104 w 722771"/>
                <a:gd name="connsiteY20" fmla="*/ 57902 h 586890"/>
                <a:gd name="connsiteX21" fmla="*/ 111427 w 722771"/>
                <a:gd name="connsiteY21" fmla="*/ 79579 h 586890"/>
                <a:gd name="connsiteX22" fmla="*/ 109906 w 722771"/>
                <a:gd name="connsiteY22" fmla="*/ 87185 h 586890"/>
                <a:gd name="connsiteX23" fmla="*/ 104391 w 722771"/>
                <a:gd name="connsiteY23" fmla="*/ 102968 h 586890"/>
                <a:gd name="connsiteX24" fmla="*/ 88418 w 722771"/>
                <a:gd name="connsiteY24" fmla="*/ 123505 h 586890"/>
                <a:gd name="connsiteX25" fmla="*/ 79481 w 722771"/>
                <a:gd name="connsiteY25" fmla="*/ 129590 h 586890"/>
                <a:gd name="connsiteX26" fmla="*/ 74157 w 722771"/>
                <a:gd name="connsiteY26" fmla="*/ 132823 h 586890"/>
                <a:gd name="connsiteX27" fmla="*/ 69213 w 722771"/>
                <a:gd name="connsiteY27" fmla="*/ 137956 h 586890"/>
                <a:gd name="connsiteX28" fmla="*/ 48866 w 722771"/>
                <a:gd name="connsiteY28" fmla="*/ 148035 h 586890"/>
                <a:gd name="connsiteX29" fmla="*/ 31942 w 722771"/>
                <a:gd name="connsiteY29" fmla="*/ 144992 h 586890"/>
                <a:gd name="connsiteX30" fmla="*/ 16540 w 722771"/>
                <a:gd name="connsiteY30" fmla="*/ 144992 h 586890"/>
                <a:gd name="connsiteX31" fmla="*/ 12167 w 722771"/>
                <a:gd name="connsiteY31" fmla="*/ 150887 h 586890"/>
                <a:gd name="connsiteX32" fmla="*/ 10455 w 722771"/>
                <a:gd name="connsiteY32" fmla="*/ 154120 h 586890"/>
                <a:gd name="connsiteX33" fmla="*/ 187 w 722771"/>
                <a:gd name="connsiteY33" fmla="*/ 179220 h 586890"/>
                <a:gd name="connsiteX34" fmla="*/ 187 w 722771"/>
                <a:gd name="connsiteY34" fmla="*/ 184544 h 586890"/>
                <a:gd name="connsiteX35" fmla="*/ 5891 w 722771"/>
                <a:gd name="connsiteY35" fmla="*/ 186826 h 586890"/>
                <a:gd name="connsiteX36" fmla="*/ 9885 w 722771"/>
                <a:gd name="connsiteY36" fmla="*/ 188347 h 586890"/>
                <a:gd name="connsiteX37" fmla="*/ 23386 w 722771"/>
                <a:gd name="connsiteY37" fmla="*/ 200137 h 586890"/>
                <a:gd name="connsiteX38" fmla="*/ 26238 w 722771"/>
                <a:gd name="connsiteY38" fmla="*/ 204701 h 586890"/>
                <a:gd name="connsiteX39" fmla="*/ 35936 w 722771"/>
                <a:gd name="connsiteY39" fmla="*/ 225237 h 586890"/>
                <a:gd name="connsiteX40" fmla="*/ 32323 w 722771"/>
                <a:gd name="connsiteY40" fmla="*/ 247675 h 586890"/>
                <a:gd name="connsiteX41" fmla="*/ 30611 w 722771"/>
                <a:gd name="connsiteY41" fmla="*/ 253570 h 586890"/>
                <a:gd name="connsiteX42" fmla="*/ 30611 w 722771"/>
                <a:gd name="connsiteY42" fmla="*/ 253570 h 586890"/>
                <a:gd name="connsiteX43" fmla="*/ 64649 w 722771"/>
                <a:gd name="connsiteY43" fmla="*/ 256613 h 586890"/>
                <a:gd name="connsiteX44" fmla="*/ 68262 w 722771"/>
                <a:gd name="connsiteY44" fmla="*/ 256613 h 586890"/>
                <a:gd name="connsiteX45" fmla="*/ 95256 w 722771"/>
                <a:gd name="connsiteY45" fmla="*/ 277092 h 586890"/>
                <a:gd name="connsiteX46" fmla="*/ 95454 w 722771"/>
                <a:gd name="connsiteY46" fmla="*/ 279241 h 586890"/>
                <a:gd name="connsiteX47" fmla="*/ 95454 w 722771"/>
                <a:gd name="connsiteY47" fmla="*/ 308715 h 586890"/>
                <a:gd name="connsiteX48" fmla="*/ 116561 w 722771"/>
                <a:gd name="connsiteY48" fmla="*/ 310236 h 586890"/>
                <a:gd name="connsiteX49" fmla="*/ 141091 w 722771"/>
                <a:gd name="connsiteY49" fmla="*/ 327160 h 586890"/>
                <a:gd name="connsiteX50" fmla="*/ 154021 w 722771"/>
                <a:gd name="connsiteY50" fmla="*/ 338949 h 586890"/>
                <a:gd name="connsiteX51" fmla="*/ 173037 w 722771"/>
                <a:gd name="connsiteY51" fmla="*/ 340471 h 586890"/>
                <a:gd name="connsiteX52" fmla="*/ 197376 w 722771"/>
                <a:gd name="connsiteY52" fmla="*/ 344464 h 586890"/>
                <a:gd name="connsiteX53" fmla="*/ 217533 w 722771"/>
                <a:gd name="connsiteY53" fmla="*/ 388009 h 586890"/>
                <a:gd name="connsiteX54" fmla="*/ 217533 w 722771"/>
                <a:gd name="connsiteY54" fmla="*/ 400179 h 586890"/>
                <a:gd name="connsiteX55" fmla="*/ 223808 w 722771"/>
                <a:gd name="connsiteY55" fmla="*/ 433075 h 586890"/>
                <a:gd name="connsiteX56" fmla="*/ 234456 w 722771"/>
                <a:gd name="connsiteY56" fmla="*/ 440872 h 586890"/>
                <a:gd name="connsiteX57" fmla="*/ 244915 w 722771"/>
                <a:gd name="connsiteY57" fmla="*/ 444675 h 586890"/>
                <a:gd name="connsiteX58" fmla="*/ 263930 w 722771"/>
                <a:gd name="connsiteY58" fmla="*/ 442963 h 586890"/>
                <a:gd name="connsiteX59" fmla="*/ 275339 w 722771"/>
                <a:gd name="connsiteY59" fmla="*/ 437639 h 586890"/>
                <a:gd name="connsiteX60" fmla="*/ 312229 w 722771"/>
                <a:gd name="connsiteY60" fmla="*/ 430413 h 586890"/>
                <a:gd name="connsiteX61" fmla="*/ 321737 w 722771"/>
                <a:gd name="connsiteY61" fmla="*/ 433836 h 586890"/>
                <a:gd name="connsiteX62" fmla="*/ 335238 w 722771"/>
                <a:gd name="connsiteY62" fmla="*/ 437259 h 586890"/>
                <a:gd name="connsiteX63" fmla="*/ 344746 w 722771"/>
                <a:gd name="connsiteY63" fmla="*/ 432885 h 586890"/>
                <a:gd name="connsiteX64" fmla="*/ 356725 w 722771"/>
                <a:gd name="connsiteY64" fmla="*/ 426991 h 586890"/>
                <a:gd name="connsiteX65" fmla="*/ 394756 w 722771"/>
                <a:gd name="connsiteY65" fmla="*/ 454753 h 586890"/>
                <a:gd name="connsiteX66" fmla="*/ 397608 w 722771"/>
                <a:gd name="connsiteY66" fmla="*/ 459697 h 586890"/>
                <a:gd name="connsiteX67" fmla="*/ 413391 w 722771"/>
                <a:gd name="connsiteY67" fmla="*/ 476811 h 586890"/>
                <a:gd name="connsiteX68" fmla="*/ 427082 w 722771"/>
                <a:gd name="connsiteY68" fmla="*/ 490122 h 586890"/>
                <a:gd name="connsiteX69" fmla="*/ 446098 w 722771"/>
                <a:gd name="connsiteY69" fmla="*/ 508186 h 586890"/>
                <a:gd name="connsiteX70" fmla="*/ 465113 w 722771"/>
                <a:gd name="connsiteY70" fmla="*/ 525490 h 586890"/>
                <a:gd name="connsiteX71" fmla="*/ 475001 w 722771"/>
                <a:gd name="connsiteY71" fmla="*/ 539181 h 586890"/>
                <a:gd name="connsiteX72" fmla="*/ 496869 w 722771"/>
                <a:gd name="connsiteY72" fmla="*/ 559908 h 586890"/>
                <a:gd name="connsiteX73" fmla="*/ 503334 w 722771"/>
                <a:gd name="connsiteY73" fmla="*/ 561049 h 586890"/>
                <a:gd name="connsiteX74" fmla="*/ 524821 w 722771"/>
                <a:gd name="connsiteY74" fmla="*/ 569036 h 586890"/>
                <a:gd name="connsiteX75" fmla="*/ 531096 w 722771"/>
                <a:gd name="connsiteY75" fmla="*/ 574930 h 586890"/>
                <a:gd name="connsiteX76" fmla="*/ 536611 w 722771"/>
                <a:gd name="connsiteY76" fmla="*/ 580064 h 586890"/>
                <a:gd name="connsiteX77" fmla="*/ 543837 w 722771"/>
                <a:gd name="connsiteY77" fmla="*/ 582156 h 586890"/>
                <a:gd name="connsiteX78" fmla="*/ 548781 w 722771"/>
                <a:gd name="connsiteY78" fmla="*/ 583487 h 586890"/>
                <a:gd name="connsiteX79" fmla="*/ 555626 w 722771"/>
                <a:gd name="connsiteY79" fmla="*/ 585579 h 586890"/>
                <a:gd name="connsiteX80" fmla="*/ 579966 w 722771"/>
                <a:gd name="connsiteY80" fmla="*/ 585579 h 586890"/>
                <a:gd name="connsiteX81" fmla="*/ 592136 w 722771"/>
                <a:gd name="connsiteY81" fmla="*/ 578543 h 586890"/>
                <a:gd name="connsiteX82" fmla="*/ 624462 w 722771"/>
                <a:gd name="connsiteY82" fmla="*/ 574360 h 586890"/>
                <a:gd name="connsiteX83" fmla="*/ 640625 w 722771"/>
                <a:gd name="connsiteY83" fmla="*/ 586339 h 586890"/>
                <a:gd name="connsiteX84" fmla="*/ 642907 w 722771"/>
                <a:gd name="connsiteY84" fmla="*/ 577022 h 586890"/>
                <a:gd name="connsiteX85" fmla="*/ 655267 w 722771"/>
                <a:gd name="connsiteY85" fmla="*/ 552302 h 586890"/>
                <a:gd name="connsiteX86" fmla="*/ 660781 w 722771"/>
                <a:gd name="connsiteY86" fmla="*/ 549069 h 586890"/>
                <a:gd name="connsiteX87" fmla="*/ 665345 w 722771"/>
                <a:gd name="connsiteY87" fmla="*/ 546027 h 586890"/>
                <a:gd name="connsiteX88" fmla="*/ 666486 w 722771"/>
                <a:gd name="connsiteY88" fmla="*/ 543555 h 586890"/>
                <a:gd name="connsiteX89" fmla="*/ 663824 w 722771"/>
                <a:gd name="connsiteY89" fmla="*/ 543555 h 586890"/>
                <a:gd name="connsiteX90" fmla="*/ 648041 w 722771"/>
                <a:gd name="connsiteY90" fmla="*/ 533857 h 586890"/>
                <a:gd name="connsiteX91" fmla="*/ 646900 w 722771"/>
                <a:gd name="connsiteY91" fmla="*/ 531955 h 586890"/>
                <a:gd name="connsiteX92" fmla="*/ 645189 w 722771"/>
                <a:gd name="connsiteY92" fmla="*/ 529484 h 586890"/>
                <a:gd name="connsiteX93" fmla="*/ 642336 w 722771"/>
                <a:gd name="connsiteY93" fmla="*/ 529484 h 586890"/>
                <a:gd name="connsiteX94" fmla="*/ 636061 w 722771"/>
                <a:gd name="connsiteY94" fmla="*/ 521877 h 586890"/>
                <a:gd name="connsiteX95" fmla="*/ 637773 w 722771"/>
                <a:gd name="connsiteY95" fmla="*/ 510658 h 586890"/>
                <a:gd name="connsiteX96" fmla="*/ 653175 w 722771"/>
                <a:gd name="connsiteY96" fmla="*/ 503242 h 586890"/>
                <a:gd name="connsiteX97" fmla="*/ 661542 w 722771"/>
                <a:gd name="connsiteY97" fmla="*/ 503242 h 586890"/>
                <a:gd name="connsiteX98" fmla="*/ 666106 w 722771"/>
                <a:gd name="connsiteY98" fmla="*/ 503242 h 586890"/>
                <a:gd name="connsiteX99" fmla="*/ 693298 w 722771"/>
                <a:gd name="connsiteY99" fmla="*/ 495065 h 586890"/>
                <a:gd name="connsiteX100" fmla="*/ 716877 w 722771"/>
                <a:gd name="connsiteY100" fmla="*/ 474909 h 586890"/>
                <a:gd name="connsiteX101" fmla="*/ 722771 w 722771"/>
                <a:gd name="connsiteY101" fmla="*/ 469205 h 586890"/>
                <a:gd name="connsiteX102" fmla="*/ 713644 w 722771"/>
                <a:gd name="connsiteY102" fmla="*/ 446766 h 586890"/>
                <a:gd name="connsiteX103" fmla="*/ 713644 w 722771"/>
                <a:gd name="connsiteY103" fmla="*/ 442013 h 586890"/>
                <a:gd name="connsiteX104" fmla="*/ 710221 w 722771"/>
                <a:gd name="connsiteY104" fmla="*/ 430603 h 586890"/>
                <a:gd name="connsiteX105" fmla="*/ 702425 w 722771"/>
                <a:gd name="connsiteY105" fmla="*/ 427561 h 586890"/>
                <a:gd name="connsiteX106" fmla="*/ 690826 w 722771"/>
                <a:gd name="connsiteY106" fmla="*/ 423187 h 586890"/>
                <a:gd name="connsiteX107" fmla="*/ 676564 w 722771"/>
                <a:gd name="connsiteY107" fmla="*/ 404172 h 586890"/>
                <a:gd name="connsiteX108" fmla="*/ 679226 w 722771"/>
                <a:gd name="connsiteY108" fmla="*/ 392572 h 586890"/>
                <a:gd name="connsiteX109" fmla="*/ 680747 w 722771"/>
                <a:gd name="connsiteY109" fmla="*/ 386678 h 586890"/>
                <a:gd name="connsiteX110" fmla="*/ 677325 w 722771"/>
                <a:gd name="connsiteY110" fmla="*/ 381544 h 586890"/>
                <a:gd name="connsiteX111" fmla="*/ 660971 w 722771"/>
                <a:gd name="connsiteY111" fmla="*/ 388199 h 586890"/>
                <a:gd name="connsiteX112" fmla="*/ 657359 w 722771"/>
                <a:gd name="connsiteY112" fmla="*/ 390481 h 586890"/>
                <a:gd name="connsiteX113" fmla="*/ 601263 w 722771"/>
                <a:gd name="connsiteY113" fmla="*/ 356443 h 586890"/>
                <a:gd name="connsiteX114" fmla="*/ 598221 w 722771"/>
                <a:gd name="connsiteY114" fmla="*/ 351499 h 586890"/>
                <a:gd name="connsiteX115" fmla="*/ 571789 w 722771"/>
                <a:gd name="connsiteY115" fmla="*/ 345605 h 586890"/>
                <a:gd name="connsiteX116" fmla="*/ 533759 w 722771"/>
                <a:gd name="connsiteY116" fmla="*/ 337428 h 586890"/>
                <a:gd name="connsiteX117" fmla="*/ 524251 w 722771"/>
                <a:gd name="connsiteY117" fmla="*/ 325068 h 586890"/>
                <a:gd name="connsiteX118" fmla="*/ 507137 w 722771"/>
                <a:gd name="connsiteY118" fmla="*/ 307194 h 586890"/>
                <a:gd name="connsiteX119" fmla="*/ 502003 w 722771"/>
                <a:gd name="connsiteY119" fmla="*/ 304151 h 586890"/>
                <a:gd name="connsiteX120" fmla="*/ 478044 w 722771"/>
                <a:gd name="connsiteY120" fmla="*/ 285136 h 586890"/>
                <a:gd name="connsiteX121" fmla="*/ 454655 w 722771"/>
                <a:gd name="connsiteY121" fmla="*/ 275818 h 586890"/>
                <a:gd name="connsiteX122" fmla="*/ 449711 w 722771"/>
                <a:gd name="connsiteY122" fmla="*/ 275818 h 586890"/>
                <a:gd name="connsiteX123" fmla="*/ 424991 w 722771"/>
                <a:gd name="connsiteY123" fmla="*/ 269353 h 586890"/>
                <a:gd name="connsiteX124" fmla="*/ 412821 w 722771"/>
                <a:gd name="connsiteY124" fmla="*/ 253190 h 586890"/>
                <a:gd name="connsiteX125" fmla="*/ 398939 w 722771"/>
                <a:gd name="connsiteY125" fmla="*/ 236837 h 586890"/>
                <a:gd name="connsiteX126" fmla="*/ 388861 w 722771"/>
                <a:gd name="connsiteY126" fmla="*/ 233604 h 586890"/>
                <a:gd name="connsiteX127" fmla="*/ 368515 w 722771"/>
                <a:gd name="connsiteY127" fmla="*/ 222005 h 586890"/>
                <a:gd name="connsiteX128" fmla="*/ 364141 w 722771"/>
                <a:gd name="connsiteY128" fmla="*/ 214018 h 586890"/>
                <a:gd name="connsiteX129" fmla="*/ 359197 w 722771"/>
                <a:gd name="connsiteY129" fmla="*/ 205842 h 586890"/>
                <a:gd name="connsiteX130" fmla="*/ 353493 w 722771"/>
                <a:gd name="connsiteY130" fmla="*/ 202229 h 586890"/>
                <a:gd name="connsiteX131" fmla="*/ 347978 w 722771"/>
                <a:gd name="connsiteY131" fmla="*/ 198616 h 586890"/>
                <a:gd name="connsiteX132" fmla="*/ 337139 w 722771"/>
                <a:gd name="connsiteY132" fmla="*/ 182453 h 586890"/>
                <a:gd name="connsiteX133" fmla="*/ 332386 w 722771"/>
                <a:gd name="connsiteY133" fmla="*/ 173706 h 586890"/>
                <a:gd name="connsiteX134" fmla="*/ 326681 w 722771"/>
                <a:gd name="connsiteY134" fmla="*/ 170663 h 586890"/>
                <a:gd name="connsiteX135" fmla="*/ 316413 w 722771"/>
                <a:gd name="connsiteY135" fmla="*/ 164198 h 586890"/>
                <a:gd name="connsiteX136" fmla="*/ 312039 w 722771"/>
                <a:gd name="connsiteY136" fmla="*/ 142710 h 586890"/>
                <a:gd name="connsiteX137" fmla="*/ 318124 w 722771"/>
                <a:gd name="connsiteY137" fmla="*/ 97074 h 58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722771" h="586890">
                  <a:moveTo>
                    <a:pt x="318124" y="97074"/>
                  </a:moveTo>
                  <a:cubicBezTo>
                    <a:pt x="322231" y="82926"/>
                    <a:pt x="328657" y="69558"/>
                    <a:pt x="337139" y="57521"/>
                  </a:cubicBezTo>
                  <a:lnTo>
                    <a:pt x="340562" y="51627"/>
                  </a:lnTo>
                  <a:cubicBezTo>
                    <a:pt x="332272" y="50182"/>
                    <a:pt x="324816" y="45713"/>
                    <a:pt x="319645" y="39077"/>
                  </a:cubicBezTo>
                  <a:cubicBezTo>
                    <a:pt x="316709" y="35216"/>
                    <a:pt x="314692" y="30729"/>
                    <a:pt x="313750" y="25956"/>
                  </a:cubicBezTo>
                  <a:cubicBezTo>
                    <a:pt x="313167" y="22343"/>
                    <a:pt x="311661" y="18939"/>
                    <a:pt x="309377" y="16068"/>
                  </a:cubicBezTo>
                  <a:cubicBezTo>
                    <a:pt x="303275" y="10991"/>
                    <a:pt x="295638" y="8101"/>
                    <a:pt x="287699" y="7891"/>
                  </a:cubicBezTo>
                  <a:lnTo>
                    <a:pt x="274199" y="6941"/>
                  </a:lnTo>
                  <a:cubicBezTo>
                    <a:pt x="267309" y="6788"/>
                    <a:pt x="260441" y="6085"/>
                    <a:pt x="253662" y="4849"/>
                  </a:cubicBezTo>
                  <a:lnTo>
                    <a:pt x="245485" y="1997"/>
                  </a:lnTo>
                  <a:cubicBezTo>
                    <a:pt x="242823" y="1997"/>
                    <a:pt x="240351" y="665"/>
                    <a:pt x="237689" y="285"/>
                  </a:cubicBezTo>
                  <a:lnTo>
                    <a:pt x="237689" y="285"/>
                  </a:lnTo>
                  <a:cubicBezTo>
                    <a:pt x="234976" y="-95"/>
                    <a:pt x="232226" y="-95"/>
                    <a:pt x="229512" y="285"/>
                  </a:cubicBezTo>
                  <a:cubicBezTo>
                    <a:pt x="227807" y="76"/>
                    <a:pt x="226084" y="76"/>
                    <a:pt x="224378" y="285"/>
                  </a:cubicBezTo>
                  <a:cubicBezTo>
                    <a:pt x="219402" y="1464"/>
                    <a:pt x="214776" y="3822"/>
                    <a:pt x="210877" y="7131"/>
                  </a:cubicBezTo>
                  <a:lnTo>
                    <a:pt x="205553" y="10553"/>
                  </a:lnTo>
                  <a:cubicBezTo>
                    <a:pt x="199500" y="14300"/>
                    <a:pt x="192518" y="16277"/>
                    <a:pt x="185397" y="16258"/>
                  </a:cubicBezTo>
                  <a:lnTo>
                    <a:pt x="178931" y="16258"/>
                  </a:lnTo>
                  <a:cubicBezTo>
                    <a:pt x="169614" y="17589"/>
                    <a:pt x="165621" y="24055"/>
                    <a:pt x="159916" y="32041"/>
                  </a:cubicBezTo>
                  <a:cubicBezTo>
                    <a:pt x="157070" y="37118"/>
                    <a:pt x="153552" y="41777"/>
                    <a:pt x="149458" y="45922"/>
                  </a:cubicBezTo>
                  <a:cubicBezTo>
                    <a:pt x="144413" y="50448"/>
                    <a:pt x="138934" y="54460"/>
                    <a:pt x="133104" y="57902"/>
                  </a:cubicBezTo>
                  <a:cubicBezTo>
                    <a:pt x="123407" y="64177"/>
                    <a:pt x="114089" y="70072"/>
                    <a:pt x="111427" y="79579"/>
                  </a:cubicBezTo>
                  <a:cubicBezTo>
                    <a:pt x="110700" y="82070"/>
                    <a:pt x="110191" y="84618"/>
                    <a:pt x="109906" y="87185"/>
                  </a:cubicBezTo>
                  <a:cubicBezTo>
                    <a:pt x="109529" y="92852"/>
                    <a:pt x="107622" y="98310"/>
                    <a:pt x="104391" y="102968"/>
                  </a:cubicBezTo>
                  <a:cubicBezTo>
                    <a:pt x="99717" y="110289"/>
                    <a:pt x="94370" y="117173"/>
                    <a:pt x="88418" y="123505"/>
                  </a:cubicBezTo>
                  <a:cubicBezTo>
                    <a:pt x="85768" y="125977"/>
                    <a:pt x="82754" y="128031"/>
                    <a:pt x="79481" y="129590"/>
                  </a:cubicBezTo>
                  <a:cubicBezTo>
                    <a:pt x="77541" y="130370"/>
                    <a:pt x="75741" y="131453"/>
                    <a:pt x="74157" y="132823"/>
                  </a:cubicBezTo>
                  <a:cubicBezTo>
                    <a:pt x="72362" y="134382"/>
                    <a:pt x="70707" y="136112"/>
                    <a:pt x="69213" y="137956"/>
                  </a:cubicBezTo>
                  <a:cubicBezTo>
                    <a:pt x="64531" y="144498"/>
                    <a:pt x="56904" y="148263"/>
                    <a:pt x="48866" y="148035"/>
                  </a:cubicBezTo>
                  <a:cubicBezTo>
                    <a:pt x="43093" y="147997"/>
                    <a:pt x="37369" y="146970"/>
                    <a:pt x="31942" y="144992"/>
                  </a:cubicBezTo>
                  <a:cubicBezTo>
                    <a:pt x="24717" y="143091"/>
                    <a:pt x="20533" y="141760"/>
                    <a:pt x="16540" y="144992"/>
                  </a:cubicBezTo>
                  <a:cubicBezTo>
                    <a:pt x="14768" y="146704"/>
                    <a:pt x="13290" y="148700"/>
                    <a:pt x="12167" y="150887"/>
                  </a:cubicBezTo>
                  <a:lnTo>
                    <a:pt x="10455" y="154120"/>
                  </a:lnTo>
                  <a:cubicBezTo>
                    <a:pt x="6196" y="162125"/>
                    <a:pt x="2756" y="170530"/>
                    <a:pt x="187" y="179220"/>
                  </a:cubicBezTo>
                  <a:cubicBezTo>
                    <a:pt x="-62" y="180988"/>
                    <a:pt x="-62" y="182776"/>
                    <a:pt x="187" y="184544"/>
                  </a:cubicBezTo>
                  <a:cubicBezTo>
                    <a:pt x="2031" y="185438"/>
                    <a:pt x="3939" y="186199"/>
                    <a:pt x="5891" y="186826"/>
                  </a:cubicBezTo>
                  <a:lnTo>
                    <a:pt x="9885" y="188347"/>
                  </a:lnTo>
                  <a:cubicBezTo>
                    <a:pt x="17111" y="190629"/>
                    <a:pt x="18632" y="191960"/>
                    <a:pt x="23386" y="200137"/>
                  </a:cubicBezTo>
                  <a:cubicBezTo>
                    <a:pt x="24422" y="201601"/>
                    <a:pt x="25373" y="203122"/>
                    <a:pt x="26238" y="204701"/>
                  </a:cubicBezTo>
                  <a:cubicBezTo>
                    <a:pt x="30910" y="210767"/>
                    <a:pt x="34219" y="217783"/>
                    <a:pt x="35936" y="225237"/>
                  </a:cubicBezTo>
                  <a:cubicBezTo>
                    <a:pt x="36491" y="232901"/>
                    <a:pt x="35253" y="240583"/>
                    <a:pt x="32323" y="247675"/>
                  </a:cubicBezTo>
                  <a:lnTo>
                    <a:pt x="30611" y="253570"/>
                  </a:lnTo>
                  <a:lnTo>
                    <a:pt x="30611" y="253570"/>
                  </a:lnTo>
                  <a:cubicBezTo>
                    <a:pt x="41722" y="256385"/>
                    <a:pt x="53213" y="257411"/>
                    <a:pt x="64649" y="256613"/>
                  </a:cubicBezTo>
                  <a:lnTo>
                    <a:pt x="68262" y="256613"/>
                  </a:lnTo>
                  <a:cubicBezTo>
                    <a:pt x="81371" y="254806"/>
                    <a:pt x="93457" y="263991"/>
                    <a:pt x="95256" y="277092"/>
                  </a:cubicBezTo>
                  <a:cubicBezTo>
                    <a:pt x="95355" y="277796"/>
                    <a:pt x="95422" y="278518"/>
                    <a:pt x="95454" y="279241"/>
                  </a:cubicBezTo>
                  <a:cubicBezTo>
                    <a:pt x="96121" y="289053"/>
                    <a:pt x="96121" y="298903"/>
                    <a:pt x="95454" y="308715"/>
                  </a:cubicBezTo>
                  <a:cubicBezTo>
                    <a:pt x="102524" y="308011"/>
                    <a:pt x="109666" y="308525"/>
                    <a:pt x="116561" y="310236"/>
                  </a:cubicBezTo>
                  <a:cubicBezTo>
                    <a:pt x="126474" y="312822"/>
                    <a:pt x="135160" y="318812"/>
                    <a:pt x="141091" y="327160"/>
                  </a:cubicBezTo>
                  <a:cubicBezTo>
                    <a:pt x="144689" y="331799"/>
                    <a:pt x="149064" y="335793"/>
                    <a:pt x="154021" y="338949"/>
                  </a:cubicBezTo>
                  <a:cubicBezTo>
                    <a:pt x="160036" y="341459"/>
                    <a:pt x="166699" y="342011"/>
                    <a:pt x="173037" y="340471"/>
                  </a:cubicBezTo>
                  <a:cubicBezTo>
                    <a:pt x="181360" y="338569"/>
                    <a:pt x="190095" y="340014"/>
                    <a:pt x="197376" y="344464"/>
                  </a:cubicBezTo>
                  <a:cubicBezTo>
                    <a:pt x="210170" y="355303"/>
                    <a:pt x="217542" y="371237"/>
                    <a:pt x="217533" y="388009"/>
                  </a:cubicBezTo>
                  <a:cubicBezTo>
                    <a:pt x="217533" y="392002"/>
                    <a:pt x="217533" y="395995"/>
                    <a:pt x="217533" y="400179"/>
                  </a:cubicBezTo>
                  <a:cubicBezTo>
                    <a:pt x="217533" y="413109"/>
                    <a:pt x="215821" y="425279"/>
                    <a:pt x="223808" y="433075"/>
                  </a:cubicBezTo>
                  <a:cubicBezTo>
                    <a:pt x="226991" y="436137"/>
                    <a:pt x="230572" y="438761"/>
                    <a:pt x="234456" y="440872"/>
                  </a:cubicBezTo>
                  <a:cubicBezTo>
                    <a:pt x="237689" y="442754"/>
                    <a:pt x="241232" y="444028"/>
                    <a:pt x="244915" y="444675"/>
                  </a:cubicBezTo>
                  <a:cubicBezTo>
                    <a:pt x="251285" y="445968"/>
                    <a:pt x="257893" y="445359"/>
                    <a:pt x="263930" y="442963"/>
                  </a:cubicBezTo>
                  <a:cubicBezTo>
                    <a:pt x="267836" y="441423"/>
                    <a:pt x="271647" y="439636"/>
                    <a:pt x="275339" y="437639"/>
                  </a:cubicBezTo>
                  <a:cubicBezTo>
                    <a:pt x="286197" y="430451"/>
                    <a:pt x="299461" y="427846"/>
                    <a:pt x="312229" y="430413"/>
                  </a:cubicBezTo>
                  <a:cubicBezTo>
                    <a:pt x="315504" y="431231"/>
                    <a:pt x="318689" y="432391"/>
                    <a:pt x="321737" y="433836"/>
                  </a:cubicBezTo>
                  <a:cubicBezTo>
                    <a:pt x="325841" y="436194"/>
                    <a:pt x="330509" y="437373"/>
                    <a:pt x="335238" y="437259"/>
                  </a:cubicBezTo>
                  <a:cubicBezTo>
                    <a:pt x="338754" y="436726"/>
                    <a:pt x="342047" y="435205"/>
                    <a:pt x="344746" y="432885"/>
                  </a:cubicBezTo>
                  <a:cubicBezTo>
                    <a:pt x="348305" y="430147"/>
                    <a:pt x="352378" y="428131"/>
                    <a:pt x="356725" y="426991"/>
                  </a:cubicBezTo>
                  <a:cubicBezTo>
                    <a:pt x="377452" y="422427"/>
                    <a:pt x="388291" y="441823"/>
                    <a:pt x="394756" y="454753"/>
                  </a:cubicBezTo>
                  <a:lnTo>
                    <a:pt x="397608" y="459697"/>
                  </a:lnTo>
                  <a:cubicBezTo>
                    <a:pt x="401847" y="466257"/>
                    <a:pt x="407186" y="472057"/>
                    <a:pt x="413391" y="476811"/>
                  </a:cubicBezTo>
                  <a:cubicBezTo>
                    <a:pt x="418326" y="480842"/>
                    <a:pt x="422906" y="485311"/>
                    <a:pt x="427082" y="490122"/>
                  </a:cubicBezTo>
                  <a:cubicBezTo>
                    <a:pt x="432905" y="496663"/>
                    <a:pt x="439265" y="502710"/>
                    <a:pt x="446098" y="508186"/>
                  </a:cubicBezTo>
                  <a:cubicBezTo>
                    <a:pt x="452806" y="513530"/>
                    <a:pt x="459157" y="519310"/>
                    <a:pt x="465113" y="525490"/>
                  </a:cubicBezTo>
                  <a:cubicBezTo>
                    <a:pt x="468728" y="529807"/>
                    <a:pt x="472031" y="534389"/>
                    <a:pt x="475001" y="539181"/>
                  </a:cubicBezTo>
                  <a:cubicBezTo>
                    <a:pt x="481086" y="548689"/>
                    <a:pt x="486981" y="558197"/>
                    <a:pt x="496869" y="559908"/>
                  </a:cubicBezTo>
                  <a:lnTo>
                    <a:pt x="503334" y="561049"/>
                  </a:lnTo>
                  <a:cubicBezTo>
                    <a:pt x="511134" y="561505"/>
                    <a:pt x="518620" y="564282"/>
                    <a:pt x="524821" y="569036"/>
                  </a:cubicBezTo>
                  <a:cubicBezTo>
                    <a:pt x="527103" y="570937"/>
                    <a:pt x="529195" y="573029"/>
                    <a:pt x="531096" y="574930"/>
                  </a:cubicBezTo>
                  <a:cubicBezTo>
                    <a:pt x="532732" y="576832"/>
                    <a:pt x="534595" y="578562"/>
                    <a:pt x="536611" y="580064"/>
                  </a:cubicBezTo>
                  <a:cubicBezTo>
                    <a:pt x="539102" y="580407"/>
                    <a:pt x="541536" y="581110"/>
                    <a:pt x="543837" y="582156"/>
                  </a:cubicBezTo>
                  <a:lnTo>
                    <a:pt x="548781" y="583487"/>
                  </a:lnTo>
                  <a:lnTo>
                    <a:pt x="555626" y="585579"/>
                  </a:lnTo>
                  <a:cubicBezTo>
                    <a:pt x="563651" y="587328"/>
                    <a:pt x="571941" y="587328"/>
                    <a:pt x="579966" y="585579"/>
                  </a:cubicBezTo>
                  <a:cubicBezTo>
                    <a:pt x="584396" y="583944"/>
                    <a:pt x="588504" y="581567"/>
                    <a:pt x="592136" y="578543"/>
                  </a:cubicBezTo>
                  <a:cubicBezTo>
                    <a:pt x="600465" y="569473"/>
                    <a:pt x="614099" y="567704"/>
                    <a:pt x="624462" y="574360"/>
                  </a:cubicBezTo>
                  <a:cubicBezTo>
                    <a:pt x="630147" y="577935"/>
                    <a:pt x="635548" y="581947"/>
                    <a:pt x="640625" y="586339"/>
                  </a:cubicBezTo>
                  <a:cubicBezTo>
                    <a:pt x="640625" y="583487"/>
                    <a:pt x="642146" y="580255"/>
                    <a:pt x="642907" y="577022"/>
                  </a:cubicBezTo>
                  <a:cubicBezTo>
                    <a:pt x="643915" y="567571"/>
                    <a:pt x="648307" y="558786"/>
                    <a:pt x="655267" y="552302"/>
                  </a:cubicBezTo>
                  <a:cubicBezTo>
                    <a:pt x="656997" y="551047"/>
                    <a:pt x="658842" y="549963"/>
                    <a:pt x="660781" y="549069"/>
                  </a:cubicBezTo>
                  <a:cubicBezTo>
                    <a:pt x="662436" y="548252"/>
                    <a:pt x="663957" y="547244"/>
                    <a:pt x="665345" y="546027"/>
                  </a:cubicBezTo>
                  <a:cubicBezTo>
                    <a:pt x="665973" y="545342"/>
                    <a:pt x="666372" y="544468"/>
                    <a:pt x="666486" y="543555"/>
                  </a:cubicBezTo>
                  <a:lnTo>
                    <a:pt x="663824" y="543555"/>
                  </a:lnTo>
                  <a:cubicBezTo>
                    <a:pt x="657416" y="542718"/>
                    <a:pt x="651673" y="539200"/>
                    <a:pt x="648041" y="533857"/>
                  </a:cubicBezTo>
                  <a:lnTo>
                    <a:pt x="646900" y="531955"/>
                  </a:lnTo>
                  <a:cubicBezTo>
                    <a:pt x="646520" y="531024"/>
                    <a:pt x="645930" y="530168"/>
                    <a:pt x="645189" y="529484"/>
                  </a:cubicBezTo>
                  <a:lnTo>
                    <a:pt x="642336" y="529484"/>
                  </a:lnTo>
                  <a:cubicBezTo>
                    <a:pt x="639218" y="528000"/>
                    <a:pt x="636917" y="525224"/>
                    <a:pt x="636061" y="521877"/>
                  </a:cubicBezTo>
                  <a:cubicBezTo>
                    <a:pt x="634977" y="518074"/>
                    <a:pt x="635605" y="513967"/>
                    <a:pt x="637773" y="510658"/>
                  </a:cubicBezTo>
                  <a:cubicBezTo>
                    <a:pt x="641443" y="505885"/>
                    <a:pt x="647147" y="503128"/>
                    <a:pt x="653175" y="503242"/>
                  </a:cubicBezTo>
                  <a:cubicBezTo>
                    <a:pt x="655951" y="502957"/>
                    <a:pt x="658766" y="502957"/>
                    <a:pt x="661542" y="503242"/>
                  </a:cubicBezTo>
                  <a:lnTo>
                    <a:pt x="666106" y="503242"/>
                  </a:lnTo>
                  <a:cubicBezTo>
                    <a:pt x="675784" y="503299"/>
                    <a:pt x="685254" y="500447"/>
                    <a:pt x="693298" y="495065"/>
                  </a:cubicBezTo>
                  <a:cubicBezTo>
                    <a:pt x="701798" y="489133"/>
                    <a:pt x="709708" y="482382"/>
                    <a:pt x="716877" y="474909"/>
                  </a:cubicBezTo>
                  <a:lnTo>
                    <a:pt x="722771" y="469205"/>
                  </a:lnTo>
                  <a:cubicBezTo>
                    <a:pt x="717770" y="462682"/>
                    <a:pt x="714633" y="454924"/>
                    <a:pt x="713644" y="446766"/>
                  </a:cubicBezTo>
                  <a:cubicBezTo>
                    <a:pt x="713549" y="445188"/>
                    <a:pt x="713549" y="443591"/>
                    <a:pt x="713644" y="442013"/>
                  </a:cubicBezTo>
                  <a:cubicBezTo>
                    <a:pt x="713644" y="436308"/>
                    <a:pt x="713644" y="432505"/>
                    <a:pt x="710221" y="430603"/>
                  </a:cubicBezTo>
                  <a:cubicBezTo>
                    <a:pt x="707882" y="429025"/>
                    <a:pt x="705220" y="427979"/>
                    <a:pt x="702425" y="427561"/>
                  </a:cubicBezTo>
                  <a:cubicBezTo>
                    <a:pt x="698337" y="426743"/>
                    <a:pt x="694420" y="425279"/>
                    <a:pt x="690826" y="423187"/>
                  </a:cubicBezTo>
                  <a:cubicBezTo>
                    <a:pt x="683809" y="418928"/>
                    <a:pt x="678694" y="412101"/>
                    <a:pt x="676564" y="404172"/>
                  </a:cubicBezTo>
                  <a:cubicBezTo>
                    <a:pt x="676184" y="400122"/>
                    <a:pt x="677115" y="396053"/>
                    <a:pt x="679226" y="392572"/>
                  </a:cubicBezTo>
                  <a:cubicBezTo>
                    <a:pt x="680557" y="389530"/>
                    <a:pt x="681128" y="388199"/>
                    <a:pt x="680747" y="386678"/>
                  </a:cubicBezTo>
                  <a:cubicBezTo>
                    <a:pt x="680367" y="384567"/>
                    <a:pt x="679131" y="382704"/>
                    <a:pt x="677325" y="381544"/>
                  </a:cubicBezTo>
                  <a:cubicBezTo>
                    <a:pt x="673712" y="380213"/>
                    <a:pt x="665725" y="385157"/>
                    <a:pt x="660971" y="388199"/>
                  </a:cubicBezTo>
                  <a:lnTo>
                    <a:pt x="657359" y="390481"/>
                  </a:lnTo>
                  <a:cubicBezTo>
                    <a:pt x="632639" y="404742"/>
                    <a:pt x="612292" y="373367"/>
                    <a:pt x="601263" y="356443"/>
                  </a:cubicBezTo>
                  <a:lnTo>
                    <a:pt x="598221" y="351499"/>
                  </a:lnTo>
                  <a:cubicBezTo>
                    <a:pt x="591755" y="342182"/>
                    <a:pt x="584339" y="343133"/>
                    <a:pt x="571789" y="345605"/>
                  </a:cubicBezTo>
                  <a:cubicBezTo>
                    <a:pt x="558612" y="350625"/>
                    <a:pt x="543723" y="347411"/>
                    <a:pt x="533759" y="337428"/>
                  </a:cubicBezTo>
                  <a:cubicBezTo>
                    <a:pt x="530340" y="333511"/>
                    <a:pt x="527164" y="329384"/>
                    <a:pt x="524251" y="325068"/>
                  </a:cubicBezTo>
                  <a:cubicBezTo>
                    <a:pt x="520041" y="317842"/>
                    <a:pt x="514175" y="311719"/>
                    <a:pt x="507137" y="307194"/>
                  </a:cubicBezTo>
                  <a:lnTo>
                    <a:pt x="502003" y="304151"/>
                  </a:lnTo>
                  <a:cubicBezTo>
                    <a:pt x="492748" y="299606"/>
                    <a:pt x="484577" y="293122"/>
                    <a:pt x="478044" y="285136"/>
                  </a:cubicBezTo>
                  <a:cubicBezTo>
                    <a:pt x="472789" y="277663"/>
                    <a:pt x="463609" y="274012"/>
                    <a:pt x="454655" y="275818"/>
                  </a:cubicBezTo>
                  <a:lnTo>
                    <a:pt x="449711" y="275818"/>
                  </a:lnTo>
                  <a:cubicBezTo>
                    <a:pt x="440935" y="277111"/>
                    <a:pt x="432013" y="274772"/>
                    <a:pt x="424991" y="269353"/>
                  </a:cubicBezTo>
                  <a:cubicBezTo>
                    <a:pt x="420081" y="264656"/>
                    <a:pt x="415970" y="259199"/>
                    <a:pt x="412821" y="253190"/>
                  </a:cubicBezTo>
                  <a:cubicBezTo>
                    <a:pt x="409858" y="246515"/>
                    <a:pt x="405040" y="240849"/>
                    <a:pt x="398939" y="236837"/>
                  </a:cubicBezTo>
                  <a:cubicBezTo>
                    <a:pt x="395764" y="235258"/>
                    <a:pt x="392366" y="234155"/>
                    <a:pt x="388861" y="233604"/>
                  </a:cubicBezTo>
                  <a:cubicBezTo>
                    <a:pt x="380746" y="232786"/>
                    <a:pt x="373356" y="228565"/>
                    <a:pt x="368515" y="222005"/>
                  </a:cubicBezTo>
                  <a:cubicBezTo>
                    <a:pt x="366743" y="219533"/>
                    <a:pt x="365275" y="216851"/>
                    <a:pt x="364141" y="214018"/>
                  </a:cubicBezTo>
                  <a:cubicBezTo>
                    <a:pt x="363147" y="210957"/>
                    <a:pt x="361454" y="208142"/>
                    <a:pt x="359197" y="205842"/>
                  </a:cubicBezTo>
                  <a:cubicBezTo>
                    <a:pt x="357455" y="204396"/>
                    <a:pt x="355539" y="203179"/>
                    <a:pt x="353493" y="202229"/>
                  </a:cubicBezTo>
                  <a:cubicBezTo>
                    <a:pt x="351584" y="201145"/>
                    <a:pt x="349743" y="199928"/>
                    <a:pt x="347978" y="198616"/>
                  </a:cubicBezTo>
                  <a:cubicBezTo>
                    <a:pt x="342534" y="194717"/>
                    <a:pt x="338684" y="188975"/>
                    <a:pt x="337139" y="182453"/>
                  </a:cubicBezTo>
                  <a:cubicBezTo>
                    <a:pt x="336282" y="179201"/>
                    <a:pt x="334650" y="176196"/>
                    <a:pt x="332386" y="173706"/>
                  </a:cubicBezTo>
                  <a:cubicBezTo>
                    <a:pt x="330788" y="172203"/>
                    <a:pt x="328818" y="171157"/>
                    <a:pt x="326681" y="170663"/>
                  </a:cubicBezTo>
                  <a:cubicBezTo>
                    <a:pt x="322680" y="169598"/>
                    <a:pt x="319098" y="167354"/>
                    <a:pt x="316413" y="164198"/>
                  </a:cubicBezTo>
                  <a:cubicBezTo>
                    <a:pt x="312596" y="157733"/>
                    <a:pt x="311058" y="150165"/>
                    <a:pt x="312039" y="142710"/>
                  </a:cubicBezTo>
                  <a:cubicBezTo>
                    <a:pt x="312745" y="127346"/>
                    <a:pt x="314781" y="112077"/>
                    <a:pt x="318124" y="9707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46" name="Полилиния: фигура 445">
              <a:extLst>
                <a:ext uri="{FF2B5EF4-FFF2-40B4-BE49-F238E27FC236}">
                  <a16:creationId xmlns:a16="http://schemas.microsoft.com/office/drawing/2014/main" id="{93435EA5-3EDA-051E-8A8D-95EBD1A1D041}"/>
                </a:ext>
              </a:extLst>
            </p:cNvPr>
            <p:cNvSpPr/>
            <p:nvPr/>
          </p:nvSpPr>
          <p:spPr>
            <a:xfrm>
              <a:off x="2847837" y="2566868"/>
              <a:ext cx="515755" cy="631229"/>
            </a:xfrm>
            <a:custGeom>
              <a:avLst/>
              <a:gdLst>
                <a:gd name="connsiteX0" fmla="*/ 55335 w 515755"/>
                <a:gd name="connsiteY0" fmla="*/ 287917 h 631229"/>
                <a:gd name="connsiteX1" fmla="*/ 67124 w 515755"/>
                <a:gd name="connsiteY1" fmla="*/ 292671 h 631229"/>
                <a:gd name="connsiteX2" fmla="*/ 69026 w 515755"/>
                <a:gd name="connsiteY2" fmla="*/ 303319 h 631229"/>
                <a:gd name="connsiteX3" fmla="*/ 74160 w 515755"/>
                <a:gd name="connsiteY3" fmla="*/ 305792 h 631229"/>
                <a:gd name="connsiteX4" fmla="*/ 84999 w 515755"/>
                <a:gd name="connsiteY4" fmla="*/ 299897 h 631229"/>
                <a:gd name="connsiteX5" fmla="*/ 91654 w 515755"/>
                <a:gd name="connsiteY5" fmla="*/ 302939 h 631229"/>
                <a:gd name="connsiteX6" fmla="*/ 105535 w 515755"/>
                <a:gd name="connsiteY6" fmla="*/ 296094 h 631229"/>
                <a:gd name="connsiteX7" fmla="*/ 141475 w 515755"/>
                <a:gd name="connsiteY7" fmla="*/ 316630 h 631229"/>
                <a:gd name="connsiteX8" fmla="*/ 142615 w 515755"/>
                <a:gd name="connsiteY8" fmla="*/ 312637 h 631229"/>
                <a:gd name="connsiteX9" fmla="*/ 171899 w 515755"/>
                <a:gd name="connsiteY9" fmla="*/ 289248 h 631229"/>
                <a:gd name="connsiteX10" fmla="*/ 163913 w 515755"/>
                <a:gd name="connsiteY10" fmla="*/ 311496 h 631229"/>
                <a:gd name="connsiteX11" fmla="*/ 160680 w 515755"/>
                <a:gd name="connsiteY11" fmla="*/ 343252 h 631229"/>
                <a:gd name="connsiteX12" fmla="*/ 173420 w 515755"/>
                <a:gd name="connsiteY12" fmla="*/ 365880 h 631229"/>
                <a:gd name="connsiteX13" fmla="*/ 178174 w 515755"/>
                <a:gd name="connsiteY13" fmla="*/ 382614 h 631229"/>
                <a:gd name="connsiteX14" fmla="*/ 185400 w 515755"/>
                <a:gd name="connsiteY14" fmla="*/ 394023 h 631229"/>
                <a:gd name="connsiteX15" fmla="*/ 176653 w 515755"/>
                <a:gd name="connsiteY15" fmla="*/ 407334 h 631229"/>
                <a:gd name="connsiteX16" fmla="*/ 187492 w 515755"/>
                <a:gd name="connsiteY16" fmla="*/ 415890 h 631229"/>
                <a:gd name="connsiteX17" fmla="*/ 197570 w 515755"/>
                <a:gd name="connsiteY17" fmla="*/ 431103 h 631229"/>
                <a:gd name="connsiteX18" fmla="*/ 200993 w 515755"/>
                <a:gd name="connsiteY18" fmla="*/ 459816 h 631229"/>
                <a:gd name="connsiteX19" fmla="*/ 223431 w 515755"/>
                <a:gd name="connsiteY19" fmla="*/ 495185 h 631229"/>
                <a:gd name="connsiteX20" fmla="*/ 246059 w 515755"/>
                <a:gd name="connsiteY20" fmla="*/ 525419 h 631229"/>
                <a:gd name="connsiteX21" fmla="*/ 258039 w 515755"/>
                <a:gd name="connsiteY21" fmla="*/ 561358 h 631229"/>
                <a:gd name="connsiteX22" fmla="*/ 305387 w 515755"/>
                <a:gd name="connsiteY22" fmla="*/ 607566 h 631229"/>
                <a:gd name="connsiteX23" fmla="*/ 315275 w 515755"/>
                <a:gd name="connsiteY23" fmla="*/ 613651 h 631229"/>
                <a:gd name="connsiteX24" fmla="*/ 321930 w 515755"/>
                <a:gd name="connsiteY24" fmla="*/ 621637 h 631229"/>
                <a:gd name="connsiteX25" fmla="*/ 334100 w 515755"/>
                <a:gd name="connsiteY25" fmla="*/ 621637 h 631229"/>
                <a:gd name="connsiteX26" fmla="*/ 353116 w 515755"/>
                <a:gd name="connsiteY26" fmla="*/ 627532 h 631229"/>
                <a:gd name="connsiteX27" fmla="*/ 387343 w 515755"/>
                <a:gd name="connsiteY27" fmla="*/ 630574 h 631229"/>
                <a:gd name="connsiteX28" fmla="*/ 425374 w 515755"/>
                <a:gd name="connsiteY28" fmla="*/ 618785 h 631229"/>
                <a:gd name="connsiteX29" fmla="*/ 458461 w 515755"/>
                <a:gd name="connsiteY29" fmla="*/ 612319 h 631229"/>
                <a:gd name="connsiteX30" fmla="*/ 470060 w 515755"/>
                <a:gd name="connsiteY30" fmla="*/ 601291 h 631229"/>
                <a:gd name="connsiteX31" fmla="*/ 484512 w 515755"/>
                <a:gd name="connsiteY31" fmla="*/ 591593 h 631229"/>
                <a:gd name="connsiteX32" fmla="*/ 484512 w 515755"/>
                <a:gd name="connsiteY32" fmla="*/ 569535 h 631229"/>
                <a:gd name="connsiteX33" fmla="*/ 492879 w 515755"/>
                <a:gd name="connsiteY33" fmla="*/ 560027 h 631229"/>
                <a:gd name="connsiteX34" fmla="*/ 503718 w 515755"/>
                <a:gd name="connsiteY34" fmla="*/ 541012 h 631229"/>
                <a:gd name="connsiteX35" fmla="*/ 515507 w 515755"/>
                <a:gd name="connsiteY35" fmla="*/ 516102 h 631229"/>
                <a:gd name="connsiteX36" fmla="*/ 502957 w 515755"/>
                <a:gd name="connsiteY36" fmla="*/ 484916 h 631229"/>
                <a:gd name="connsiteX37" fmla="*/ 510183 w 515755"/>
                <a:gd name="connsiteY37" fmla="*/ 450689 h 631229"/>
                <a:gd name="connsiteX38" fmla="*/ 493259 w 515755"/>
                <a:gd name="connsiteY38" fmla="*/ 435667 h 631229"/>
                <a:gd name="connsiteX39" fmla="*/ 493259 w 515755"/>
                <a:gd name="connsiteY39" fmla="*/ 406003 h 631229"/>
                <a:gd name="connsiteX40" fmla="*/ 481470 w 515755"/>
                <a:gd name="connsiteY40" fmla="*/ 375198 h 631229"/>
                <a:gd name="connsiteX41" fmla="*/ 481470 w 515755"/>
                <a:gd name="connsiteY41" fmla="*/ 286396 h 631229"/>
                <a:gd name="connsiteX42" fmla="*/ 470441 w 515755"/>
                <a:gd name="connsiteY42" fmla="*/ 251598 h 631229"/>
                <a:gd name="connsiteX43" fmla="*/ 465877 w 515755"/>
                <a:gd name="connsiteY43" fmla="*/ 209954 h 631229"/>
                <a:gd name="connsiteX44" fmla="*/ 446862 w 515755"/>
                <a:gd name="connsiteY44" fmla="*/ 193791 h 631229"/>
                <a:gd name="connsiteX45" fmla="*/ 431839 w 515755"/>
                <a:gd name="connsiteY45" fmla="*/ 165838 h 631229"/>
                <a:gd name="connsiteX46" fmla="*/ 413965 w 515755"/>
                <a:gd name="connsiteY46" fmla="*/ 142639 h 631229"/>
                <a:gd name="connsiteX47" fmla="*/ 405598 w 515755"/>
                <a:gd name="connsiteY47" fmla="*/ 131420 h 631229"/>
                <a:gd name="connsiteX48" fmla="*/ 410352 w 515755"/>
                <a:gd name="connsiteY48" fmla="*/ 120392 h 631229"/>
                <a:gd name="connsiteX49" fmla="*/ 407119 w 515755"/>
                <a:gd name="connsiteY49" fmla="*/ 112215 h 631229"/>
                <a:gd name="connsiteX50" fmla="*/ 402746 w 515755"/>
                <a:gd name="connsiteY50" fmla="*/ 110884 h 631229"/>
                <a:gd name="connsiteX51" fmla="*/ 396471 w 515755"/>
                <a:gd name="connsiteY51" fmla="*/ 109363 h 631229"/>
                <a:gd name="connsiteX52" fmla="*/ 395330 w 515755"/>
                <a:gd name="connsiteY52" fmla="*/ 109363 h 631229"/>
                <a:gd name="connsiteX53" fmla="*/ 392668 w 515755"/>
                <a:gd name="connsiteY53" fmla="*/ 108222 h 631229"/>
                <a:gd name="connsiteX54" fmla="*/ 392668 w 515755"/>
                <a:gd name="connsiteY54" fmla="*/ 105750 h 631229"/>
                <a:gd name="connsiteX55" fmla="*/ 392668 w 515755"/>
                <a:gd name="connsiteY55" fmla="*/ 104799 h 631229"/>
                <a:gd name="connsiteX56" fmla="*/ 397231 w 515755"/>
                <a:gd name="connsiteY56" fmla="*/ 102137 h 631229"/>
                <a:gd name="connsiteX57" fmla="*/ 398943 w 515755"/>
                <a:gd name="connsiteY57" fmla="*/ 100616 h 631229"/>
                <a:gd name="connsiteX58" fmla="*/ 386583 w 515755"/>
                <a:gd name="connsiteY58" fmla="*/ 61444 h 631229"/>
                <a:gd name="connsiteX59" fmla="*/ 405598 w 515755"/>
                <a:gd name="connsiteY59" fmla="*/ 81600 h 631229"/>
                <a:gd name="connsiteX60" fmla="*/ 422084 w 515755"/>
                <a:gd name="connsiteY60" fmla="*/ 84137 h 631229"/>
                <a:gd name="connsiteX61" fmla="*/ 424614 w 515755"/>
                <a:gd name="connsiteY61" fmla="*/ 81600 h 631229"/>
                <a:gd name="connsiteX62" fmla="*/ 421761 w 515755"/>
                <a:gd name="connsiteY62" fmla="*/ 45281 h 631229"/>
                <a:gd name="connsiteX63" fmla="*/ 381449 w 515755"/>
                <a:gd name="connsiteY63" fmla="*/ 35583 h 631229"/>
                <a:gd name="connsiteX64" fmla="*/ 369469 w 515755"/>
                <a:gd name="connsiteY64" fmla="*/ 14856 h 631229"/>
                <a:gd name="connsiteX65" fmla="*/ 337333 w 515755"/>
                <a:gd name="connsiteY65" fmla="*/ 11624 h 631229"/>
                <a:gd name="connsiteX66" fmla="*/ 320029 w 515755"/>
                <a:gd name="connsiteY66" fmla="*/ 6489 h 631229"/>
                <a:gd name="connsiteX67" fmla="*/ 292457 w 515755"/>
                <a:gd name="connsiteY67" fmla="*/ 214 h 631229"/>
                <a:gd name="connsiteX68" fmla="*/ 275153 w 515755"/>
                <a:gd name="connsiteY68" fmla="*/ 3257 h 631229"/>
                <a:gd name="connsiteX69" fmla="*/ 272681 w 515755"/>
                <a:gd name="connsiteY69" fmla="*/ 3257 h 631229"/>
                <a:gd name="connsiteX70" fmla="*/ 260701 w 515755"/>
                <a:gd name="connsiteY70" fmla="*/ 6489 h 631229"/>
                <a:gd name="connsiteX71" fmla="*/ 245489 w 515755"/>
                <a:gd name="connsiteY71" fmla="*/ 6489 h 631229"/>
                <a:gd name="connsiteX72" fmla="*/ 232178 w 515755"/>
                <a:gd name="connsiteY72" fmla="*/ 2876 h 631229"/>
                <a:gd name="connsiteX73" fmla="*/ 212022 w 515755"/>
                <a:gd name="connsiteY73" fmla="*/ 4398 h 631229"/>
                <a:gd name="connsiteX74" fmla="*/ 205937 w 515755"/>
                <a:gd name="connsiteY74" fmla="*/ 12955 h 631229"/>
                <a:gd name="connsiteX75" fmla="*/ 188062 w 515755"/>
                <a:gd name="connsiteY75" fmla="*/ 28737 h 631229"/>
                <a:gd name="connsiteX76" fmla="*/ 185020 w 515755"/>
                <a:gd name="connsiteY76" fmla="*/ 30068 h 631229"/>
                <a:gd name="connsiteX77" fmla="*/ 160110 w 515755"/>
                <a:gd name="connsiteY77" fmla="*/ 47943 h 631229"/>
                <a:gd name="connsiteX78" fmla="*/ 157447 w 515755"/>
                <a:gd name="connsiteY78" fmla="*/ 78367 h 631229"/>
                <a:gd name="connsiteX79" fmla="*/ 158588 w 515755"/>
                <a:gd name="connsiteY79" fmla="*/ 90727 h 631229"/>
                <a:gd name="connsiteX80" fmla="*/ 145468 w 515755"/>
                <a:gd name="connsiteY80" fmla="*/ 138836 h 631229"/>
                <a:gd name="connsiteX81" fmla="*/ 90133 w 515755"/>
                <a:gd name="connsiteY81" fmla="*/ 173635 h 631229"/>
                <a:gd name="connsiteX82" fmla="*/ 79294 w 515755"/>
                <a:gd name="connsiteY82" fmla="*/ 173635 h 631229"/>
                <a:gd name="connsiteX83" fmla="*/ 28903 w 515755"/>
                <a:gd name="connsiteY83" fmla="*/ 192650 h 631229"/>
                <a:gd name="connsiteX84" fmla="*/ 18255 w 515755"/>
                <a:gd name="connsiteY84" fmla="*/ 212806 h 631229"/>
                <a:gd name="connsiteX85" fmla="*/ 10459 w 515755"/>
                <a:gd name="connsiteY85" fmla="*/ 228589 h 631229"/>
                <a:gd name="connsiteX86" fmla="*/ 7986 w 515755"/>
                <a:gd name="connsiteY86" fmla="*/ 232772 h 631229"/>
                <a:gd name="connsiteX87" fmla="*/ 0 w 515755"/>
                <a:gd name="connsiteY87" fmla="*/ 247604 h 631229"/>
                <a:gd name="connsiteX88" fmla="*/ 57046 w 515755"/>
                <a:gd name="connsiteY88" fmla="*/ 273846 h 631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515755" h="631229">
                  <a:moveTo>
                    <a:pt x="55335" y="287917"/>
                  </a:moveTo>
                  <a:lnTo>
                    <a:pt x="67124" y="292671"/>
                  </a:lnTo>
                  <a:lnTo>
                    <a:pt x="69026" y="303319"/>
                  </a:lnTo>
                  <a:lnTo>
                    <a:pt x="74160" y="305792"/>
                  </a:lnTo>
                  <a:lnTo>
                    <a:pt x="84999" y="299897"/>
                  </a:lnTo>
                  <a:lnTo>
                    <a:pt x="91654" y="302939"/>
                  </a:lnTo>
                  <a:lnTo>
                    <a:pt x="105535" y="296094"/>
                  </a:lnTo>
                  <a:lnTo>
                    <a:pt x="141475" y="316630"/>
                  </a:lnTo>
                  <a:cubicBezTo>
                    <a:pt x="141760" y="315276"/>
                    <a:pt x="142140" y="313941"/>
                    <a:pt x="142615" y="312637"/>
                  </a:cubicBezTo>
                  <a:cubicBezTo>
                    <a:pt x="145658" y="305221"/>
                    <a:pt x="162772" y="269472"/>
                    <a:pt x="171899" y="289248"/>
                  </a:cubicBezTo>
                  <a:cubicBezTo>
                    <a:pt x="175892" y="297805"/>
                    <a:pt x="167716" y="304651"/>
                    <a:pt x="163913" y="311496"/>
                  </a:cubicBezTo>
                  <a:cubicBezTo>
                    <a:pt x="158569" y="321205"/>
                    <a:pt x="157409" y="332666"/>
                    <a:pt x="160680" y="343252"/>
                  </a:cubicBezTo>
                  <a:cubicBezTo>
                    <a:pt x="163342" y="351999"/>
                    <a:pt x="170188" y="357513"/>
                    <a:pt x="173420" y="365880"/>
                  </a:cubicBezTo>
                  <a:cubicBezTo>
                    <a:pt x="174618" y="371566"/>
                    <a:pt x="176216" y="377156"/>
                    <a:pt x="178174" y="382614"/>
                  </a:cubicBezTo>
                  <a:cubicBezTo>
                    <a:pt x="180646" y="386797"/>
                    <a:pt x="186351" y="388128"/>
                    <a:pt x="185400" y="394023"/>
                  </a:cubicBezTo>
                  <a:cubicBezTo>
                    <a:pt x="184449" y="399918"/>
                    <a:pt x="174561" y="398777"/>
                    <a:pt x="176653" y="407334"/>
                  </a:cubicBezTo>
                  <a:cubicBezTo>
                    <a:pt x="176653" y="410566"/>
                    <a:pt x="185210" y="413799"/>
                    <a:pt x="187492" y="415890"/>
                  </a:cubicBezTo>
                  <a:cubicBezTo>
                    <a:pt x="192379" y="419770"/>
                    <a:pt x="195897" y="425094"/>
                    <a:pt x="197570" y="431103"/>
                  </a:cubicBezTo>
                  <a:cubicBezTo>
                    <a:pt x="197855" y="440763"/>
                    <a:pt x="198996" y="450365"/>
                    <a:pt x="200993" y="459816"/>
                  </a:cubicBezTo>
                  <a:cubicBezTo>
                    <a:pt x="207211" y="472366"/>
                    <a:pt x="214722" y="484213"/>
                    <a:pt x="223431" y="495185"/>
                  </a:cubicBezTo>
                  <a:cubicBezTo>
                    <a:pt x="230467" y="505453"/>
                    <a:pt x="239974" y="514200"/>
                    <a:pt x="246059" y="525419"/>
                  </a:cubicBezTo>
                  <a:cubicBezTo>
                    <a:pt x="252144" y="536638"/>
                    <a:pt x="251383" y="550329"/>
                    <a:pt x="258039" y="561358"/>
                  </a:cubicBezTo>
                  <a:cubicBezTo>
                    <a:pt x="269296" y="580792"/>
                    <a:pt x="285668" y="596784"/>
                    <a:pt x="305387" y="607566"/>
                  </a:cubicBezTo>
                  <a:cubicBezTo>
                    <a:pt x="309057" y="608916"/>
                    <a:pt x="312404" y="610988"/>
                    <a:pt x="315275" y="613651"/>
                  </a:cubicBezTo>
                  <a:cubicBezTo>
                    <a:pt x="317937" y="616123"/>
                    <a:pt x="318318" y="620116"/>
                    <a:pt x="321930" y="621637"/>
                  </a:cubicBezTo>
                  <a:cubicBezTo>
                    <a:pt x="325543" y="623158"/>
                    <a:pt x="330297" y="621637"/>
                    <a:pt x="334100" y="621637"/>
                  </a:cubicBezTo>
                  <a:cubicBezTo>
                    <a:pt x="340756" y="622341"/>
                    <a:pt x="347221" y="624337"/>
                    <a:pt x="353116" y="627532"/>
                  </a:cubicBezTo>
                  <a:cubicBezTo>
                    <a:pt x="364164" y="631012"/>
                    <a:pt x="375839" y="632057"/>
                    <a:pt x="387343" y="630574"/>
                  </a:cubicBezTo>
                  <a:cubicBezTo>
                    <a:pt x="401415" y="629433"/>
                    <a:pt x="411873" y="620116"/>
                    <a:pt x="425374" y="618785"/>
                  </a:cubicBezTo>
                  <a:cubicBezTo>
                    <a:pt x="438875" y="617454"/>
                    <a:pt x="447812" y="620496"/>
                    <a:pt x="458461" y="612319"/>
                  </a:cubicBezTo>
                  <a:cubicBezTo>
                    <a:pt x="462644" y="609087"/>
                    <a:pt x="466067" y="604713"/>
                    <a:pt x="470060" y="601291"/>
                  </a:cubicBezTo>
                  <a:cubicBezTo>
                    <a:pt x="474054" y="597868"/>
                    <a:pt x="481089" y="595396"/>
                    <a:pt x="484512" y="591593"/>
                  </a:cubicBezTo>
                  <a:cubicBezTo>
                    <a:pt x="492879" y="582656"/>
                    <a:pt x="482230" y="578472"/>
                    <a:pt x="484512" y="569535"/>
                  </a:cubicBezTo>
                  <a:cubicBezTo>
                    <a:pt x="484512" y="563640"/>
                    <a:pt x="489646" y="563830"/>
                    <a:pt x="492879" y="560027"/>
                  </a:cubicBezTo>
                  <a:cubicBezTo>
                    <a:pt x="496111" y="556224"/>
                    <a:pt x="499534" y="546716"/>
                    <a:pt x="503718" y="541012"/>
                  </a:cubicBezTo>
                  <a:cubicBezTo>
                    <a:pt x="507901" y="535307"/>
                    <a:pt x="517409" y="526940"/>
                    <a:pt x="515507" y="516102"/>
                  </a:cubicBezTo>
                  <a:cubicBezTo>
                    <a:pt x="513606" y="505263"/>
                    <a:pt x="502957" y="498037"/>
                    <a:pt x="502957" y="484916"/>
                  </a:cubicBezTo>
                  <a:cubicBezTo>
                    <a:pt x="502957" y="475409"/>
                    <a:pt x="513415" y="459436"/>
                    <a:pt x="510183" y="450689"/>
                  </a:cubicBezTo>
                  <a:cubicBezTo>
                    <a:pt x="506950" y="441942"/>
                    <a:pt x="497062" y="443082"/>
                    <a:pt x="493259" y="435667"/>
                  </a:cubicBezTo>
                  <a:cubicBezTo>
                    <a:pt x="489456" y="428251"/>
                    <a:pt x="493259" y="415320"/>
                    <a:pt x="493259" y="406003"/>
                  </a:cubicBezTo>
                  <a:cubicBezTo>
                    <a:pt x="493259" y="393833"/>
                    <a:pt x="484702" y="386987"/>
                    <a:pt x="481470" y="375198"/>
                  </a:cubicBezTo>
                  <a:cubicBezTo>
                    <a:pt x="473483" y="347625"/>
                    <a:pt x="484322" y="314729"/>
                    <a:pt x="481470" y="286396"/>
                  </a:cubicBezTo>
                  <a:cubicBezTo>
                    <a:pt x="479036" y="274439"/>
                    <a:pt x="475347" y="262773"/>
                    <a:pt x="470441" y="251598"/>
                  </a:cubicBezTo>
                  <a:cubicBezTo>
                    <a:pt x="465877" y="238097"/>
                    <a:pt x="470441" y="223074"/>
                    <a:pt x="465877" y="209954"/>
                  </a:cubicBezTo>
                  <a:cubicBezTo>
                    <a:pt x="461313" y="196833"/>
                    <a:pt x="454278" y="199495"/>
                    <a:pt x="446862" y="193791"/>
                  </a:cubicBezTo>
                  <a:cubicBezTo>
                    <a:pt x="439446" y="188086"/>
                    <a:pt x="436213" y="175916"/>
                    <a:pt x="431839" y="165838"/>
                  </a:cubicBezTo>
                  <a:cubicBezTo>
                    <a:pt x="427903" y="156741"/>
                    <a:pt x="421761" y="148768"/>
                    <a:pt x="413965" y="142639"/>
                  </a:cubicBezTo>
                  <a:cubicBezTo>
                    <a:pt x="410542" y="139787"/>
                    <a:pt x="405978" y="136555"/>
                    <a:pt x="405598" y="131420"/>
                  </a:cubicBezTo>
                  <a:cubicBezTo>
                    <a:pt x="405218" y="126286"/>
                    <a:pt x="409972" y="124575"/>
                    <a:pt x="410352" y="120392"/>
                  </a:cubicBezTo>
                  <a:cubicBezTo>
                    <a:pt x="410732" y="116208"/>
                    <a:pt x="410352" y="113736"/>
                    <a:pt x="407119" y="112215"/>
                  </a:cubicBezTo>
                  <a:lnTo>
                    <a:pt x="402746" y="110884"/>
                  </a:lnTo>
                  <a:cubicBezTo>
                    <a:pt x="400711" y="110176"/>
                    <a:pt x="398600" y="109667"/>
                    <a:pt x="396471" y="109363"/>
                  </a:cubicBezTo>
                  <a:lnTo>
                    <a:pt x="395330" y="109363"/>
                  </a:lnTo>
                  <a:cubicBezTo>
                    <a:pt x="394341" y="109269"/>
                    <a:pt x="393409" y="108870"/>
                    <a:pt x="392668" y="108222"/>
                  </a:cubicBezTo>
                  <a:cubicBezTo>
                    <a:pt x="392668" y="108222"/>
                    <a:pt x="391527" y="106510"/>
                    <a:pt x="392668" y="105750"/>
                  </a:cubicBezTo>
                  <a:cubicBezTo>
                    <a:pt x="392592" y="105436"/>
                    <a:pt x="392592" y="105113"/>
                    <a:pt x="392668" y="104799"/>
                  </a:cubicBezTo>
                  <a:cubicBezTo>
                    <a:pt x="394056" y="103704"/>
                    <a:pt x="395596" y="102808"/>
                    <a:pt x="397231" y="102137"/>
                  </a:cubicBezTo>
                  <a:cubicBezTo>
                    <a:pt x="397935" y="101791"/>
                    <a:pt x="398524" y="101266"/>
                    <a:pt x="398943" y="100616"/>
                  </a:cubicBezTo>
                  <a:cubicBezTo>
                    <a:pt x="411493" y="85023"/>
                    <a:pt x="384111" y="74374"/>
                    <a:pt x="386583" y="61444"/>
                  </a:cubicBezTo>
                  <a:cubicBezTo>
                    <a:pt x="390006" y="43950"/>
                    <a:pt x="404267" y="79128"/>
                    <a:pt x="405598" y="81600"/>
                  </a:cubicBezTo>
                  <a:cubicBezTo>
                    <a:pt x="409439" y="86850"/>
                    <a:pt x="416817" y="87987"/>
                    <a:pt x="422084" y="84137"/>
                  </a:cubicBezTo>
                  <a:cubicBezTo>
                    <a:pt x="423054" y="83426"/>
                    <a:pt x="423910" y="82570"/>
                    <a:pt x="424614" y="81600"/>
                  </a:cubicBezTo>
                  <a:cubicBezTo>
                    <a:pt x="431839" y="72663"/>
                    <a:pt x="424614" y="54979"/>
                    <a:pt x="421761" y="45281"/>
                  </a:cubicBezTo>
                  <a:cubicBezTo>
                    <a:pt x="413965" y="20751"/>
                    <a:pt x="397802" y="39766"/>
                    <a:pt x="381449" y="35583"/>
                  </a:cubicBezTo>
                  <a:cubicBezTo>
                    <a:pt x="371751" y="33111"/>
                    <a:pt x="371370" y="23223"/>
                    <a:pt x="369469" y="14856"/>
                  </a:cubicBezTo>
                  <a:cubicBezTo>
                    <a:pt x="358668" y="14911"/>
                    <a:pt x="347905" y="13827"/>
                    <a:pt x="337333" y="11624"/>
                  </a:cubicBezTo>
                  <a:cubicBezTo>
                    <a:pt x="331476" y="10228"/>
                    <a:pt x="325695" y="8514"/>
                    <a:pt x="320029" y="6489"/>
                  </a:cubicBezTo>
                  <a:cubicBezTo>
                    <a:pt x="311225" y="2964"/>
                    <a:pt x="301926" y="846"/>
                    <a:pt x="292457" y="214"/>
                  </a:cubicBezTo>
                  <a:cubicBezTo>
                    <a:pt x="286543" y="112"/>
                    <a:pt x="280667" y="1146"/>
                    <a:pt x="275153" y="3257"/>
                  </a:cubicBezTo>
                  <a:lnTo>
                    <a:pt x="272681" y="3257"/>
                  </a:lnTo>
                  <a:cubicBezTo>
                    <a:pt x="268764" y="4622"/>
                    <a:pt x="264770" y="5704"/>
                    <a:pt x="260701" y="6489"/>
                  </a:cubicBezTo>
                  <a:cubicBezTo>
                    <a:pt x="255662" y="7358"/>
                    <a:pt x="250528" y="7358"/>
                    <a:pt x="245489" y="6489"/>
                  </a:cubicBezTo>
                  <a:cubicBezTo>
                    <a:pt x="240925" y="5805"/>
                    <a:pt x="236456" y="4592"/>
                    <a:pt x="232178" y="2876"/>
                  </a:cubicBezTo>
                  <a:cubicBezTo>
                    <a:pt x="222670" y="-546"/>
                    <a:pt x="217726" y="-1877"/>
                    <a:pt x="212022" y="4398"/>
                  </a:cubicBezTo>
                  <a:cubicBezTo>
                    <a:pt x="209816" y="7117"/>
                    <a:pt x="207781" y="9975"/>
                    <a:pt x="205937" y="12955"/>
                  </a:cubicBezTo>
                  <a:cubicBezTo>
                    <a:pt x="202133" y="20243"/>
                    <a:pt x="195763" y="25864"/>
                    <a:pt x="188062" y="28737"/>
                  </a:cubicBezTo>
                  <a:lnTo>
                    <a:pt x="185020" y="30068"/>
                  </a:lnTo>
                  <a:cubicBezTo>
                    <a:pt x="174751" y="32660"/>
                    <a:pt x="165852" y="39047"/>
                    <a:pt x="160110" y="47943"/>
                  </a:cubicBezTo>
                  <a:cubicBezTo>
                    <a:pt x="155793" y="57487"/>
                    <a:pt x="154842" y="68219"/>
                    <a:pt x="157447" y="78367"/>
                  </a:cubicBezTo>
                  <a:cubicBezTo>
                    <a:pt x="157447" y="82361"/>
                    <a:pt x="158398" y="86544"/>
                    <a:pt x="158588" y="90727"/>
                  </a:cubicBezTo>
                  <a:cubicBezTo>
                    <a:pt x="158759" y="107670"/>
                    <a:pt x="154215" y="124330"/>
                    <a:pt x="145468" y="138836"/>
                  </a:cubicBezTo>
                  <a:cubicBezTo>
                    <a:pt x="134553" y="159481"/>
                    <a:pt x="113465" y="172743"/>
                    <a:pt x="90133" y="173635"/>
                  </a:cubicBezTo>
                  <a:lnTo>
                    <a:pt x="79294" y="173635"/>
                  </a:lnTo>
                  <a:cubicBezTo>
                    <a:pt x="58757" y="174966"/>
                    <a:pt x="41263" y="176107"/>
                    <a:pt x="28903" y="192650"/>
                  </a:cubicBezTo>
                  <a:cubicBezTo>
                    <a:pt x="24754" y="199033"/>
                    <a:pt x="21189" y="205780"/>
                    <a:pt x="18255" y="212806"/>
                  </a:cubicBezTo>
                  <a:cubicBezTo>
                    <a:pt x="15925" y="218195"/>
                    <a:pt x="13322" y="223464"/>
                    <a:pt x="10459" y="228589"/>
                  </a:cubicBezTo>
                  <a:lnTo>
                    <a:pt x="7986" y="232772"/>
                  </a:lnTo>
                  <a:cubicBezTo>
                    <a:pt x="5197" y="237716"/>
                    <a:pt x="2535" y="242660"/>
                    <a:pt x="0" y="247604"/>
                  </a:cubicBezTo>
                  <a:lnTo>
                    <a:pt x="57046" y="273846"/>
                  </a:ln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47" name="Полилиния: фигура 446">
              <a:extLst>
                <a:ext uri="{FF2B5EF4-FFF2-40B4-BE49-F238E27FC236}">
                  <a16:creationId xmlns:a16="http://schemas.microsoft.com/office/drawing/2014/main" id="{BE78D0D7-FA90-BE08-0A6B-EE41D540851E}"/>
                </a:ext>
              </a:extLst>
            </p:cNvPr>
            <p:cNvSpPr/>
            <p:nvPr/>
          </p:nvSpPr>
          <p:spPr>
            <a:xfrm>
              <a:off x="2351345" y="2825501"/>
              <a:ext cx="638318" cy="722421"/>
            </a:xfrm>
            <a:custGeom>
              <a:avLst/>
              <a:gdLst>
                <a:gd name="connsiteX0" fmla="*/ 20537 w 638318"/>
                <a:gd name="connsiteY0" fmla="*/ 432220 h 722421"/>
                <a:gd name="connsiteX1" fmla="*/ 48109 w 638318"/>
                <a:gd name="connsiteY1" fmla="*/ 503337 h 722421"/>
                <a:gd name="connsiteX2" fmla="*/ 50201 w 638318"/>
                <a:gd name="connsiteY2" fmla="*/ 508852 h 722421"/>
                <a:gd name="connsiteX3" fmla="*/ 56286 w 638318"/>
                <a:gd name="connsiteY3" fmla="*/ 526916 h 722421"/>
                <a:gd name="connsiteX4" fmla="*/ 80815 w 638318"/>
                <a:gd name="connsiteY4" fmla="*/ 582251 h 722421"/>
                <a:gd name="connsiteX5" fmla="*/ 97929 w 638318"/>
                <a:gd name="connsiteY5" fmla="*/ 601267 h 722421"/>
                <a:gd name="connsiteX6" fmla="*/ 116945 w 638318"/>
                <a:gd name="connsiteY6" fmla="*/ 598224 h 722421"/>
                <a:gd name="connsiteX7" fmla="*/ 135960 w 638318"/>
                <a:gd name="connsiteY7" fmla="*/ 593470 h 722421"/>
                <a:gd name="connsiteX8" fmla="*/ 149461 w 638318"/>
                <a:gd name="connsiteY8" fmla="*/ 606401 h 722421"/>
                <a:gd name="connsiteX9" fmla="*/ 151362 w 638318"/>
                <a:gd name="connsiteY9" fmla="*/ 610014 h 722421"/>
                <a:gd name="connsiteX10" fmla="*/ 153074 w 638318"/>
                <a:gd name="connsiteY10" fmla="*/ 610014 h 722421"/>
                <a:gd name="connsiteX11" fmla="*/ 155546 w 638318"/>
                <a:gd name="connsiteY11" fmla="*/ 598224 h 722421"/>
                <a:gd name="connsiteX12" fmla="*/ 155546 w 638318"/>
                <a:gd name="connsiteY12" fmla="*/ 595562 h 722421"/>
                <a:gd name="connsiteX13" fmla="*/ 162201 w 638318"/>
                <a:gd name="connsiteY13" fmla="*/ 584153 h 722421"/>
                <a:gd name="connsiteX14" fmla="*/ 176273 w 638318"/>
                <a:gd name="connsiteY14" fmla="*/ 585674 h 722421"/>
                <a:gd name="connsiteX15" fmla="*/ 198711 w 638318"/>
                <a:gd name="connsiteY15" fmla="*/ 606591 h 722421"/>
                <a:gd name="connsiteX16" fmla="*/ 202514 w 638318"/>
                <a:gd name="connsiteY16" fmla="*/ 614197 h 722421"/>
                <a:gd name="connsiteX17" fmla="*/ 212022 w 638318"/>
                <a:gd name="connsiteY17" fmla="*/ 620282 h 722421"/>
                <a:gd name="connsiteX18" fmla="*/ 236551 w 638318"/>
                <a:gd name="connsiteY18" fmla="*/ 640818 h 722421"/>
                <a:gd name="connsiteX19" fmla="*/ 238643 w 638318"/>
                <a:gd name="connsiteY19" fmla="*/ 646523 h 722421"/>
                <a:gd name="connsiteX20" fmla="*/ 248531 w 638318"/>
                <a:gd name="connsiteY20" fmla="*/ 663827 h 722421"/>
                <a:gd name="connsiteX21" fmla="*/ 254806 w 638318"/>
                <a:gd name="connsiteY21" fmla="*/ 670863 h 722421"/>
                <a:gd name="connsiteX22" fmla="*/ 254806 w 638318"/>
                <a:gd name="connsiteY22" fmla="*/ 670863 h 722421"/>
                <a:gd name="connsiteX23" fmla="*/ 273822 w 638318"/>
                <a:gd name="connsiteY23" fmla="*/ 673715 h 722421"/>
                <a:gd name="connsiteX24" fmla="*/ 281047 w 638318"/>
                <a:gd name="connsiteY24" fmla="*/ 675427 h 722421"/>
                <a:gd name="connsiteX25" fmla="*/ 300063 w 638318"/>
                <a:gd name="connsiteY25" fmla="*/ 677328 h 722421"/>
                <a:gd name="connsiteX26" fmla="*/ 314324 w 638318"/>
                <a:gd name="connsiteY26" fmla="*/ 678279 h 722421"/>
                <a:gd name="connsiteX27" fmla="*/ 342467 w 638318"/>
                <a:gd name="connsiteY27" fmla="*/ 689688 h 722421"/>
                <a:gd name="connsiteX28" fmla="*/ 349503 w 638318"/>
                <a:gd name="connsiteY28" fmla="*/ 704140 h 722421"/>
                <a:gd name="connsiteX29" fmla="*/ 353306 w 638318"/>
                <a:gd name="connsiteY29" fmla="*/ 713457 h 722421"/>
                <a:gd name="connsiteX30" fmla="*/ 372321 w 638318"/>
                <a:gd name="connsiteY30" fmla="*/ 722395 h 722421"/>
                <a:gd name="connsiteX31" fmla="*/ 372321 w 638318"/>
                <a:gd name="connsiteY31" fmla="*/ 722395 h 722421"/>
                <a:gd name="connsiteX32" fmla="*/ 386393 w 638318"/>
                <a:gd name="connsiteY32" fmla="*/ 718211 h 722421"/>
                <a:gd name="connsiteX33" fmla="*/ 386393 w 638318"/>
                <a:gd name="connsiteY33" fmla="*/ 718211 h 722421"/>
                <a:gd name="connsiteX34" fmla="*/ 389815 w 638318"/>
                <a:gd name="connsiteY34" fmla="*/ 716119 h 722421"/>
                <a:gd name="connsiteX35" fmla="*/ 398372 w 638318"/>
                <a:gd name="connsiteY35" fmla="*/ 710225 h 722421"/>
                <a:gd name="connsiteX36" fmla="*/ 415296 w 638318"/>
                <a:gd name="connsiteY36" fmla="*/ 689498 h 722421"/>
                <a:gd name="connsiteX37" fmla="*/ 415296 w 638318"/>
                <a:gd name="connsiteY37" fmla="*/ 677328 h 722421"/>
                <a:gd name="connsiteX38" fmla="*/ 426325 w 638318"/>
                <a:gd name="connsiteY38" fmla="*/ 641389 h 722421"/>
                <a:gd name="connsiteX39" fmla="*/ 434692 w 638318"/>
                <a:gd name="connsiteY39" fmla="*/ 634734 h 722421"/>
                <a:gd name="connsiteX40" fmla="*/ 449714 w 638318"/>
                <a:gd name="connsiteY40" fmla="*/ 618951 h 722421"/>
                <a:gd name="connsiteX41" fmla="*/ 446481 w 638318"/>
                <a:gd name="connsiteY41" fmla="*/ 611915 h 722421"/>
                <a:gd name="connsiteX42" fmla="*/ 440396 w 638318"/>
                <a:gd name="connsiteY42" fmla="*/ 606971 h 722421"/>
                <a:gd name="connsiteX43" fmla="*/ 429367 w 638318"/>
                <a:gd name="connsiteY43" fmla="*/ 594991 h 722421"/>
                <a:gd name="connsiteX44" fmla="*/ 425754 w 638318"/>
                <a:gd name="connsiteY44" fmla="*/ 571793 h 722421"/>
                <a:gd name="connsiteX45" fmla="*/ 437164 w 638318"/>
                <a:gd name="connsiteY45" fmla="*/ 536614 h 722421"/>
                <a:gd name="connsiteX46" fmla="*/ 445530 w 638318"/>
                <a:gd name="connsiteY46" fmla="*/ 529198 h 722421"/>
                <a:gd name="connsiteX47" fmla="*/ 450665 w 638318"/>
                <a:gd name="connsiteY47" fmla="*/ 524825 h 722421"/>
                <a:gd name="connsiteX48" fmla="*/ 461313 w 638318"/>
                <a:gd name="connsiteY48" fmla="*/ 502196 h 722421"/>
                <a:gd name="connsiteX49" fmla="*/ 461123 w 638318"/>
                <a:gd name="connsiteY49" fmla="*/ 494400 h 722421"/>
                <a:gd name="connsiteX50" fmla="*/ 466828 w 638318"/>
                <a:gd name="connsiteY50" fmla="*/ 475385 h 722421"/>
                <a:gd name="connsiteX51" fmla="*/ 488886 w 638318"/>
                <a:gd name="connsiteY51" fmla="*/ 472913 h 722421"/>
                <a:gd name="connsiteX52" fmla="*/ 495351 w 638318"/>
                <a:gd name="connsiteY52" fmla="*/ 475575 h 722421"/>
                <a:gd name="connsiteX53" fmla="*/ 514366 w 638318"/>
                <a:gd name="connsiteY53" fmla="*/ 472913 h 722421"/>
                <a:gd name="connsiteX54" fmla="*/ 525015 w 638318"/>
                <a:gd name="connsiteY54" fmla="*/ 466257 h 722421"/>
                <a:gd name="connsiteX55" fmla="*/ 518549 w 638318"/>
                <a:gd name="connsiteY55" fmla="*/ 442298 h 722421"/>
                <a:gd name="connsiteX56" fmla="*/ 521592 w 638318"/>
                <a:gd name="connsiteY56" fmla="*/ 386583 h 722421"/>
                <a:gd name="connsiteX57" fmla="*/ 506950 w 638318"/>
                <a:gd name="connsiteY57" fmla="*/ 358820 h 722421"/>
                <a:gd name="connsiteX58" fmla="*/ 523113 w 638318"/>
                <a:gd name="connsiteY58" fmla="*/ 332959 h 722421"/>
                <a:gd name="connsiteX59" fmla="*/ 542129 w 638318"/>
                <a:gd name="connsiteY59" fmla="*/ 306718 h 722421"/>
                <a:gd name="connsiteX60" fmla="*/ 561144 w 638318"/>
                <a:gd name="connsiteY60" fmla="*/ 273061 h 722421"/>
                <a:gd name="connsiteX61" fmla="*/ 572743 w 638318"/>
                <a:gd name="connsiteY61" fmla="*/ 250623 h 722421"/>
                <a:gd name="connsiteX62" fmla="*/ 582251 w 638318"/>
                <a:gd name="connsiteY62" fmla="*/ 251764 h 722421"/>
                <a:gd name="connsiteX63" fmla="*/ 597463 w 638318"/>
                <a:gd name="connsiteY63" fmla="*/ 247010 h 722421"/>
                <a:gd name="connsiteX64" fmla="*/ 633783 w 638318"/>
                <a:gd name="connsiteY64" fmla="*/ 202133 h 722421"/>
                <a:gd name="connsiteX65" fmla="*/ 629409 w 638318"/>
                <a:gd name="connsiteY65" fmla="*/ 157257 h 722421"/>
                <a:gd name="connsiteX66" fmla="*/ 619331 w 638318"/>
                <a:gd name="connsiteY66" fmla="*/ 135770 h 722421"/>
                <a:gd name="connsiteX67" fmla="*/ 619331 w 638318"/>
                <a:gd name="connsiteY67" fmla="*/ 133108 h 722421"/>
                <a:gd name="connsiteX68" fmla="*/ 628839 w 638318"/>
                <a:gd name="connsiteY68" fmla="*/ 133108 h 722421"/>
                <a:gd name="connsiteX69" fmla="*/ 634924 w 638318"/>
                <a:gd name="connsiteY69" fmla="*/ 114092 h 722421"/>
                <a:gd name="connsiteX70" fmla="*/ 633022 w 638318"/>
                <a:gd name="connsiteY70" fmla="*/ 91084 h 722421"/>
                <a:gd name="connsiteX71" fmla="*/ 636635 w 638318"/>
                <a:gd name="connsiteY71" fmla="*/ 70357 h 722421"/>
                <a:gd name="connsiteX72" fmla="*/ 634353 w 638318"/>
                <a:gd name="connsiteY72" fmla="*/ 67314 h 722421"/>
                <a:gd name="connsiteX73" fmla="*/ 602788 w 638318"/>
                <a:gd name="connsiteY73" fmla="*/ 49630 h 722421"/>
                <a:gd name="connsiteX74" fmla="*/ 589287 w 638318"/>
                <a:gd name="connsiteY74" fmla="*/ 56095 h 722421"/>
                <a:gd name="connsiteX75" fmla="*/ 582631 w 638318"/>
                <a:gd name="connsiteY75" fmla="*/ 53053 h 722421"/>
                <a:gd name="connsiteX76" fmla="*/ 572173 w 638318"/>
                <a:gd name="connsiteY76" fmla="*/ 59328 h 722421"/>
                <a:gd name="connsiteX77" fmla="*/ 556200 w 638318"/>
                <a:gd name="connsiteY77" fmla="*/ 51341 h 722421"/>
                <a:gd name="connsiteX78" fmla="*/ 554489 w 638318"/>
                <a:gd name="connsiteY78" fmla="*/ 40883 h 722421"/>
                <a:gd name="connsiteX79" fmla="*/ 541558 w 638318"/>
                <a:gd name="connsiteY79" fmla="*/ 35749 h 722421"/>
                <a:gd name="connsiteX80" fmla="*/ 541558 w 638318"/>
                <a:gd name="connsiteY80" fmla="*/ 22818 h 722421"/>
                <a:gd name="connsiteX81" fmla="*/ 491548 w 638318"/>
                <a:gd name="connsiteY81" fmla="*/ 0 h 722421"/>
                <a:gd name="connsiteX82" fmla="*/ 490217 w 638318"/>
                <a:gd name="connsiteY82" fmla="*/ 3043 h 722421"/>
                <a:gd name="connsiteX83" fmla="*/ 486414 w 638318"/>
                <a:gd name="connsiteY83" fmla="*/ 12550 h 722421"/>
                <a:gd name="connsiteX84" fmla="*/ 457130 w 638318"/>
                <a:gd name="connsiteY84" fmla="*/ 58948 h 722421"/>
                <a:gd name="connsiteX85" fmla="*/ 434121 w 638318"/>
                <a:gd name="connsiteY85" fmla="*/ 65033 h 722421"/>
                <a:gd name="connsiteX86" fmla="*/ 421571 w 638318"/>
                <a:gd name="connsiteY86" fmla="*/ 66934 h 722421"/>
                <a:gd name="connsiteX87" fmla="*/ 404077 w 638318"/>
                <a:gd name="connsiteY87" fmla="*/ 81196 h 722421"/>
                <a:gd name="connsiteX88" fmla="*/ 396471 w 638318"/>
                <a:gd name="connsiteY88" fmla="*/ 89753 h 722421"/>
                <a:gd name="connsiteX89" fmla="*/ 377455 w 638318"/>
                <a:gd name="connsiteY89" fmla="*/ 100972 h 722421"/>
                <a:gd name="connsiteX90" fmla="*/ 359581 w 638318"/>
                <a:gd name="connsiteY90" fmla="*/ 118466 h 722421"/>
                <a:gd name="connsiteX91" fmla="*/ 359581 w 638318"/>
                <a:gd name="connsiteY91" fmla="*/ 127593 h 722421"/>
                <a:gd name="connsiteX92" fmla="*/ 348932 w 638318"/>
                <a:gd name="connsiteY92" fmla="*/ 155166 h 722421"/>
                <a:gd name="connsiteX93" fmla="*/ 338664 w 638318"/>
                <a:gd name="connsiteY93" fmla="*/ 160680 h 722421"/>
                <a:gd name="connsiteX94" fmla="*/ 326875 w 638318"/>
                <a:gd name="connsiteY94" fmla="*/ 169807 h 722421"/>
                <a:gd name="connsiteX95" fmla="*/ 326875 w 638318"/>
                <a:gd name="connsiteY95" fmla="*/ 186541 h 722421"/>
                <a:gd name="connsiteX96" fmla="*/ 317747 w 638318"/>
                <a:gd name="connsiteY96" fmla="*/ 216775 h 722421"/>
                <a:gd name="connsiteX97" fmla="*/ 285991 w 638318"/>
                <a:gd name="connsiteY97" fmla="*/ 224001 h 722421"/>
                <a:gd name="connsiteX98" fmla="*/ 257468 w 638318"/>
                <a:gd name="connsiteY98" fmla="*/ 232368 h 722421"/>
                <a:gd name="connsiteX99" fmla="*/ 254236 w 638318"/>
                <a:gd name="connsiteY99" fmla="*/ 274012 h 722421"/>
                <a:gd name="connsiteX100" fmla="*/ 255567 w 638318"/>
                <a:gd name="connsiteY100" fmla="*/ 301964 h 722421"/>
                <a:gd name="connsiteX101" fmla="*/ 254426 w 638318"/>
                <a:gd name="connsiteY101" fmla="*/ 312233 h 722421"/>
                <a:gd name="connsiteX102" fmla="*/ 224952 w 638318"/>
                <a:gd name="connsiteY102" fmla="*/ 369279 h 722421"/>
                <a:gd name="connsiteX103" fmla="*/ 158588 w 638318"/>
                <a:gd name="connsiteY103" fmla="*/ 382970 h 722421"/>
                <a:gd name="connsiteX104" fmla="*/ 153644 w 638318"/>
                <a:gd name="connsiteY104" fmla="*/ 382970 h 722421"/>
                <a:gd name="connsiteX105" fmla="*/ 0 w 638318"/>
                <a:gd name="connsiteY105" fmla="*/ 389815 h 722421"/>
                <a:gd name="connsiteX106" fmla="*/ 8937 w 638318"/>
                <a:gd name="connsiteY106" fmla="*/ 407690 h 722421"/>
                <a:gd name="connsiteX107" fmla="*/ 20537 w 638318"/>
                <a:gd name="connsiteY107" fmla="*/ 432220 h 72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638318" h="722421">
                  <a:moveTo>
                    <a:pt x="20537" y="432220"/>
                  </a:moveTo>
                  <a:cubicBezTo>
                    <a:pt x="30995" y="455418"/>
                    <a:pt x="39552" y="479758"/>
                    <a:pt x="48109" y="503337"/>
                  </a:cubicBezTo>
                  <a:lnTo>
                    <a:pt x="50201" y="508852"/>
                  </a:lnTo>
                  <a:cubicBezTo>
                    <a:pt x="52292" y="514746"/>
                    <a:pt x="54194" y="520831"/>
                    <a:pt x="56286" y="526916"/>
                  </a:cubicBezTo>
                  <a:cubicBezTo>
                    <a:pt x="62108" y="546312"/>
                    <a:pt x="70349" y="564909"/>
                    <a:pt x="80815" y="582251"/>
                  </a:cubicBezTo>
                  <a:cubicBezTo>
                    <a:pt x="85248" y="589629"/>
                    <a:pt x="91059" y="596075"/>
                    <a:pt x="97929" y="601267"/>
                  </a:cubicBezTo>
                  <a:cubicBezTo>
                    <a:pt x="103634" y="603929"/>
                    <a:pt x="109719" y="601267"/>
                    <a:pt x="116945" y="598224"/>
                  </a:cubicBezTo>
                  <a:cubicBezTo>
                    <a:pt x="122780" y="595067"/>
                    <a:pt x="129322" y="593432"/>
                    <a:pt x="135960" y="593470"/>
                  </a:cubicBezTo>
                  <a:cubicBezTo>
                    <a:pt x="142922" y="594117"/>
                    <a:pt x="148518" y="599479"/>
                    <a:pt x="149461" y="606401"/>
                  </a:cubicBezTo>
                  <a:cubicBezTo>
                    <a:pt x="150602" y="609443"/>
                    <a:pt x="150792" y="610014"/>
                    <a:pt x="151362" y="610014"/>
                  </a:cubicBezTo>
                  <a:lnTo>
                    <a:pt x="153074" y="610014"/>
                  </a:lnTo>
                  <a:cubicBezTo>
                    <a:pt x="155166" y="608302"/>
                    <a:pt x="155546" y="600886"/>
                    <a:pt x="155546" y="598224"/>
                  </a:cubicBezTo>
                  <a:lnTo>
                    <a:pt x="155546" y="595562"/>
                  </a:lnTo>
                  <a:cubicBezTo>
                    <a:pt x="155466" y="590808"/>
                    <a:pt x="158031" y="586415"/>
                    <a:pt x="162201" y="584153"/>
                  </a:cubicBezTo>
                  <a:cubicBezTo>
                    <a:pt x="166830" y="582137"/>
                    <a:pt x="172182" y="582707"/>
                    <a:pt x="176273" y="585674"/>
                  </a:cubicBezTo>
                  <a:cubicBezTo>
                    <a:pt x="185313" y="590751"/>
                    <a:pt x="193006" y="597920"/>
                    <a:pt x="198711" y="606591"/>
                  </a:cubicBezTo>
                  <a:cubicBezTo>
                    <a:pt x="200422" y="609633"/>
                    <a:pt x="201563" y="612105"/>
                    <a:pt x="202514" y="614197"/>
                  </a:cubicBezTo>
                  <a:cubicBezTo>
                    <a:pt x="203465" y="616289"/>
                    <a:pt x="204606" y="618570"/>
                    <a:pt x="212022" y="620282"/>
                  </a:cubicBezTo>
                  <a:cubicBezTo>
                    <a:pt x="223672" y="621366"/>
                    <a:pt x="233439" y="629542"/>
                    <a:pt x="236551" y="640818"/>
                  </a:cubicBezTo>
                  <a:lnTo>
                    <a:pt x="238643" y="646523"/>
                  </a:lnTo>
                  <a:cubicBezTo>
                    <a:pt x="240619" y="652950"/>
                    <a:pt x="243996" y="658864"/>
                    <a:pt x="248531" y="663827"/>
                  </a:cubicBezTo>
                  <a:lnTo>
                    <a:pt x="254806" y="670863"/>
                  </a:lnTo>
                  <a:lnTo>
                    <a:pt x="254806" y="670863"/>
                  </a:lnTo>
                  <a:cubicBezTo>
                    <a:pt x="261254" y="670825"/>
                    <a:pt x="267670" y="671776"/>
                    <a:pt x="273822" y="673715"/>
                  </a:cubicBezTo>
                  <a:lnTo>
                    <a:pt x="281047" y="675427"/>
                  </a:lnTo>
                  <a:cubicBezTo>
                    <a:pt x="287340" y="676453"/>
                    <a:pt x="293691" y="677081"/>
                    <a:pt x="300063" y="677328"/>
                  </a:cubicBezTo>
                  <a:cubicBezTo>
                    <a:pt x="304817" y="677328"/>
                    <a:pt x="309570" y="677328"/>
                    <a:pt x="314324" y="678279"/>
                  </a:cubicBezTo>
                  <a:cubicBezTo>
                    <a:pt x="324760" y="678640"/>
                    <a:pt x="334732" y="682671"/>
                    <a:pt x="342467" y="689688"/>
                  </a:cubicBezTo>
                  <a:cubicBezTo>
                    <a:pt x="345972" y="693852"/>
                    <a:pt x="348389" y="698815"/>
                    <a:pt x="349503" y="704140"/>
                  </a:cubicBezTo>
                  <a:cubicBezTo>
                    <a:pt x="350102" y="707486"/>
                    <a:pt x="351399" y="710662"/>
                    <a:pt x="353306" y="713457"/>
                  </a:cubicBezTo>
                  <a:cubicBezTo>
                    <a:pt x="357773" y="719409"/>
                    <a:pt x="364894" y="722756"/>
                    <a:pt x="372321" y="722395"/>
                  </a:cubicBezTo>
                  <a:lnTo>
                    <a:pt x="372321" y="722395"/>
                  </a:lnTo>
                  <a:cubicBezTo>
                    <a:pt x="377294" y="722242"/>
                    <a:pt x="382141" y="720797"/>
                    <a:pt x="386393" y="718211"/>
                  </a:cubicBezTo>
                  <a:lnTo>
                    <a:pt x="386393" y="718211"/>
                  </a:lnTo>
                  <a:lnTo>
                    <a:pt x="389815" y="716119"/>
                  </a:lnTo>
                  <a:lnTo>
                    <a:pt x="398372" y="710225"/>
                  </a:lnTo>
                  <a:cubicBezTo>
                    <a:pt x="407500" y="704330"/>
                    <a:pt x="413965" y="700147"/>
                    <a:pt x="415296" y="689498"/>
                  </a:cubicBezTo>
                  <a:cubicBezTo>
                    <a:pt x="415296" y="685505"/>
                    <a:pt x="415296" y="681511"/>
                    <a:pt x="415296" y="677328"/>
                  </a:cubicBezTo>
                  <a:cubicBezTo>
                    <a:pt x="413455" y="664302"/>
                    <a:pt x="417496" y="651144"/>
                    <a:pt x="426325" y="641389"/>
                  </a:cubicBezTo>
                  <a:cubicBezTo>
                    <a:pt x="428934" y="638955"/>
                    <a:pt x="431731" y="636730"/>
                    <a:pt x="434692" y="634734"/>
                  </a:cubicBezTo>
                  <a:cubicBezTo>
                    <a:pt x="441157" y="630170"/>
                    <a:pt x="449333" y="624275"/>
                    <a:pt x="449714" y="618951"/>
                  </a:cubicBezTo>
                  <a:cubicBezTo>
                    <a:pt x="449714" y="618951"/>
                    <a:pt x="449714" y="615908"/>
                    <a:pt x="446481" y="611915"/>
                  </a:cubicBezTo>
                  <a:cubicBezTo>
                    <a:pt x="444587" y="610109"/>
                    <a:pt x="442553" y="608454"/>
                    <a:pt x="440396" y="606971"/>
                  </a:cubicBezTo>
                  <a:cubicBezTo>
                    <a:pt x="435635" y="604138"/>
                    <a:pt x="431801" y="599973"/>
                    <a:pt x="429367" y="594991"/>
                  </a:cubicBezTo>
                  <a:cubicBezTo>
                    <a:pt x="426125" y="587708"/>
                    <a:pt x="424878" y="579703"/>
                    <a:pt x="425754" y="571793"/>
                  </a:cubicBezTo>
                  <a:cubicBezTo>
                    <a:pt x="426287" y="559243"/>
                    <a:pt x="430233" y="547092"/>
                    <a:pt x="437164" y="536614"/>
                  </a:cubicBezTo>
                  <a:cubicBezTo>
                    <a:pt x="439518" y="533686"/>
                    <a:pt x="442345" y="531176"/>
                    <a:pt x="445530" y="529198"/>
                  </a:cubicBezTo>
                  <a:cubicBezTo>
                    <a:pt x="447360" y="527886"/>
                    <a:pt x="449077" y="526422"/>
                    <a:pt x="450665" y="524825"/>
                  </a:cubicBezTo>
                  <a:cubicBezTo>
                    <a:pt x="455512" y="517960"/>
                    <a:pt x="459117" y="510297"/>
                    <a:pt x="461313" y="502196"/>
                  </a:cubicBezTo>
                  <a:cubicBezTo>
                    <a:pt x="461481" y="499591"/>
                    <a:pt x="461416" y="496986"/>
                    <a:pt x="461123" y="494400"/>
                  </a:cubicBezTo>
                  <a:cubicBezTo>
                    <a:pt x="461425" y="487688"/>
                    <a:pt x="463386" y="481146"/>
                    <a:pt x="466828" y="475385"/>
                  </a:cubicBezTo>
                  <a:cubicBezTo>
                    <a:pt x="474434" y="465687"/>
                    <a:pt x="483181" y="470060"/>
                    <a:pt x="488886" y="472913"/>
                  </a:cubicBezTo>
                  <a:cubicBezTo>
                    <a:pt x="490970" y="473959"/>
                    <a:pt x="493132" y="474852"/>
                    <a:pt x="495351" y="475575"/>
                  </a:cubicBezTo>
                  <a:cubicBezTo>
                    <a:pt x="501772" y="477533"/>
                    <a:pt x="508728" y="476545"/>
                    <a:pt x="514366" y="472913"/>
                  </a:cubicBezTo>
                  <a:lnTo>
                    <a:pt x="525015" y="466257"/>
                  </a:lnTo>
                  <a:cubicBezTo>
                    <a:pt x="520242" y="459222"/>
                    <a:pt x="517966" y="450779"/>
                    <a:pt x="518549" y="442298"/>
                  </a:cubicBezTo>
                  <a:cubicBezTo>
                    <a:pt x="520451" y="421571"/>
                    <a:pt x="534713" y="407500"/>
                    <a:pt x="521592" y="386583"/>
                  </a:cubicBezTo>
                  <a:cubicBezTo>
                    <a:pt x="514705" y="378539"/>
                    <a:pt x="509702" y="369051"/>
                    <a:pt x="506950" y="358820"/>
                  </a:cubicBezTo>
                  <a:cubicBezTo>
                    <a:pt x="505049" y="344939"/>
                    <a:pt x="513796" y="339805"/>
                    <a:pt x="523113" y="332959"/>
                  </a:cubicBezTo>
                  <a:cubicBezTo>
                    <a:pt x="531332" y="325734"/>
                    <a:pt x="537829" y="316777"/>
                    <a:pt x="542129" y="306718"/>
                  </a:cubicBezTo>
                  <a:cubicBezTo>
                    <a:pt x="549661" y="296222"/>
                    <a:pt x="556037" y="284927"/>
                    <a:pt x="561144" y="273061"/>
                  </a:cubicBezTo>
                  <a:cubicBezTo>
                    <a:pt x="563046" y="266976"/>
                    <a:pt x="566468" y="254046"/>
                    <a:pt x="572743" y="250623"/>
                  </a:cubicBezTo>
                  <a:cubicBezTo>
                    <a:pt x="579018" y="247200"/>
                    <a:pt x="578258" y="251764"/>
                    <a:pt x="582251" y="251764"/>
                  </a:cubicBezTo>
                  <a:cubicBezTo>
                    <a:pt x="587766" y="252315"/>
                    <a:pt x="593242" y="250604"/>
                    <a:pt x="597463" y="247010"/>
                  </a:cubicBezTo>
                  <a:cubicBezTo>
                    <a:pt x="615262" y="237730"/>
                    <a:pt x="628420" y="221472"/>
                    <a:pt x="633783" y="202133"/>
                  </a:cubicBezTo>
                  <a:cubicBezTo>
                    <a:pt x="637776" y="187130"/>
                    <a:pt x="636217" y="171195"/>
                    <a:pt x="629409" y="157257"/>
                  </a:cubicBezTo>
                  <a:cubicBezTo>
                    <a:pt x="626823" y="149746"/>
                    <a:pt x="623457" y="142558"/>
                    <a:pt x="619331" y="135770"/>
                  </a:cubicBezTo>
                  <a:cubicBezTo>
                    <a:pt x="619179" y="134895"/>
                    <a:pt x="619179" y="133982"/>
                    <a:pt x="619331" y="133108"/>
                  </a:cubicBezTo>
                  <a:cubicBezTo>
                    <a:pt x="619331" y="128544"/>
                    <a:pt x="626747" y="133108"/>
                    <a:pt x="628839" y="133108"/>
                  </a:cubicBezTo>
                  <a:cubicBezTo>
                    <a:pt x="641389" y="130636"/>
                    <a:pt x="639297" y="122269"/>
                    <a:pt x="634924" y="114092"/>
                  </a:cubicBezTo>
                  <a:cubicBezTo>
                    <a:pt x="630056" y="107380"/>
                    <a:pt x="629314" y="98500"/>
                    <a:pt x="633022" y="91084"/>
                  </a:cubicBezTo>
                  <a:cubicBezTo>
                    <a:pt x="635057" y="84352"/>
                    <a:pt x="636274" y="77393"/>
                    <a:pt x="636635" y="70357"/>
                  </a:cubicBezTo>
                  <a:lnTo>
                    <a:pt x="634353" y="67314"/>
                  </a:lnTo>
                  <a:lnTo>
                    <a:pt x="602788" y="49630"/>
                  </a:lnTo>
                  <a:lnTo>
                    <a:pt x="589287" y="56095"/>
                  </a:lnTo>
                  <a:lnTo>
                    <a:pt x="582631" y="53053"/>
                  </a:lnTo>
                  <a:lnTo>
                    <a:pt x="572173" y="59328"/>
                  </a:lnTo>
                  <a:lnTo>
                    <a:pt x="556200" y="51341"/>
                  </a:lnTo>
                  <a:lnTo>
                    <a:pt x="554489" y="40883"/>
                  </a:lnTo>
                  <a:lnTo>
                    <a:pt x="541558" y="35749"/>
                  </a:lnTo>
                  <a:lnTo>
                    <a:pt x="541558" y="22818"/>
                  </a:lnTo>
                  <a:lnTo>
                    <a:pt x="491548" y="0"/>
                  </a:lnTo>
                  <a:cubicBezTo>
                    <a:pt x="491548" y="0"/>
                    <a:pt x="491548" y="1902"/>
                    <a:pt x="490217" y="3043"/>
                  </a:cubicBezTo>
                  <a:cubicBezTo>
                    <a:pt x="488886" y="4183"/>
                    <a:pt x="487745" y="9317"/>
                    <a:pt x="486414" y="12550"/>
                  </a:cubicBezTo>
                  <a:cubicBezTo>
                    <a:pt x="481654" y="30658"/>
                    <a:pt x="471428" y="46860"/>
                    <a:pt x="457130" y="58948"/>
                  </a:cubicBezTo>
                  <a:cubicBezTo>
                    <a:pt x="450119" y="62943"/>
                    <a:pt x="442190" y="65040"/>
                    <a:pt x="434121" y="65033"/>
                  </a:cubicBezTo>
                  <a:cubicBezTo>
                    <a:pt x="429877" y="65171"/>
                    <a:pt x="425665" y="65808"/>
                    <a:pt x="421571" y="66934"/>
                  </a:cubicBezTo>
                  <a:cubicBezTo>
                    <a:pt x="414431" y="69809"/>
                    <a:pt x="408331" y="74782"/>
                    <a:pt x="404077" y="81196"/>
                  </a:cubicBezTo>
                  <a:cubicBezTo>
                    <a:pt x="401751" y="84219"/>
                    <a:pt x="399209" y="87091"/>
                    <a:pt x="396471" y="89753"/>
                  </a:cubicBezTo>
                  <a:cubicBezTo>
                    <a:pt x="390924" y="94697"/>
                    <a:pt x="384464" y="98500"/>
                    <a:pt x="377455" y="100972"/>
                  </a:cubicBezTo>
                  <a:cubicBezTo>
                    <a:pt x="366807" y="105916"/>
                    <a:pt x="360532" y="109148"/>
                    <a:pt x="359581" y="118466"/>
                  </a:cubicBezTo>
                  <a:cubicBezTo>
                    <a:pt x="359395" y="121508"/>
                    <a:pt x="359395" y="124551"/>
                    <a:pt x="359581" y="127593"/>
                  </a:cubicBezTo>
                  <a:cubicBezTo>
                    <a:pt x="361578" y="138071"/>
                    <a:pt x="357447" y="148757"/>
                    <a:pt x="348932" y="155166"/>
                  </a:cubicBezTo>
                  <a:cubicBezTo>
                    <a:pt x="345762" y="157447"/>
                    <a:pt x="342311" y="159292"/>
                    <a:pt x="338664" y="160680"/>
                  </a:cubicBezTo>
                  <a:cubicBezTo>
                    <a:pt x="332579" y="163342"/>
                    <a:pt x="328966" y="165054"/>
                    <a:pt x="326875" y="169807"/>
                  </a:cubicBezTo>
                  <a:cubicBezTo>
                    <a:pt x="325505" y="175303"/>
                    <a:pt x="325505" y="181046"/>
                    <a:pt x="326875" y="186541"/>
                  </a:cubicBezTo>
                  <a:cubicBezTo>
                    <a:pt x="329755" y="197532"/>
                    <a:pt x="326230" y="209207"/>
                    <a:pt x="317747" y="216775"/>
                  </a:cubicBezTo>
                  <a:cubicBezTo>
                    <a:pt x="308264" y="222651"/>
                    <a:pt x="297087" y="225199"/>
                    <a:pt x="285991" y="224001"/>
                  </a:cubicBezTo>
                  <a:cubicBezTo>
                    <a:pt x="274202" y="224001"/>
                    <a:pt x="263933" y="224001"/>
                    <a:pt x="257468" y="232368"/>
                  </a:cubicBezTo>
                  <a:cubicBezTo>
                    <a:pt x="251697" y="245489"/>
                    <a:pt x="250556" y="260168"/>
                    <a:pt x="254236" y="274012"/>
                  </a:cubicBezTo>
                  <a:cubicBezTo>
                    <a:pt x="255873" y="283234"/>
                    <a:pt x="256320" y="292628"/>
                    <a:pt x="255567" y="301964"/>
                  </a:cubicBezTo>
                  <a:lnTo>
                    <a:pt x="254426" y="312233"/>
                  </a:lnTo>
                  <a:cubicBezTo>
                    <a:pt x="252334" y="333910"/>
                    <a:pt x="249862" y="358250"/>
                    <a:pt x="224952" y="369279"/>
                  </a:cubicBezTo>
                  <a:cubicBezTo>
                    <a:pt x="203721" y="377417"/>
                    <a:pt x="181306" y="382038"/>
                    <a:pt x="158588" y="382970"/>
                  </a:cubicBezTo>
                  <a:lnTo>
                    <a:pt x="153644" y="382970"/>
                  </a:lnTo>
                  <a:cubicBezTo>
                    <a:pt x="102677" y="389150"/>
                    <a:pt x="51315" y="391451"/>
                    <a:pt x="0" y="389815"/>
                  </a:cubicBezTo>
                  <a:cubicBezTo>
                    <a:pt x="2852" y="395900"/>
                    <a:pt x="5895" y="401795"/>
                    <a:pt x="8937" y="407690"/>
                  </a:cubicBezTo>
                  <a:cubicBezTo>
                    <a:pt x="11980" y="413585"/>
                    <a:pt x="16733" y="423853"/>
                    <a:pt x="20537" y="432220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48" name="Полилиния: фигура 447">
              <a:extLst>
                <a:ext uri="{FF2B5EF4-FFF2-40B4-BE49-F238E27FC236}">
                  <a16:creationId xmlns:a16="http://schemas.microsoft.com/office/drawing/2014/main" id="{2339FA14-C435-5300-27B0-34F95C4399FE}"/>
                </a:ext>
              </a:extLst>
            </p:cNvPr>
            <p:cNvSpPr/>
            <p:nvPr/>
          </p:nvSpPr>
          <p:spPr>
            <a:xfrm>
              <a:off x="2700357" y="3183177"/>
              <a:ext cx="865310" cy="831546"/>
            </a:xfrm>
            <a:custGeom>
              <a:avLst/>
              <a:gdLst>
                <a:gd name="connsiteX0" fmla="*/ 641500 w 865310"/>
                <a:gd name="connsiteY0" fmla="*/ 184833 h 831546"/>
                <a:gd name="connsiteX1" fmla="*/ 650057 w 865310"/>
                <a:gd name="connsiteY1" fmla="*/ 165818 h 831546"/>
                <a:gd name="connsiteX2" fmla="*/ 642641 w 865310"/>
                <a:gd name="connsiteY2" fmla="*/ 137485 h 831546"/>
                <a:gd name="connsiteX3" fmla="*/ 623625 w 865310"/>
                <a:gd name="connsiteY3" fmla="*/ 143760 h 831546"/>
                <a:gd name="connsiteX4" fmla="*/ 652529 w 865310"/>
                <a:gd name="connsiteY4" fmla="*/ 116568 h 831546"/>
                <a:gd name="connsiteX5" fmla="*/ 638077 w 865310"/>
                <a:gd name="connsiteY5" fmla="*/ 97553 h 831546"/>
                <a:gd name="connsiteX6" fmla="*/ 621343 w 865310"/>
                <a:gd name="connsiteY6" fmla="*/ 73593 h 831546"/>
                <a:gd name="connsiteX7" fmla="*/ 573425 w 865310"/>
                <a:gd name="connsiteY7" fmla="*/ 74734 h 831546"/>
                <a:gd name="connsiteX8" fmla="*/ 538246 w 865310"/>
                <a:gd name="connsiteY8" fmla="*/ 76065 h 831546"/>
                <a:gd name="connsiteX9" fmla="*/ 500215 w 865310"/>
                <a:gd name="connsiteY9" fmla="*/ 65607 h 831546"/>
                <a:gd name="connsiteX10" fmla="*/ 470361 w 865310"/>
                <a:gd name="connsiteY10" fmla="*/ 72452 h 831546"/>
                <a:gd name="connsiteX11" fmla="*/ 432330 w 865310"/>
                <a:gd name="connsiteY11" fmla="*/ 79488 h 831546"/>
                <a:gd name="connsiteX12" fmla="*/ 409892 w 865310"/>
                <a:gd name="connsiteY12" fmla="*/ 146422 h 831546"/>
                <a:gd name="connsiteX13" fmla="*/ 398483 w 865310"/>
                <a:gd name="connsiteY13" fmla="*/ 174375 h 831546"/>
                <a:gd name="connsiteX14" fmla="*/ 379468 w 865310"/>
                <a:gd name="connsiteY14" fmla="*/ 189016 h 831546"/>
                <a:gd name="connsiteX15" fmla="*/ 360452 w 865310"/>
                <a:gd name="connsiteY15" fmla="*/ 165437 h 831546"/>
                <a:gd name="connsiteX16" fmla="*/ 341437 w 865310"/>
                <a:gd name="connsiteY16" fmla="*/ 137295 h 831546"/>
                <a:gd name="connsiteX17" fmla="*/ 330979 w 865310"/>
                <a:gd name="connsiteY17" fmla="*/ 105919 h 831546"/>
                <a:gd name="connsiteX18" fmla="*/ 315576 w 865310"/>
                <a:gd name="connsiteY18" fmla="*/ 72452 h 831546"/>
                <a:gd name="connsiteX19" fmla="*/ 310442 w 865310"/>
                <a:gd name="connsiteY19" fmla="*/ 13314 h 831546"/>
                <a:gd name="connsiteX20" fmla="*/ 297511 w 865310"/>
                <a:gd name="connsiteY20" fmla="*/ 3 h 831546"/>
                <a:gd name="connsiteX21" fmla="*/ 274503 w 865310"/>
                <a:gd name="connsiteY21" fmla="*/ 10082 h 831546"/>
                <a:gd name="connsiteX22" fmla="*/ 255487 w 865310"/>
                <a:gd name="connsiteY22" fmla="*/ 5708 h 831546"/>
                <a:gd name="connsiteX23" fmla="*/ 244649 w 865310"/>
                <a:gd name="connsiteY23" fmla="*/ 24724 h 831546"/>
                <a:gd name="connsiteX24" fmla="*/ 237233 w 865310"/>
                <a:gd name="connsiteY24" fmla="*/ 75304 h 831546"/>
                <a:gd name="connsiteX25" fmla="*/ 244268 w 865310"/>
                <a:gd name="connsiteY25" fmla="*/ 99264 h 831546"/>
                <a:gd name="connsiteX26" fmla="*/ 263284 w 865310"/>
                <a:gd name="connsiteY26" fmla="*/ 114666 h 831546"/>
                <a:gd name="connsiteX27" fmla="*/ 252445 w 865310"/>
                <a:gd name="connsiteY27" fmla="*/ 135203 h 831546"/>
                <a:gd name="connsiteX28" fmla="*/ 235521 w 865310"/>
                <a:gd name="connsiteY28" fmla="*/ 161824 h 831546"/>
                <a:gd name="connsiteX29" fmla="*/ 213463 w 865310"/>
                <a:gd name="connsiteY29" fmla="*/ 156690 h 831546"/>
                <a:gd name="connsiteX30" fmla="*/ 198441 w 865310"/>
                <a:gd name="connsiteY30" fmla="*/ 156690 h 831546"/>
                <a:gd name="connsiteX31" fmla="*/ 192737 w 865310"/>
                <a:gd name="connsiteY31" fmla="*/ 144711 h 831546"/>
                <a:gd name="connsiteX32" fmla="*/ 182088 w 865310"/>
                <a:gd name="connsiteY32" fmla="*/ 120941 h 831546"/>
                <a:gd name="connsiteX33" fmla="*/ 182088 w 865310"/>
                <a:gd name="connsiteY33" fmla="*/ 120941 h 831546"/>
                <a:gd name="connsiteX34" fmla="*/ 170679 w 865310"/>
                <a:gd name="connsiteY34" fmla="*/ 128167 h 831546"/>
                <a:gd name="connsiteX35" fmla="*/ 144247 w 865310"/>
                <a:gd name="connsiteY35" fmla="*/ 131780 h 831546"/>
                <a:gd name="connsiteX36" fmla="*/ 135690 w 865310"/>
                <a:gd name="connsiteY36" fmla="*/ 128357 h 831546"/>
                <a:gd name="connsiteX37" fmla="*/ 126753 w 865310"/>
                <a:gd name="connsiteY37" fmla="*/ 128357 h 831546"/>
                <a:gd name="connsiteX38" fmla="*/ 123330 w 865310"/>
                <a:gd name="connsiteY38" fmla="*/ 142048 h 831546"/>
                <a:gd name="connsiteX39" fmla="*/ 121619 w 865310"/>
                <a:gd name="connsiteY39" fmla="*/ 151746 h 831546"/>
                <a:gd name="connsiteX40" fmla="*/ 108879 w 865310"/>
                <a:gd name="connsiteY40" fmla="*/ 177988 h 831546"/>
                <a:gd name="connsiteX41" fmla="*/ 101653 w 865310"/>
                <a:gd name="connsiteY41" fmla="*/ 184453 h 831546"/>
                <a:gd name="connsiteX42" fmla="*/ 95758 w 865310"/>
                <a:gd name="connsiteY42" fmla="*/ 189587 h 831546"/>
                <a:gd name="connsiteX43" fmla="*/ 86250 w 865310"/>
                <a:gd name="connsiteY43" fmla="*/ 218871 h 831546"/>
                <a:gd name="connsiteX44" fmla="*/ 88913 w 865310"/>
                <a:gd name="connsiteY44" fmla="*/ 237886 h 831546"/>
                <a:gd name="connsiteX45" fmla="*/ 96519 w 865310"/>
                <a:gd name="connsiteY45" fmla="*/ 245682 h 831546"/>
                <a:gd name="connsiteX46" fmla="*/ 104125 w 865310"/>
                <a:gd name="connsiteY46" fmla="*/ 251957 h 831546"/>
                <a:gd name="connsiteX47" fmla="*/ 110400 w 865310"/>
                <a:gd name="connsiteY47" fmla="*/ 267550 h 831546"/>
                <a:gd name="connsiteX48" fmla="*/ 91385 w 865310"/>
                <a:gd name="connsiteY48" fmla="*/ 290939 h 831546"/>
                <a:gd name="connsiteX49" fmla="*/ 83969 w 865310"/>
                <a:gd name="connsiteY49" fmla="*/ 296644 h 831546"/>
                <a:gd name="connsiteX50" fmla="*/ 76553 w 865310"/>
                <a:gd name="connsiteY50" fmla="*/ 324786 h 831546"/>
                <a:gd name="connsiteX51" fmla="*/ 76553 w 865310"/>
                <a:gd name="connsiteY51" fmla="*/ 338287 h 831546"/>
                <a:gd name="connsiteX52" fmla="*/ 54875 w 865310"/>
                <a:gd name="connsiteY52" fmla="*/ 366810 h 831546"/>
                <a:gd name="connsiteX53" fmla="*/ 46889 w 865310"/>
                <a:gd name="connsiteY53" fmla="*/ 372135 h 831546"/>
                <a:gd name="connsiteX54" fmla="*/ 29965 w 865310"/>
                <a:gd name="connsiteY54" fmla="*/ 379931 h 831546"/>
                <a:gd name="connsiteX55" fmla="*/ 22929 w 865310"/>
                <a:gd name="connsiteY55" fmla="*/ 391911 h 831546"/>
                <a:gd name="connsiteX56" fmla="*/ 6196 w 865310"/>
                <a:gd name="connsiteY56" fmla="*/ 428230 h 831546"/>
                <a:gd name="connsiteX57" fmla="*/ 301 w 865310"/>
                <a:gd name="connsiteY57" fmla="*/ 471965 h 831546"/>
                <a:gd name="connsiteX58" fmla="*/ 2393 w 865310"/>
                <a:gd name="connsiteY58" fmla="*/ 486988 h 831546"/>
                <a:gd name="connsiteX59" fmla="*/ 7907 w 865310"/>
                <a:gd name="connsiteY59" fmla="*/ 490030 h 831546"/>
                <a:gd name="connsiteX60" fmla="*/ 17795 w 865310"/>
                <a:gd name="connsiteY60" fmla="*/ 495544 h 831546"/>
                <a:gd name="connsiteX61" fmla="*/ 24641 w 865310"/>
                <a:gd name="connsiteY61" fmla="*/ 508475 h 831546"/>
                <a:gd name="connsiteX62" fmla="*/ 31866 w 865310"/>
                <a:gd name="connsiteY62" fmla="*/ 519504 h 831546"/>
                <a:gd name="connsiteX63" fmla="*/ 36050 w 865310"/>
                <a:gd name="connsiteY63" fmla="*/ 517032 h 831546"/>
                <a:gd name="connsiteX64" fmla="*/ 43846 w 865310"/>
                <a:gd name="connsiteY64" fmla="*/ 522356 h 831546"/>
                <a:gd name="connsiteX65" fmla="*/ 51262 w 865310"/>
                <a:gd name="connsiteY65" fmla="*/ 533956 h 831546"/>
                <a:gd name="connsiteX66" fmla="*/ 54495 w 865310"/>
                <a:gd name="connsiteY66" fmla="*/ 540231 h 831546"/>
                <a:gd name="connsiteX67" fmla="*/ 68376 w 865310"/>
                <a:gd name="connsiteY67" fmla="*/ 547457 h 831546"/>
                <a:gd name="connsiteX68" fmla="*/ 81306 w 865310"/>
                <a:gd name="connsiteY68" fmla="*/ 551640 h 831546"/>
                <a:gd name="connsiteX69" fmla="*/ 100322 w 865310"/>
                <a:gd name="connsiteY69" fmla="*/ 571986 h 831546"/>
                <a:gd name="connsiteX70" fmla="*/ 110210 w 865310"/>
                <a:gd name="connsiteY70" fmla="*/ 585677 h 831546"/>
                <a:gd name="connsiteX71" fmla="*/ 127704 w 865310"/>
                <a:gd name="connsiteY71" fmla="*/ 589480 h 831546"/>
                <a:gd name="connsiteX72" fmla="*/ 131127 w 865310"/>
                <a:gd name="connsiteY72" fmla="*/ 589480 h 831546"/>
                <a:gd name="connsiteX73" fmla="*/ 161742 w 865310"/>
                <a:gd name="connsiteY73" fmla="*/ 604503 h 831546"/>
                <a:gd name="connsiteX74" fmla="*/ 182468 w 865310"/>
                <a:gd name="connsiteY74" fmla="*/ 620476 h 831546"/>
                <a:gd name="connsiteX75" fmla="*/ 187793 w 865310"/>
                <a:gd name="connsiteY75" fmla="*/ 623518 h 831546"/>
                <a:gd name="connsiteX76" fmla="*/ 208329 w 865310"/>
                <a:gd name="connsiteY76" fmla="*/ 644625 h 831546"/>
                <a:gd name="connsiteX77" fmla="*/ 216886 w 865310"/>
                <a:gd name="connsiteY77" fmla="*/ 655844 h 831546"/>
                <a:gd name="connsiteX78" fmla="*/ 244839 w 865310"/>
                <a:gd name="connsiteY78" fmla="*/ 660598 h 831546"/>
                <a:gd name="connsiteX79" fmla="*/ 282870 w 865310"/>
                <a:gd name="connsiteY79" fmla="*/ 671247 h 831546"/>
                <a:gd name="connsiteX80" fmla="*/ 286102 w 865310"/>
                <a:gd name="connsiteY80" fmla="*/ 676191 h 831546"/>
                <a:gd name="connsiteX81" fmla="*/ 327746 w 865310"/>
                <a:gd name="connsiteY81" fmla="*/ 706805 h 831546"/>
                <a:gd name="connsiteX82" fmla="*/ 330979 w 865310"/>
                <a:gd name="connsiteY82" fmla="*/ 704714 h 831546"/>
                <a:gd name="connsiteX83" fmla="*/ 356839 w 865310"/>
                <a:gd name="connsiteY83" fmla="*/ 697108 h 831546"/>
                <a:gd name="connsiteX84" fmla="*/ 366727 w 865310"/>
                <a:gd name="connsiteY84" fmla="*/ 709087 h 831546"/>
                <a:gd name="connsiteX85" fmla="*/ 364636 w 865310"/>
                <a:gd name="connsiteY85" fmla="*/ 722778 h 831546"/>
                <a:gd name="connsiteX86" fmla="*/ 362924 w 865310"/>
                <a:gd name="connsiteY86" fmla="*/ 728483 h 831546"/>
                <a:gd name="connsiteX87" fmla="*/ 372622 w 865310"/>
                <a:gd name="connsiteY87" fmla="*/ 740082 h 831546"/>
                <a:gd name="connsiteX88" fmla="*/ 380609 w 865310"/>
                <a:gd name="connsiteY88" fmla="*/ 742935 h 831546"/>
                <a:gd name="connsiteX89" fmla="*/ 392588 w 865310"/>
                <a:gd name="connsiteY89" fmla="*/ 748069 h 831546"/>
                <a:gd name="connsiteX90" fmla="*/ 400004 w 865310"/>
                <a:gd name="connsiteY90" fmla="*/ 767084 h 831546"/>
                <a:gd name="connsiteX91" fmla="*/ 400004 w 865310"/>
                <a:gd name="connsiteY91" fmla="*/ 771077 h 831546"/>
                <a:gd name="connsiteX92" fmla="*/ 406089 w 865310"/>
                <a:gd name="connsiteY92" fmla="*/ 787431 h 831546"/>
                <a:gd name="connsiteX93" fmla="*/ 408371 w 865310"/>
                <a:gd name="connsiteY93" fmla="*/ 785339 h 831546"/>
                <a:gd name="connsiteX94" fmla="*/ 416167 w 865310"/>
                <a:gd name="connsiteY94" fmla="*/ 779254 h 831546"/>
                <a:gd name="connsiteX95" fmla="*/ 439366 w 865310"/>
                <a:gd name="connsiteY95" fmla="*/ 780585 h 831546"/>
                <a:gd name="connsiteX96" fmla="*/ 454579 w 865310"/>
                <a:gd name="connsiteY96" fmla="*/ 794276 h 831546"/>
                <a:gd name="connsiteX97" fmla="*/ 461804 w 865310"/>
                <a:gd name="connsiteY97" fmla="*/ 814813 h 831546"/>
                <a:gd name="connsiteX98" fmla="*/ 461804 w 865310"/>
                <a:gd name="connsiteY98" fmla="*/ 820327 h 831546"/>
                <a:gd name="connsiteX99" fmla="*/ 472643 w 865310"/>
                <a:gd name="connsiteY99" fmla="*/ 831546 h 831546"/>
                <a:gd name="connsiteX100" fmla="*/ 476636 w 865310"/>
                <a:gd name="connsiteY100" fmla="*/ 827743 h 831546"/>
                <a:gd name="connsiteX101" fmla="*/ 520182 w 865310"/>
                <a:gd name="connsiteY101" fmla="*/ 822039 h 831546"/>
                <a:gd name="connsiteX102" fmla="*/ 525506 w 865310"/>
                <a:gd name="connsiteY102" fmla="*/ 823370 h 831546"/>
                <a:gd name="connsiteX103" fmla="*/ 546993 w 865310"/>
                <a:gd name="connsiteY103" fmla="*/ 819947 h 831546"/>
                <a:gd name="connsiteX104" fmla="*/ 553268 w 865310"/>
                <a:gd name="connsiteY104" fmla="*/ 814813 h 831546"/>
                <a:gd name="connsiteX105" fmla="*/ 567530 w 865310"/>
                <a:gd name="connsiteY105" fmla="*/ 799791 h 831546"/>
                <a:gd name="connsiteX106" fmla="*/ 564107 w 865310"/>
                <a:gd name="connsiteY106" fmla="*/ 788952 h 831546"/>
                <a:gd name="connsiteX107" fmla="*/ 560114 w 865310"/>
                <a:gd name="connsiteY107" fmla="*/ 768035 h 831546"/>
                <a:gd name="connsiteX108" fmla="*/ 586735 w 865310"/>
                <a:gd name="connsiteY108" fmla="*/ 737230 h 831546"/>
                <a:gd name="connsiteX109" fmla="*/ 601567 w 865310"/>
                <a:gd name="connsiteY109" fmla="*/ 730955 h 831546"/>
                <a:gd name="connsiteX110" fmla="*/ 615449 w 865310"/>
                <a:gd name="connsiteY110" fmla="*/ 724490 h 831546"/>
                <a:gd name="connsiteX111" fmla="*/ 623815 w 865310"/>
                <a:gd name="connsiteY111" fmla="*/ 714982 h 831546"/>
                <a:gd name="connsiteX112" fmla="*/ 634844 w 865310"/>
                <a:gd name="connsiteY112" fmla="*/ 703002 h 831546"/>
                <a:gd name="connsiteX113" fmla="*/ 649106 w 865310"/>
                <a:gd name="connsiteY113" fmla="*/ 678663 h 831546"/>
                <a:gd name="connsiteX114" fmla="*/ 639408 w 865310"/>
                <a:gd name="connsiteY114" fmla="*/ 661549 h 831546"/>
                <a:gd name="connsiteX115" fmla="*/ 604420 w 865310"/>
                <a:gd name="connsiteY115" fmla="*/ 656985 h 831546"/>
                <a:gd name="connsiteX116" fmla="*/ 591870 w 865310"/>
                <a:gd name="connsiteY116" fmla="*/ 667634 h 831546"/>
                <a:gd name="connsiteX117" fmla="*/ 581982 w 865310"/>
                <a:gd name="connsiteY117" fmla="*/ 678282 h 831546"/>
                <a:gd name="connsiteX118" fmla="*/ 554029 w 865310"/>
                <a:gd name="connsiteY118" fmla="*/ 679423 h 831546"/>
                <a:gd name="connsiteX119" fmla="*/ 548705 w 865310"/>
                <a:gd name="connsiteY119" fmla="*/ 676571 h 831546"/>
                <a:gd name="connsiteX120" fmla="*/ 538626 w 865310"/>
                <a:gd name="connsiteY120" fmla="*/ 674099 h 831546"/>
                <a:gd name="connsiteX121" fmla="*/ 519611 w 865310"/>
                <a:gd name="connsiteY121" fmla="*/ 657936 h 831546"/>
                <a:gd name="connsiteX122" fmla="*/ 530640 w 865310"/>
                <a:gd name="connsiteY122" fmla="*/ 624659 h 831546"/>
                <a:gd name="connsiteX123" fmla="*/ 539197 w 865310"/>
                <a:gd name="connsiteY123" fmla="*/ 610207 h 831546"/>
                <a:gd name="connsiteX124" fmla="*/ 545662 w 865310"/>
                <a:gd name="connsiteY124" fmla="*/ 596706 h 831546"/>
                <a:gd name="connsiteX125" fmla="*/ 566579 w 865310"/>
                <a:gd name="connsiteY125" fmla="*/ 584537 h 831546"/>
                <a:gd name="connsiteX126" fmla="*/ 574946 w 865310"/>
                <a:gd name="connsiteY126" fmla="*/ 581874 h 831546"/>
                <a:gd name="connsiteX127" fmla="*/ 580841 w 865310"/>
                <a:gd name="connsiteY127" fmla="*/ 555823 h 831546"/>
                <a:gd name="connsiteX128" fmla="*/ 580841 w 865310"/>
                <a:gd name="connsiteY128" fmla="*/ 521405 h 831546"/>
                <a:gd name="connsiteX129" fmla="*/ 584073 w 865310"/>
                <a:gd name="connsiteY129" fmla="*/ 516461 h 831546"/>
                <a:gd name="connsiteX130" fmla="*/ 594722 w 865310"/>
                <a:gd name="connsiteY130" fmla="*/ 491171 h 831546"/>
                <a:gd name="connsiteX131" fmla="*/ 587496 w 865310"/>
                <a:gd name="connsiteY131" fmla="*/ 459986 h 831546"/>
                <a:gd name="connsiteX132" fmla="*/ 585404 w 865310"/>
                <a:gd name="connsiteY132" fmla="*/ 456753 h 831546"/>
                <a:gd name="connsiteX133" fmla="*/ 566389 w 865310"/>
                <a:gd name="connsiteY133" fmla="*/ 404651 h 831546"/>
                <a:gd name="connsiteX134" fmla="*/ 582362 w 865310"/>
                <a:gd name="connsiteY134" fmla="*/ 395714 h 831546"/>
                <a:gd name="connsiteX135" fmla="*/ 609174 w 865310"/>
                <a:gd name="connsiteY135" fmla="*/ 406172 h 831546"/>
                <a:gd name="connsiteX136" fmla="*/ 618301 w 865310"/>
                <a:gd name="connsiteY136" fmla="*/ 412447 h 831546"/>
                <a:gd name="connsiteX137" fmla="*/ 633703 w 865310"/>
                <a:gd name="connsiteY137" fmla="*/ 417581 h 831546"/>
                <a:gd name="connsiteX138" fmla="*/ 652719 w 865310"/>
                <a:gd name="connsiteY138" fmla="*/ 424047 h 831546"/>
                <a:gd name="connsiteX139" fmla="*/ 694363 w 865310"/>
                <a:gd name="connsiteY139" fmla="*/ 448386 h 831546"/>
                <a:gd name="connsiteX140" fmla="*/ 708053 w 865310"/>
                <a:gd name="connsiteY140" fmla="*/ 462458 h 831546"/>
                <a:gd name="connsiteX141" fmla="*/ 708053 w 865310"/>
                <a:gd name="connsiteY141" fmla="*/ 472726 h 831546"/>
                <a:gd name="connsiteX142" fmla="*/ 708053 w 865310"/>
                <a:gd name="connsiteY142" fmla="*/ 477290 h 831546"/>
                <a:gd name="connsiteX143" fmla="*/ 720794 w 865310"/>
                <a:gd name="connsiteY143" fmla="*/ 480903 h 831546"/>
                <a:gd name="connsiteX144" fmla="*/ 731252 w 865310"/>
                <a:gd name="connsiteY144" fmla="*/ 480903 h 831546"/>
                <a:gd name="connsiteX145" fmla="*/ 734675 w 865310"/>
                <a:gd name="connsiteY145" fmla="*/ 480903 h 831546"/>
                <a:gd name="connsiteX146" fmla="*/ 739809 w 865310"/>
                <a:gd name="connsiteY146" fmla="*/ 480903 h 831546"/>
                <a:gd name="connsiteX147" fmla="*/ 743042 w 865310"/>
                <a:gd name="connsiteY147" fmla="*/ 479001 h 831546"/>
                <a:gd name="connsiteX148" fmla="*/ 754071 w 865310"/>
                <a:gd name="connsiteY148" fmla="*/ 475198 h 831546"/>
                <a:gd name="connsiteX149" fmla="*/ 768713 w 865310"/>
                <a:gd name="connsiteY149" fmla="*/ 484896 h 831546"/>
                <a:gd name="connsiteX150" fmla="*/ 776889 w 865310"/>
                <a:gd name="connsiteY150" fmla="*/ 489650 h 831546"/>
                <a:gd name="connsiteX151" fmla="*/ 779361 w 865310"/>
                <a:gd name="connsiteY151" fmla="*/ 487558 h 831546"/>
                <a:gd name="connsiteX152" fmla="*/ 790771 w 865310"/>
                <a:gd name="connsiteY152" fmla="*/ 482614 h 831546"/>
                <a:gd name="connsiteX153" fmla="*/ 805412 w 865310"/>
                <a:gd name="connsiteY153" fmla="*/ 492882 h 831546"/>
                <a:gd name="connsiteX154" fmla="*/ 808645 w 865310"/>
                <a:gd name="connsiteY154" fmla="*/ 497256 h 831546"/>
                <a:gd name="connsiteX155" fmla="*/ 816631 w 865310"/>
                <a:gd name="connsiteY155" fmla="*/ 506003 h 831546"/>
                <a:gd name="connsiteX156" fmla="*/ 821575 w 865310"/>
                <a:gd name="connsiteY156" fmla="*/ 503721 h 831546"/>
                <a:gd name="connsiteX157" fmla="*/ 833936 w 865310"/>
                <a:gd name="connsiteY157" fmla="*/ 481283 h 831546"/>
                <a:gd name="connsiteX158" fmla="*/ 830703 w 865310"/>
                <a:gd name="connsiteY158" fmla="*/ 473487 h 831546"/>
                <a:gd name="connsiteX159" fmla="*/ 826139 w 865310"/>
                <a:gd name="connsiteY159" fmla="*/ 462458 h 831546"/>
                <a:gd name="connsiteX160" fmla="*/ 826139 w 865310"/>
                <a:gd name="connsiteY160" fmla="*/ 443442 h 831546"/>
                <a:gd name="connsiteX161" fmla="*/ 828991 w 865310"/>
                <a:gd name="connsiteY161" fmla="*/ 432413 h 831546"/>
                <a:gd name="connsiteX162" fmla="*/ 825949 w 865310"/>
                <a:gd name="connsiteY162" fmla="*/ 414919 h 831546"/>
                <a:gd name="connsiteX163" fmla="*/ 822907 w 865310"/>
                <a:gd name="connsiteY163" fmla="*/ 411496 h 831546"/>
                <a:gd name="connsiteX164" fmla="*/ 816251 w 865310"/>
                <a:gd name="connsiteY164" fmla="*/ 375748 h 831546"/>
                <a:gd name="connsiteX165" fmla="*/ 826139 w 865310"/>
                <a:gd name="connsiteY165" fmla="*/ 361106 h 831546"/>
                <a:gd name="connsiteX166" fmla="*/ 837358 w 865310"/>
                <a:gd name="connsiteY166" fmla="*/ 344943 h 831546"/>
                <a:gd name="connsiteX167" fmla="*/ 865311 w 865310"/>
                <a:gd name="connsiteY167" fmla="*/ 310905 h 831546"/>
                <a:gd name="connsiteX168" fmla="*/ 855993 w 865310"/>
                <a:gd name="connsiteY168" fmla="*/ 301397 h 831546"/>
                <a:gd name="connsiteX169" fmla="*/ 816441 w 865310"/>
                <a:gd name="connsiteY169" fmla="*/ 291699 h 831546"/>
                <a:gd name="connsiteX170" fmla="*/ 809025 w 865310"/>
                <a:gd name="connsiteY170" fmla="*/ 296453 h 831546"/>
                <a:gd name="connsiteX171" fmla="*/ 790010 w 865310"/>
                <a:gd name="connsiteY171" fmla="*/ 304630 h 831546"/>
                <a:gd name="connsiteX172" fmla="*/ 790010 w 865310"/>
                <a:gd name="connsiteY172" fmla="*/ 304630 h 831546"/>
                <a:gd name="connsiteX173" fmla="*/ 764149 w 865310"/>
                <a:gd name="connsiteY173" fmla="*/ 284283 h 831546"/>
                <a:gd name="connsiteX174" fmla="*/ 754451 w 865310"/>
                <a:gd name="connsiteY174" fmla="*/ 265268 h 831546"/>
                <a:gd name="connsiteX175" fmla="*/ 740570 w 865310"/>
                <a:gd name="connsiteY175" fmla="*/ 238456 h 831546"/>
                <a:gd name="connsiteX176" fmla="*/ 737147 w 865310"/>
                <a:gd name="connsiteY176" fmla="*/ 233322 h 831546"/>
                <a:gd name="connsiteX177" fmla="*/ 728590 w 865310"/>
                <a:gd name="connsiteY177" fmla="*/ 219251 h 831546"/>
                <a:gd name="connsiteX178" fmla="*/ 725738 w 865310"/>
                <a:gd name="connsiteY178" fmla="*/ 211645 h 831546"/>
                <a:gd name="connsiteX179" fmla="*/ 722125 w 865310"/>
                <a:gd name="connsiteY179" fmla="*/ 202898 h 831546"/>
                <a:gd name="connsiteX180" fmla="*/ 710906 w 865310"/>
                <a:gd name="connsiteY180" fmla="*/ 189397 h 831546"/>
                <a:gd name="connsiteX181" fmla="*/ 695503 w 865310"/>
                <a:gd name="connsiteY181" fmla="*/ 167149 h 831546"/>
                <a:gd name="connsiteX182" fmla="*/ 693982 w 865310"/>
                <a:gd name="connsiteY182" fmla="*/ 152697 h 831546"/>
                <a:gd name="connsiteX183" fmla="*/ 693982 w 865310"/>
                <a:gd name="connsiteY183" fmla="*/ 147563 h 831546"/>
                <a:gd name="connsiteX184" fmla="*/ 690559 w 865310"/>
                <a:gd name="connsiteY184" fmla="*/ 131780 h 831546"/>
                <a:gd name="connsiteX185" fmla="*/ 676108 w 865310"/>
                <a:gd name="connsiteY185" fmla="*/ 141478 h 831546"/>
                <a:gd name="connsiteX186" fmla="*/ 654050 w 865310"/>
                <a:gd name="connsiteY186" fmla="*/ 172093 h 831546"/>
                <a:gd name="connsiteX187" fmla="*/ 641500 w 865310"/>
                <a:gd name="connsiteY187" fmla="*/ 184833 h 83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</a:cxnLst>
              <a:rect l="l" t="t" r="r" b="b"/>
              <a:pathLst>
                <a:path w="865310" h="831546">
                  <a:moveTo>
                    <a:pt x="641500" y="184833"/>
                  </a:moveTo>
                  <a:cubicBezTo>
                    <a:pt x="636936" y="182551"/>
                    <a:pt x="649106" y="168480"/>
                    <a:pt x="650057" y="165818"/>
                  </a:cubicBezTo>
                  <a:cubicBezTo>
                    <a:pt x="652148" y="158972"/>
                    <a:pt x="651578" y="140717"/>
                    <a:pt x="642641" y="137485"/>
                  </a:cubicBezTo>
                  <a:cubicBezTo>
                    <a:pt x="640169" y="137485"/>
                    <a:pt x="623625" y="146802"/>
                    <a:pt x="623625" y="143760"/>
                  </a:cubicBezTo>
                  <a:cubicBezTo>
                    <a:pt x="622484" y="133111"/>
                    <a:pt x="654430" y="133301"/>
                    <a:pt x="652529" y="116568"/>
                  </a:cubicBezTo>
                  <a:cubicBezTo>
                    <a:pt x="651578" y="109152"/>
                    <a:pt x="643021" y="102116"/>
                    <a:pt x="638077" y="97553"/>
                  </a:cubicBezTo>
                  <a:cubicBezTo>
                    <a:pt x="630851" y="90840"/>
                    <a:pt x="625147" y="82682"/>
                    <a:pt x="621343" y="73593"/>
                  </a:cubicBezTo>
                  <a:cubicBezTo>
                    <a:pt x="610124" y="47732"/>
                    <a:pt x="591679" y="69980"/>
                    <a:pt x="573425" y="74734"/>
                  </a:cubicBezTo>
                  <a:cubicBezTo>
                    <a:pt x="562034" y="78385"/>
                    <a:pt x="549865" y="78860"/>
                    <a:pt x="538246" y="76065"/>
                  </a:cubicBezTo>
                  <a:cubicBezTo>
                    <a:pt x="525316" y="72262"/>
                    <a:pt x="513906" y="62564"/>
                    <a:pt x="500215" y="65607"/>
                  </a:cubicBezTo>
                  <a:cubicBezTo>
                    <a:pt x="490556" y="69029"/>
                    <a:pt x="480534" y="71330"/>
                    <a:pt x="470361" y="72452"/>
                  </a:cubicBezTo>
                  <a:cubicBezTo>
                    <a:pt x="457260" y="70817"/>
                    <a:pt x="443987" y="73289"/>
                    <a:pt x="432330" y="79488"/>
                  </a:cubicBezTo>
                  <a:cubicBezTo>
                    <a:pt x="413315" y="91277"/>
                    <a:pt x="413315" y="126456"/>
                    <a:pt x="409892" y="146422"/>
                  </a:cubicBezTo>
                  <a:cubicBezTo>
                    <a:pt x="407801" y="156690"/>
                    <a:pt x="401145" y="165437"/>
                    <a:pt x="398483" y="174375"/>
                  </a:cubicBezTo>
                  <a:cubicBezTo>
                    <a:pt x="395821" y="183312"/>
                    <a:pt x="392398" y="203088"/>
                    <a:pt x="379468" y="189016"/>
                  </a:cubicBezTo>
                  <a:cubicBezTo>
                    <a:pt x="371291" y="180840"/>
                    <a:pt x="371291" y="172093"/>
                    <a:pt x="360452" y="165437"/>
                  </a:cubicBezTo>
                  <a:cubicBezTo>
                    <a:pt x="350526" y="159048"/>
                    <a:pt x="343662" y="148875"/>
                    <a:pt x="341437" y="137295"/>
                  </a:cubicBezTo>
                  <a:cubicBezTo>
                    <a:pt x="338204" y="125125"/>
                    <a:pt x="339726" y="115807"/>
                    <a:pt x="330979" y="105919"/>
                  </a:cubicBezTo>
                  <a:cubicBezTo>
                    <a:pt x="322593" y="96564"/>
                    <a:pt x="317230" y="84907"/>
                    <a:pt x="315576" y="72452"/>
                  </a:cubicBezTo>
                  <a:cubicBezTo>
                    <a:pt x="310822" y="53437"/>
                    <a:pt x="317858" y="33280"/>
                    <a:pt x="310442" y="13314"/>
                  </a:cubicBezTo>
                  <a:cubicBezTo>
                    <a:pt x="308160" y="7419"/>
                    <a:pt x="305118" y="-187"/>
                    <a:pt x="297511" y="3"/>
                  </a:cubicBezTo>
                  <a:cubicBezTo>
                    <a:pt x="286482" y="3"/>
                    <a:pt x="287243" y="13504"/>
                    <a:pt x="274503" y="10082"/>
                  </a:cubicBezTo>
                  <a:cubicBezTo>
                    <a:pt x="267657" y="8370"/>
                    <a:pt x="263664" y="2095"/>
                    <a:pt x="255487" y="5708"/>
                  </a:cubicBezTo>
                  <a:cubicBezTo>
                    <a:pt x="247311" y="9321"/>
                    <a:pt x="246360" y="17878"/>
                    <a:pt x="244649" y="24724"/>
                  </a:cubicBezTo>
                  <a:cubicBezTo>
                    <a:pt x="241036" y="41400"/>
                    <a:pt x="238564" y="58305"/>
                    <a:pt x="237233" y="75304"/>
                  </a:cubicBezTo>
                  <a:cubicBezTo>
                    <a:pt x="234856" y="83975"/>
                    <a:pt x="237575" y="93255"/>
                    <a:pt x="244268" y="99264"/>
                  </a:cubicBezTo>
                  <a:cubicBezTo>
                    <a:pt x="249783" y="103827"/>
                    <a:pt x="261953" y="105919"/>
                    <a:pt x="263284" y="114666"/>
                  </a:cubicBezTo>
                  <a:cubicBezTo>
                    <a:pt x="264615" y="123413"/>
                    <a:pt x="255297" y="129498"/>
                    <a:pt x="252445" y="135203"/>
                  </a:cubicBezTo>
                  <a:cubicBezTo>
                    <a:pt x="249593" y="140908"/>
                    <a:pt x="244078" y="158402"/>
                    <a:pt x="235521" y="161824"/>
                  </a:cubicBezTo>
                  <a:cubicBezTo>
                    <a:pt x="226964" y="165247"/>
                    <a:pt x="221830" y="156690"/>
                    <a:pt x="213463" y="156690"/>
                  </a:cubicBezTo>
                  <a:cubicBezTo>
                    <a:pt x="205097" y="156690"/>
                    <a:pt x="204526" y="160874"/>
                    <a:pt x="198441" y="156690"/>
                  </a:cubicBezTo>
                  <a:cubicBezTo>
                    <a:pt x="195323" y="153401"/>
                    <a:pt x="193326" y="149198"/>
                    <a:pt x="192737" y="144711"/>
                  </a:cubicBezTo>
                  <a:cubicBezTo>
                    <a:pt x="190736" y="136173"/>
                    <a:pt x="187121" y="128110"/>
                    <a:pt x="182088" y="120941"/>
                  </a:cubicBezTo>
                  <a:lnTo>
                    <a:pt x="182088" y="120941"/>
                  </a:lnTo>
                  <a:cubicBezTo>
                    <a:pt x="178409" y="123546"/>
                    <a:pt x="174600" y="125942"/>
                    <a:pt x="170679" y="128167"/>
                  </a:cubicBezTo>
                  <a:cubicBezTo>
                    <a:pt x="162757" y="132997"/>
                    <a:pt x="153177" y="134309"/>
                    <a:pt x="144247" y="131780"/>
                  </a:cubicBezTo>
                  <a:cubicBezTo>
                    <a:pt x="141256" y="131019"/>
                    <a:pt x="138379" y="129879"/>
                    <a:pt x="135690" y="128357"/>
                  </a:cubicBezTo>
                  <a:cubicBezTo>
                    <a:pt x="129225" y="125315"/>
                    <a:pt x="128655" y="125505"/>
                    <a:pt x="126753" y="128357"/>
                  </a:cubicBezTo>
                  <a:cubicBezTo>
                    <a:pt x="124848" y="132693"/>
                    <a:pt x="123692" y="137333"/>
                    <a:pt x="123330" y="142048"/>
                  </a:cubicBezTo>
                  <a:cubicBezTo>
                    <a:pt x="123028" y="145319"/>
                    <a:pt x="122456" y="148571"/>
                    <a:pt x="121619" y="151746"/>
                  </a:cubicBezTo>
                  <a:cubicBezTo>
                    <a:pt x="118894" y="161159"/>
                    <a:pt x="114587" y="170020"/>
                    <a:pt x="108879" y="177988"/>
                  </a:cubicBezTo>
                  <a:cubicBezTo>
                    <a:pt x="106757" y="180441"/>
                    <a:pt x="104328" y="182608"/>
                    <a:pt x="101653" y="184453"/>
                  </a:cubicBezTo>
                  <a:cubicBezTo>
                    <a:pt x="99398" y="185803"/>
                    <a:pt x="97401" y="187533"/>
                    <a:pt x="95758" y="189587"/>
                  </a:cubicBezTo>
                  <a:cubicBezTo>
                    <a:pt x="90067" y="198334"/>
                    <a:pt x="86789" y="208450"/>
                    <a:pt x="86250" y="218871"/>
                  </a:cubicBezTo>
                  <a:cubicBezTo>
                    <a:pt x="85397" y="225336"/>
                    <a:pt x="86317" y="231915"/>
                    <a:pt x="88913" y="237886"/>
                  </a:cubicBezTo>
                  <a:cubicBezTo>
                    <a:pt x="90565" y="241214"/>
                    <a:pt x="93227" y="243952"/>
                    <a:pt x="96519" y="245682"/>
                  </a:cubicBezTo>
                  <a:cubicBezTo>
                    <a:pt x="99253" y="247527"/>
                    <a:pt x="101799" y="249618"/>
                    <a:pt x="104125" y="251957"/>
                  </a:cubicBezTo>
                  <a:cubicBezTo>
                    <a:pt x="108525" y="255894"/>
                    <a:pt x="110843" y="261655"/>
                    <a:pt x="110400" y="267550"/>
                  </a:cubicBezTo>
                  <a:cubicBezTo>
                    <a:pt x="109259" y="277628"/>
                    <a:pt x="98991" y="285044"/>
                    <a:pt x="91385" y="290939"/>
                  </a:cubicBezTo>
                  <a:cubicBezTo>
                    <a:pt x="88532" y="293031"/>
                    <a:pt x="85870" y="294932"/>
                    <a:pt x="83969" y="296644"/>
                  </a:cubicBezTo>
                  <a:cubicBezTo>
                    <a:pt x="77595" y="304535"/>
                    <a:pt x="74896" y="314784"/>
                    <a:pt x="76553" y="324786"/>
                  </a:cubicBezTo>
                  <a:cubicBezTo>
                    <a:pt x="76842" y="329274"/>
                    <a:pt x="76842" y="333800"/>
                    <a:pt x="76553" y="338287"/>
                  </a:cubicBezTo>
                  <a:cubicBezTo>
                    <a:pt x="74537" y="350818"/>
                    <a:pt x="66408" y="361524"/>
                    <a:pt x="54875" y="366810"/>
                  </a:cubicBezTo>
                  <a:lnTo>
                    <a:pt x="46889" y="372135"/>
                  </a:lnTo>
                  <a:cubicBezTo>
                    <a:pt x="41920" y="375995"/>
                    <a:pt x="36130" y="378657"/>
                    <a:pt x="29965" y="379931"/>
                  </a:cubicBezTo>
                  <a:cubicBezTo>
                    <a:pt x="27683" y="384114"/>
                    <a:pt x="25211" y="388108"/>
                    <a:pt x="22929" y="391911"/>
                  </a:cubicBezTo>
                  <a:cubicBezTo>
                    <a:pt x="15369" y="402997"/>
                    <a:pt x="9713" y="415281"/>
                    <a:pt x="6196" y="428230"/>
                  </a:cubicBezTo>
                  <a:cubicBezTo>
                    <a:pt x="2914" y="442606"/>
                    <a:pt x="940" y="457248"/>
                    <a:pt x="301" y="471965"/>
                  </a:cubicBezTo>
                  <a:cubicBezTo>
                    <a:pt x="-473" y="477061"/>
                    <a:pt x="253" y="482291"/>
                    <a:pt x="2393" y="486988"/>
                  </a:cubicBezTo>
                  <a:cubicBezTo>
                    <a:pt x="2393" y="488319"/>
                    <a:pt x="5055" y="488889"/>
                    <a:pt x="7907" y="490030"/>
                  </a:cubicBezTo>
                  <a:cubicBezTo>
                    <a:pt x="11569" y="491114"/>
                    <a:pt x="14947" y="492996"/>
                    <a:pt x="17795" y="495544"/>
                  </a:cubicBezTo>
                  <a:cubicBezTo>
                    <a:pt x="20976" y="499309"/>
                    <a:pt x="23311" y="503721"/>
                    <a:pt x="24641" y="508475"/>
                  </a:cubicBezTo>
                  <a:cubicBezTo>
                    <a:pt x="25656" y="512886"/>
                    <a:pt x="28219" y="516804"/>
                    <a:pt x="31866" y="519504"/>
                  </a:cubicBezTo>
                  <a:lnTo>
                    <a:pt x="36050" y="517032"/>
                  </a:lnTo>
                  <a:cubicBezTo>
                    <a:pt x="38860" y="518477"/>
                    <a:pt x="41479" y="520264"/>
                    <a:pt x="43846" y="522356"/>
                  </a:cubicBezTo>
                  <a:cubicBezTo>
                    <a:pt x="47141" y="525627"/>
                    <a:pt x="49674" y="529582"/>
                    <a:pt x="51262" y="533956"/>
                  </a:cubicBezTo>
                  <a:cubicBezTo>
                    <a:pt x="52188" y="536123"/>
                    <a:pt x="53268" y="538215"/>
                    <a:pt x="54495" y="540231"/>
                  </a:cubicBezTo>
                  <a:cubicBezTo>
                    <a:pt x="57870" y="544528"/>
                    <a:pt x="62926" y="547152"/>
                    <a:pt x="68376" y="547457"/>
                  </a:cubicBezTo>
                  <a:cubicBezTo>
                    <a:pt x="72883" y="548141"/>
                    <a:pt x="77249" y="549567"/>
                    <a:pt x="81306" y="551640"/>
                  </a:cubicBezTo>
                  <a:cubicBezTo>
                    <a:pt x="89571" y="556318"/>
                    <a:pt x="96207" y="563429"/>
                    <a:pt x="100322" y="571986"/>
                  </a:cubicBezTo>
                  <a:cubicBezTo>
                    <a:pt x="102921" y="577007"/>
                    <a:pt x="106253" y="581627"/>
                    <a:pt x="110210" y="585677"/>
                  </a:cubicBezTo>
                  <a:cubicBezTo>
                    <a:pt x="115361" y="589081"/>
                    <a:pt x="121602" y="590450"/>
                    <a:pt x="127704" y="589480"/>
                  </a:cubicBezTo>
                  <a:lnTo>
                    <a:pt x="131127" y="589480"/>
                  </a:lnTo>
                  <a:cubicBezTo>
                    <a:pt x="143317" y="588473"/>
                    <a:pt x="155073" y="594253"/>
                    <a:pt x="161742" y="604503"/>
                  </a:cubicBezTo>
                  <a:cubicBezTo>
                    <a:pt x="167448" y="611234"/>
                    <a:pt x="174510" y="616673"/>
                    <a:pt x="182468" y="620476"/>
                  </a:cubicBezTo>
                  <a:lnTo>
                    <a:pt x="187793" y="623518"/>
                  </a:lnTo>
                  <a:cubicBezTo>
                    <a:pt x="196197" y="628842"/>
                    <a:pt x="203231" y="636068"/>
                    <a:pt x="208329" y="644625"/>
                  </a:cubicBezTo>
                  <a:cubicBezTo>
                    <a:pt x="210877" y="648580"/>
                    <a:pt x="213730" y="652345"/>
                    <a:pt x="216886" y="655844"/>
                  </a:cubicBezTo>
                  <a:cubicBezTo>
                    <a:pt x="224302" y="664211"/>
                    <a:pt x="232289" y="663070"/>
                    <a:pt x="244839" y="660598"/>
                  </a:cubicBezTo>
                  <a:cubicBezTo>
                    <a:pt x="258454" y="654798"/>
                    <a:pt x="274256" y="659229"/>
                    <a:pt x="282870" y="671247"/>
                  </a:cubicBezTo>
                  <a:lnTo>
                    <a:pt x="286102" y="676191"/>
                  </a:lnTo>
                  <a:cubicBezTo>
                    <a:pt x="298652" y="695206"/>
                    <a:pt x="313104" y="714221"/>
                    <a:pt x="327746" y="706805"/>
                  </a:cubicBezTo>
                  <a:lnTo>
                    <a:pt x="330979" y="704714"/>
                  </a:lnTo>
                  <a:cubicBezTo>
                    <a:pt x="338204" y="700150"/>
                    <a:pt x="348092" y="693875"/>
                    <a:pt x="356839" y="697108"/>
                  </a:cubicBezTo>
                  <a:cubicBezTo>
                    <a:pt x="361917" y="699218"/>
                    <a:pt x="365625" y="703706"/>
                    <a:pt x="366727" y="709087"/>
                  </a:cubicBezTo>
                  <a:cubicBezTo>
                    <a:pt x="367925" y="713746"/>
                    <a:pt x="367165" y="718690"/>
                    <a:pt x="364636" y="722778"/>
                  </a:cubicBezTo>
                  <a:cubicBezTo>
                    <a:pt x="363571" y="724490"/>
                    <a:pt x="362962" y="726467"/>
                    <a:pt x="362924" y="728483"/>
                  </a:cubicBezTo>
                  <a:cubicBezTo>
                    <a:pt x="364712" y="733351"/>
                    <a:pt x="368153" y="737458"/>
                    <a:pt x="372622" y="740082"/>
                  </a:cubicBezTo>
                  <a:cubicBezTo>
                    <a:pt x="375113" y="741451"/>
                    <a:pt x="377813" y="742421"/>
                    <a:pt x="380609" y="742935"/>
                  </a:cubicBezTo>
                  <a:cubicBezTo>
                    <a:pt x="384944" y="743676"/>
                    <a:pt x="389052" y="745426"/>
                    <a:pt x="392588" y="748069"/>
                  </a:cubicBezTo>
                  <a:cubicBezTo>
                    <a:pt x="397780" y="752994"/>
                    <a:pt x="400499" y="759953"/>
                    <a:pt x="400004" y="767084"/>
                  </a:cubicBezTo>
                  <a:cubicBezTo>
                    <a:pt x="400004" y="768415"/>
                    <a:pt x="400004" y="769937"/>
                    <a:pt x="400004" y="771077"/>
                  </a:cubicBezTo>
                  <a:cubicBezTo>
                    <a:pt x="400670" y="776953"/>
                    <a:pt x="402762" y="782563"/>
                    <a:pt x="406089" y="787431"/>
                  </a:cubicBezTo>
                  <a:lnTo>
                    <a:pt x="408371" y="785339"/>
                  </a:lnTo>
                  <a:cubicBezTo>
                    <a:pt x="410691" y="782981"/>
                    <a:pt x="413315" y="780927"/>
                    <a:pt x="416167" y="779254"/>
                  </a:cubicBezTo>
                  <a:cubicBezTo>
                    <a:pt x="423640" y="775812"/>
                    <a:pt x="432330" y="776307"/>
                    <a:pt x="439366" y="780585"/>
                  </a:cubicBezTo>
                  <a:cubicBezTo>
                    <a:pt x="445223" y="784198"/>
                    <a:pt x="450376" y="788838"/>
                    <a:pt x="454579" y="794276"/>
                  </a:cubicBezTo>
                  <a:cubicBezTo>
                    <a:pt x="460226" y="799524"/>
                    <a:pt x="462926" y="807188"/>
                    <a:pt x="461804" y="814813"/>
                  </a:cubicBezTo>
                  <a:cubicBezTo>
                    <a:pt x="461614" y="816638"/>
                    <a:pt x="461614" y="818502"/>
                    <a:pt x="461804" y="820327"/>
                  </a:cubicBezTo>
                  <a:cubicBezTo>
                    <a:pt x="463934" y="825271"/>
                    <a:pt x="467775" y="829246"/>
                    <a:pt x="472643" y="831546"/>
                  </a:cubicBezTo>
                  <a:cubicBezTo>
                    <a:pt x="473841" y="830139"/>
                    <a:pt x="475172" y="828865"/>
                    <a:pt x="476636" y="827743"/>
                  </a:cubicBezTo>
                  <a:cubicBezTo>
                    <a:pt x="489377" y="818939"/>
                    <a:pt x="505597" y="816809"/>
                    <a:pt x="520182" y="822039"/>
                  </a:cubicBezTo>
                  <a:lnTo>
                    <a:pt x="525506" y="823370"/>
                  </a:lnTo>
                  <a:cubicBezTo>
                    <a:pt x="535964" y="826032"/>
                    <a:pt x="539577" y="826983"/>
                    <a:pt x="546993" y="819947"/>
                  </a:cubicBezTo>
                  <a:lnTo>
                    <a:pt x="553268" y="814813"/>
                  </a:lnTo>
                  <a:cubicBezTo>
                    <a:pt x="558783" y="810439"/>
                    <a:pt x="566769" y="804164"/>
                    <a:pt x="567530" y="799791"/>
                  </a:cubicBezTo>
                  <a:cubicBezTo>
                    <a:pt x="567454" y="795931"/>
                    <a:pt x="566275" y="792165"/>
                    <a:pt x="564107" y="788952"/>
                  </a:cubicBezTo>
                  <a:cubicBezTo>
                    <a:pt x="559715" y="782924"/>
                    <a:pt x="558250" y="775261"/>
                    <a:pt x="560114" y="768035"/>
                  </a:cubicBezTo>
                  <a:cubicBezTo>
                    <a:pt x="566598" y="755922"/>
                    <a:pt x="575687" y="745407"/>
                    <a:pt x="586735" y="737230"/>
                  </a:cubicBezTo>
                  <a:cubicBezTo>
                    <a:pt x="591375" y="734473"/>
                    <a:pt x="596357" y="732362"/>
                    <a:pt x="601567" y="730955"/>
                  </a:cubicBezTo>
                  <a:cubicBezTo>
                    <a:pt x="606568" y="729700"/>
                    <a:pt x="611265" y="727494"/>
                    <a:pt x="615449" y="724490"/>
                  </a:cubicBezTo>
                  <a:cubicBezTo>
                    <a:pt x="618491" y="721542"/>
                    <a:pt x="621286" y="718367"/>
                    <a:pt x="623815" y="714982"/>
                  </a:cubicBezTo>
                  <a:cubicBezTo>
                    <a:pt x="627029" y="710589"/>
                    <a:pt x="630737" y="706558"/>
                    <a:pt x="634844" y="703002"/>
                  </a:cubicBezTo>
                  <a:cubicBezTo>
                    <a:pt x="643420" y="697830"/>
                    <a:pt x="648802" y="688665"/>
                    <a:pt x="649106" y="678663"/>
                  </a:cubicBezTo>
                  <a:cubicBezTo>
                    <a:pt x="648821" y="671722"/>
                    <a:pt x="645208" y="665352"/>
                    <a:pt x="639408" y="661549"/>
                  </a:cubicBezTo>
                  <a:cubicBezTo>
                    <a:pt x="629007" y="654913"/>
                    <a:pt x="616190" y="653239"/>
                    <a:pt x="604420" y="656985"/>
                  </a:cubicBezTo>
                  <a:cubicBezTo>
                    <a:pt x="599133" y="658963"/>
                    <a:pt x="594684" y="662728"/>
                    <a:pt x="591870" y="667634"/>
                  </a:cubicBezTo>
                  <a:cubicBezTo>
                    <a:pt x="589036" y="671589"/>
                    <a:pt x="585728" y="675164"/>
                    <a:pt x="581982" y="678282"/>
                  </a:cubicBezTo>
                  <a:cubicBezTo>
                    <a:pt x="574413" y="685927"/>
                    <a:pt x="562206" y="686421"/>
                    <a:pt x="554029" y="679423"/>
                  </a:cubicBezTo>
                  <a:lnTo>
                    <a:pt x="548705" y="676571"/>
                  </a:lnTo>
                  <a:cubicBezTo>
                    <a:pt x="545510" y="675164"/>
                    <a:pt x="542106" y="674327"/>
                    <a:pt x="538626" y="674099"/>
                  </a:cubicBezTo>
                  <a:cubicBezTo>
                    <a:pt x="531401" y="674099"/>
                    <a:pt x="521513" y="672007"/>
                    <a:pt x="519611" y="657936"/>
                  </a:cubicBezTo>
                  <a:cubicBezTo>
                    <a:pt x="517025" y="645671"/>
                    <a:pt x="521227" y="632950"/>
                    <a:pt x="530640" y="624659"/>
                  </a:cubicBezTo>
                  <a:cubicBezTo>
                    <a:pt x="534709" y="620666"/>
                    <a:pt x="537657" y="615684"/>
                    <a:pt x="539197" y="610207"/>
                  </a:cubicBezTo>
                  <a:cubicBezTo>
                    <a:pt x="540661" y="605415"/>
                    <a:pt x="542848" y="600871"/>
                    <a:pt x="545662" y="596706"/>
                  </a:cubicBezTo>
                  <a:cubicBezTo>
                    <a:pt x="550815" y="590108"/>
                    <a:pt x="558307" y="585753"/>
                    <a:pt x="566579" y="584537"/>
                  </a:cubicBezTo>
                  <a:cubicBezTo>
                    <a:pt x="569431" y="583852"/>
                    <a:pt x="572227" y="582958"/>
                    <a:pt x="574946" y="581874"/>
                  </a:cubicBezTo>
                  <a:cubicBezTo>
                    <a:pt x="586735" y="576740"/>
                    <a:pt x="585214" y="570275"/>
                    <a:pt x="580841" y="555823"/>
                  </a:cubicBezTo>
                  <a:cubicBezTo>
                    <a:pt x="575535" y="544965"/>
                    <a:pt x="575535" y="532263"/>
                    <a:pt x="580841" y="521405"/>
                  </a:cubicBezTo>
                  <a:lnTo>
                    <a:pt x="584073" y="516461"/>
                  </a:lnTo>
                  <a:cubicBezTo>
                    <a:pt x="590025" y="509255"/>
                    <a:pt x="593733" y="500469"/>
                    <a:pt x="594722" y="491171"/>
                  </a:cubicBezTo>
                  <a:cubicBezTo>
                    <a:pt x="597023" y="480218"/>
                    <a:pt x="594380" y="468809"/>
                    <a:pt x="587496" y="459986"/>
                  </a:cubicBezTo>
                  <a:lnTo>
                    <a:pt x="585404" y="456753"/>
                  </a:lnTo>
                  <a:cubicBezTo>
                    <a:pt x="571903" y="437738"/>
                    <a:pt x="560304" y="417201"/>
                    <a:pt x="566389" y="404651"/>
                  </a:cubicBezTo>
                  <a:cubicBezTo>
                    <a:pt x="569507" y="398794"/>
                    <a:pt x="575745" y="395314"/>
                    <a:pt x="582362" y="395714"/>
                  </a:cubicBezTo>
                  <a:cubicBezTo>
                    <a:pt x="592326" y="395562"/>
                    <a:pt x="601948" y="399308"/>
                    <a:pt x="609174" y="406172"/>
                  </a:cubicBezTo>
                  <a:cubicBezTo>
                    <a:pt x="612007" y="408568"/>
                    <a:pt x="615049" y="410660"/>
                    <a:pt x="618301" y="412447"/>
                  </a:cubicBezTo>
                  <a:cubicBezTo>
                    <a:pt x="623188" y="414805"/>
                    <a:pt x="628379" y="416535"/>
                    <a:pt x="633703" y="417581"/>
                  </a:cubicBezTo>
                  <a:cubicBezTo>
                    <a:pt x="640283" y="418912"/>
                    <a:pt x="646691" y="421099"/>
                    <a:pt x="652719" y="424047"/>
                  </a:cubicBezTo>
                  <a:cubicBezTo>
                    <a:pt x="665649" y="431082"/>
                    <a:pt x="680481" y="439259"/>
                    <a:pt x="694363" y="448386"/>
                  </a:cubicBezTo>
                  <a:cubicBezTo>
                    <a:pt x="700352" y="451448"/>
                    <a:pt x="705163" y="456392"/>
                    <a:pt x="708053" y="462458"/>
                  </a:cubicBezTo>
                  <a:cubicBezTo>
                    <a:pt x="708871" y="465824"/>
                    <a:pt x="708871" y="469360"/>
                    <a:pt x="708053" y="472726"/>
                  </a:cubicBezTo>
                  <a:cubicBezTo>
                    <a:pt x="707692" y="474228"/>
                    <a:pt x="707692" y="475787"/>
                    <a:pt x="708053" y="477290"/>
                  </a:cubicBezTo>
                  <a:cubicBezTo>
                    <a:pt x="708053" y="480522"/>
                    <a:pt x="712047" y="481283"/>
                    <a:pt x="720794" y="480903"/>
                  </a:cubicBezTo>
                  <a:cubicBezTo>
                    <a:pt x="724274" y="480618"/>
                    <a:pt x="727772" y="480618"/>
                    <a:pt x="731252" y="480903"/>
                  </a:cubicBezTo>
                  <a:lnTo>
                    <a:pt x="734675" y="480903"/>
                  </a:lnTo>
                  <a:cubicBezTo>
                    <a:pt x="736329" y="481568"/>
                    <a:pt x="738155" y="481568"/>
                    <a:pt x="739809" y="480903"/>
                  </a:cubicBezTo>
                  <a:cubicBezTo>
                    <a:pt x="740969" y="480427"/>
                    <a:pt x="742072" y="479800"/>
                    <a:pt x="743042" y="479001"/>
                  </a:cubicBezTo>
                  <a:cubicBezTo>
                    <a:pt x="746179" y="476510"/>
                    <a:pt x="750058" y="475160"/>
                    <a:pt x="754071" y="475198"/>
                  </a:cubicBezTo>
                  <a:cubicBezTo>
                    <a:pt x="760137" y="476130"/>
                    <a:pt x="765499" y="479667"/>
                    <a:pt x="768713" y="484896"/>
                  </a:cubicBezTo>
                  <a:cubicBezTo>
                    <a:pt x="772516" y="489650"/>
                    <a:pt x="773656" y="490600"/>
                    <a:pt x="776889" y="489650"/>
                  </a:cubicBezTo>
                  <a:cubicBezTo>
                    <a:pt x="777821" y="489098"/>
                    <a:pt x="778658" y="488376"/>
                    <a:pt x="779361" y="487558"/>
                  </a:cubicBezTo>
                  <a:cubicBezTo>
                    <a:pt x="782233" y="484287"/>
                    <a:pt x="786416" y="482481"/>
                    <a:pt x="790771" y="482614"/>
                  </a:cubicBezTo>
                  <a:cubicBezTo>
                    <a:pt x="796970" y="483622"/>
                    <a:pt x="802351" y="487406"/>
                    <a:pt x="805412" y="492882"/>
                  </a:cubicBezTo>
                  <a:cubicBezTo>
                    <a:pt x="806553" y="494213"/>
                    <a:pt x="807504" y="495735"/>
                    <a:pt x="808645" y="497256"/>
                  </a:cubicBezTo>
                  <a:cubicBezTo>
                    <a:pt x="809786" y="498777"/>
                    <a:pt x="814159" y="505432"/>
                    <a:pt x="816631" y="506003"/>
                  </a:cubicBezTo>
                  <a:cubicBezTo>
                    <a:pt x="818476" y="505756"/>
                    <a:pt x="820206" y="504976"/>
                    <a:pt x="821575" y="503721"/>
                  </a:cubicBezTo>
                  <a:cubicBezTo>
                    <a:pt x="828288" y="497997"/>
                    <a:pt x="832680" y="490011"/>
                    <a:pt x="833936" y="481283"/>
                  </a:cubicBezTo>
                  <a:cubicBezTo>
                    <a:pt x="833270" y="478526"/>
                    <a:pt x="832186" y="475902"/>
                    <a:pt x="830703" y="473487"/>
                  </a:cubicBezTo>
                  <a:cubicBezTo>
                    <a:pt x="828668" y="470045"/>
                    <a:pt x="827128" y="466337"/>
                    <a:pt x="826139" y="462458"/>
                  </a:cubicBezTo>
                  <a:cubicBezTo>
                    <a:pt x="825017" y="456164"/>
                    <a:pt x="825017" y="449736"/>
                    <a:pt x="826139" y="443442"/>
                  </a:cubicBezTo>
                  <a:cubicBezTo>
                    <a:pt x="826862" y="439715"/>
                    <a:pt x="827812" y="436026"/>
                    <a:pt x="828991" y="432413"/>
                  </a:cubicBezTo>
                  <a:cubicBezTo>
                    <a:pt x="831463" y="424617"/>
                    <a:pt x="832414" y="421765"/>
                    <a:pt x="825949" y="414919"/>
                  </a:cubicBezTo>
                  <a:lnTo>
                    <a:pt x="822907" y="411496"/>
                  </a:lnTo>
                  <a:cubicBezTo>
                    <a:pt x="813779" y="401989"/>
                    <a:pt x="805032" y="392481"/>
                    <a:pt x="816251" y="375748"/>
                  </a:cubicBezTo>
                  <a:cubicBezTo>
                    <a:pt x="819294" y="370804"/>
                    <a:pt x="822716" y="365860"/>
                    <a:pt x="826139" y="361106"/>
                  </a:cubicBezTo>
                  <a:cubicBezTo>
                    <a:pt x="829562" y="356352"/>
                    <a:pt x="833936" y="350457"/>
                    <a:pt x="837358" y="344943"/>
                  </a:cubicBezTo>
                  <a:cubicBezTo>
                    <a:pt x="844185" y="331765"/>
                    <a:pt x="853711" y="320166"/>
                    <a:pt x="865311" y="310905"/>
                  </a:cubicBezTo>
                  <a:cubicBezTo>
                    <a:pt x="862439" y="307501"/>
                    <a:pt x="859340" y="304326"/>
                    <a:pt x="855993" y="301397"/>
                  </a:cubicBezTo>
                  <a:cubicBezTo>
                    <a:pt x="845801" y="290787"/>
                    <a:pt x="830399" y="287003"/>
                    <a:pt x="816441" y="291699"/>
                  </a:cubicBezTo>
                  <a:cubicBezTo>
                    <a:pt x="813893" y="293145"/>
                    <a:pt x="811402" y="294742"/>
                    <a:pt x="809025" y="296453"/>
                  </a:cubicBezTo>
                  <a:cubicBezTo>
                    <a:pt x="803720" y="301131"/>
                    <a:pt x="797064" y="304002"/>
                    <a:pt x="790010" y="304630"/>
                  </a:cubicBezTo>
                  <a:lnTo>
                    <a:pt x="790010" y="304630"/>
                  </a:lnTo>
                  <a:cubicBezTo>
                    <a:pt x="780122" y="304630"/>
                    <a:pt x="770994" y="297785"/>
                    <a:pt x="764149" y="284283"/>
                  </a:cubicBezTo>
                  <a:cubicBezTo>
                    <a:pt x="760536" y="277818"/>
                    <a:pt x="757494" y="271163"/>
                    <a:pt x="754451" y="265268"/>
                  </a:cubicBezTo>
                  <a:cubicBezTo>
                    <a:pt x="750439" y="256027"/>
                    <a:pt x="745799" y="247070"/>
                    <a:pt x="740570" y="238456"/>
                  </a:cubicBezTo>
                  <a:lnTo>
                    <a:pt x="737147" y="233322"/>
                  </a:lnTo>
                  <a:cubicBezTo>
                    <a:pt x="733914" y="228873"/>
                    <a:pt x="731062" y="224157"/>
                    <a:pt x="728590" y="219251"/>
                  </a:cubicBezTo>
                  <a:cubicBezTo>
                    <a:pt x="727449" y="216779"/>
                    <a:pt x="726689" y="214117"/>
                    <a:pt x="725738" y="211645"/>
                  </a:cubicBezTo>
                  <a:cubicBezTo>
                    <a:pt x="724730" y="208659"/>
                    <a:pt x="723532" y="205731"/>
                    <a:pt x="722125" y="202898"/>
                  </a:cubicBezTo>
                  <a:cubicBezTo>
                    <a:pt x="719044" y="197878"/>
                    <a:pt x="715279" y="193333"/>
                    <a:pt x="710906" y="189397"/>
                  </a:cubicBezTo>
                  <a:cubicBezTo>
                    <a:pt x="703927" y="183445"/>
                    <a:pt x="698622" y="175782"/>
                    <a:pt x="695503" y="167149"/>
                  </a:cubicBezTo>
                  <a:cubicBezTo>
                    <a:pt x="694248" y="162433"/>
                    <a:pt x="693735" y="157565"/>
                    <a:pt x="693982" y="152697"/>
                  </a:cubicBezTo>
                  <a:cubicBezTo>
                    <a:pt x="693887" y="150986"/>
                    <a:pt x="693887" y="149274"/>
                    <a:pt x="693982" y="147563"/>
                  </a:cubicBezTo>
                  <a:cubicBezTo>
                    <a:pt x="693640" y="142163"/>
                    <a:pt x="692480" y="136838"/>
                    <a:pt x="690559" y="131780"/>
                  </a:cubicBezTo>
                  <a:cubicBezTo>
                    <a:pt x="685463" y="134594"/>
                    <a:pt x="680633" y="137827"/>
                    <a:pt x="676108" y="141478"/>
                  </a:cubicBezTo>
                  <a:cubicBezTo>
                    <a:pt x="667113" y="150396"/>
                    <a:pt x="659659" y="160741"/>
                    <a:pt x="654050" y="172093"/>
                  </a:cubicBezTo>
                  <a:cubicBezTo>
                    <a:pt x="651768" y="174755"/>
                    <a:pt x="644542" y="186164"/>
                    <a:pt x="641500" y="18483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49" name="Полилиния: фигура 448">
              <a:extLst>
                <a:ext uri="{FF2B5EF4-FFF2-40B4-BE49-F238E27FC236}">
                  <a16:creationId xmlns:a16="http://schemas.microsoft.com/office/drawing/2014/main" id="{34AA5D8F-47B1-D98C-0B92-68BE35F16A1A}"/>
                </a:ext>
              </a:extLst>
            </p:cNvPr>
            <p:cNvSpPr/>
            <p:nvPr/>
          </p:nvSpPr>
          <p:spPr>
            <a:xfrm>
              <a:off x="3106088" y="3479264"/>
              <a:ext cx="1312922" cy="771060"/>
            </a:xfrm>
            <a:custGeom>
              <a:avLst/>
              <a:gdLst>
                <a:gd name="connsiteX0" fmla="*/ 154383 w 1312922"/>
                <a:gd name="connsiteY0" fmla="*/ 527663 h 771060"/>
                <a:gd name="connsiteX1" fmla="*/ 148678 w 1312922"/>
                <a:gd name="connsiteY1" fmla="*/ 532417 h 771060"/>
                <a:gd name="connsiteX2" fmla="*/ 117112 w 1312922"/>
                <a:gd name="connsiteY2" fmla="*/ 538312 h 771060"/>
                <a:gd name="connsiteX3" fmla="*/ 111978 w 1312922"/>
                <a:gd name="connsiteY3" fmla="*/ 536981 h 771060"/>
                <a:gd name="connsiteX4" fmla="*/ 77560 w 1312922"/>
                <a:gd name="connsiteY4" fmla="*/ 540594 h 771060"/>
                <a:gd name="connsiteX5" fmla="*/ 76229 w 1312922"/>
                <a:gd name="connsiteY5" fmla="*/ 541925 h 771060"/>
                <a:gd name="connsiteX6" fmla="*/ 70144 w 1312922"/>
                <a:gd name="connsiteY6" fmla="*/ 550862 h 771060"/>
                <a:gd name="connsiteX7" fmla="*/ 67102 w 1312922"/>
                <a:gd name="connsiteY7" fmla="*/ 559039 h 771060"/>
                <a:gd name="connsiteX8" fmla="*/ 64059 w 1312922"/>
                <a:gd name="connsiteY8" fmla="*/ 567786 h 771060"/>
                <a:gd name="connsiteX9" fmla="*/ 56453 w 1312922"/>
                <a:gd name="connsiteY9" fmla="*/ 582238 h 771060"/>
                <a:gd name="connsiteX10" fmla="*/ 47896 w 1312922"/>
                <a:gd name="connsiteY10" fmla="*/ 601253 h 771060"/>
                <a:gd name="connsiteX11" fmla="*/ 32304 w 1312922"/>
                <a:gd name="connsiteY11" fmla="*/ 617796 h 771060"/>
                <a:gd name="connsiteX12" fmla="*/ 23747 w 1312922"/>
                <a:gd name="connsiteY12" fmla="*/ 621219 h 771060"/>
                <a:gd name="connsiteX13" fmla="*/ 14239 w 1312922"/>
                <a:gd name="connsiteY13" fmla="*/ 636622 h 771060"/>
                <a:gd name="connsiteX14" fmla="*/ 10246 w 1312922"/>
                <a:gd name="connsiteY14" fmla="*/ 645939 h 771060"/>
                <a:gd name="connsiteX15" fmla="*/ 6633 w 1312922"/>
                <a:gd name="connsiteY15" fmla="*/ 651834 h 771060"/>
                <a:gd name="connsiteX16" fmla="*/ 928 w 1312922"/>
                <a:gd name="connsiteY16" fmla="*/ 669138 h 771060"/>
                <a:gd name="connsiteX17" fmla="*/ 4541 w 1312922"/>
                <a:gd name="connsiteY17" fmla="*/ 671420 h 771060"/>
                <a:gd name="connsiteX18" fmla="*/ 11577 w 1312922"/>
                <a:gd name="connsiteY18" fmla="*/ 676364 h 771060"/>
                <a:gd name="connsiteX19" fmla="*/ 16141 w 1312922"/>
                <a:gd name="connsiteY19" fmla="*/ 699752 h 771060"/>
                <a:gd name="connsiteX20" fmla="*/ 14810 w 1312922"/>
                <a:gd name="connsiteY20" fmla="*/ 706218 h 771060"/>
                <a:gd name="connsiteX21" fmla="*/ 13479 w 1312922"/>
                <a:gd name="connsiteY21" fmla="*/ 713634 h 771060"/>
                <a:gd name="connsiteX22" fmla="*/ 16711 w 1312922"/>
                <a:gd name="connsiteY22" fmla="*/ 717817 h 771060"/>
                <a:gd name="connsiteX23" fmla="*/ 22226 w 1312922"/>
                <a:gd name="connsiteY23" fmla="*/ 725423 h 771060"/>
                <a:gd name="connsiteX24" fmla="*/ 22226 w 1312922"/>
                <a:gd name="connsiteY24" fmla="*/ 740826 h 771060"/>
                <a:gd name="connsiteX25" fmla="*/ 22226 w 1312922"/>
                <a:gd name="connsiteY25" fmla="*/ 751474 h 771060"/>
                <a:gd name="connsiteX26" fmla="*/ 24698 w 1312922"/>
                <a:gd name="connsiteY26" fmla="*/ 751474 h 771060"/>
                <a:gd name="connsiteX27" fmla="*/ 38008 w 1312922"/>
                <a:gd name="connsiteY27" fmla="*/ 736072 h 771060"/>
                <a:gd name="connsiteX28" fmla="*/ 39149 w 1312922"/>
                <a:gd name="connsiteY28" fmla="*/ 734171 h 771060"/>
                <a:gd name="connsiteX29" fmla="*/ 68813 w 1312922"/>
                <a:gd name="connsiteY29" fmla="*/ 709450 h 771060"/>
                <a:gd name="connsiteX30" fmla="*/ 106844 w 1312922"/>
                <a:gd name="connsiteY30" fmla="*/ 714394 h 771060"/>
                <a:gd name="connsiteX31" fmla="*/ 132895 w 1312922"/>
                <a:gd name="connsiteY31" fmla="*/ 714394 h 771060"/>
                <a:gd name="connsiteX32" fmla="*/ 138790 w 1312922"/>
                <a:gd name="connsiteY32" fmla="*/ 712873 h 771060"/>
                <a:gd name="connsiteX33" fmla="*/ 162369 w 1312922"/>
                <a:gd name="connsiteY33" fmla="*/ 722761 h 771060"/>
                <a:gd name="connsiteX34" fmla="*/ 167503 w 1312922"/>
                <a:gd name="connsiteY34" fmla="*/ 729417 h 771060"/>
                <a:gd name="connsiteX35" fmla="*/ 186519 w 1312922"/>
                <a:gd name="connsiteY35" fmla="*/ 725994 h 771060"/>
                <a:gd name="connsiteX36" fmla="*/ 194315 w 1312922"/>
                <a:gd name="connsiteY36" fmla="*/ 721050 h 771060"/>
                <a:gd name="connsiteX37" fmla="*/ 227021 w 1312922"/>
                <a:gd name="connsiteY37" fmla="*/ 721050 h 771060"/>
                <a:gd name="connsiteX38" fmla="*/ 229303 w 1312922"/>
                <a:gd name="connsiteY38" fmla="*/ 722001 h 771060"/>
                <a:gd name="connsiteX39" fmla="*/ 231014 w 1312922"/>
                <a:gd name="connsiteY39" fmla="*/ 718388 h 771060"/>
                <a:gd name="connsiteX40" fmla="*/ 227402 w 1312922"/>
                <a:gd name="connsiteY40" fmla="*/ 700513 h 771060"/>
                <a:gd name="connsiteX41" fmla="*/ 220366 w 1312922"/>
                <a:gd name="connsiteY41" fmla="*/ 686252 h 771060"/>
                <a:gd name="connsiteX42" fmla="*/ 224359 w 1312922"/>
                <a:gd name="connsiteY42" fmla="*/ 665525 h 771060"/>
                <a:gd name="connsiteX43" fmla="*/ 242234 w 1312922"/>
                <a:gd name="connsiteY43" fmla="*/ 655066 h 771060"/>
                <a:gd name="connsiteX44" fmla="*/ 256685 w 1312922"/>
                <a:gd name="connsiteY44" fmla="*/ 658489 h 771060"/>
                <a:gd name="connsiteX45" fmla="*/ 261439 w 1312922"/>
                <a:gd name="connsiteY45" fmla="*/ 660581 h 771060"/>
                <a:gd name="connsiteX46" fmla="*/ 267904 w 1312922"/>
                <a:gd name="connsiteY46" fmla="*/ 660581 h 771060"/>
                <a:gd name="connsiteX47" fmla="*/ 273989 w 1312922"/>
                <a:gd name="connsiteY47" fmla="*/ 659630 h 771060"/>
                <a:gd name="connsiteX48" fmla="*/ 309738 w 1312922"/>
                <a:gd name="connsiteY48" fmla="*/ 661342 h 771060"/>
                <a:gd name="connsiteX49" fmla="*/ 332747 w 1312922"/>
                <a:gd name="connsiteY49" fmla="*/ 689294 h 771060"/>
                <a:gd name="connsiteX50" fmla="*/ 346248 w 1312922"/>
                <a:gd name="connsiteY50" fmla="*/ 706978 h 771060"/>
                <a:gd name="connsiteX51" fmla="*/ 352713 w 1312922"/>
                <a:gd name="connsiteY51" fmla="*/ 705647 h 771060"/>
                <a:gd name="connsiteX52" fmla="*/ 370587 w 1312922"/>
                <a:gd name="connsiteY52" fmla="*/ 707169 h 771060"/>
                <a:gd name="connsiteX53" fmla="*/ 381997 w 1312922"/>
                <a:gd name="connsiteY53" fmla="*/ 718007 h 771060"/>
                <a:gd name="connsiteX54" fmla="*/ 384659 w 1312922"/>
                <a:gd name="connsiteY54" fmla="*/ 721050 h 771060"/>
                <a:gd name="connsiteX55" fmla="*/ 386370 w 1312922"/>
                <a:gd name="connsiteY55" fmla="*/ 723142 h 771060"/>
                <a:gd name="connsiteX56" fmla="*/ 408048 w 1312922"/>
                <a:gd name="connsiteY56" fmla="*/ 738164 h 771060"/>
                <a:gd name="connsiteX57" fmla="*/ 409949 w 1312922"/>
                <a:gd name="connsiteY57" fmla="*/ 738164 h 771060"/>
                <a:gd name="connsiteX58" fmla="*/ 418316 w 1312922"/>
                <a:gd name="connsiteY58" fmla="*/ 735311 h 771060"/>
                <a:gd name="connsiteX59" fmla="*/ 420978 w 1312922"/>
                <a:gd name="connsiteY59" fmla="*/ 733790 h 771060"/>
                <a:gd name="connsiteX60" fmla="*/ 446269 w 1312922"/>
                <a:gd name="connsiteY60" fmla="*/ 730748 h 771060"/>
                <a:gd name="connsiteX61" fmla="*/ 453685 w 1312922"/>
                <a:gd name="connsiteY61" fmla="*/ 735692 h 771060"/>
                <a:gd name="connsiteX62" fmla="*/ 460150 w 1312922"/>
                <a:gd name="connsiteY62" fmla="*/ 739495 h 771060"/>
                <a:gd name="connsiteX63" fmla="*/ 460150 w 1312922"/>
                <a:gd name="connsiteY63" fmla="*/ 739495 h 771060"/>
                <a:gd name="connsiteX64" fmla="*/ 464143 w 1312922"/>
                <a:gd name="connsiteY64" fmla="*/ 737213 h 771060"/>
                <a:gd name="connsiteX65" fmla="*/ 470608 w 1312922"/>
                <a:gd name="connsiteY65" fmla="*/ 733600 h 771060"/>
                <a:gd name="connsiteX66" fmla="*/ 488673 w 1312922"/>
                <a:gd name="connsiteY66" fmla="*/ 736452 h 771060"/>
                <a:gd name="connsiteX67" fmla="*/ 498561 w 1312922"/>
                <a:gd name="connsiteY67" fmla="*/ 738164 h 771060"/>
                <a:gd name="connsiteX68" fmla="*/ 503695 w 1312922"/>
                <a:gd name="connsiteY68" fmla="*/ 733410 h 771060"/>
                <a:gd name="connsiteX69" fmla="*/ 513393 w 1312922"/>
                <a:gd name="connsiteY69" fmla="*/ 724853 h 771060"/>
                <a:gd name="connsiteX70" fmla="*/ 537733 w 1312922"/>
                <a:gd name="connsiteY70" fmla="*/ 720479 h 771060"/>
                <a:gd name="connsiteX71" fmla="*/ 549903 w 1312922"/>
                <a:gd name="connsiteY71" fmla="*/ 727325 h 771060"/>
                <a:gd name="connsiteX72" fmla="*/ 553325 w 1312922"/>
                <a:gd name="connsiteY72" fmla="*/ 730367 h 771060"/>
                <a:gd name="connsiteX73" fmla="*/ 563023 w 1312922"/>
                <a:gd name="connsiteY73" fmla="*/ 733790 h 771060"/>
                <a:gd name="connsiteX74" fmla="*/ 568348 w 1312922"/>
                <a:gd name="connsiteY74" fmla="*/ 735311 h 771060"/>
                <a:gd name="connsiteX75" fmla="*/ 600103 w 1312922"/>
                <a:gd name="connsiteY75" fmla="*/ 749573 h 771060"/>
                <a:gd name="connsiteX76" fmla="*/ 604667 w 1312922"/>
                <a:gd name="connsiteY76" fmla="*/ 752045 h 771060"/>
                <a:gd name="connsiteX77" fmla="*/ 665136 w 1312922"/>
                <a:gd name="connsiteY77" fmla="*/ 771060 h 771060"/>
                <a:gd name="connsiteX78" fmla="*/ 685862 w 1312922"/>
                <a:gd name="connsiteY78" fmla="*/ 764025 h 771060"/>
                <a:gd name="connsiteX79" fmla="*/ 701645 w 1312922"/>
                <a:gd name="connsiteY79" fmla="*/ 745009 h 771060"/>
                <a:gd name="connsiteX80" fmla="*/ 707160 w 1312922"/>
                <a:gd name="connsiteY80" fmla="*/ 735882 h 771060"/>
                <a:gd name="connsiteX81" fmla="*/ 707160 w 1312922"/>
                <a:gd name="connsiteY81" fmla="*/ 734741 h 771060"/>
                <a:gd name="connsiteX82" fmla="*/ 720281 w 1312922"/>
                <a:gd name="connsiteY82" fmla="*/ 714394 h 771060"/>
                <a:gd name="connsiteX83" fmla="*/ 732830 w 1312922"/>
                <a:gd name="connsiteY83" fmla="*/ 695379 h 771060"/>
                <a:gd name="connsiteX84" fmla="*/ 738155 w 1312922"/>
                <a:gd name="connsiteY84" fmla="*/ 677505 h 771060"/>
                <a:gd name="connsiteX85" fmla="*/ 743479 w 1312922"/>
                <a:gd name="connsiteY85" fmla="*/ 658489 h 771060"/>
                <a:gd name="connsiteX86" fmla="*/ 748423 w 1312922"/>
                <a:gd name="connsiteY86" fmla="*/ 649552 h 771060"/>
                <a:gd name="connsiteX87" fmla="*/ 752987 w 1312922"/>
                <a:gd name="connsiteY87" fmla="*/ 632628 h 771060"/>
                <a:gd name="connsiteX88" fmla="*/ 761354 w 1312922"/>
                <a:gd name="connsiteY88" fmla="*/ 594597 h 771060"/>
                <a:gd name="connsiteX89" fmla="*/ 814597 w 1312922"/>
                <a:gd name="connsiteY89" fmla="*/ 529185 h 771060"/>
                <a:gd name="connsiteX90" fmla="*/ 818780 w 1312922"/>
                <a:gd name="connsiteY90" fmla="*/ 525381 h 771060"/>
                <a:gd name="connsiteX91" fmla="*/ 834563 w 1312922"/>
                <a:gd name="connsiteY91" fmla="*/ 503704 h 771060"/>
                <a:gd name="connsiteX92" fmla="*/ 842549 w 1312922"/>
                <a:gd name="connsiteY92" fmla="*/ 470427 h 771060"/>
                <a:gd name="connsiteX93" fmla="*/ 844641 w 1312922"/>
                <a:gd name="connsiteY93" fmla="*/ 460539 h 771060"/>
                <a:gd name="connsiteX94" fmla="*/ 851677 w 1312922"/>
                <a:gd name="connsiteY94" fmla="*/ 439432 h 771060"/>
                <a:gd name="connsiteX95" fmla="*/ 884954 w 1312922"/>
                <a:gd name="connsiteY95" fmla="*/ 413001 h 771060"/>
                <a:gd name="connsiteX96" fmla="*/ 917660 w 1312922"/>
                <a:gd name="connsiteY96" fmla="*/ 418325 h 771060"/>
                <a:gd name="connsiteX97" fmla="*/ 936675 w 1312922"/>
                <a:gd name="connsiteY97" fmla="*/ 426311 h 771060"/>
                <a:gd name="connsiteX98" fmla="*/ 977559 w 1312922"/>
                <a:gd name="connsiteY98" fmla="*/ 400641 h 771060"/>
                <a:gd name="connsiteX99" fmla="*/ 994102 w 1312922"/>
                <a:gd name="connsiteY99" fmla="*/ 386949 h 771060"/>
                <a:gd name="connsiteX100" fmla="*/ 1029851 w 1312922"/>
                <a:gd name="connsiteY100" fmla="*/ 371927 h 771060"/>
                <a:gd name="connsiteX101" fmla="*/ 1040690 w 1312922"/>
                <a:gd name="connsiteY101" fmla="*/ 370026 h 771060"/>
                <a:gd name="connsiteX102" fmla="*/ 1043352 w 1312922"/>
                <a:gd name="connsiteY102" fmla="*/ 370026 h 771060"/>
                <a:gd name="connsiteX103" fmla="*/ 1070164 w 1312922"/>
                <a:gd name="connsiteY103" fmla="*/ 364131 h 771060"/>
                <a:gd name="connsiteX104" fmla="*/ 1091651 w 1312922"/>
                <a:gd name="connsiteY104" fmla="*/ 345116 h 771060"/>
                <a:gd name="connsiteX105" fmla="*/ 1111807 w 1312922"/>
                <a:gd name="connsiteY105" fmla="*/ 324769 h 771060"/>
                <a:gd name="connsiteX106" fmla="*/ 1186728 w 1312922"/>
                <a:gd name="connsiteY106" fmla="*/ 297387 h 771060"/>
                <a:gd name="connsiteX107" fmla="*/ 1193573 w 1312922"/>
                <a:gd name="connsiteY107" fmla="*/ 297387 h 771060"/>
                <a:gd name="connsiteX108" fmla="*/ 1223808 w 1312922"/>
                <a:gd name="connsiteY108" fmla="*/ 288830 h 771060"/>
                <a:gd name="connsiteX109" fmla="*/ 1233506 w 1312922"/>
                <a:gd name="connsiteY109" fmla="*/ 278372 h 771060"/>
                <a:gd name="connsiteX110" fmla="*/ 1244345 w 1312922"/>
                <a:gd name="connsiteY110" fmla="*/ 266772 h 771060"/>
                <a:gd name="connsiteX111" fmla="*/ 1268494 w 1312922"/>
                <a:gd name="connsiteY111" fmla="*/ 255173 h 771060"/>
                <a:gd name="connsiteX112" fmla="*/ 1299489 w 1312922"/>
                <a:gd name="connsiteY112" fmla="*/ 234066 h 771060"/>
                <a:gd name="connsiteX113" fmla="*/ 1299489 w 1312922"/>
                <a:gd name="connsiteY113" fmla="*/ 229692 h 771060"/>
                <a:gd name="connsiteX114" fmla="*/ 1303672 w 1312922"/>
                <a:gd name="connsiteY114" fmla="*/ 218283 h 771060"/>
                <a:gd name="connsiteX115" fmla="*/ 1306715 w 1312922"/>
                <a:gd name="connsiteY115" fmla="*/ 214480 h 771060"/>
                <a:gd name="connsiteX116" fmla="*/ 1310138 w 1312922"/>
                <a:gd name="connsiteY116" fmla="*/ 209916 h 771060"/>
                <a:gd name="connsiteX117" fmla="*/ 1308807 w 1312922"/>
                <a:gd name="connsiteY117" fmla="*/ 186908 h 771060"/>
                <a:gd name="connsiteX118" fmla="*/ 1302341 w 1312922"/>
                <a:gd name="connsiteY118" fmla="*/ 184055 h 771060"/>
                <a:gd name="connsiteX119" fmla="*/ 1288840 w 1312922"/>
                <a:gd name="connsiteY119" fmla="*/ 175688 h 771060"/>
                <a:gd name="connsiteX120" fmla="*/ 1295496 w 1312922"/>
                <a:gd name="connsiteY120" fmla="*/ 141651 h 771060"/>
                <a:gd name="connsiteX121" fmla="*/ 1296447 w 1312922"/>
                <a:gd name="connsiteY121" fmla="*/ 140320 h 771060"/>
                <a:gd name="connsiteX122" fmla="*/ 1305764 w 1312922"/>
                <a:gd name="connsiteY122" fmla="*/ 126819 h 771060"/>
                <a:gd name="connsiteX123" fmla="*/ 1310138 w 1312922"/>
                <a:gd name="connsiteY123" fmla="*/ 120734 h 771060"/>
                <a:gd name="connsiteX124" fmla="*/ 1308807 w 1312922"/>
                <a:gd name="connsiteY124" fmla="*/ 120734 h 771060"/>
                <a:gd name="connsiteX125" fmla="*/ 1270776 w 1312922"/>
                <a:gd name="connsiteY125" fmla="*/ 120734 h 771060"/>
                <a:gd name="connsiteX126" fmla="*/ 1263550 w 1312922"/>
                <a:gd name="connsiteY126" fmla="*/ 128150 h 771060"/>
                <a:gd name="connsiteX127" fmla="*/ 1244535 w 1312922"/>
                <a:gd name="connsiteY127" fmla="*/ 141081 h 771060"/>
                <a:gd name="connsiteX128" fmla="*/ 1225519 w 1312922"/>
                <a:gd name="connsiteY128" fmla="*/ 156483 h 771060"/>
                <a:gd name="connsiteX129" fmla="*/ 1189961 w 1312922"/>
                <a:gd name="connsiteY129" fmla="*/ 173597 h 771060"/>
                <a:gd name="connsiteX130" fmla="*/ 1165811 w 1312922"/>
                <a:gd name="connsiteY130" fmla="*/ 178541 h 771060"/>
                <a:gd name="connsiteX131" fmla="*/ 1155352 w 1312922"/>
                <a:gd name="connsiteY131" fmla="*/ 189760 h 771060"/>
                <a:gd name="connsiteX132" fmla="*/ 1114850 w 1312922"/>
                <a:gd name="connsiteY132" fmla="*/ 208775 h 771060"/>
                <a:gd name="connsiteX133" fmla="*/ 1105722 w 1312922"/>
                <a:gd name="connsiteY133" fmla="*/ 208775 h 771060"/>
                <a:gd name="connsiteX134" fmla="*/ 1088418 w 1312922"/>
                <a:gd name="connsiteY134" fmla="*/ 214670 h 771060"/>
                <a:gd name="connsiteX135" fmla="*/ 1078340 w 1312922"/>
                <a:gd name="connsiteY135" fmla="*/ 219234 h 771060"/>
                <a:gd name="connsiteX136" fmla="*/ 1040309 w 1312922"/>
                <a:gd name="connsiteY136" fmla="*/ 210867 h 771060"/>
                <a:gd name="connsiteX137" fmla="*/ 1033274 w 1312922"/>
                <a:gd name="connsiteY137" fmla="*/ 206874 h 771060"/>
                <a:gd name="connsiteX138" fmla="*/ 943901 w 1312922"/>
                <a:gd name="connsiteY138" fmla="*/ 161237 h 771060"/>
                <a:gd name="connsiteX139" fmla="*/ 880960 w 1312922"/>
                <a:gd name="connsiteY139" fmla="*/ 130242 h 771060"/>
                <a:gd name="connsiteX140" fmla="*/ 776566 w 1312922"/>
                <a:gd name="connsiteY140" fmla="*/ 77759 h 771060"/>
                <a:gd name="connsiteX141" fmla="*/ 763255 w 1312922"/>
                <a:gd name="connsiteY141" fmla="*/ 70533 h 771060"/>
                <a:gd name="connsiteX142" fmla="*/ 701455 w 1312922"/>
                <a:gd name="connsiteY142" fmla="*/ 32503 h 771060"/>
                <a:gd name="connsiteX143" fmla="*/ 691187 w 1312922"/>
                <a:gd name="connsiteY143" fmla="*/ 23565 h 771060"/>
                <a:gd name="connsiteX144" fmla="*/ 642507 w 1312922"/>
                <a:gd name="connsiteY144" fmla="*/ 557 h 771060"/>
                <a:gd name="connsiteX145" fmla="*/ 623492 w 1312922"/>
                <a:gd name="connsiteY145" fmla="*/ 7593 h 771060"/>
                <a:gd name="connsiteX146" fmla="*/ 595159 w 1312922"/>
                <a:gd name="connsiteY146" fmla="*/ 16149 h 771060"/>
                <a:gd name="connsiteX147" fmla="*/ 562072 w 1312922"/>
                <a:gd name="connsiteY147" fmla="*/ 16149 h 771060"/>
                <a:gd name="connsiteX148" fmla="*/ 536211 w 1312922"/>
                <a:gd name="connsiteY148" fmla="*/ 16149 h 771060"/>
                <a:gd name="connsiteX149" fmla="*/ 484870 w 1312922"/>
                <a:gd name="connsiteY149" fmla="*/ 16149 h 771060"/>
                <a:gd name="connsiteX150" fmla="*/ 466995 w 1312922"/>
                <a:gd name="connsiteY150" fmla="*/ 22425 h 771060"/>
                <a:gd name="connsiteX151" fmla="*/ 441135 w 1312922"/>
                <a:gd name="connsiteY151" fmla="*/ 53420 h 771060"/>
                <a:gd name="connsiteX152" fmla="*/ 429535 w 1312922"/>
                <a:gd name="connsiteY152" fmla="*/ 70343 h 771060"/>
                <a:gd name="connsiteX153" fmla="*/ 420027 w 1312922"/>
                <a:gd name="connsiteY153" fmla="*/ 84415 h 771060"/>
                <a:gd name="connsiteX154" fmla="*/ 425352 w 1312922"/>
                <a:gd name="connsiteY154" fmla="*/ 107043 h 771060"/>
                <a:gd name="connsiteX155" fmla="*/ 428584 w 1312922"/>
                <a:gd name="connsiteY155" fmla="*/ 110466 h 771060"/>
                <a:gd name="connsiteX156" fmla="*/ 433909 w 1312922"/>
                <a:gd name="connsiteY156" fmla="*/ 138609 h 771060"/>
                <a:gd name="connsiteX157" fmla="*/ 431437 w 1312922"/>
                <a:gd name="connsiteY157" fmla="*/ 148306 h 771060"/>
                <a:gd name="connsiteX158" fmla="*/ 431437 w 1312922"/>
                <a:gd name="connsiteY158" fmla="*/ 163709 h 771060"/>
                <a:gd name="connsiteX159" fmla="*/ 434859 w 1312922"/>
                <a:gd name="connsiteY159" fmla="*/ 171885 h 771060"/>
                <a:gd name="connsiteX160" fmla="*/ 439233 w 1312922"/>
                <a:gd name="connsiteY160" fmla="*/ 183295 h 771060"/>
                <a:gd name="connsiteX161" fmla="*/ 422880 w 1312922"/>
                <a:gd name="connsiteY161" fmla="*/ 215621 h 771060"/>
                <a:gd name="connsiteX162" fmla="*/ 409569 w 1312922"/>
                <a:gd name="connsiteY162" fmla="*/ 219994 h 771060"/>
                <a:gd name="connsiteX163" fmla="*/ 394357 w 1312922"/>
                <a:gd name="connsiteY163" fmla="*/ 206684 h 771060"/>
                <a:gd name="connsiteX164" fmla="*/ 391504 w 1312922"/>
                <a:gd name="connsiteY164" fmla="*/ 202690 h 771060"/>
                <a:gd name="connsiteX165" fmla="*/ 384849 w 1312922"/>
                <a:gd name="connsiteY165" fmla="*/ 196606 h 771060"/>
                <a:gd name="connsiteX166" fmla="*/ 381616 w 1312922"/>
                <a:gd name="connsiteY166" fmla="*/ 198697 h 771060"/>
                <a:gd name="connsiteX167" fmla="*/ 374581 w 1312922"/>
                <a:gd name="connsiteY167" fmla="*/ 203261 h 771060"/>
                <a:gd name="connsiteX168" fmla="*/ 355565 w 1312922"/>
                <a:gd name="connsiteY168" fmla="*/ 194894 h 771060"/>
                <a:gd name="connsiteX169" fmla="*/ 348530 w 1312922"/>
                <a:gd name="connsiteY169" fmla="*/ 189190 h 771060"/>
                <a:gd name="connsiteX170" fmla="*/ 344536 w 1312922"/>
                <a:gd name="connsiteY170" fmla="*/ 191281 h 771060"/>
                <a:gd name="connsiteX171" fmla="*/ 338071 w 1312922"/>
                <a:gd name="connsiteY171" fmla="*/ 194704 h 771060"/>
                <a:gd name="connsiteX172" fmla="*/ 327232 w 1312922"/>
                <a:gd name="connsiteY172" fmla="*/ 194704 h 771060"/>
                <a:gd name="connsiteX173" fmla="*/ 324570 w 1312922"/>
                <a:gd name="connsiteY173" fmla="*/ 194704 h 771060"/>
                <a:gd name="connsiteX174" fmla="*/ 316013 w 1312922"/>
                <a:gd name="connsiteY174" fmla="*/ 194704 h 771060"/>
                <a:gd name="connsiteX175" fmla="*/ 293005 w 1312922"/>
                <a:gd name="connsiteY175" fmla="*/ 183295 h 771060"/>
                <a:gd name="connsiteX176" fmla="*/ 293005 w 1312922"/>
                <a:gd name="connsiteY176" fmla="*/ 174358 h 771060"/>
                <a:gd name="connsiteX177" fmla="*/ 293005 w 1312922"/>
                <a:gd name="connsiteY177" fmla="*/ 169223 h 771060"/>
                <a:gd name="connsiteX178" fmla="*/ 284448 w 1312922"/>
                <a:gd name="connsiteY178" fmla="*/ 161047 h 771060"/>
                <a:gd name="connsiteX179" fmla="*/ 242614 w 1312922"/>
                <a:gd name="connsiteY179" fmla="*/ 136517 h 771060"/>
                <a:gd name="connsiteX180" fmla="*/ 226071 w 1312922"/>
                <a:gd name="connsiteY180" fmla="*/ 131003 h 771060"/>
                <a:gd name="connsiteX181" fmla="*/ 207055 w 1312922"/>
                <a:gd name="connsiteY181" fmla="*/ 124917 h 771060"/>
                <a:gd name="connsiteX182" fmla="*/ 196597 w 1312922"/>
                <a:gd name="connsiteY182" fmla="*/ 117882 h 771060"/>
                <a:gd name="connsiteX183" fmla="*/ 177581 w 1312922"/>
                <a:gd name="connsiteY183" fmla="*/ 109325 h 771060"/>
                <a:gd name="connsiteX184" fmla="*/ 170546 w 1312922"/>
                <a:gd name="connsiteY184" fmla="*/ 112367 h 771060"/>
                <a:gd name="connsiteX185" fmla="*/ 189561 w 1312922"/>
                <a:gd name="connsiteY185" fmla="*/ 153631 h 771060"/>
                <a:gd name="connsiteX186" fmla="*/ 191843 w 1312922"/>
                <a:gd name="connsiteY186" fmla="*/ 157053 h 771060"/>
                <a:gd name="connsiteX187" fmla="*/ 200970 w 1312922"/>
                <a:gd name="connsiteY187" fmla="*/ 196225 h 771060"/>
                <a:gd name="connsiteX188" fmla="*/ 188610 w 1312922"/>
                <a:gd name="connsiteY188" fmla="*/ 226079 h 771060"/>
                <a:gd name="connsiteX189" fmla="*/ 185378 w 1312922"/>
                <a:gd name="connsiteY189" fmla="*/ 230833 h 771060"/>
                <a:gd name="connsiteX190" fmla="*/ 186519 w 1312922"/>
                <a:gd name="connsiteY190" fmla="*/ 256314 h 771060"/>
                <a:gd name="connsiteX191" fmla="*/ 174539 w 1312922"/>
                <a:gd name="connsiteY191" fmla="*/ 295295 h 771060"/>
                <a:gd name="connsiteX192" fmla="*/ 164651 w 1312922"/>
                <a:gd name="connsiteY192" fmla="*/ 298528 h 771060"/>
                <a:gd name="connsiteX193" fmla="*/ 149819 w 1312922"/>
                <a:gd name="connsiteY193" fmla="*/ 306324 h 771060"/>
                <a:gd name="connsiteX194" fmla="*/ 144495 w 1312922"/>
                <a:gd name="connsiteY194" fmla="*/ 317543 h 771060"/>
                <a:gd name="connsiteX195" fmla="*/ 133275 w 1312922"/>
                <a:gd name="connsiteY195" fmla="*/ 336559 h 771060"/>
                <a:gd name="connsiteX196" fmla="*/ 125479 w 1312922"/>
                <a:gd name="connsiteY196" fmla="*/ 360138 h 771060"/>
                <a:gd name="connsiteX197" fmla="*/ 135557 w 1312922"/>
                <a:gd name="connsiteY197" fmla="*/ 367554 h 771060"/>
                <a:gd name="connsiteX198" fmla="*/ 149058 w 1312922"/>
                <a:gd name="connsiteY198" fmla="*/ 370977 h 771060"/>
                <a:gd name="connsiteX199" fmla="*/ 155143 w 1312922"/>
                <a:gd name="connsiteY199" fmla="*/ 374209 h 771060"/>
                <a:gd name="connsiteX200" fmla="*/ 170926 w 1312922"/>
                <a:gd name="connsiteY200" fmla="*/ 374209 h 771060"/>
                <a:gd name="connsiteX201" fmla="*/ 178912 w 1312922"/>
                <a:gd name="connsiteY201" fmla="*/ 365652 h 771060"/>
                <a:gd name="connsiteX202" fmla="*/ 196597 w 1312922"/>
                <a:gd name="connsiteY202" fmla="*/ 351201 h 771060"/>
                <a:gd name="connsiteX203" fmla="*/ 241093 w 1312922"/>
                <a:gd name="connsiteY203" fmla="*/ 357285 h 771060"/>
                <a:gd name="connsiteX204" fmla="*/ 255354 w 1312922"/>
                <a:gd name="connsiteY204" fmla="*/ 382576 h 771060"/>
                <a:gd name="connsiteX205" fmla="*/ 237480 w 1312922"/>
                <a:gd name="connsiteY205" fmla="*/ 415663 h 771060"/>
                <a:gd name="connsiteX206" fmla="*/ 227972 w 1312922"/>
                <a:gd name="connsiteY206" fmla="*/ 426121 h 771060"/>
                <a:gd name="connsiteX207" fmla="*/ 218084 w 1312922"/>
                <a:gd name="connsiteY207" fmla="*/ 436960 h 771060"/>
                <a:gd name="connsiteX208" fmla="*/ 200400 w 1312922"/>
                <a:gd name="connsiteY208" fmla="*/ 445707 h 771060"/>
                <a:gd name="connsiteX209" fmla="*/ 188420 w 1312922"/>
                <a:gd name="connsiteY209" fmla="*/ 450651 h 771060"/>
                <a:gd name="connsiteX210" fmla="*/ 165982 w 1312922"/>
                <a:gd name="connsiteY210" fmla="*/ 475942 h 771060"/>
                <a:gd name="connsiteX211" fmla="*/ 169024 w 1312922"/>
                <a:gd name="connsiteY211" fmla="*/ 488492 h 771060"/>
                <a:gd name="connsiteX212" fmla="*/ 173778 w 1312922"/>
                <a:gd name="connsiteY212" fmla="*/ 505986 h 771060"/>
                <a:gd name="connsiteX213" fmla="*/ 154383 w 1312922"/>
                <a:gd name="connsiteY213" fmla="*/ 527663 h 77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2922" h="771060">
                  <a:moveTo>
                    <a:pt x="154383" y="527663"/>
                  </a:moveTo>
                  <a:cubicBezTo>
                    <a:pt x="152367" y="529108"/>
                    <a:pt x="150465" y="530706"/>
                    <a:pt x="148678" y="532417"/>
                  </a:cubicBezTo>
                  <a:cubicBezTo>
                    <a:pt x="140444" y="540841"/>
                    <a:pt x="127818" y="543199"/>
                    <a:pt x="117112" y="538312"/>
                  </a:cubicBezTo>
                  <a:lnTo>
                    <a:pt x="111978" y="536981"/>
                  </a:lnTo>
                  <a:cubicBezTo>
                    <a:pt x="100569" y="532797"/>
                    <a:pt x="87867" y="534147"/>
                    <a:pt x="77560" y="540594"/>
                  </a:cubicBezTo>
                  <a:cubicBezTo>
                    <a:pt x="77028" y="540936"/>
                    <a:pt x="76572" y="541393"/>
                    <a:pt x="76229" y="541925"/>
                  </a:cubicBezTo>
                  <a:cubicBezTo>
                    <a:pt x="73605" y="544454"/>
                    <a:pt x="71533" y="547496"/>
                    <a:pt x="70144" y="550862"/>
                  </a:cubicBezTo>
                  <a:cubicBezTo>
                    <a:pt x="68984" y="553524"/>
                    <a:pt x="67977" y="556263"/>
                    <a:pt x="67102" y="559039"/>
                  </a:cubicBezTo>
                  <a:cubicBezTo>
                    <a:pt x="67102" y="562081"/>
                    <a:pt x="65200" y="564933"/>
                    <a:pt x="64059" y="567786"/>
                  </a:cubicBezTo>
                  <a:cubicBezTo>
                    <a:pt x="61911" y="572806"/>
                    <a:pt x="59363" y="577636"/>
                    <a:pt x="56453" y="582238"/>
                  </a:cubicBezTo>
                  <a:cubicBezTo>
                    <a:pt x="52821" y="588189"/>
                    <a:pt x="49950" y="594579"/>
                    <a:pt x="47896" y="601253"/>
                  </a:cubicBezTo>
                  <a:cubicBezTo>
                    <a:pt x="46927" y="609601"/>
                    <a:pt x="40594" y="616332"/>
                    <a:pt x="32304" y="617796"/>
                  </a:cubicBezTo>
                  <a:cubicBezTo>
                    <a:pt x="29261" y="618367"/>
                    <a:pt x="26352" y="619527"/>
                    <a:pt x="23747" y="621219"/>
                  </a:cubicBezTo>
                  <a:cubicBezTo>
                    <a:pt x="19088" y="625269"/>
                    <a:pt x="15760" y="630632"/>
                    <a:pt x="14239" y="636622"/>
                  </a:cubicBezTo>
                  <a:cubicBezTo>
                    <a:pt x="13136" y="639816"/>
                    <a:pt x="11805" y="642935"/>
                    <a:pt x="10246" y="645939"/>
                  </a:cubicBezTo>
                  <a:lnTo>
                    <a:pt x="6633" y="651834"/>
                  </a:lnTo>
                  <a:cubicBezTo>
                    <a:pt x="1689" y="659060"/>
                    <a:pt x="-1734" y="664764"/>
                    <a:pt x="928" y="669138"/>
                  </a:cubicBezTo>
                  <a:cubicBezTo>
                    <a:pt x="928" y="669138"/>
                    <a:pt x="3020" y="670659"/>
                    <a:pt x="4541" y="671420"/>
                  </a:cubicBezTo>
                  <a:cubicBezTo>
                    <a:pt x="7184" y="672599"/>
                    <a:pt x="9561" y="674291"/>
                    <a:pt x="11577" y="676364"/>
                  </a:cubicBezTo>
                  <a:cubicBezTo>
                    <a:pt x="16445" y="683114"/>
                    <a:pt x="18099" y="691671"/>
                    <a:pt x="16141" y="699752"/>
                  </a:cubicBezTo>
                  <a:cubicBezTo>
                    <a:pt x="15856" y="701939"/>
                    <a:pt x="15418" y="704107"/>
                    <a:pt x="14810" y="706218"/>
                  </a:cubicBezTo>
                  <a:cubicBezTo>
                    <a:pt x="13802" y="708557"/>
                    <a:pt x="13345" y="711086"/>
                    <a:pt x="13479" y="713634"/>
                  </a:cubicBezTo>
                  <a:cubicBezTo>
                    <a:pt x="13479" y="714775"/>
                    <a:pt x="15380" y="716296"/>
                    <a:pt x="16711" y="717817"/>
                  </a:cubicBezTo>
                  <a:cubicBezTo>
                    <a:pt x="19107" y="719890"/>
                    <a:pt x="20990" y="722495"/>
                    <a:pt x="22226" y="725423"/>
                  </a:cubicBezTo>
                  <a:cubicBezTo>
                    <a:pt x="23652" y="730462"/>
                    <a:pt x="23652" y="735787"/>
                    <a:pt x="22226" y="740826"/>
                  </a:cubicBezTo>
                  <a:cubicBezTo>
                    <a:pt x="22226" y="744439"/>
                    <a:pt x="20324" y="750524"/>
                    <a:pt x="22226" y="751474"/>
                  </a:cubicBezTo>
                  <a:cubicBezTo>
                    <a:pt x="24127" y="752425"/>
                    <a:pt x="23937" y="752425"/>
                    <a:pt x="24698" y="751474"/>
                  </a:cubicBezTo>
                  <a:cubicBezTo>
                    <a:pt x="29451" y="751474"/>
                    <a:pt x="35536" y="740446"/>
                    <a:pt x="38008" y="736072"/>
                  </a:cubicBezTo>
                  <a:lnTo>
                    <a:pt x="39149" y="734171"/>
                  </a:lnTo>
                  <a:cubicBezTo>
                    <a:pt x="45614" y="722514"/>
                    <a:pt x="56187" y="713710"/>
                    <a:pt x="68813" y="709450"/>
                  </a:cubicBezTo>
                  <a:cubicBezTo>
                    <a:pt x="81687" y="706788"/>
                    <a:pt x="95074" y="708519"/>
                    <a:pt x="106844" y="714394"/>
                  </a:cubicBezTo>
                  <a:cubicBezTo>
                    <a:pt x="115116" y="718197"/>
                    <a:pt x="124624" y="718197"/>
                    <a:pt x="132895" y="714394"/>
                  </a:cubicBezTo>
                  <a:lnTo>
                    <a:pt x="138790" y="712873"/>
                  </a:lnTo>
                  <a:cubicBezTo>
                    <a:pt x="148031" y="709603"/>
                    <a:pt x="158224" y="713881"/>
                    <a:pt x="162369" y="722761"/>
                  </a:cubicBezTo>
                  <a:cubicBezTo>
                    <a:pt x="163947" y="725081"/>
                    <a:pt x="165659" y="727306"/>
                    <a:pt x="167503" y="729417"/>
                  </a:cubicBezTo>
                  <a:cubicBezTo>
                    <a:pt x="172257" y="734361"/>
                    <a:pt x="176060" y="733029"/>
                    <a:pt x="186519" y="725994"/>
                  </a:cubicBezTo>
                  <a:cubicBezTo>
                    <a:pt x="189181" y="724282"/>
                    <a:pt x="191843" y="722381"/>
                    <a:pt x="194315" y="721050"/>
                  </a:cubicBezTo>
                  <a:cubicBezTo>
                    <a:pt x="204279" y="714642"/>
                    <a:pt x="217057" y="714642"/>
                    <a:pt x="227021" y="721050"/>
                  </a:cubicBezTo>
                  <a:lnTo>
                    <a:pt x="229303" y="722001"/>
                  </a:lnTo>
                  <a:lnTo>
                    <a:pt x="231014" y="718388"/>
                  </a:lnTo>
                  <a:cubicBezTo>
                    <a:pt x="234247" y="710781"/>
                    <a:pt x="231014" y="706978"/>
                    <a:pt x="227402" y="700513"/>
                  </a:cubicBezTo>
                  <a:cubicBezTo>
                    <a:pt x="224188" y="696235"/>
                    <a:pt x="221811" y="691405"/>
                    <a:pt x="220366" y="686252"/>
                  </a:cubicBezTo>
                  <a:cubicBezTo>
                    <a:pt x="218502" y="679102"/>
                    <a:pt x="219967" y="671477"/>
                    <a:pt x="224359" y="665525"/>
                  </a:cubicBezTo>
                  <a:cubicBezTo>
                    <a:pt x="228543" y="659630"/>
                    <a:pt x="235046" y="655827"/>
                    <a:pt x="242234" y="655066"/>
                  </a:cubicBezTo>
                  <a:cubicBezTo>
                    <a:pt x="247273" y="654762"/>
                    <a:pt x="252312" y="655960"/>
                    <a:pt x="256685" y="658489"/>
                  </a:cubicBezTo>
                  <a:lnTo>
                    <a:pt x="261439" y="660581"/>
                  </a:lnTo>
                  <a:cubicBezTo>
                    <a:pt x="263512" y="661398"/>
                    <a:pt x="265832" y="661398"/>
                    <a:pt x="267904" y="660581"/>
                  </a:cubicBezTo>
                  <a:cubicBezTo>
                    <a:pt x="269882" y="659992"/>
                    <a:pt x="271936" y="659668"/>
                    <a:pt x="273989" y="659630"/>
                  </a:cubicBezTo>
                  <a:cubicBezTo>
                    <a:pt x="285931" y="659402"/>
                    <a:pt x="297873" y="659972"/>
                    <a:pt x="309738" y="661342"/>
                  </a:cubicBezTo>
                  <a:cubicBezTo>
                    <a:pt x="328754" y="663243"/>
                    <a:pt x="330845" y="678265"/>
                    <a:pt x="332747" y="689294"/>
                  </a:cubicBezTo>
                  <a:cubicBezTo>
                    <a:pt x="334648" y="700323"/>
                    <a:pt x="336360" y="706978"/>
                    <a:pt x="346248" y="706978"/>
                  </a:cubicBezTo>
                  <a:cubicBezTo>
                    <a:pt x="348454" y="706883"/>
                    <a:pt x="350640" y="706446"/>
                    <a:pt x="352713" y="705647"/>
                  </a:cubicBezTo>
                  <a:cubicBezTo>
                    <a:pt x="358551" y="703137"/>
                    <a:pt x="365263" y="703708"/>
                    <a:pt x="370587" y="707169"/>
                  </a:cubicBezTo>
                  <a:cubicBezTo>
                    <a:pt x="375037" y="710021"/>
                    <a:pt x="378916" y="713710"/>
                    <a:pt x="381997" y="718007"/>
                  </a:cubicBezTo>
                  <a:lnTo>
                    <a:pt x="384659" y="721050"/>
                  </a:lnTo>
                  <a:lnTo>
                    <a:pt x="386370" y="723142"/>
                  </a:lnTo>
                  <a:cubicBezTo>
                    <a:pt x="392836" y="730367"/>
                    <a:pt x="399301" y="737974"/>
                    <a:pt x="408048" y="738164"/>
                  </a:cubicBezTo>
                  <a:lnTo>
                    <a:pt x="409949" y="738164"/>
                  </a:lnTo>
                  <a:cubicBezTo>
                    <a:pt x="412878" y="737707"/>
                    <a:pt x="415711" y="736738"/>
                    <a:pt x="418316" y="735311"/>
                  </a:cubicBezTo>
                  <a:lnTo>
                    <a:pt x="420978" y="733790"/>
                  </a:lnTo>
                  <a:cubicBezTo>
                    <a:pt x="428223" y="728257"/>
                    <a:pt x="437921" y="727097"/>
                    <a:pt x="446269" y="730748"/>
                  </a:cubicBezTo>
                  <a:cubicBezTo>
                    <a:pt x="449007" y="731965"/>
                    <a:pt x="451517" y="733638"/>
                    <a:pt x="453685" y="735692"/>
                  </a:cubicBezTo>
                  <a:cubicBezTo>
                    <a:pt x="456537" y="737974"/>
                    <a:pt x="458248" y="739495"/>
                    <a:pt x="460150" y="739495"/>
                  </a:cubicBezTo>
                  <a:lnTo>
                    <a:pt x="460150" y="739495"/>
                  </a:lnTo>
                  <a:cubicBezTo>
                    <a:pt x="461101" y="739495"/>
                    <a:pt x="462242" y="738544"/>
                    <a:pt x="464143" y="737213"/>
                  </a:cubicBezTo>
                  <a:cubicBezTo>
                    <a:pt x="466045" y="735597"/>
                    <a:pt x="468232" y="734361"/>
                    <a:pt x="470608" y="733600"/>
                  </a:cubicBezTo>
                  <a:cubicBezTo>
                    <a:pt x="476770" y="732079"/>
                    <a:pt x="483273" y="733106"/>
                    <a:pt x="488673" y="736452"/>
                  </a:cubicBezTo>
                  <a:cubicBezTo>
                    <a:pt x="493237" y="738544"/>
                    <a:pt x="495709" y="739495"/>
                    <a:pt x="498561" y="738164"/>
                  </a:cubicBezTo>
                  <a:cubicBezTo>
                    <a:pt x="500596" y="736966"/>
                    <a:pt x="502345" y="735349"/>
                    <a:pt x="503695" y="733410"/>
                  </a:cubicBezTo>
                  <a:cubicBezTo>
                    <a:pt x="506376" y="729987"/>
                    <a:pt x="509666" y="727078"/>
                    <a:pt x="513393" y="724853"/>
                  </a:cubicBezTo>
                  <a:cubicBezTo>
                    <a:pt x="520828" y="720841"/>
                    <a:pt x="529366" y="719319"/>
                    <a:pt x="537733" y="720479"/>
                  </a:cubicBezTo>
                  <a:cubicBezTo>
                    <a:pt x="542411" y="721392"/>
                    <a:pt x="546689" y="723788"/>
                    <a:pt x="549903" y="727325"/>
                  </a:cubicBezTo>
                  <a:cubicBezTo>
                    <a:pt x="550948" y="728428"/>
                    <a:pt x="552108" y="729455"/>
                    <a:pt x="553325" y="730367"/>
                  </a:cubicBezTo>
                  <a:cubicBezTo>
                    <a:pt x="556368" y="732003"/>
                    <a:pt x="559638" y="733144"/>
                    <a:pt x="563023" y="733790"/>
                  </a:cubicBezTo>
                  <a:lnTo>
                    <a:pt x="568348" y="735311"/>
                  </a:lnTo>
                  <a:cubicBezTo>
                    <a:pt x="579300" y="739228"/>
                    <a:pt x="589911" y="743982"/>
                    <a:pt x="600103" y="749573"/>
                  </a:cubicBezTo>
                  <a:lnTo>
                    <a:pt x="604667" y="752045"/>
                  </a:lnTo>
                  <a:cubicBezTo>
                    <a:pt x="622694" y="763815"/>
                    <a:pt x="643610" y="770395"/>
                    <a:pt x="665136" y="771060"/>
                  </a:cubicBezTo>
                  <a:cubicBezTo>
                    <a:pt x="672552" y="770661"/>
                    <a:pt x="679740" y="768227"/>
                    <a:pt x="685862" y="764025"/>
                  </a:cubicBezTo>
                  <a:cubicBezTo>
                    <a:pt x="692176" y="758643"/>
                    <a:pt x="697519" y="752216"/>
                    <a:pt x="701645" y="745009"/>
                  </a:cubicBezTo>
                  <a:cubicBezTo>
                    <a:pt x="703642" y="742062"/>
                    <a:pt x="705467" y="739019"/>
                    <a:pt x="707160" y="735882"/>
                  </a:cubicBezTo>
                  <a:cubicBezTo>
                    <a:pt x="707217" y="735501"/>
                    <a:pt x="707217" y="735121"/>
                    <a:pt x="707160" y="734741"/>
                  </a:cubicBezTo>
                  <a:cubicBezTo>
                    <a:pt x="711343" y="727325"/>
                    <a:pt x="715907" y="720860"/>
                    <a:pt x="720281" y="714394"/>
                  </a:cubicBezTo>
                  <a:cubicBezTo>
                    <a:pt x="724654" y="707929"/>
                    <a:pt x="729027" y="701844"/>
                    <a:pt x="732830" y="695379"/>
                  </a:cubicBezTo>
                  <a:cubicBezTo>
                    <a:pt x="735702" y="689808"/>
                    <a:pt x="737508" y="683742"/>
                    <a:pt x="738155" y="677505"/>
                  </a:cubicBezTo>
                  <a:cubicBezTo>
                    <a:pt x="739030" y="670944"/>
                    <a:pt x="740817" y="664555"/>
                    <a:pt x="743479" y="658489"/>
                  </a:cubicBezTo>
                  <a:cubicBezTo>
                    <a:pt x="745191" y="655066"/>
                    <a:pt x="746902" y="652214"/>
                    <a:pt x="748423" y="649552"/>
                  </a:cubicBezTo>
                  <a:cubicBezTo>
                    <a:pt x="752473" y="644912"/>
                    <a:pt x="754147" y="638675"/>
                    <a:pt x="752987" y="632628"/>
                  </a:cubicBezTo>
                  <a:cubicBezTo>
                    <a:pt x="750724" y="619337"/>
                    <a:pt x="753710" y="605702"/>
                    <a:pt x="761354" y="594597"/>
                  </a:cubicBezTo>
                  <a:cubicBezTo>
                    <a:pt x="775786" y="570296"/>
                    <a:pt x="793718" y="548238"/>
                    <a:pt x="814597" y="529185"/>
                  </a:cubicBezTo>
                  <a:lnTo>
                    <a:pt x="818780" y="525381"/>
                  </a:lnTo>
                  <a:cubicBezTo>
                    <a:pt x="826500" y="520304"/>
                    <a:pt x="832110" y="512603"/>
                    <a:pt x="834563" y="503704"/>
                  </a:cubicBezTo>
                  <a:cubicBezTo>
                    <a:pt x="837225" y="490393"/>
                    <a:pt x="839507" y="480885"/>
                    <a:pt x="842549" y="470427"/>
                  </a:cubicBezTo>
                  <a:cubicBezTo>
                    <a:pt x="843443" y="467176"/>
                    <a:pt x="844147" y="463867"/>
                    <a:pt x="844641" y="460539"/>
                  </a:cubicBezTo>
                  <a:cubicBezTo>
                    <a:pt x="845021" y="452990"/>
                    <a:pt x="847455" y="445707"/>
                    <a:pt x="851677" y="439432"/>
                  </a:cubicBezTo>
                  <a:cubicBezTo>
                    <a:pt x="860956" y="428555"/>
                    <a:pt x="872251" y="419580"/>
                    <a:pt x="884954" y="413001"/>
                  </a:cubicBezTo>
                  <a:cubicBezTo>
                    <a:pt x="895507" y="405623"/>
                    <a:pt x="909997" y="408000"/>
                    <a:pt x="917660" y="418325"/>
                  </a:cubicBezTo>
                  <a:cubicBezTo>
                    <a:pt x="922186" y="424106"/>
                    <a:pt x="929373" y="427129"/>
                    <a:pt x="936675" y="426311"/>
                  </a:cubicBezTo>
                  <a:cubicBezTo>
                    <a:pt x="952344" y="421558"/>
                    <a:pt x="966473" y="412696"/>
                    <a:pt x="977559" y="400641"/>
                  </a:cubicBezTo>
                  <a:cubicBezTo>
                    <a:pt x="982883" y="395887"/>
                    <a:pt x="988587" y="390943"/>
                    <a:pt x="994102" y="386949"/>
                  </a:cubicBezTo>
                  <a:cubicBezTo>
                    <a:pt x="1004789" y="379419"/>
                    <a:pt x="1016996" y="374304"/>
                    <a:pt x="1029851" y="371927"/>
                  </a:cubicBezTo>
                  <a:lnTo>
                    <a:pt x="1040690" y="370026"/>
                  </a:lnTo>
                  <a:lnTo>
                    <a:pt x="1043352" y="370026"/>
                  </a:lnTo>
                  <a:cubicBezTo>
                    <a:pt x="1052441" y="368866"/>
                    <a:pt x="1061416" y="366888"/>
                    <a:pt x="1070164" y="364131"/>
                  </a:cubicBezTo>
                  <a:cubicBezTo>
                    <a:pt x="1079063" y="360081"/>
                    <a:pt x="1086536" y="353444"/>
                    <a:pt x="1091651" y="345116"/>
                  </a:cubicBezTo>
                  <a:cubicBezTo>
                    <a:pt x="1097013" y="337110"/>
                    <a:pt x="1103859" y="330208"/>
                    <a:pt x="1111807" y="324769"/>
                  </a:cubicBezTo>
                  <a:cubicBezTo>
                    <a:pt x="1134854" y="311040"/>
                    <a:pt x="1160258" y="301741"/>
                    <a:pt x="1186728" y="297387"/>
                  </a:cubicBezTo>
                  <a:lnTo>
                    <a:pt x="1193573" y="297387"/>
                  </a:lnTo>
                  <a:cubicBezTo>
                    <a:pt x="1204165" y="296817"/>
                    <a:pt x="1214490" y="293907"/>
                    <a:pt x="1223808" y="288830"/>
                  </a:cubicBezTo>
                  <a:cubicBezTo>
                    <a:pt x="1227554" y="285864"/>
                    <a:pt x="1230825" y="282327"/>
                    <a:pt x="1233506" y="278372"/>
                  </a:cubicBezTo>
                  <a:cubicBezTo>
                    <a:pt x="1236662" y="274093"/>
                    <a:pt x="1240294" y="270214"/>
                    <a:pt x="1244345" y="266772"/>
                  </a:cubicBezTo>
                  <a:cubicBezTo>
                    <a:pt x="1251799" y="261790"/>
                    <a:pt x="1259937" y="257873"/>
                    <a:pt x="1268494" y="255173"/>
                  </a:cubicBezTo>
                  <a:cubicBezTo>
                    <a:pt x="1282375" y="249849"/>
                    <a:pt x="1297017" y="244334"/>
                    <a:pt x="1299489" y="234066"/>
                  </a:cubicBezTo>
                  <a:cubicBezTo>
                    <a:pt x="1299622" y="232621"/>
                    <a:pt x="1299622" y="231137"/>
                    <a:pt x="1299489" y="229692"/>
                  </a:cubicBezTo>
                  <a:cubicBezTo>
                    <a:pt x="1299375" y="225490"/>
                    <a:pt x="1300858" y="221402"/>
                    <a:pt x="1303672" y="218283"/>
                  </a:cubicBezTo>
                  <a:cubicBezTo>
                    <a:pt x="1304585" y="216952"/>
                    <a:pt x="1305612" y="215678"/>
                    <a:pt x="1306715" y="214480"/>
                  </a:cubicBezTo>
                  <a:cubicBezTo>
                    <a:pt x="1308179" y="213225"/>
                    <a:pt x="1309339" y="211666"/>
                    <a:pt x="1310138" y="209916"/>
                  </a:cubicBezTo>
                  <a:cubicBezTo>
                    <a:pt x="1314283" y="202652"/>
                    <a:pt x="1313770" y="193639"/>
                    <a:pt x="1308807" y="186908"/>
                  </a:cubicBezTo>
                  <a:cubicBezTo>
                    <a:pt x="1306867" y="185519"/>
                    <a:pt x="1304680" y="184550"/>
                    <a:pt x="1302341" y="184055"/>
                  </a:cubicBezTo>
                  <a:cubicBezTo>
                    <a:pt x="1296884" y="183219"/>
                    <a:pt x="1292016" y="180195"/>
                    <a:pt x="1288840" y="175688"/>
                  </a:cubicBezTo>
                  <a:cubicBezTo>
                    <a:pt x="1281234" y="163709"/>
                    <a:pt x="1290171" y="149828"/>
                    <a:pt x="1295496" y="141651"/>
                  </a:cubicBezTo>
                  <a:lnTo>
                    <a:pt x="1296447" y="140320"/>
                  </a:lnTo>
                  <a:cubicBezTo>
                    <a:pt x="1299489" y="135566"/>
                    <a:pt x="1302722" y="131003"/>
                    <a:pt x="1305764" y="126819"/>
                  </a:cubicBezTo>
                  <a:lnTo>
                    <a:pt x="1310138" y="120734"/>
                  </a:lnTo>
                  <a:lnTo>
                    <a:pt x="1308807" y="120734"/>
                  </a:lnTo>
                  <a:cubicBezTo>
                    <a:pt x="1294165" y="116551"/>
                    <a:pt x="1281424" y="113128"/>
                    <a:pt x="1270776" y="120734"/>
                  </a:cubicBezTo>
                  <a:cubicBezTo>
                    <a:pt x="1268171" y="123016"/>
                    <a:pt x="1265756" y="125488"/>
                    <a:pt x="1263550" y="128150"/>
                  </a:cubicBezTo>
                  <a:cubicBezTo>
                    <a:pt x="1258834" y="134463"/>
                    <a:pt x="1252141" y="139027"/>
                    <a:pt x="1244535" y="141081"/>
                  </a:cubicBezTo>
                  <a:cubicBezTo>
                    <a:pt x="1231414" y="145074"/>
                    <a:pt x="1229893" y="145454"/>
                    <a:pt x="1225519" y="156483"/>
                  </a:cubicBezTo>
                  <a:cubicBezTo>
                    <a:pt x="1219054" y="171885"/>
                    <a:pt x="1203652" y="172836"/>
                    <a:pt x="1189961" y="173597"/>
                  </a:cubicBezTo>
                  <a:cubicBezTo>
                    <a:pt x="1181632" y="173293"/>
                    <a:pt x="1173360" y="174985"/>
                    <a:pt x="1165811" y="178541"/>
                  </a:cubicBezTo>
                  <a:cubicBezTo>
                    <a:pt x="1161666" y="181622"/>
                    <a:pt x="1158129" y="185425"/>
                    <a:pt x="1155352" y="189760"/>
                  </a:cubicBezTo>
                  <a:cubicBezTo>
                    <a:pt x="1147119" y="203907"/>
                    <a:pt x="1130994" y="211476"/>
                    <a:pt x="1114850" y="208775"/>
                  </a:cubicBezTo>
                  <a:lnTo>
                    <a:pt x="1105722" y="208775"/>
                  </a:lnTo>
                  <a:cubicBezTo>
                    <a:pt x="1099656" y="209726"/>
                    <a:pt x="1093800" y="211723"/>
                    <a:pt x="1088418" y="214670"/>
                  </a:cubicBezTo>
                  <a:cubicBezTo>
                    <a:pt x="1085186" y="216191"/>
                    <a:pt x="1081953" y="217903"/>
                    <a:pt x="1078340" y="219234"/>
                  </a:cubicBezTo>
                  <a:cubicBezTo>
                    <a:pt x="1065048" y="222485"/>
                    <a:pt x="1050996" y="219405"/>
                    <a:pt x="1040309" y="210867"/>
                  </a:cubicBezTo>
                  <a:lnTo>
                    <a:pt x="1033274" y="206874"/>
                  </a:lnTo>
                  <a:cubicBezTo>
                    <a:pt x="1003610" y="191528"/>
                    <a:pt x="973813" y="176316"/>
                    <a:pt x="943901" y="161237"/>
                  </a:cubicBezTo>
                  <a:cubicBezTo>
                    <a:pt x="923175" y="150778"/>
                    <a:pt x="902068" y="140510"/>
                    <a:pt x="880960" y="130242"/>
                  </a:cubicBezTo>
                  <a:cubicBezTo>
                    <a:pt x="846543" y="113508"/>
                    <a:pt x="810794" y="96394"/>
                    <a:pt x="776566" y="77759"/>
                  </a:cubicBezTo>
                  <a:lnTo>
                    <a:pt x="763255" y="70533"/>
                  </a:lnTo>
                  <a:cubicBezTo>
                    <a:pt x="741407" y="60018"/>
                    <a:pt x="720699" y="47278"/>
                    <a:pt x="701455" y="32503"/>
                  </a:cubicBezTo>
                  <a:lnTo>
                    <a:pt x="691187" y="23565"/>
                  </a:lnTo>
                  <a:cubicBezTo>
                    <a:pt x="676165" y="10065"/>
                    <a:pt x="662093" y="-2866"/>
                    <a:pt x="642507" y="557"/>
                  </a:cubicBezTo>
                  <a:cubicBezTo>
                    <a:pt x="635909" y="2154"/>
                    <a:pt x="629539" y="4512"/>
                    <a:pt x="623492" y="7593"/>
                  </a:cubicBezTo>
                  <a:cubicBezTo>
                    <a:pt x="614783" y="12480"/>
                    <a:pt x="605104" y="15389"/>
                    <a:pt x="595159" y="16149"/>
                  </a:cubicBezTo>
                  <a:lnTo>
                    <a:pt x="562072" y="16149"/>
                  </a:lnTo>
                  <a:lnTo>
                    <a:pt x="536211" y="16149"/>
                  </a:lnTo>
                  <a:cubicBezTo>
                    <a:pt x="519288" y="16149"/>
                    <a:pt x="501794" y="16149"/>
                    <a:pt x="484870" y="16149"/>
                  </a:cubicBezTo>
                  <a:cubicBezTo>
                    <a:pt x="478424" y="16473"/>
                    <a:pt x="472225" y="18660"/>
                    <a:pt x="466995" y="22425"/>
                  </a:cubicBezTo>
                  <a:cubicBezTo>
                    <a:pt x="456214" y="30734"/>
                    <a:pt x="447372" y="41307"/>
                    <a:pt x="441135" y="53420"/>
                  </a:cubicBezTo>
                  <a:cubicBezTo>
                    <a:pt x="437522" y="59314"/>
                    <a:pt x="433529" y="64829"/>
                    <a:pt x="429535" y="70343"/>
                  </a:cubicBezTo>
                  <a:cubicBezTo>
                    <a:pt x="425542" y="75858"/>
                    <a:pt x="423070" y="79661"/>
                    <a:pt x="420027" y="84415"/>
                  </a:cubicBezTo>
                  <a:cubicBezTo>
                    <a:pt x="413372" y="94683"/>
                    <a:pt x="416414" y="97726"/>
                    <a:pt x="425352" y="107043"/>
                  </a:cubicBezTo>
                  <a:lnTo>
                    <a:pt x="428584" y="110466"/>
                  </a:lnTo>
                  <a:cubicBezTo>
                    <a:pt x="436514" y="117577"/>
                    <a:pt x="438682" y="129101"/>
                    <a:pt x="433909" y="138609"/>
                  </a:cubicBezTo>
                  <a:cubicBezTo>
                    <a:pt x="432882" y="141784"/>
                    <a:pt x="432064" y="145017"/>
                    <a:pt x="431437" y="148306"/>
                  </a:cubicBezTo>
                  <a:cubicBezTo>
                    <a:pt x="430467" y="153403"/>
                    <a:pt x="430467" y="158613"/>
                    <a:pt x="431437" y="163709"/>
                  </a:cubicBezTo>
                  <a:cubicBezTo>
                    <a:pt x="432178" y="166580"/>
                    <a:pt x="433338" y="169337"/>
                    <a:pt x="434859" y="171885"/>
                  </a:cubicBezTo>
                  <a:cubicBezTo>
                    <a:pt x="437008" y="175384"/>
                    <a:pt x="438492" y="179263"/>
                    <a:pt x="439233" y="183295"/>
                  </a:cubicBezTo>
                  <a:cubicBezTo>
                    <a:pt x="438415" y="195845"/>
                    <a:pt x="432502" y="207520"/>
                    <a:pt x="422880" y="215621"/>
                  </a:cubicBezTo>
                  <a:cubicBezTo>
                    <a:pt x="419248" y="218873"/>
                    <a:pt x="414418" y="220451"/>
                    <a:pt x="409569" y="219994"/>
                  </a:cubicBezTo>
                  <a:cubicBezTo>
                    <a:pt x="402895" y="217827"/>
                    <a:pt x="397399" y="213016"/>
                    <a:pt x="394357" y="206684"/>
                  </a:cubicBezTo>
                  <a:cubicBezTo>
                    <a:pt x="393406" y="205352"/>
                    <a:pt x="392455" y="203831"/>
                    <a:pt x="391504" y="202690"/>
                  </a:cubicBezTo>
                  <a:cubicBezTo>
                    <a:pt x="390554" y="201549"/>
                    <a:pt x="387131" y="196796"/>
                    <a:pt x="384849" y="196606"/>
                  </a:cubicBezTo>
                  <a:cubicBezTo>
                    <a:pt x="382567" y="196415"/>
                    <a:pt x="383518" y="196606"/>
                    <a:pt x="381616" y="198697"/>
                  </a:cubicBezTo>
                  <a:cubicBezTo>
                    <a:pt x="379639" y="200732"/>
                    <a:pt x="377243" y="202291"/>
                    <a:pt x="374581" y="203261"/>
                  </a:cubicBezTo>
                  <a:cubicBezTo>
                    <a:pt x="367070" y="205220"/>
                    <a:pt x="359197" y="201759"/>
                    <a:pt x="355565" y="194894"/>
                  </a:cubicBezTo>
                  <a:cubicBezTo>
                    <a:pt x="352713" y="191471"/>
                    <a:pt x="351002" y="189380"/>
                    <a:pt x="348530" y="189190"/>
                  </a:cubicBezTo>
                  <a:cubicBezTo>
                    <a:pt x="347008" y="189456"/>
                    <a:pt x="345620" y="190178"/>
                    <a:pt x="344536" y="191281"/>
                  </a:cubicBezTo>
                  <a:cubicBezTo>
                    <a:pt x="342540" y="192688"/>
                    <a:pt x="340353" y="193829"/>
                    <a:pt x="338071" y="194704"/>
                  </a:cubicBezTo>
                  <a:cubicBezTo>
                    <a:pt x="334553" y="195845"/>
                    <a:pt x="330750" y="195845"/>
                    <a:pt x="327232" y="194704"/>
                  </a:cubicBezTo>
                  <a:lnTo>
                    <a:pt x="324570" y="194704"/>
                  </a:lnTo>
                  <a:cubicBezTo>
                    <a:pt x="321718" y="194495"/>
                    <a:pt x="318866" y="194495"/>
                    <a:pt x="316013" y="194704"/>
                  </a:cubicBezTo>
                  <a:cubicBezTo>
                    <a:pt x="307647" y="194704"/>
                    <a:pt x="296998" y="194704"/>
                    <a:pt x="293005" y="183295"/>
                  </a:cubicBezTo>
                  <a:cubicBezTo>
                    <a:pt x="292453" y="180347"/>
                    <a:pt x="292453" y="177305"/>
                    <a:pt x="293005" y="174358"/>
                  </a:cubicBezTo>
                  <a:cubicBezTo>
                    <a:pt x="293480" y="172684"/>
                    <a:pt x="293480" y="170897"/>
                    <a:pt x="293005" y="169223"/>
                  </a:cubicBezTo>
                  <a:cubicBezTo>
                    <a:pt x="291674" y="165801"/>
                    <a:pt x="288441" y="163709"/>
                    <a:pt x="284448" y="161047"/>
                  </a:cubicBezTo>
                  <a:cubicBezTo>
                    <a:pt x="269996" y="151349"/>
                    <a:pt x="255354" y="143362"/>
                    <a:pt x="242614" y="136517"/>
                  </a:cubicBezTo>
                  <a:cubicBezTo>
                    <a:pt x="237366" y="133969"/>
                    <a:pt x="231794" y="132124"/>
                    <a:pt x="226071" y="131003"/>
                  </a:cubicBezTo>
                  <a:cubicBezTo>
                    <a:pt x="219510" y="129766"/>
                    <a:pt x="213121" y="127732"/>
                    <a:pt x="207055" y="124917"/>
                  </a:cubicBezTo>
                  <a:cubicBezTo>
                    <a:pt x="203404" y="122845"/>
                    <a:pt x="199905" y="120487"/>
                    <a:pt x="196597" y="117882"/>
                  </a:cubicBezTo>
                  <a:cubicBezTo>
                    <a:pt x="191596" y="112691"/>
                    <a:pt x="184788" y="109610"/>
                    <a:pt x="177581" y="109325"/>
                  </a:cubicBezTo>
                  <a:cubicBezTo>
                    <a:pt x="173778" y="109325"/>
                    <a:pt x="171306" y="110656"/>
                    <a:pt x="170546" y="112367"/>
                  </a:cubicBezTo>
                  <a:cubicBezTo>
                    <a:pt x="166362" y="120924"/>
                    <a:pt x="183286" y="145644"/>
                    <a:pt x="189561" y="153631"/>
                  </a:cubicBezTo>
                  <a:lnTo>
                    <a:pt x="191843" y="157053"/>
                  </a:lnTo>
                  <a:cubicBezTo>
                    <a:pt x="200229" y="168254"/>
                    <a:pt x="203537" y="182458"/>
                    <a:pt x="200970" y="196225"/>
                  </a:cubicBezTo>
                  <a:cubicBezTo>
                    <a:pt x="199810" y="207159"/>
                    <a:pt x="195513" y="217523"/>
                    <a:pt x="188610" y="226079"/>
                  </a:cubicBezTo>
                  <a:lnTo>
                    <a:pt x="185378" y="230833"/>
                  </a:lnTo>
                  <a:cubicBezTo>
                    <a:pt x="181974" y="239086"/>
                    <a:pt x="182392" y="248403"/>
                    <a:pt x="186519" y="256314"/>
                  </a:cubicBezTo>
                  <a:cubicBezTo>
                    <a:pt x="190322" y="268864"/>
                    <a:pt x="195646" y="286168"/>
                    <a:pt x="174539" y="295295"/>
                  </a:cubicBezTo>
                  <a:cubicBezTo>
                    <a:pt x="171306" y="296569"/>
                    <a:pt x="168017" y="297653"/>
                    <a:pt x="164651" y="298528"/>
                  </a:cubicBezTo>
                  <a:cubicBezTo>
                    <a:pt x="158908" y="299174"/>
                    <a:pt x="153603" y="301951"/>
                    <a:pt x="149819" y="306324"/>
                  </a:cubicBezTo>
                  <a:cubicBezTo>
                    <a:pt x="147518" y="309785"/>
                    <a:pt x="145711" y="313569"/>
                    <a:pt x="144495" y="317543"/>
                  </a:cubicBezTo>
                  <a:cubicBezTo>
                    <a:pt x="142422" y="324731"/>
                    <a:pt x="138562" y="331273"/>
                    <a:pt x="133275" y="336559"/>
                  </a:cubicBezTo>
                  <a:cubicBezTo>
                    <a:pt x="126449" y="342320"/>
                    <a:pt x="123444" y="351429"/>
                    <a:pt x="125479" y="360138"/>
                  </a:cubicBezTo>
                  <a:cubicBezTo>
                    <a:pt x="125479" y="366033"/>
                    <a:pt x="128141" y="366603"/>
                    <a:pt x="135557" y="367554"/>
                  </a:cubicBezTo>
                  <a:cubicBezTo>
                    <a:pt x="140235" y="367858"/>
                    <a:pt x="144799" y="369018"/>
                    <a:pt x="149058" y="370977"/>
                  </a:cubicBezTo>
                  <a:lnTo>
                    <a:pt x="155143" y="374209"/>
                  </a:lnTo>
                  <a:cubicBezTo>
                    <a:pt x="162179" y="378393"/>
                    <a:pt x="163890" y="379343"/>
                    <a:pt x="170926" y="374209"/>
                  </a:cubicBezTo>
                  <a:cubicBezTo>
                    <a:pt x="173968" y="371737"/>
                    <a:pt x="176650" y="368866"/>
                    <a:pt x="178912" y="365652"/>
                  </a:cubicBezTo>
                  <a:cubicBezTo>
                    <a:pt x="182982" y="358959"/>
                    <a:pt x="189219" y="353844"/>
                    <a:pt x="196597" y="351201"/>
                  </a:cubicBezTo>
                  <a:cubicBezTo>
                    <a:pt x="211600" y="346523"/>
                    <a:pt x="227896" y="348747"/>
                    <a:pt x="241093" y="357285"/>
                  </a:cubicBezTo>
                  <a:cubicBezTo>
                    <a:pt x="249745" y="362838"/>
                    <a:pt x="255088" y="372308"/>
                    <a:pt x="255354" y="382576"/>
                  </a:cubicBezTo>
                  <a:cubicBezTo>
                    <a:pt x="255392" y="395925"/>
                    <a:pt x="248661" y="408380"/>
                    <a:pt x="237480" y="415663"/>
                  </a:cubicBezTo>
                  <a:cubicBezTo>
                    <a:pt x="233981" y="418819"/>
                    <a:pt x="230786" y="422337"/>
                    <a:pt x="227972" y="426121"/>
                  </a:cubicBezTo>
                  <a:cubicBezTo>
                    <a:pt x="225044" y="430057"/>
                    <a:pt x="221735" y="433689"/>
                    <a:pt x="218084" y="436960"/>
                  </a:cubicBezTo>
                  <a:cubicBezTo>
                    <a:pt x="212931" y="441181"/>
                    <a:pt x="206884" y="444167"/>
                    <a:pt x="200400" y="445707"/>
                  </a:cubicBezTo>
                  <a:cubicBezTo>
                    <a:pt x="196197" y="446772"/>
                    <a:pt x="192147" y="448445"/>
                    <a:pt x="188420" y="450651"/>
                  </a:cubicBezTo>
                  <a:cubicBezTo>
                    <a:pt x="179331" y="457515"/>
                    <a:pt x="171706" y="466111"/>
                    <a:pt x="165982" y="475942"/>
                  </a:cubicBezTo>
                  <a:cubicBezTo>
                    <a:pt x="164651" y="479935"/>
                    <a:pt x="165982" y="483167"/>
                    <a:pt x="169024" y="488492"/>
                  </a:cubicBezTo>
                  <a:cubicBezTo>
                    <a:pt x="172523" y="493626"/>
                    <a:pt x="174197" y="499787"/>
                    <a:pt x="173778" y="505986"/>
                  </a:cubicBezTo>
                  <a:cubicBezTo>
                    <a:pt x="171116" y="514352"/>
                    <a:pt x="162749" y="521388"/>
                    <a:pt x="154383" y="52766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50" name="Полилиния: фигура 449">
              <a:extLst>
                <a:ext uri="{FF2B5EF4-FFF2-40B4-BE49-F238E27FC236}">
                  <a16:creationId xmlns:a16="http://schemas.microsoft.com/office/drawing/2014/main" id="{88053224-76CC-4AF4-72D8-A08F98E97319}"/>
                </a:ext>
              </a:extLst>
            </p:cNvPr>
            <p:cNvSpPr/>
            <p:nvPr/>
          </p:nvSpPr>
          <p:spPr>
            <a:xfrm>
              <a:off x="3401374" y="3065704"/>
              <a:ext cx="1035387" cy="626298"/>
            </a:xfrm>
            <a:custGeom>
              <a:avLst/>
              <a:gdLst>
                <a:gd name="connsiteX0" fmla="*/ 2852 w 1035387"/>
                <a:gd name="connsiteY0" fmla="*/ 270170 h 626298"/>
                <a:gd name="connsiteX1" fmla="*/ 3993 w 1035387"/>
                <a:gd name="connsiteY1" fmla="*/ 281960 h 626298"/>
                <a:gd name="connsiteX2" fmla="*/ 16733 w 1035387"/>
                <a:gd name="connsiteY2" fmla="*/ 299454 h 626298"/>
                <a:gd name="connsiteX3" fmla="*/ 29664 w 1035387"/>
                <a:gd name="connsiteY3" fmla="*/ 315427 h 626298"/>
                <a:gd name="connsiteX4" fmla="*/ 34038 w 1035387"/>
                <a:gd name="connsiteY4" fmla="*/ 325695 h 626298"/>
                <a:gd name="connsiteX5" fmla="*/ 36700 w 1035387"/>
                <a:gd name="connsiteY5" fmla="*/ 332351 h 626298"/>
                <a:gd name="connsiteX6" fmla="*/ 44306 w 1035387"/>
                <a:gd name="connsiteY6" fmla="*/ 344901 h 626298"/>
                <a:gd name="connsiteX7" fmla="*/ 47919 w 1035387"/>
                <a:gd name="connsiteY7" fmla="*/ 350225 h 626298"/>
                <a:gd name="connsiteX8" fmla="*/ 62370 w 1035387"/>
                <a:gd name="connsiteY8" fmla="*/ 378368 h 626298"/>
                <a:gd name="connsiteX9" fmla="*/ 71688 w 1035387"/>
                <a:gd name="connsiteY9" fmla="*/ 397383 h 626298"/>
                <a:gd name="connsiteX10" fmla="*/ 88231 w 1035387"/>
                <a:gd name="connsiteY10" fmla="*/ 412025 h 626298"/>
                <a:gd name="connsiteX11" fmla="*/ 88231 w 1035387"/>
                <a:gd name="connsiteY11" fmla="*/ 412025 h 626298"/>
                <a:gd name="connsiteX12" fmla="*/ 101162 w 1035387"/>
                <a:gd name="connsiteY12" fmla="*/ 405940 h 626298"/>
                <a:gd name="connsiteX13" fmla="*/ 110099 w 1035387"/>
                <a:gd name="connsiteY13" fmla="*/ 400235 h 626298"/>
                <a:gd name="connsiteX14" fmla="*/ 161441 w 1035387"/>
                <a:gd name="connsiteY14" fmla="*/ 411455 h 626298"/>
                <a:gd name="connsiteX15" fmla="*/ 173420 w 1035387"/>
                <a:gd name="connsiteY15" fmla="*/ 423815 h 626298"/>
                <a:gd name="connsiteX16" fmla="*/ 187872 w 1035387"/>
                <a:gd name="connsiteY16" fmla="*/ 420582 h 626298"/>
                <a:gd name="connsiteX17" fmla="*/ 240164 w 1035387"/>
                <a:gd name="connsiteY17" fmla="*/ 420582 h 626298"/>
                <a:gd name="connsiteX18" fmla="*/ 265835 w 1035387"/>
                <a:gd name="connsiteY18" fmla="*/ 420582 h 626298"/>
                <a:gd name="connsiteX19" fmla="*/ 301964 w 1035387"/>
                <a:gd name="connsiteY19" fmla="*/ 420582 h 626298"/>
                <a:gd name="connsiteX20" fmla="*/ 325924 w 1035387"/>
                <a:gd name="connsiteY20" fmla="*/ 413166 h 626298"/>
                <a:gd name="connsiteX21" fmla="*/ 347982 w 1035387"/>
                <a:gd name="connsiteY21" fmla="*/ 405370 h 626298"/>
                <a:gd name="connsiteX22" fmla="*/ 405028 w 1035387"/>
                <a:gd name="connsiteY22" fmla="*/ 430850 h 626298"/>
                <a:gd name="connsiteX23" fmla="*/ 414916 w 1035387"/>
                <a:gd name="connsiteY23" fmla="*/ 439597 h 626298"/>
                <a:gd name="connsiteX24" fmla="*/ 475004 w 1035387"/>
                <a:gd name="connsiteY24" fmla="*/ 477628 h 626298"/>
                <a:gd name="connsiteX25" fmla="*/ 488315 w 1035387"/>
                <a:gd name="connsiteY25" fmla="*/ 484854 h 626298"/>
                <a:gd name="connsiteX26" fmla="*/ 592329 w 1035387"/>
                <a:gd name="connsiteY26" fmla="*/ 537146 h 626298"/>
                <a:gd name="connsiteX27" fmla="*/ 655460 w 1035387"/>
                <a:gd name="connsiteY27" fmla="*/ 568332 h 626298"/>
                <a:gd name="connsiteX28" fmla="*/ 744833 w 1035387"/>
                <a:gd name="connsiteY28" fmla="*/ 613969 h 626298"/>
                <a:gd name="connsiteX29" fmla="*/ 752249 w 1035387"/>
                <a:gd name="connsiteY29" fmla="*/ 617962 h 626298"/>
                <a:gd name="connsiteX30" fmla="*/ 780962 w 1035387"/>
                <a:gd name="connsiteY30" fmla="*/ 625758 h 626298"/>
                <a:gd name="connsiteX31" fmla="*/ 790089 w 1035387"/>
                <a:gd name="connsiteY31" fmla="*/ 621575 h 626298"/>
                <a:gd name="connsiteX32" fmla="*/ 811006 w 1035387"/>
                <a:gd name="connsiteY32" fmla="*/ 614729 h 626298"/>
                <a:gd name="connsiteX33" fmla="*/ 820894 w 1035387"/>
                <a:gd name="connsiteY33" fmla="*/ 614729 h 626298"/>
                <a:gd name="connsiteX34" fmla="*/ 843332 w 1035387"/>
                <a:gd name="connsiteY34" fmla="*/ 609975 h 626298"/>
                <a:gd name="connsiteX35" fmla="*/ 853030 w 1035387"/>
                <a:gd name="connsiteY35" fmla="*/ 599327 h 626298"/>
                <a:gd name="connsiteX36" fmla="*/ 866721 w 1035387"/>
                <a:gd name="connsiteY36" fmla="*/ 585255 h 626298"/>
                <a:gd name="connsiteX37" fmla="*/ 895815 w 1035387"/>
                <a:gd name="connsiteY37" fmla="*/ 578600 h 626298"/>
                <a:gd name="connsiteX38" fmla="*/ 921866 w 1035387"/>
                <a:gd name="connsiteY38" fmla="*/ 568141 h 626298"/>
                <a:gd name="connsiteX39" fmla="*/ 947917 w 1035387"/>
                <a:gd name="connsiteY39" fmla="*/ 546654 h 626298"/>
                <a:gd name="connsiteX40" fmla="*/ 961037 w 1035387"/>
                <a:gd name="connsiteY40" fmla="*/ 536956 h 626298"/>
                <a:gd name="connsiteX41" fmla="*/ 969785 w 1035387"/>
                <a:gd name="connsiteY41" fmla="*/ 528209 h 626298"/>
                <a:gd name="connsiteX42" fmla="*/ 1017323 w 1035387"/>
                <a:gd name="connsiteY42" fmla="*/ 525167 h 626298"/>
                <a:gd name="connsiteX43" fmla="*/ 1022077 w 1035387"/>
                <a:gd name="connsiteY43" fmla="*/ 526308 h 626298"/>
                <a:gd name="connsiteX44" fmla="*/ 1027782 w 1035387"/>
                <a:gd name="connsiteY44" fmla="*/ 496073 h 626298"/>
                <a:gd name="connsiteX45" fmla="*/ 1015992 w 1035387"/>
                <a:gd name="connsiteY45" fmla="*/ 477058 h 626298"/>
                <a:gd name="connsiteX46" fmla="*/ 1013710 w 1035387"/>
                <a:gd name="connsiteY46" fmla="*/ 475727 h 626298"/>
                <a:gd name="connsiteX47" fmla="*/ 1001160 w 1035387"/>
                <a:gd name="connsiteY47" fmla="*/ 451957 h 626298"/>
                <a:gd name="connsiteX48" fmla="*/ 1020175 w 1035387"/>
                <a:gd name="connsiteY48" fmla="*/ 431801 h 626298"/>
                <a:gd name="connsiteX49" fmla="*/ 1027401 w 1035387"/>
                <a:gd name="connsiteY49" fmla="*/ 425336 h 626298"/>
                <a:gd name="connsiteX50" fmla="*/ 1035388 w 1035387"/>
                <a:gd name="connsiteY50" fmla="*/ 419061 h 626298"/>
                <a:gd name="connsiteX51" fmla="*/ 1031965 w 1035387"/>
                <a:gd name="connsiteY51" fmla="*/ 409173 h 626298"/>
                <a:gd name="connsiteX52" fmla="*/ 1030824 w 1035387"/>
                <a:gd name="connsiteY52" fmla="*/ 398714 h 626298"/>
                <a:gd name="connsiteX53" fmla="*/ 1016943 w 1035387"/>
                <a:gd name="connsiteY53" fmla="*/ 377607 h 626298"/>
                <a:gd name="connsiteX54" fmla="*/ 955903 w 1035387"/>
                <a:gd name="connsiteY54" fmla="*/ 323984 h 626298"/>
                <a:gd name="connsiteX55" fmla="*/ 919014 w 1035387"/>
                <a:gd name="connsiteY55" fmla="*/ 300215 h 626298"/>
                <a:gd name="connsiteX56" fmla="*/ 888399 w 1035387"/>
                <a:gd name="connsiteY56" fmla="*/ 276636 h 626298"/>
                <a:gd name="connsiteX57" fmla="*/ 875278 w 1035387"/>
                <a:gd name="connsiteY57" fmla="*/ 284242 h 626298"/>
                <a:gd name="connsiteX58" fmla="*/ 861017 w 1035387"/>
                <a:gd name="connsiteY58" fmla="*/ 289186 h 626298"/>
                <a:gd name="connsiteX59" fmla="*/ 845424 w 1035387"/>
                <a:gd name="connsiteY59" fmla="*/ 316188 h 626298"/>
                <a:gd name="connsiteX60" fmla="*/ 848466 w 1035387"/>
                <a:gd name="connsiteY60" fmla="*/ 354218 h 626298"/>
                <a:gd name="connsiteX61" fmla="*/ 844625 w 1035387"/>
                <a:gd name="connsiteY61" fmla="*/ 380840 h 626298"/>
                <a:gd name="connsiteX62" fmla="*/ 844093 w 1035387"/>
                <a:gd name="connsiteY62" fmla="*/ 381220 h 626298"/>
                <a:gd name="connsiteX63" fmla="*/ 817281 w 1035387"/>
                <a:gd name="connsiteY63" fmla="*/ 401567 h 626298"/>
                <a:gd name="connsiteX64" fmla="*/ 784765 w 1035387"/>
                <a:gd name="connsiteY64" fmla="*/ 404989 h 626298"/>
                <a:gd name="connsiteX65" fmla="*/ 750347 w 1035387"/>
                <a:gd name="connsiteY65" fmla="*/ 425336 h 626298"/>
                <a:gd name="connsiteX66" fmla="*/ 746544 w 1035387"/>
                <a:gd name="connsiteY66" fmla="*/ 396813 h 626298"/>
                <a:gd name="connsiteX67" fmla="*/ 769362 w 1035387"/>
                <a:gd name="connsiteY67" fmla="*/ 373804 h 626298"/>
                <a:gd name="connsiteX68" fmla="*/ 762707 w 1035387"/>
                <a:gd name="connsiteY68" fmla="*/ 344711 h 626298"/>
                <a:gd name="connsiteX69" fmla="*/ 744452 w 1035387"/>
                <a:gd name="connsiteY69" fmla="*/ 334385 h 626298"/>
                <a:gd name="connsiteX70" fmla="*/ 736276 w 1035387"/>
                <a:gd name="connsiteY70" fmla="*/ 340147 h 626298"/>
                <a:gd name="connsiteX71" fmla="*/ 730951 w 1035387"/>
                <a:gd name="connsiteY71" fmla="*/ 349274 h 626298"/>
                <a:gd name="connsiteX72" fmla="*/ 727529 w 1035387"/>
                <a:gd name="connsiteY72" fmla="*/ 356310 h 626298"/>
                <a:gd name="connsiteX73" fmla="*/ 724106 w 1035387"/>
                <a:gd name="connsiteY73" fmla="*/ 360493 h 626298"/>
                <a:gd name="connsiteX74" fmla="*/ 722204 w 1035387"/>
                <a:gd name="connsiteY74" fmla="*/ 360493 h 626298"/>
                <a:gd name="connsiteX75" fmla="*/ 722204 w 1035387"/>
                <a:gd name="connsiteY75" fmla="*/ 360493 h 626298"/>
                <a:gd name="connsiteX76" fmla="*/ 722204 w 1035387"/>
                <a:gd name="connsiteY76" fmla="*/ 357641 h 626298"/>
                <a:gd name="connsiteX77" fmla="*/ 722204 w 1035387"/>
                <a:gd name="connsiteY77" fmla="*/ 354028 h 626298"/>
                <a:gd name="connsiteX78" fmla="*/ 717260 w 1035387"/>
                <a:gd name="connsiteY78" fmla="*/ 345091 h 626298"/>
                <a:gd name="connsiteX79" fmla="*/ 704140 w 1035387"/>
                <a:gd name="connsiteY79" fmla="*/ 350035 h 626298"/>
                <a:gd name="connsiteX80" fmla="*/ 690449 w 1035387"/>
                <a:gd name="connsiteY80" fmla="*/ 350035 h 626298"/>
                <a:gd name="connsiteX81" fmla="*/ 661926 w 1035387"/>
                <a:gd name="connsiteY81" fmla="*/ 352507 h 626298"/>
                <a:gd name="connsiteX82" fmla="*/ 595182 w 1035387"/>
                <a:gd name="connsiteY82" fmla="*/ 317138 h 626298"/>
                <a:gd name="connsiteX83" fmla="*/ 538135 w 1035387"/>
                <a:gd name="connsiteY83" fmla="*/ 336154 h 626298"/>
                <a:gd name="connsiteX84" fmla="*/ 495541 w 1035387"/>
                <a:gd name="connsiteY84" fmla="*/ 298123 h 626298"/>
                <a:gd name="connsiteX85" fmla="*/ 516458 w 1035387"/>
                <a:gd name="connsiteY85" fmla="*/ 301356 h 626298"/>
                <a:gd name="connsiteX86" fmla="*/ 530529 w 1035387"/>
                <a:gd name="connsiteY86" fmla="*/ 280058 h 626298"/>
                <a:gd name="connsiteX87" fmla="*/ 561905 w 1035387"/>
                <a:gd name="connsiteY87" fmla="*/ 242028 h 626298"/>
                <a:gd name="connsiteX88" fmla="*/ 580920 w 1035387"/>
                <a:gd name="connsiteY88" fmla="*/ 247732 h 626298"/>
                <a:gd name="connsiteX89" fmla="*/ 567609 w 1035387"/>
                <a:gd name="connsiteY89" fmla="*/ 238415 h 626298"/>
                <a:gd name="connsiteX90" fmla="*/ 495351 w 1035387"/>
                <a:gd name="connsiteY90" fmla="*/ 236133 h 626298"/>
                <a:gd name="connsiteX91" fmla="*/ 474244 w 1035387"/>
                <a:gd name="connsiteY91" fmla="*/ 259141 h 626298"/>
                <a:gd name="connsiteX92" fmla="*/ 455228 w 1035387"/>
                <a:gd name="connsiteY92" fmla="*/ 273593 h 626298"/>
                <a:gd name="connsiteX93" fmla="*/ 460743 w 1035387"/>
                <a:gd name="connsiteY93" fmla="*/ 253247 h 626298"/>
                <a:gd name="connsiteX94" fmla="*/ 440016 w 1035387"/>
                <a:gd name="connsiteY94" fmla="*/ 240887 h 626298"/>
                <a:gd name="connsiteX95" fmla="*/ 421001 w 1035387"/>
                <a:gd name="connsiteY95" fmla="*/ 238415 h 626298"/>
                <a:gd name="connsiteX96" fmla="*/ 401985 w 1035387"/>
                <a:gd name="connsiteY96" fmla="*/ 238415 h 626298"/>
                <a:gd name="connsiteX97" fmla="*/ 390386 w 1035387"/>
                <a:gd name="connsiteY97" fmla="*/ 233090 h 626298"/>
                <a:gd name="connsiteX98" fmla="*/ 371370 w 1035387"/>
                <a:gd name="connsiteY98" fmla="*/ 233090 h 626298"/>
                <a:gd name="connsiteX99" fmla="*/ 336002 w 1035387"/>
                <a:gd name="connsiteY99" fmla="*/ 239746 h 626298"/>
                <a:gd name="connsiteX100" fmla="*/ 297971 w 1035387"/>
                <a:gd name="connsiteY100" fmla="*/ 241647 h 626298"/>
                <a:gd name="connsiteX101" fmla="*/ 286372 w 1035387"/>
                <a:gd name="connsiteY101" fmla="*/ 236703 h 626298"/>
                <a:gd name="connsiteX102" fmla="*/ 279526 w 1035387"/>
                <a:gd name="connsiteY102" fmla="*/ 227005 h 626298"/>
                <a:gd name="connsiteX103" fmla="*/ 270018 w 1035387"/>
                <a:gd name="connsiteY103" fmla="*/ 247922 h 626298"/>
                <a:gd name="connsiteX104" fmla="*/ 268117 w 1035387"/>
                <a:gd name="connsiteY104" fmla="*/ 256099 h 626298"/>
                <a:gd name="connsiteX105" fmla="*/ 259560 w 1035387"/>
                <a:gd name="connsiteY105" fmla="*/ 249253 h 626298"/>
                <a:gd name="connsiteX106" fmla="*/ 234460 w 1035387"/>
                <a:gd name="connsiteY106" fmla="*/ 237464 h 626298"/>
                <a:gd name="connsiteX107" fmla="*/ 180836 w 1035387"/>
                <a:gd name="connsiteY107" fmla="*/ 285002 h 626298"/>
                <a:gd name="connsiteX108" fmla="*/ 150412 w 1035387"/>
                <a:gd name="connsiteY108" fmla="*/ 293369 h 626298"/>
                <a:gd name="connsiteX109" fmla="*/ 109529 w 1035387"/>
                <a:gd name="connsiteY109" fmla="*/ 279108 h 626298"/>
                <a:gd name="connsiteX110" fmla="*/ 95077 w 1035387"/>
                <a:gd name="connsiteY110" fmla="*/ 224914 h 626298"/>
                <a:gd name="connsiteX111" fmla="*/ 95077 w 1035387"/>
                <a:gd name="connsiteY111" fmla="*/ 198292 h 626298"/>
                <a:gd name="connsiteX112" fmla="*/ 98119 w 1035387"/>
                <a:gd name="connsiteY112" fmla="*/ 166346 h 626298"/>
                <a:gd name="connsiteX113" fmla="*/ 124551 w 1035387"/>
                <a:gd name="connsiteY113" fmla="*/ 156839 h 626298"/>
                <a:gd name="connsiteX114" fmla="*/ 156877 w 1035387"/>
                <a:gd name="connsiteY114" fmla="*/ 160832 h 626298"/>
                <a:gd name="connsiteX115" fmla="*/ 173611 w 1035387"/>
                <a:gd name="connsiteY115" fmla="*/ 166727 h 626298"/>
                <a:gd name="connsiteX116" fmla="*/ 183118 w 1035387"/>
                <a:gd name="connsiteY116" fmla="*/ 177946 h 626298"/>
                <a:gd name="connsiteX117" fmla="*/ 198330 w 1035387"/>
                <a:gd name="connsiteY117" fmla="*/ 164445 h 626298"/>
                <a:gd name="connsiteX118" fmla="*/ 209930 w 1035387"/>
                <a:gd name="connsiteY118" fmla="*/ 137253 h 626298"/>
                <a:gd name="connsiteX119" fmla="*/ 205746 w 1035387"/>
                <a:gd name="connsiteY119" fmla="*/ 104166 h 626298"/>
                <a:gd name="connsiteX120" fmla="*/ 205746 w 1035387"/>
                <a:gd name="connsiteY120" fmla="*/ 74122 h 626298"/>
                <a:gd name="connsiteX121" fmla="*/ 181407 w 1035387"/>
                <a:gd name="connsiteY121" fmla="*/ 48641 h 626298"/>
                <a:gd name="connsiteX122" fmla="*/ 153644 w 1035387"/>
                <a:gd name="connsiteY122" fmla="*/ 33429 h 626298"/>
                <a:gd name="connsiteX123" fmla="*/ 142235 w 1035387"/>
                <a:gd name="connsiteY123" fmla="*/ 8329 h 626298"/>
                <a:gd name="connsiteX124" fmla="*/ 125692 w 1035387"/>
                <a:gd name="connsiteY124" fmla="*/ 4145 h 626298"/>
                <a:gd name="connsiteX125" fmla="*/ 125692 w 1035387"/>
                <a:gd name="connsiteY125" fmla="*/ 27914 h 626298"/>
                <a:gd name="connsiteX126" fmla="*/ 132918 w 1035387"/>
                <a:gd name="connsiteY126" fmla="*/ 54156 h 626298"/>
                <a:gd name="connsiteX127" fmla="*/ 117705 w 1035387"/>
                <a:gd name="connsiteY127" fmla="*/ 82298 h 626298"/>
                <a:gd name="connsiteX128" fmla="*/ 92034 w 1035387"/>
                <a:gd name="connsiteY128" fmla="*/ 103215 h 626298"/>
                <a:gd name="connsiteX129" fmla="*/ 65793 w 1035387"/>
                <a:gd name="connsiteY129" fmla="*/ 126984 h 626298"/>
                <a:gd name="connsiteX130" fmla="*/ 36700 w 1035387"/>
                <a:gd name="connsiteY130" fmla="*/ 146000 h 626298"/>
                <a:gd name="connsiteX131" fmla="*/ 38791 w 1035387"/>
                <a:gd name="connsiteY131" fmla="*/ 171290 h 626298"/>
                <a:gd name="connsiteX132" fmla="*/ 10078 w 1035387"/>
                <a:gd name="connsiteY132" fmla="*/ 237464 h 626298"/>
                <a:gd name="connsiteX133" fmla="*/ 0 w 1035387"/>
                <a:gd name="connsiteY133" fmla="*/ 243359 h 626298"/>
                <a:gd name="connsiteX134" fmla="*/ 4564 w 1035387"/>
                <a:gd name="connsiteY134" fmla="*/ 263895 h 626298"/>
                <a:gd name="connsiteX135" fmla="*/ 2852 w 1035387"/>
                <a:gd name="connsiteY135" fmla="*/ 270170 h 62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</a:cxnLst>
              <a:rect l="l" t="t" r="r" b="b"/>
              <a:pathLst>
                <a:path w="1035387" h="626298">
                  <a:moveTo>
                    <a:pt x="2852" y="270170"/>
                  </a:moveTo>
                  <a:cubicBezTo>
                    <a:pt x="2738" y="274126"/>
                    <a:pt x="3119" y="278100"/>
                    <a:pt x="3993" y="281960"/>
                  </a:cubicBezTo>
                  <a:cubicBezTo>
                    <a:pt x="6712" y="288767"/>
                    <a:pt x="11105" y="294776"/>
                    <a:pt x="16733" y="299454"/>
                  </a:cubicBezTo>
                  <a:cubicBezTo>
                    <a:pt x="21849" y="304075"/>
                    <a:pt x="26203" y="309456"/>
                    <a:pt x="29664" y="315427"/>
                  </a:cubicBezTo>
                  <a:cubicBezTo>
                    <a:pt x="31432" y="318717"/>
                    <a:pt x="32897" y="322139"/>
                    <a:pt x="34038" y="325695"/>
                  </a:cubicBezTo>
                  <a:cubicBezTo>
                    <a:pt x="34817" y="327958"/>
                    <a:pt x="35692" y="330183"/>
                    <a:pt x="36700" y="332351"/>
                  </a:cubicBezTo>
                  <a:cubicBezTo>
                    <a:pt x="38772" y="336800"/>
                    <a:pt x="41321" y="341003"/>
                    <a:pt x="44306" y="344901"/>
                  </a:cubicBezTo>
                  <a:lnTo>
                    <a:pt x="47919" y="350225"/>
                  </a:lnTo>
                  <a:cubicBezTo>
                    <a:pt x="53376" y="359257"/>
                    <a:pt x="58206" y="368670"/>
                    <a:pt x="62370" y="378368"/>
                  </a:cubicBezTo>
                  <a:cubicBezTo>
                    <a:pt x="65413" y="384833"/>
                    <a:pt x="68265" y="391299"/>
                    <a:pt x="71688" y="397383"/>
                  </a:cubicBezTo>
                  <a:cubicBezTo>
                    <a:pt x="75111" y="403468"/>
                    <a:pt x="81196" y="412025"/>
                    <a:pt x="88231" y="412025"/>
                  </a:cubicBezTo>
                  <a:lnTo>
                    <a:pt x="88231" y="412025"/>
                  </a:lnTo>
                  <a:cubicBezTo>
                    <a:pt x="93061" y="411341"/>
                    <a:pt x="97549" y="409211"/>
                    <a:pt x="101162" y="405940"/>
                  </a:cubicBezTo>
                  <a:cubicBezTo>
                    <a:pt x="103976" y="403792"/>
                    <a:pt x="106962" y="401890"/>
                    <a:pt x="110099" y="400235"/>
                  </a:cubicBezTo>
                  <a:cubicBezTo>
                    <a:pt x="127935" y="393675"/>
                    <a:pt x="147959" y="398049"/>
                    <a:pt x="161441" y="411455"/>
                  </a:cubicBezTo>
                  <a:cubicBezTo>
                    <a:pt x="165681" y="415334"/>
                    <a:pt x="169674" y="419460"/>
                    <a:pt x="173420" y="423815"/>
                  </a:cubicBezTo>
                  <a:cubicBezTo>
                    <a:pt x="178041" y="422008"/>
                    <a:pt x="182909" y="420924"/>
                    <a:pt x="187872" y="420582"/>
                  </a:cubicBezTo>
                  <a:cubicBezTo>
                    <a:pt x="205176" y="419441"/>
                    <a:pt x="223050" y="420582"/>
                    <a:pt x="240164" y="420582"/>
                  </a:cubicBezTo>
                  <a:lnTo>
                    <a:pt x="265835" y="420582"/>
                  </a:lnTo>
                  <a:lnTo>
                    <a:pt x="301964" y="420582"/>
                  </a:lnTo>
                  <a:cubicBezTo>
                    <a:pt x="310407" y="419916"/>
                    <a:pt x="318584" y="417387"/>
                    <a:pt x="325924" y="413166"/>
                  </a:cubicBezTo>
                  <a:cubicBezTo>
                    <a:pt x="332864" y="409534"/>
                    <a:pt x="340299" y="406891"/>
                    <a:pt x="347982" y="405370"/>
                  </a:cubicBezTo>
                  <a:cubicBezTo>
                    <a:pt x="372892" y="400996"/>
                    <a:pt x="390386" y="416779"/>
                    <a:pt x="405028" y="430850"/>
                  </a:cubicBezTo>
                  <a:lnTo>
                    <a:pt x="414916" y="439597"/>
                  </a:lnTo>
                  <a:cubicBezTo>
                    <a:pt x="433608" y="454277"/>
                    <a:pt x="453745" y="467018"/>
                    <a:pt x="475004" y="477628"/>
                  </a:cubicBezTo>
                  <a:lnTo>
                    <a:pt x="488315" y="484854"/>
                  </a:lnTo>
                  <a:cubicBezTo>
                    <a:pt x="522353" y="503870"/>
                    <a:pt x="557911" y="520603"/>
                    <a:pt x="592329" y="537146"/>
                  </a:cubicBezTo>
                  <a:cubicBezTo>
                    <a:pt x="613436" y="547415"/>
                    <a:pt x="634543" y="557683"/>
                    <a:pt x="655460" y="568332"/>
                  </a:cubicBezTo>
                  <a:cubicBezTo>
                    <a:pt x="685257" y="583411"/>
                    <a:pt x="715035" y="598623"/>
                    <a:pt x="744833" y="613969"/>
                  </a:cubicBezTo>
                  <a:lnTo>
                    <a:pt x="752249" y="617962"/>
                  </a:lnTo>
                  <a:cubicBezTo>
                    <a:pt x="760178" y="624731"/>
                    <a:pt x="770713" y="627584"/>
                    <a:pt x="780962" y="625758"/>
                  </a:cubicBezTo>
                  <a:cubicBezTo>
                    <a:pt x="784195" y="624427"/>
                    <a:pt x="787237" y="623096"/>
                    <a:pt x="790089" y="621575"/>
                  </a:cubicBezTo>
                  <a:cubicBezTo>
                    <a:pt x="796612" y="618114"/>
                    <a:pt x="803685" y="615794"/>
                    <a:pt x="811006" y="614729"/>
                  </a:cubicBezTo>
                  <a:cubicBezTo>
                    <a:pt x="814296" y="614539"/>
                    <a:pt x="817604" y="614539"/>
                    <a:pt x="820894" y="614729"/>
                  </a:cubicBezTo>
                  <a:cubicBezTo>
                    <a:pt x="828671" y="615223"/>
                    <a:pt x="836430" y="613588"/>
                    <a:pt x="843332" y="609975"/>
                  </a:cubicBezTo>
                  <a:cubicBezTo>
                    <a:pt x="847211" y="607085"/>
                    <a:pt x="850501" y="603453"/>
                    <a:pt x="853030" y="599327"/>
                  </a:cubicBezTo>
                  <a:cubicBezTo>
                    <a:pt x="856567" y="593736"/>
                    <a:pt x="861245" y="588944"/>
                    <a:pt x="866721" y="585255"/>
                  </a:cubicBezTo>
                  <a:cubicBezTo>
                    <a:pt x="875715" y="580635"/>
                    <a:pt x="885718" y="578353"/>
                    <a:pt x="895815" y="578600"/>
                  </a:cubicBezTo>
                  <a:cubicBezTo>
                    <a:pt x="909696" y="578600"/>
                    <a:pt x="918253" y="576889"/>
                    <a:pt x="921866" y="568141"/>
                  </a:cubicBezTo>
                  <a:cubicBezTo>
                    <a:pt x="928141" y="553119"/>
                    <a:pt x="933085" y="551028"/>
                    <a:pt x="947917" y="546654"/>
                  </a:cubicBezTo>
                  <a:cubicBezTo>
                    <a:pt x="953260" y="545019"/>
                    <a:pt x="957900" y="541596"/>
                    <a:pt x="961037" y="536956"/>
                  </a:cubicBezTo>
                  <a:cubicBezTo>
                    <a:pt x="963719" y="533800"/>
                    <a:pt x="966628" y="530890"/>
                    <a:pt x="969785" y="528209"/>
                  </a:cubicBezTo>
                  <a:cubicBezTo>
                    <a:pt x="984065" y="519120"/>
                    <a:pt x="1001997" y="517979"/>
                    <a:pt x="1017323" y="525167"/>
                  </a:cubicBezTo>
                  <a:lnTo>
                    <a:pt x="1022077" y="526308"/>
                  </a:lnTo>
                  <a:cubicBezTo>
                    <a:pt x="1027706" y="517313"/>
                    <a:pt x="1029759" y="506513"/>
                    <a:pt x="1027782" y="496073"/>
                  </a:cubicBezTo>
                  <a:cubicBezTo>
                    <a:pt x="1027344" y="488144"/>
                    <a:pt x="1022895" y="480975"/>
                    <a:pt x="1015992" y="477058"/>
                  </a:cubicBezTo>
                  <a:lnTo>
                    <a:pt x="1013710" y="475727"/>
                  </a:lnTo>
                  <a:cubicBezTo>
                    <a:pt x="1006675" y="471353"/>
                    <a:pt x="997167" y="465648"/>
                    <a:pt x="1001160" y="451957"/>
                  </a:cubicBezTo>
                  <a:cubicBezTo>
                    <a:pt x="1005210" y="443400"/>
                    <a:pt x="1011866" y="436327"/>
                    <a:pt x="1020175" y="431801"/>
                  </a:cubicBezTo>
                  <a:cubicBezTo>
                    <a:pt x="1022723" y="429823"/>
                    <a:pt x="1025138" y="427656"/>
                    <a:pt x="1027401" y="425336"/>
                  </a:cubicBezTo>
                  <a:lnTo>
                    <a:pt x="1035388" y="419061"/>
                  </a:lnTo>
                  <a:cubicBezTo>
                    <a:pt x="1033543" y="416056"/>
                    <a:pt x="1032383" y="412672"/>
                    <a:pt x="1031965" y="409173"/>
                  </a:cubicBezTo>
                  <a:cubicBezTo>
                    <a:pt x="1032155" y="405655"/>
                    <a:pt x="1031775" y="402118"/>
                    <a:pt x="1030824" y="398714"/>
                  </a:cubicBezTo>
                  <a:cubicBezTo>
                    <a:pt x="1027553" y="390880"/>
                    <a:pt x="1022857" y="383711"/>
                    <a:pt x="1016943" y="377607"/>
                  </a:cubicBezTo>
                  <a:cubicBezTo>
                    <a:pt x="999582" y="356595"/>
                    <a:pt x="978969" y="338493"/>
                    <a:pt x="955903" y="323984"/>
                  </a:cubicBezTo>
                  <a:cubicBezTo>
                    <a:pt x="942631" y="317690"/>
                    <a:pt x="930233" y="309703"/>
                    <a:pt x="919014" y="300215"/>
                  </a:cubicBezTo>
                  <a:cubicBezTo>
                    <a:pt x="910837" y="292228"/>
                    <a:pt x="901329" y="275305"/>
                    <a:pt x="888399" y="276636"/>
                  </a:cubicBezTo>
                  <a:cubicBezTo>
                    <a:pt x="882694" y="276636"/>
                    <a:pt x="879652" y="281580"/>
                    <a:pt x="875278" y="284242"/>
                  </a:cubicBezTo>
                  <a:cubicBezTo>
                    <a:pt x="870791" y="286562"/>
                    <a:pt x="865980" y="288235"/>
                    <a:pt x="861017" y="289186"/>
                  </a:cubicBezTo>
                  <a:cubicBezTo>
                    <a:pt x="847135" y="293559"/>
                    <a:pt x="844853" y="302116"/>
                    <a:pt x="845424" y="316188"/>
                  </a:cubicBezTo>
                  <a:cubicBezTo>
                    <a:pt x="844169" y="328947"/>
                    <a:pt x="845215" y="341820"/>
                    <a:pt x="848466" y="354218"/>
                  </a:cubicBezTo>
                  <a:cubicBezTo>
                    <a:pt x="854761" y="362623"/>
                    <a:pt x="853030" y="374546"/>
                    <a:pt x="844625" y="380840"/>
                  </a:cubicBezTo>
                  <a:cubicBezTo>
                    <a:pt x="844454" y="380973"/>
                    <a:pt x="844264" y="381087"/>
                    <a:pt x="844093" y="381220"/>
                  </a:cubicBezTo>
                  <a:cubicBezTo>
                    <a:pt x="837247" y="390386"/>
                    <a:pt x="827949" y="397440"/>
                    <a:pt x="817281" y="401567"/>
                  </a:cubicBezTo>
                  <a:cubicBezTo>
                    <a:pt x="805872" y="404229"/>
                    <a:pt x="794843" y="396052"/>
                    <a:pt x="784765" y="404989"/>
                  </a:cubicBezTo>
                  <a:cubicBezTo>
                    <a:pt x="774687" y="413927"/>
                    <a:pt x="767841" y="455761"/>
                    <a:pt x="750347" y="425336"/>
                  </a:cubicBezTo>
                  <a:cubicBezTo>
                    <a:pt x="744452" y="415258"/>
                    <a:pt x="740649" y="408793"/>
                    <a:pt x="746544" y="396813"/>
                  </a:cubicBezTo>
                  <a:cubicBezTo>
                    <a:pt x="752439" y="384833"/>
                    <a:pt x="765559" y="383692"/>
                    <a:pt x="769362" y="373804"/>
                  </a:cubicBezTo>
                  <a:cubicBezTo>
                    <a:pt x="773166" y="363916"/>
                    <a:pt x="765940" y="352507"/>
                    <a:pt x="762707" y="344711"/>
                  </a:cubicBezTo>
                  <a:cubicBezTo>
                    <a:pt x="760520" y="336819"/>
                    <a:pt x="752344" y="332199"/>
                    <a:pt x="744452" y="334385"/>
                  </a:cubicBezTo>
                  <a:cubicBezTo>
                    <a:pt x="741144" y="335298"/>
                    <a:pt x="738253" y="337333"/>
                    <a:pt x="736276" y="340147"/>
                  </a:cubicBezTo>
                  <a:cubicBezTo>
                    <a:pt x="734108" y="342942"/>
                    <a:pt x="732302" y="346004"/>
                    <a:pt x="730951" y="349274"/>
                  </a:cubicBezTo>
                  <a:cubicBezTo>
                    <a:pt x="729811" y="351746"/>
                    <a:pt x="728479" y="353838"/>
                    <a:pt x="727529" y="356310"/>
                  </a:cubicBezTo>
                  <a:cubicBezTo>
                    <a:pt x="726578" y="358782"/>
                    <a:pt x="727529" y="360113"/>
                    <a:pt x="724106" y="360493"/>
                  </a:cubicBezTo>
                  <a:cubicBezTo>
                    <a:pt x="723535" y="360874"/>
                    <a:pt x="722775" y="360874"/>
                    <a:pt x="722204" y="360493"/>
                  </a:cubicBezTo>
                  <a:cubicBezTo>
                    <a:pt x="722204" y="360493"/>
                    <a:pt x="722204" y="360493"/>
                    <a:pt x="722204" y="360493"/>
                  </a:cubicBezTo>
                  <a:cubicBezTo>
                    <a:pt x="722204" y="360493"/>
                    <a:pt x="722204" y="358782"/>
                    <a:pt x="722204" y="357641"/>
                  </a:cubicBezTo>
                  <a:cubicBezTo>
                    <a:pt x="722204" y="356500"/>
                    <a:pt x="722204" y="355169"/>
                    <a:pt x="722204" y="354028"/>
                  </a:cubicBezTo>
                  <a:cubicBezTo>
                    <a:pt x="722204" y="352887"/>
                    <a:pt x="720683" y="346232"/>
                    <a:pt x="717260" y="345091"/>
                  </a:cubicBezTo>
                  <a:cubicBezTo>
                    <a:pt x="713837" y="343950"/>
                    <a:pt x="708703" y="349084"/>
                    <a:pt x="704140" y="350035"/>
                  </a:cubicBezTo>
                  <a:cubicBezTo>
                    <a:pt x="699576" y="350986"/>
                    <a:pt x="695583" y="348514"/>
                    <a:pt x="690449" y="350035"/>
                  </a:cubicBezTo>
                  <a:cubicBezTo>
                    <a:pt x="677138" y="354789"/>
                    <a:pt x="675997" y="364297"/>
                    <a:pt x="661926" y="352507"/>
                  </a:cubicBezTo>
                  <a:cubicBezTo>
                    <a:pt x="640058" y="333492"/>
                    <a:pt x="625226" y="319040"/>
                    <a:pt x="595182" y="317138"/>
                  </a:cubicBezTo>
                  <a:cubicBezTo>
                    <a:pt x="571412" y="315427"/>
                    <a:pt x="559623" y="346802"/>
                    <a:pt x="538135" y="336154"/>
                  </a:cubicBezTo>
                  <a:cubicBezTo>
                    <a:pt x="530339" y="332161"/>
                    <a:pt x="487364" y="309342"/>
                    <a:pt x="495541" y="298123"/>
                  </a:cubicBezTo>
                  <a:cubicBezTo>
                    <a:pt x="503718" y="286904"/>
                    <a:pt x="509232" y="300595"/>
                    <a:pt x="516458" y="301356"/>
                  </a:cubicBezTo>
                  <a:cubicBezTo>
                    <a:pt x="529388" y="302687"/>
                    <a:pt x="528628" y="288996"/>
                    <a:pt x="530529" y="280058"/>
                  </a:cubicBezTo>
                  <a:cubicBezTo>
                    <a:pt x="533191" y="266557"/>
                    <a:pt x="545932" y="237844"/>
                    <a:pt x="561905" y="242028"/>
                  </a:cubicBezTo>
                  <a:cubicBezTo>
                    <a:pt x="565898" y="243168"/>
                    <a:pt x="577117" y="253437"/>
                    <a:pt x="580920" y="247732"/>
                  </a:cubicBezTo>
                  <a:cubicBezTo>
                    <a:pt x="584723" y="242028"/>
                    <a:pt x="571222" y="238985"/>
                    <a:pt x="567609" y="238415"/>
                  </a:cubicBezTo>
                  <a:cubicBezTo>
                    <a:pt x="544981" y="234992"/>
                    <a:pt x="517218" y="226625"/>
                    <a:pt x="495351" y="236133"/>
                  </a:cubicBezTo>
                  <a:cubicBezTo>
                    <a:pt x="485729" y="240963"/>
                    <a:pt x="478218" y="249139"/>
                    <a:pt x="474244" y="259141"/>
                  </a:cubicBezTo>
                  <a:cubicBezTo>
                    <a:pt x="470631" y="266367"/>
                    <a:pt x="466257" y="278157"/>
                    <a:pt x="455228" y="273593"/>
                  </a:cubicBezTo>
                  <a:cubicBezTo>
                    <a:pt x="441537" y="267128"/>
                    <a:pt x="458081" y="260282"/>
                    <a:pt x="460743" y="253247"/>
                  </a:cubicBezTo>
                  <a:cubicBezTo>
                    <a:pt x="465877" y="238985"/>
                    <a:pt x="449334" y="240697"/>
                    <a:pt x="440016" y="240887"/>
                  </a:cubicBezTo>
                  <a:cubicBezTo>
                    <a:pt x="433608" y="240716"/>
                    <a:pt x="427238" y="239898"/>
                    <a:pt x="421001" y="238415"/>
                  </a:cubicBezTo>
                  <a:cubicBezTo>
                    <a:pt x="414668" y="238034"/>
                    <a:pt x="408317" y="238034"/>
                    <a:pt x="401985" y="238415"/>
                  </a:cubicBezTo>
                  <a:cubicBezTo>
                    <a:pt x="396091" y="238415"/>
                    <a:pt x="394950" y="235182"/>
                    <a:pt x="390386" y="233090"/>
                  </a:cubicBezTo>
                  <a:cubicBezTo>
                    <a:pt x="381449" y="229097"/>
                    <a:pt x="381829" y="230428"/>
                    <a:pt x="371370" y="233090"/>
                  </a:cubicBezTo>
                  <a:cubicBezTo>
                    <a:pt x="359733" y="236095"/>
                    <a:pt x="347924" y="238320"/>
                    <a:pt x="336002" y="239746"/>
                  </a:cubicBezTo>
                  <a:cubicBezTo>
                    <a:pt x="323623" y="243226"/>
                    <a:pt x="310635" y="243872"/>
                    <a:pt x="297971" y="241647"/>
                  </a:cubicBezTo>
                  <a:cubicBezTo>
                    <a:pt x="293769" y="240963"/>
                    <a:pt x="289775" y="239270"/>
                    <a:pt x="286372" y="236703"/>
                  </a:cubicBezTo>
                  <a:cubicBezTo>
                    <a:pt x="284090" y="234802"/>
                    <a:pt x="282759" y="227576"/>
                    <a:pt x="279526" y="227005"/>
                  </a:cubicBezTo>
                  <a:cubicBezTo>
                    <a:pt x="272110" y="227005"/>
                    <a:pt x="270969" y="242598"/>
                    <a:pt x="270018" y="247922"/>
                  </a:cubicBezTo>
                  <a:cubicBezTo>
                    <a:pt x="269068" y="253247"/>
                    <a:pt x="274962" y="255529"/>
                    <a:pt x="268117" y="256099"/>
                  </a:cubicBezTo>
                  <a:cubicBezTo>
                    <a:pt x="261271" y="256669"/>
                    <a:pt x="262032" y="251345"/>
                    <a:pt x="259560" y="249253"/>
                  </a:cubicBezTo>
                  <a:cubicBezTo>
                    <a:pt x="252981" y="242313"/>
                    <a:pt x="244005" y="238091"/>
                    <a:pt x="234460" y="237464"/>
                  </a:cubicBezTo>
                  <a:cubicBezTo>
                    <a:pt x="212782" y="237464"/>
                    <a:pt x="192436" y="270170"/>
                    <a:pt x="180836" y="285002"/>
                  </a:cubicBezTo>
                  <a:cubicBezTo>
                    <a:pt x="174162" y="294947"/>
                    <a:pt x="161232" y="298503"/>
                    <a:pt x="150412" y="293369"/>
                  </a:cubicBezTo>
                  <a:cubicBezTo>
                    <a:pt x="136397" y="289813"/>
                    <a:pt x="122706" y="285040"/>
                    <a:pt x="109529" y="279108"/>
                  </a:cubicBezTo>
                  <a:cubicBezTo>
                    <a:pt x="88231" y="267508"/>
                    <a:pt x="88992" y="245641"/>
                    <a:pt x="95077" y="224914"/>
                  </a:cubicBezTo>
                  <a:cubicBezTo>
                    <a:pt x="98310" y="213124"/>
                    <a:pt x="101542" y="209892"/>
                    <a:pt x="95077" y="198292"/>
                  </a:cubicBezTo>
                  <a:cubicBezTo>
                    <a:pt x="88612" y="186693"/>
                    <a:pt x="84999" y="175854"/>
                    <a:pt x="98119" y="166346"/>
                  </a:cubicBezTo>
                  <a:cubicBezTo>
                    <a:pt x="106296" y="160452"/>
                    <a:pt x="115614" y="162543"/>
                    <a:pt x="124551" y="156839"/>
                  </a:cubicBezTo>
                  <a:cubicBezTo>
                    <a:pt x="137671" y="148662"/>
                    <a:pt x="143566" y="156839"/>
                    <a:pt x="156877" y="160832"/>
                  </a:cubicBezTo>
                  <a:cubicBezTo>
                    <a:pt x="162676" y="162106"/>
                    <a:pt x="168286" y="164084"/>
                    <a:pt x="173611" y="166727"/>
                  </a:cubicBezTo>
                  <a:cubicBezTo>
                    <a:pt x="177223" y="169389"/>
                    <a:pt x="179505" y="176044"/>
                    <a:pt x="183118" y="177946"/>
                  </a:cubicBezTo>
                  <a:cubicBezTo>
                    <a:pt x="193386" y="183270"/>
                    <a:pt x="196049" y="172431"/>
                    <a:pt x="198330" y="164445"/>
                  </a:cubicBezTo>
                  <a:cubicBezTo>
                    <a:pt x="200612" y="156458"/>
                    <a:pt x="208028" y="146760"/>
                    <a:pt x="209930" y="137253"/>
                  </a:cubicBezTo>
                  <a:cubicBezTo>
                    <a:pt x="211831" y="127745"/>
                    <a:pt x="203845" y="115765"/>
                    <a:pt x="205746" y="104166"/>
                  </a:cubicBezTo>
                  <a:cubicBezTo>
                    <a:pt x="207648" y="92567"/>
                    <a:pt x="213353" y="86292"/>
                    <a:pt x="205746" y="74122"/>
                  </a:cubicBezTo>
                  <a:cubicBezTo>
                    <a:pt x="199262" y="64215"/>
                    <a:pt x="191010" y="55582"/>
                    <a:pt x="181407" y="48641"/>
                  </a:cubicBezTo>
                  <a:cubicBezTo>
                    <a:pt x="173040" y="42556"/>
                    <a:pt x="161250" y="40655"/>
                    <a:pt x="153644" y="33429"/>
                  </a:cubicBezTo>
                  <a:cubicBezTo>
                    <a:pt x="146038" y="26203"/>
                    <a:pt x="146989" y="16695"/>
                    <a:pt x="142235" y="8329"/>
                  </a:cubicBezTo>
                  <a:cubicBezTo>
                    <a:pt x="137481" y="-38"/>
                    <a:pt x="132347" y="-3271"/>
                    <a:pt x="125692" y="4145"/>
                  </a:cubicBezTo>
                  <a:cubicBezTo>
                    <a:pt x="119036" y="11561"/>
                    <a:pt x="123980" y="21259"/>
                    <a:pt x="125692" y="27914"/>
                  </a:cubicBezTo>
                  <a:cubicBezTo>
                    <a:pt x="129229" y="36319"/>
                    <a:pt x="131644" y="45142"/>
                    <a:pt x="132918" y="54156"/>
                  </a:cubicBezTo>
                  <a:cubicBezTo>
                    <a:pt x="132918" y="64804"/>
                    <a:pt x="123790" y="73171"/>
                    <a:pt x="117705" y="82298"/>
                  </a:cubicBezTo>
                  <a:cubicBezTo>
                    <a:pt x="111620" y="91426"/>
                    <a:pt x="99641" y="93898"/>
                    <a:pt x="92034" y="103215"/>
                  </a:cubicBezTo>
                  <a:cubicBezTo>
                    <a:pt x="85208" y="113027"/>
                    <a:pt x="76233" y="121166"/>
                    <a:pt x="65793" y="126984"/>
                  </a:cubicBezTo>
                  <a:cubicBezTo>
                    <a:pt x="54973" y="131415"/>
                    <a:pt x="45104" y="137861"/>
                    <a:pt x="36700" y="146000"/>
                  </a:cubicBezTo>
                  <a:cubicBezTo>
                    <a:pt x="26812" y="157980"/>
                    <a:pt x="33657" y="159691"/>
                    <a:pt x="38791" y="171290"/>
                  </a:cubicBezTo>
                  <a:cubicBezTo>
                    <a:pt x="50011" y="196581"/>
                    <a:pt x="30234" y="223773"/>
                    <a:pt x="10078" y="237464"/>
                  </a:cubicBezTo>
                  <a:cubicBezTo>
                    <a:pt x="6827" y="239613"/>
                    <a:pt x="3461" y="241571"/>
                    <a:pt x="0" y="243359"/>
                  </a:cubicBezTo>
                  <a:cubicBezTo>
                    <a:pt x="2662" y="249900"/>
                    <a:pt x="4202" y="256841"/>
                    <a:pt x="4564" y="263895"/>
                  </a:cubicBezTo>
                  <a:cubicBezTo>
                    <a:pt x="4126" y="266025"/>
                    <a:pt x="3556" y="268117"/>
                    <a:pt x="2852" y="270170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51" name="Полилиния: фигура 450">
              <a:extLst>
                <a:ext uri="{FF2B5EF4-FFF2-40B4-BE49-F238E27FC236}">
                  <a16:creationId xmlns:a16="http://schemas.microsoft.com/office/drawing/2014/main" id="{73101273-F3A0-8136-C975-334DB8F249B9}"/>
                </a:ext>
              </a:extLst>
            </p:cNvPr>
            <p:cNvSpPr/>
            <p:nvPr/>
          </p:nvSpPr>
          <p:spPr>
            <a:xfrm>
              <a:off x="4210836" y="3239522"/>
              <a:ext cx="66623" cy="111005"/>
            </a:xfrm>
            <a:custGeom>
              <a:avLst/>
              <a:gdLst>
                <a:gd name="connsiteX0" fmla="*/ 24744 w 66623"/>
                <a:gd name="connsiteY0" fmla="*/ 99395 h 111005"/>
                <a:gd name="connsiteX1" fmla="*/ 34251 w 66623"/>
                <a:gd name="connsiteY1" fmla="*/ 107001 h 111005"/>
                <a:gd name="connsiteX2" fmla="*/ 45851 w 66623"/>
                <a:gd name="connsiteY2" fmla="*/ 110994 h 111005"/>
                <a:gd name="connsiteX3" fmla="*/ 64866 w 66623"/>
                <a:gd name="connsiteY3" fmla="*/ 96923 h 111005"/>
                <a:gd name="connsiteX4" fmla="*/ 64866 w 66623"/>
                <a:gd name="connsiteY4" fmla="*/ 83802 h 111005"/>
                <a:gd name="connsiteX5" fmla="*/ 66577 w 66623"/>
                <a:gd name="connsiteY5" fmla="*/ 77907 h 111005"/>
                <a:gd name="connsiteX6" fmla="*/ 62394 w 66623"/>
                <a:gd name="connsiteY6" fmla="*/ 72393 h 111005"/>
                <a:gd name="connsiteX7" fmla="*/ 57640 w 66623"/>
                <a:gd name="connsiteY7" fmla="*/ 49764 h 111005"/>
                <a:gd name="connsiteX8" fmla="*/ 47942 w 66623"/>
                <a:gd name="connsiteY8" fmla="*/ 40257 h 111005"/>
                <a:gd name="connsiteX9" fmla="*/ 46231 w 66623"/>
                <a:gd name="connsiteY9" fmla="*/ 34362 h 111005"/>
                <a:gd name="connsiteX10" fmla="*/ 42808 w 66623"/>
                <a:gd name="connsiteY10" fmla="*/ 13635 h 111005"/>
                <a:gd name="connsiteX11" fmla="*/ 35392 w 66623"/>
                <a:gd name="connsiteY11" fmla="*/ 324 h 111005"/>
                <a:gd name="connsiteX12" fmla="*/ 21511 w 66623"/>
                <a:gd name="connsiteY12" fmla="*/ 5268 h 111005"/>
                <a:gd name="connsiteX13" fmla="*/ 9722 w 66623"/>
                <a:gd name="connsiteY13" fmla="*/ 15347 h 111005"/>
                <a:gd name="connsiteX14" fmla="*/ 214 w 66623"/>
                <a:gd name="connsiteY14" fmla="*/ 20100 h 111005"/>
                <a:gd name="connsiteX15" fmla="*/ 214 w 66623"/>
                <a:gd name="connsiteY15" fmla="*/ 24094 h 111005"/>
                <a:gd name="connsiteX16" fmla="*/ 214 w 66623"/>
                <a:gd name="connsiteY16" fmla="*/ 44630 h 111005"/>
                <a:gd name="connsiteX17" fmla="*/ 5348 w 66623"/>
                <a:gd name="connsiteY17" fmla="*/ 64977 h 111005"/>
                <a:gd name="connsiteX18" fmla="*/ 22081 w 66623"/>
                <a:gd name="connsiteY18" fmla="*/ 81140 h 111005"/>
                <a:gd name="connsiteX19" fmla="*/ 24744 w 66623"/>
                <a:gd name="connsiteY19" fmla="*/ 99395 h 1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23" h="111005">
                  <a:moveTo>
                    <a:pt x="24744" y="99395"/>
                  </a:moveTo>
                  <a:cubicBezTo>
                    <a:pt x="26987" y="102912"/>
                    <a:pt x="30334" y="105574"/>
                    <a:pt x="34251" y="107001"/>
                  </a:cubicBezTo>
                  <a:cubicBezTo>
                    <a:pt x="37845" y="109035"/>
                    <a:pt x="41781" y="110385"/>
                    <a:pt x="45851" y="110994"/>
                  </a:cubicBezTo>
                  <a:cubicBezTo>
                    <a:pt x="54693" y="111298"/>
                    <a:pt x="62565" y="105460"/>
                    <a:pt x="64866" y="96923"/>
                  </a:cubicBezTo>
                  <a:cubicBezTo>
                    <a:pt x="64866" y="92549"/>
                    <a:pt x="64866" y="88176"/>
                    <a:pt x="64866" y="83802"/>
                  </a:cubicBezTo>
                  <a:cubicBezTo>
                    <a:pt x="64866" y="79428"/>
                    <a:pt x="66958" y="79428"/>
                    <a:pt x="66577" y="77907"/>
                  </a:cubicBezTo>
                  <a:cubicBezTo>
                    <a:pt x="66197" y="76386"/>
                    <a:pt x="63345" y="73914"/>
                    <a:pt x="62394" y="72393"/>
                  </a:cubicBezTo>
                  <a:cubicBezTo>
                    <a:pt x="58591" y="65547"/>
                    <a:pt x="62394" y="56039"/>
                    <a:pt x="57640" y="49764"/>
                  </a:cubicBezTo>
                  <a:cubicBezTo>
                    <a:pt x="52887" y="43489"/>
                    <a:pt x="50224" y="44250"/>
                    <a:pt x="47942" y="40257"/>
                  </a:cubicBezTo>
                  <a:cubicBezTo>
                    <a:pt x="47049" y="38393"/>
                    <a:pt x="46478" y="36416"/>
                    <a:pt x="46231" y="34362"/>
                  </a:cubicBezTo>
                  <a:lnTo>
                    <a:pt x="42808" y="13635"/>
                  </a:lnTo>
                  <a:cubicBezTo>
                    <a:pt x="41858" y="8501"/>
                    <a:pt x="40336" y="2226"/>
                    <a:pt x="35392" y="324"/>
                  </a:cubicBezTo>
                  <a:cubicBezTo>
                    <a:pt x="30201" y="-817"/>
                    <a:pt x="24801" y="1104"/>
                    <a:pt x="21511" y="5268"/>
                  </a:cubicBezTo>
                  <a:cubicBezTo>
                    <a:pt x="18431" y="9509"/>
                    <a:pt x="14399" y="12970"/>
                    <a:pt x="9722" y="15347"/>
                  </a:cubicBezTo>
                  <a:cubicBezTo>
                    <a:pt x="6299" y="16678"/>
                    <a:pt x="1545" y="16868"/>
                    <a:pt x="214" y="20100"/>
                  </a:cubicBezTo>
                  <a:cubicBezTo>
                    <a:pt x="-71" y="21412"/>
                    <a:pt x="-71" y="22782"/>
                    <a:pt x="214" y="24094"/>
                  </a:cubicBezTo>
                  <a:lnTo>
                    <a:pt x="214" y="44630"/>
                  </a:lnTo>
                  <a:cubicBezTo>
                    <a:pt x="-357" y="51799"/>
                    <a:pt x="1450" y="58949"/>
                    <a:pt x="5348" y="64977"/>
                  </a:cubicBezTo>
                  <a:cubicBezTo>
                    <a:pt x="10292" y="71062"/>
                    <a:pt x="19419" y="73724"/>
                    <a:pt x="22081" y="81140"/>
                  </a:cubicBezTo>
                  <a:cubicBezTo>
                    <a:pt x="24744" y="88556"/>
                    <a:pt x="21891" y="93500"/>
                    <a:pt x="24744" y="9939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52" name="Полилиния: фигура 451">
              <a:extLst>
                <a:ext uri="{FF2B5EF4-FFF2-40B4-BE49-F238E27FC236}">
                  <a16:creationId xmlns:a16="http://schemas.microsoft.com/office/drawing/2014/main" id="{A8737DD1-6182-CA04-A440-9BA249E8B8E6}"/>
                </a:ext>
              </a:extLst>
            </p:cNvPr>
            <p:cNvSpPr/>
            <p:nvPr/>
          </p:nvSpPr>
          <p:spPr>
            <a:xfrm>
              <a:off x="4038698" y="2812626"/>
              <a:ext cx="273420" cy="374210"/>
            </a:xfrm>
            <a:custGeom>
              <a:avLst/>
              <a:gdLst>
                <a:gd name="connsiteX0" fmla="*/ 36201 w 273420"/>
                <a:gd name="connsiteY0" fmla="*/ 173746 h 374210"/>
                <a:gd name="connsiteX1" fmla="*/ 49512 w 273420"/>
                <a:gd name="connsiteY1" fmla="*/ 192761 h 374210"/>
                <a:gd name="connsiteX2" fmla="*/ 61112 w 273420"/>
                <a:gd name="connsiteY2" fmla="*/ 194853 h 374210"/>
                <a:gd name="connsiteX3" fmla="*/ 57309 w 273420"/>
                <a:gd name="connsiteY3" fmla="*/ 206072 h 374210"/>
                <a:gd name="connsiteX4" fmla="*/ 62823 w 273420"/>
                <a:gd name="connsiteY4" fmla="*/ 220523 h 374210"/>
                <a:gd name="connsiteX5" fmla="*/ 54456 w 273420"/>
                <a:gd name="connsiteY5" fmla="*/ 229651 h 374210"/>
                <a:gd name="connsiteX6" fmla="*/ 62062 w 273420"/>
                <a:gd name="connsiteY6" fmla="*/ 234595 h 374210"/>
                <a:gd name="connsiteX7" fmla="*/ 57119 w 273420"/>
                <a:gd name="connsiteY7" fmla="*/ 249997 h 374210"/>
                <a:gd name="connsiteX8" fmla="*/ 47801 w 273420"/>
                <a:gd name="connsiteY8" fmla="*/ 253420 h 374210"/>
                <a:gd name="connsiteX9" fmla="*/ 42096 w 273420"/>
                <a:gd name="connsiteY9" fmla="*/ 249807 h 374210"/>
                <a:gd name="connsiteX10" fmla="*/ 39244 w 273420"/>
                <a:gd name="connsiteY10" fmla="*/ 257794 h 374210"/>
                <a:gd name="connsiteX11" fmla="*/ 26884 w 273420"/>
                <a:gd name="connsiteY11" fmla="*/ 272435 h 374210"/>
                <a:gd name="connsiteX12" fmla="*/ 40955 w 273420"/>
                <a:gd name="connsiteY12" fmla="*/ 293162 h 374210"/>
                <a:gd name="connsiteX13" fmla="*/ 59971 w 273420"/>
                <a:gd name="connsiteY13" fmla="*/ 314650 h 374210"/>
                <a:gd name="connsiteX14" fmla="*/ 81458 w 273420"/>
                <a:gd name="connsiteY14" fmla="*/ 331954 h 374210"/>
                <a:gd name="connsiteX15" fmla="*/ 88113 w 273420"/>
                <a:gd name="connsiteY15" fmla="*/ 327010 h 374210"/>
                <a:gd name="connsiteX16" fmla="*/ 95910 w 273420"/>
                <a:gd name="connsiteY16" fmla="*/ 336898 h 374210"/>
                <a:gd name="connsiteX17" fmla="*/ 108460 w 273420"/>
                <a:gd name="connsiteY17" fmla="*/ 347736 h 374210"/>
                <a:gd name="connsiteX18" fmla="*/ 118538 w 273420"/>
                <a:gd name="connsiteY18" fmla="*/ 343363 h 374210"/>
                <a:gd name="connsiteX19" fmla="*/ 120630 w 273420"/>
                <a:gd name="connsiteY19" fmla="*/ 361047 h 374210"/>
                <a:gd name="connsiteX20" fmla="*/ 135652 w 273420"/>
                <a:gd name="connsiteY20" fmla="*/ 364660 h 374210"/>
                <a:gd name="connsiteX21" fmla="*/ 142497 w 273420"/>
                <a:gd name="connsiteY21" fmla="*/ 372837 h 374210"/>
                <a:gd name="connsiteX22" fmla="*/ 165506 w 273420"/>
                <a:gd name="connsiteY22" fmla="*/ 367893 h 374210"/>
                <a:gd name="connsiteX23" fmla="*/ 158280 w 273420"/>
                <a:gd name="connsiteY23" fmla="*/ 347736 h 374210"/>
                <a:gd name="connsiteX24" fmla="*/ 158280 w 273420"/>
                <a:gd name="connsiteY24" fmla="*/ 328721 h 374210"/>
                <a:gd name="connsiteX25" fmla="*/ 153907 w 273420"/>
                <a:gd name="connsiteY25" fmla="*/ 310847 h 374210"/>
                <a:gd name="connsiteX26" fmla="*/ 146110 w 273420"/>
                <a:gd name="connsiteY26" fmla="*/ 271485 h 374210"/>
                <a:gd name="connsiteX27" fmla="*/ 155238 w 273420"/>
                <a:gd name="connsiteY27" fmla="*/ 230982 h 374210"/>
                <a:gd name="connsiteX28" fmla="*/ 159992 w 273420"/>
                <a:gd name="connsiteY28" fmla="*/ 192951 h 374210"/>
                <a:gd name="connsiteX29" fmla="*/ 175584 w 273420"/>
                <a:gd name="connsiteY29" fmla="*/ 166139 h 374210"/>
                <a:gd name="connsiteX30" fmla="*/ 190416 w 273420"/>
                <a:gd name="connsiteY30" fmla="*/ 131722 h 374210"/>
                <a:gd name="connsiteX31" fmla="*/ 216467 w 273420"/>
                <a:gd name="connsiteY31" fmla="*/ 112706 h 374210"/>
                <a:gd name="connsiteX32" fmla="*/ 219890 w 273420"/>
                <a:gd name="connsiteY32" fmla="*/ 92550 h 374210"/>
                <a:gd name="connsiteX33" fmla="*/ 241758 w 273420"/>
                <a:gd name="connsiteY33" fmla="*/ 98254 h 374210"/>
                <a:gd name="connsiteX34" fmla="*/ 248033 w 273420"/>
                <a:gd name="connsiteY34" fmla="*/ 83423 h 374210"/>
                <a:gd name="connsiteX35" fmla="*/ 255829 w 273420"/>
                <a:gd name="connsiteY35" fmla="*/ 72204 h 374210"/>
                <a:gd name="connsiteX36" fmla="*/ 272563 w 273420"/>
                <a:gd name="connsiteY36" fmla="*/ 54519 h 374210"/>
                <a:gd name="connsiteX37" fmla="*/ 272563 w 273420"/>
                <a:gd name="connsiteY37" fmla="*/ 54519 h 374210"/>
                <a:gd name="connsiteX38" fmla="*/ 246322 w 273420"/>
                <a:gd name="connsiteY38" fmla="*/ 22003 h 374210"/>
                <a:gd name="connsiteX39" fmla="*/ 235103 w 273420"/>
                <a:gd name="connsiteY39" fmla="*/ 9262 h 374210"/>
                <a:gd name="connsiteX40" fmla="*/ 216087 w 273420"/>
                <a:gd name="connsiteY40" fmla="*/ 9262 h 374210"/>
                <a:gd name="connsiteX41" fmla="*/ 175774 w 273420"/>
                <a:gd name="connsiteY41" fmla="*/ 515 h 374210"/>
                <a:gd name="connsiteX42" fmla="*/ 152195 w 273420"/>
                <a:gd name="connsiteY42" fmla="*/ 26947 h 374210"/>
                <a:gd name="connsiteX43" fmla="*/ 125574 w 273420"/>
                <a:gd name="connsiteY43" fmla="*/ 26947 h 374210"/>
                <a:gd name="connsiteX44" fmla="*/ 113784 w 273420"/>
                <a:gd name="connsiteY44" fmla="*/ 40067 h 374210"/>
                <a:gd name="connsiteX45" fmla="*/ 122151 w 273420"/>
                <a:gd name="connsiteY45" fmla="*/ 55280 h 374210"/>
                <a:gd name="connsiteX46" fmla="*/ 92487 w 273420"/>
                <a:gd name="connsiteY46" fmla="*/ 81901 h 374210"/>
                <a:gd name="connsiteX47" fmla="*/ 75183 w 273420"/>
                <a:gd name="connsiteY47" fmla="*/ 89888 h 374210"/>
                <a:gd name="connsiteX48" fmla="*/ 66626 w 273420"/>
                <a:gd name="connsiteY48" fmla="*/ 102818 h 374210"/>
                <a:gd name="connsiteX49" fmla="*/ 46280 w 273420"/>
                <a:gd name="connsiteY49" fmla="*/ 90078 h 374210"/>
                <a:gd name="connsiteX50" fmla="*/ 21560 w 273420"/>
                <a:gd name="connsiteY50" fmla="*/ 106241 h 374210"/>
                <a:gd name="connsiteX51" fmla="*/ 8439 w 273420"/>
                <a:gd name="connsiteY51" fmla="*/ 167661 h 374210"/>
                <a:gd name="connsiteX52" fmla="*/ 36201 w 273420"/>
                <a:gd name="connsiteY52" fmla="*/ 173746 h 374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73420" h="374210">
                  <a:moveTo>
                    <a:pt x="36201" y="173746"/>
                  </a:moveTo>
                  <a:cubicBezTo>
                    <a:pt x="43427" y="180591"/>
                    <a:pt x="38293" y="188578"/>
                    <a:pt x="49512" y="192761"/>
                  </a:cubicBezTo>
                  <a:cubicBezTo>
                    <a:pt x="53506" y="194092"/>
                    <a:pt x="58830" y="188768"/>
                    <a:pt x="61112" y="194853"/>
                  </a:cubicBezTo>
                  <a:cubicBezTo>
                    <a:pt x="63394" y="200938"/>
                    <a:pt x="55977" y="200938"/>
                    <a:pt x="57309" y="206072"/>
                  </a:cubicBezTo>
                  <a:cubicBezTo>
                    <a:pt x="59590" y="214439"/>
                    <a:pt x="71951" y="210826"/>
                    <a:pt x="62823" y="220523"/>
                  </a:cubicBezTo>
                  <a:cubicBezTo>
                    <a:pt x="59590" y="223946"/>
                    <a:pt x="51604" y="222045"/>
                    <a:pt x="54456" y="229651"/>
                  </a:cubicBezTo>
                  <a:cubicBezTo>
                    <a:pt x="55787" y="233454"/>
                    <a:pt x="59971" y="232313"/>
                    <a:pt x="62062" y="234595"/>
                  </a:cubicBezTo>
                  <a:cubicBezTo>
                    <a:pt x="67957" y="241821"/>
                    <a:pt x="65105" y="244863"/>
                    <a:pt x="57119" y="249997"/>
                  </a:cubicBezTo>
                  <a:cubicBezTo>
                    <a:pt x="49132" y="255131"/>
                    <a:pt x="52555" y="253420"/>
                    <a:pt x="47801" y="253420"/>
                  </a:cubicBezTo>
                  <a:cubicBezTo>
                    <a:pt x="43047" y="253420"/>
                    <a:pt x="45329" y="248666"/>
                    <a:pt x="42096" y="249807"/>
                  </a:cubicBezTo>
                  <a:cubicBezTo>
                    <a:pt x="38864" y="250948"/>
                    <a:pt x="40385" y="255892"/>
                    <a:pt x="39244" y="257794"/>
                  </a:cubicBezTo>
                  <a:cubicBezTo>
                    <a:pt x="38103" y="259695"/>
                    <a:pt x="27835" y="268442"/>
                    <a:pt x="26884" y="272435"/>
                  </a:cubicBezTo>
                  <a:cubicBezTo>
                    <a:pt x="25173" y="279661"/>
                    <a:pt x="37152" y="288028"/>
                    <a:pt x="40955" y="293162"/>
                  </a:cubicBezTo>
                  <a:cubicBezTo>
                    <a:pt x="47801" y="302099"/>
                    <a:pt x="55787" y="304762"/>
                    <a:pt x="59971" y="314650"/>
                  </a:cubicBezTo>
                  <a:cubicBezTo>
                    <a:pt x="64154" y="324538"/>
                    <a:pt x="70429" y="337468"/>
                    <a:pt x="81458" y="331954"/>
                  </a:cubicBezTo>
                  <a:cubicBezTo>
                    <a:pt x="84500" y="330432"/>
                    <a:pt x="82979" y="326629"/>
                    <a:pt x="88113" y="327010"/>
                  </a:cubicBezTo>
                  <a:cubicBezTo>
                    <a:pt x="93248" y="327390"/>
                    <a:pt x="94198" y="333665"/>
                    <a:pt x="95910" y="336898"/>
                  </a:cubicBezTo>
                  <a:cubicBezTo>
                    <a:pt x="97621" y="340130"/>
                    <a:pt x="99903" y="348497"/>
                    <a:pt x="108460" y="347736"/>
                  </a:cubicBezTo>
                  <a:cubicBezTo>
                    <a:pt x="111883" y="347736"/>
                    <a:pt x="114925" y="342032"/>
                    <a:pt x="118538" y="343363"/>
                  </a:cubicBezTo>
                  <a:cubicBezTo>
                    <a:pt x="128426" y="347166"/>
                    <a:pt x="114355" y="354772"/>
                    <a:pt x="120630" y="361047"/>
                  </a:cubicBezTo>
                  <a:cubicBezTo>
                    <a:pt x="123862" y="364280"/>
                    <a:pt x="131468" y="361047"/>
                    <a:pt x="135652" y="364660"/>
                  </a:cubicBezTo>
                  <a:cubicBezTo>
                    <a:pt x="139835" y="368273"/>
                    <a:pt x="139265" y="371125"/>
                    <a:pt x="142497" y="372837"/>
                  </a:cubicBezTo>
                  <a:cubicBezTo>
                    <a:pt x="150484" y="375803"/>
                    <a:pt x="159459" y="373883"/>
                    <a:pt x="165506" y="367893"/>
                  </a:cubicBezTo>
                  <a:cubicBezTo>
                    <a:pt x="172161" y="357815"/>
                    <a:pt x="161323" y="356103"/>
                    <a:pt x="158280" y="347736"/>
                  </a:cubicBezTo>
                  <a:cubicBezTo>
                    <a:pt x="156189" y="342222"/>
                    <a:pt x="158280" y="334616"/>
                    <a:pt x="158280" y="328721"/>
                  </a:cubicBezTo>
                  <a:cubicBezTo>
                    <a:pt x="157501" y="322617"/>
                    <a:pt x="156036" y="316627"/>
                    <a:pt x="153907" y="310847"/>
                  </a:cubicBezTo>
                  <a:cubicBezTo>
                    <a:pt x="148506" y="298448"/>
                    <a:pt x="145844" y="285005"/>
                    <a:pt x="146110" y="271485"/>
                  </a:cubicBezTo>
                  <a:cubicBezTo>
                    <a:pt x="147442" y="257604"/>
                    <a:pt x="154097" y="244863"/>
                    <a:pt x="155238" y="230982"/>
                  </a:cubicBezTo>
                  <a:cubicBezTo>
                    <a:pt x="156379" y="217101"/>
                    <a:pt x="159231" y="206642"/>
                    <a:pt x="159992" y="192951"/>
                  </a:cubicBezTo>
                  <a:cubicBezTo>
                    <a:pt x="160752" y="179260"/>
                    <a:pt x="167027" y="176218"/>
                    <a:pt x="175584" y="166139"/>
                  </a:cubicBezTo>
                  <a:cubicBezTo>
                    <a:pt x="184141" y="156061"/>
                    <a:pt x="184331" y="143891"/>
                    <a:pt x="190416" y="131722"/>
                  </a:cubicBezTo>
                  <a:cubicBezTo>
                    <a:pt x="195855" y="121834"/>
                    <a:pt x="205400" y="114874"/>
                    <a:pt x="216467" y="112706"/>
                  </a:cubicBezTo>
                  <a:cubicBezTo>
                    <a:pt x="233391" y="106812"/>
                    <a:pt x="215136" y="102628"/>
                    <a:pt x="219890" y="92550"/>
                  </a:cubicBezTo>
                  <a:cubicBezTo>
                    <a:pt x="224644" y="82472"/>
                    <a:pt x="233011" y="101487"/>
                    <a:pt x="241758" y="98254"/>
                  </a:cubicBezTo>
                  <a:cubicBezTo>
                    <a:pt x="250505" y="95022"/>
                    <a:pt x="246322" y="89888"/>
                    <a:pt x="248033" y="83423"/>
                  </a:cubicBezTo>
                  <a:cubicBezTo>
                    <a:pt x="249155" y="78846"/>
                    <a:pt x="251931" y="74849"/>
                    <a:pt x="255829" y="72204"/>
                  </a:cubicBezTo>
                  <a:cubicBezTo>
                    <a:pt x="262294" y="66689"/>
                    <a:pt x="277126" y="62886"/>
                    <a:pt x="272563" y="54519"/>
                  </a:cubicBezTo>
                  <a:lnTo>
                    <a:pt x="272563" y="54519"/>
                  </a:lnTo>
                  <a:cubicBezTo>
                    <a:pt x="266097" y="42159"/>
                    <a:pt x="253547" y="33792"/>
                    <a:pt x="246322" y="22003"/>
                  </a:cubicBezTo>
                  <a:cubicBezTo>
                    <a:pt x="243849" y="16783"/>
                    <a:pt x="239970" y="12368"/>
                    <a:pt x="235103" y="9262"/>
                  </a:cubicBezTo>
                  <a:cubicBezTo>
                    <a:pt x="229398" y="6981"/>
                    <a:pt x="222172" y="10594"/>
                    <a:pt x="216087" y="9262"/>
                  </a:cubicBezTo>
                  <a:cubicBezTo>
                    <a:pt x="202586" y="6220"/>
                    <a:pt x="190606" y="-2147"/>
                    <a:pt x="175774" y="515"/>
                  </a:cubicBezTo>
                  <a:cubicBezTo>
                    <a:pt x="156759" y="4128"/>
                    <a:pt x="162274" y="14967"/>
                    <a:pt x="152195" y="26947"/>
                  </a:cubicBezTo>
                  <a:cubicBezTo>
                    <a:pt x="142117" y="38927"/>
                    <a:pt x="136413" y="23524"/>
                    <a:pt x="125574" y="26947"/>
                  </a:cubicBezTo>
                  <a:cubicBezTo>
                    <a:pt x="119489" y="28765"/>
                    <a:pt x="114944" y="33830"/>
                    <a:pt x="113784" y="40067"/>
                  </a:cubicBezTo>
                  <a:cubicBezTo>
                    <a:pt x="113784" y="47674"/>
                    <a:pt x="120630" y="49005"/>
                    <a:pt x="122151" y="55280"/>
                  </a:cubicBezTo>
                  <a:cubicBezTo>
                    <a:pt x="125194" y="66119"/>
                    <a:pt x="101424" y="76957"/>
                    <a:pt x="92487" y="81901"/>
                  </a:cubicBezTo>
                  <a:cubicBezTo>
                    <a:pt x="86973" y="85134"/>
                    <a:pt x="79747" y="85894"/>
                    <a:pt x="75183" y="89888"/>
                  </a:cubicBezTo>
                  <a:cubicBezTo>
                    <a:pt x="70619" y="93881"/>
                    <a:pt x="71000" y="100156"/>
                    <a:pt x="66626" y="102818"/>
                  </a:cubicBezTo>
                  <a:cubicBezTo>
                    <a:pt x="52745" y="110995"/>
                    <a:pt x="55027" y="92740"/>
                    <a:pt x="46280" y="90078"/>
                  </a:cubicBezTo>
                  <a:cubicBezTo>
                    <a:pt x="37533" y="87416"/>
                    <a:pt x="26313" y="101297"/>
                    <a:pt x="21560" y="106241"/>
                  </a:cubicBezTo>
                  <a:cubicBezTo>
                    <a:pt x="9390" y="119171"/>
                    <a:pt x="-11907" y="152448"/>
                    <a:pt x="8439" y="167661"/>
                  </a:cubicBezTo>
                  <a:cubicBezTo>
                    <a:pt x="16426" y="172795"/>
                    <a:pt x="28786" y="166710"/>
                    <a:pt x="36201" y="17374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53" name="Полилиния: фигура 452">
              <a:extLst>
                <a:ext uri="{FF2B5EF4-FFF2-40B4-BE49-F238E27FC236}">
                  <a16:creationId xmlns:a16="http://schemas.microsoft.com/office/drawing/2014/main" id="{2DD3CCF2-EB8F-1CEB-6A1E-9C93184E4B8B}"/>
                </a:ext>
              </a:extLst>
            </p:cNvPr>
            <p:cNvSpPr/>
            <p:nvPr/>
          </p:nvSpPr>
          <p:spPr>
            <a:xfrm>
              <a:off x="4311831" y="2866385"/>
              <a:ext cx="19015" cy="19015"/>
            </a:xfrm>
            <a:custGeom>
              <a:avLst/>
              <a:gdLst>
                <a:gd name="connsiteX0" fmla="*/ 0 w 19015"/>
                <a:gd name="connsiteY0" fmla="*/ 0 h 19015"/>
                <a:gd name="connsiteX1" fmla="*/ 0 w 19015"/>
                <a:gd name="connsiteY1" fmla="*/ 0 h 19015"/>
                <a:gd name="connsiteX2" fmla="*/ 0 w 19015"/>
                <a:gd name="connsiteY2" fmla="*/ 0 h 19015"/>
                <a:gd name="connsiteX3" fmla="*/ 0 w 19015"/>
                <a:gd name="connsiteY3" fmla="*/ 0 h 19015"/>
                <a:gd name="connsiteX4" fmla="*/ 0 w 19015"/>
                <a:gd name="connsiteY4" fmla="*/ 0 h 1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15" h="1901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54" name="Полилиния: фигура 453">
              <a:extLst>
                <a:ext uri="{FF2B5EF4-FFF2-40B4-BE49-F238E27FC236}">
                  <a16:creationId xmlns:a16="http://schemas.microsoft.com/office/drawing/2014/main" id="{F4341B88-F7C2-0447-FA68-B2AD151BCD19}"/>
                </a:ext>
              </a:extLst>
            </p:cNvPr>
            <p:cNvSpPr/>
            <p:nvPr/>
          </p:nvSpPr>
          <p:spPr>
            <a:xfrm>
              <a:off x="4253644" y="2548624"/>
              <a:ext cx="644091" cy="319403"/>
            </a:xfrm>
            <a:custGeom>
              <a:avLst/>
              <a:gdLst>
                <a:gd name="connsiteX0" fmla="*/ 40313 w 644091"/>
                <a:gd name="connsiteY0" fmla="*/ 236755 h 319403"/>
                <a:gd name="connsiteX1" fmla="*/ 0 w 644091"/>
                <a:gd name="connsiteY1" fmla="*/ 262045 h 319403"/>
                <a:gd name="connsiteX2" fmla="*/ 31946 w 644091"/>
                <a:gd name="connsiteY2" fmla="*/ 272124 h 319403"/>
                <a:gd name="connsiteX3" fmla="*/ 43165 w 644091"/>
                <a:gd name="connsiteY3" fmla="*/ 288287 h 319403"/>
                <a:gd name="connsiteX4" fmla="*/ 56476 w 644091"/>
                <a:gd name="connsiteY4" fmla="*/ 298745 h 319403"/>
                <a:gd name="connsiteX5" fmla="*/ 80625 w 644091"/>
                <a:gd name="connsiteY5" fmla="*/ 317761 h 319403"/>
                <a:gd name="connsiteX6" fmla="*/ 103064 w 644091"/>
                <a:gd name="connsiteY6" fmla="*/ 302358 h 319403"/>
                <a:gd name="connsiteX7" fmla="*/ 103064 w 644091"/>
                <a:gd name="connsiteY7" fmla="*/ 286195 h 319403"/>
                <a:gd name="connsiteX8" fmla="*/ 109719 w 644091"/>
                <a:gd name="connsiteY8" fmla="*/ 286195 h 319403"/>
                <a:gd name="connsiteX9" fmla="*/ 121128 w 644091"/>
                <a:gd name="connsiteY9" fmla="*/ 288287 h 319403"/>
                <a:gd name="connsiteX10" fmla="*/ 127974 w 644091"/>
                <a:gd name="connsiteY10" fmla="*/ 278399 h 319403"/>
                <a:gd name="connsiteX11" fmla="*/ 116945 w 644091"/>
                <a:gd name="connsiteY11" fmla="*/ 248164 h 319403"/>
                <a:gd name="connsiteX12" fmla="*/ 130446 w 644091"/>
                <a:gd name="connsiteY12" fmla="*/ 257482 h 319403"/>
                <a:gd name="connsiteX13" fmla="*/ 145658 w 644091"/>
                <a:gd name="connsiteY13" fmla="*/ 268701 h 319403"/>
                <a:gd name="connsiteX14" fmla="*/ 146799 w 644091"/>
                <a:gd name="connsiteY14" fmla="*/ 238086 h 319403"/>
                <a:gd name="connsiteX15" fmla="*/ 158969 w 644091"/>
                <a:gd name="connsiteY15" fmla="*/ 229149 h 319403"/>
                <a:gd name="connsiteX16" fmla="*/ 161631 w 644091"/>
                <a:gd name="connsiteY16" fmla="*/ 251967 h 319403"/>
                <a:gd name="connsiteX17" fmla="*/ 173040 w 644091"/>
                <a:gd name="connsiteY17" fmla="*/ 243030 h 319403"/>
                <a:gd name="connsiteX18" fmla="*/ 188252 w 644091"/>
                <a:gd name="connsiteY18" fmla="*/ 238466 h 319403"/>
                <a:gd name="connsiteX19" fmla="*/ 203275 w 644091"/>
                <a:gd name="connsiteY19" fmla="*/ 212605 h 319403"/>
                <a:gd name="connsiteX20" fmla="*/ 209930 w 644091"/>
                <a:gd name="connsiteY20" fmla="*/ 190548 h 319403"/>
                <a:gd name="connsiteX21" fmla="*/ 225713 w 644091"/>
                <a:gd name="connsiteY21" fmla="*/ 205950 h 319403"/>
                <a:gd name="connsiteX22" fmla="*/ 248531 w 644091"/>
                <a:gd name="connsiteY22" fmla="*/ 191118 h 319403"/>
                <a:gd name="connsiteX23" fmla="*/ 262793 w 644091"/>
                <a:gd name="connsiteY23" fmla="*/ 202147 h 319403"/>
                <a:gd name="connsiteX24" fmla="*/ 267737 w 644091"/>
                <a:gd name="connsiteY24" fmla="*/ 188646 h 319403"/>
                <a:gd name="connsiteX25" fmla="*/ 279906 w 644091"/>
                <a:gd name="connsiteY25" fmla="*/ 191118 h 319403"/>
                <a:gd name="connsiteX26" fmla="*/ 296830 w 644091"/>
                <a:gd name="connsiteY26" fmla="*/ 172103 h 319403"/>
                <a:gd name="connsiteX27" fmla="*/ 285611 w 644091"/>
                <a:gd name="connsiteY27" fmla="*/ 162405 h 319403"/>
                <a:gd name="connsiteX28" fmla="*/ 294738 w 644091"/>
                <a:gd name="connsiteY28" fmla="*/ 164496 h 319403"/>
                <a:gd name="connsiteX29" fmla="*/ 307289 w 644091"/>
                <a:gd name="connsiteY29" fmla="*/ 160503 h 319403"/>
                <a:gd name="connsiteX30" fmla="*/ 332009 w 644091"/>
                <a:gd name="connsiteY30" fmla="*/ 154038 h 319403"/>
                <a:gd name="connsiteX31" fmla="*/ 359201 w 644091"/>
                <a:gd name="connsiteY31" fmla="*/ 141488 h 319403"/>
                <a:gd name="connsiteX32" fmla="*/ 387153 w 644091"/>
                <a:gd name="connsiteY32" fmla="*/ 140537 h 319403"/>
                <a:gd name="connsiteX33" fmla="*/ 411113 w 644091"/>
                <a:gd name="connsiteY33" fmla="*/ 132741 h 319403"/>
                <a:gd name="connsiteX34" fmla="*/ 440777 w 644091"/>
                <a:gd name="connsiteY34" fmla="*/ 134642 h 319403"/>
                <a:gd name="connsiteX35" fmla="*/ 465497 w 644091"/>
                <a:gd name="connsiteY35" fmla="*/ 130459 h 319403"/>
                <a:gd name="connsiteX36" fmla="*/ 499154 w 644091"/>
                <a:gd name="connsiteY36" fmla="*/ 124184 h 319403"/>
                <a:gd name="connsiteX37" fmla="*/ 529389 w 644091"/>
                <a:gd name="connsiteY37" fmla="*/ 124184 h 319403"/>
                <a:gd name="connsiteX38" fmla="*/ 578258 w 644091"/>
                <a:gd name="connsiteY38" fmla="*/ 108401 h 319403"/>
                <a:gd name="connsiteX39" fmla="*/ 620092 w 644091"/>
                <a:gd name="connsiteY39" fmla="*/ 86724 h 319403"/>
                <a:gd name="connsiteX40" fmla="*/ 637776 w 644091"/>
                <a:gd name="connsiteY40" fmla="*/ 70941 h 319403"/>
                <a:gd name="connsiteX41" fmla="*/ 643291 w 644091"/>
                <a:gd name="connsiteY41" fmla="*/ 44509 h 319403"/>
                <a:gd name="connsiteX42" fmla="*/ 643291 w 644091"/>
                <a:gd name="connsiteY42" fmla="*/ 44509 h 319403"/>
                <a:gd name="connsiteX43" fmla="*/ 614825 w 644091"/>
                <a:gd name="connsiteY43" fmla="*/ 795 h 319403"/>
                <a:gd name="connsiteX44" fmla="*/ 606211 w 644091"/>
                <a:gd name="connsiteY44" fmla="*/ 13 h 319403"/>
                <a:gd name="connsiteX45" fmla="*/ 542889 w 644091"/>
                <a:gd name="connsiteY45" fmla="*/ 36713 h 319403"/>
                <a:gd name="connsiteX46" fmla="*/ 511704 w 644091"/>
                <a:gd name="connsiteY46" fmla="*/ 42037 h 319403"/>
                <a:gd name="connsiteX47" fmla="*/ 486794 w 644091"/>
                <a:gd name="connsiteY47" fmla="*/ 55158 h 319403"/>
                <a:gd name="connsiteX48" fmla="*/ 467779 w 644091"/>
                <a:gd name="connsiteY48" fmla="*/ 43939 h 319403"/>
                <a:gd name="connsiteX49" fmla="*/ 440967 w 644091"/>
                <a:gd name="connsiteY49" fmla="*/ 46411 h 319403"/>
                <a:gd name="connsiteX50" fmla="*/ 415296 w 644091"/>
                <a:gd name="connsiteY50" fmla="*/ 27395 h 319403"/>
                <a:gd name="connsiteX51" fmla="*/ 393999 w 644091"/>
                <a:gd name="connsiteY51" fmla="*/ 18648 h 319403"/>
                <a:gd name="connsiteX52" fmla="*/ 376505 w 644091"/>
                <a:gd name="connsiteY52" fmla="*/ 33861 h 319403"/>
                <a:gd name="connsiteX53" fmla="*/ 351595 w 644091"/>
                <a:gd name="connsiteY53" fmla="*/ 39756 h 319403"/>
                <a:gd name="connsiteX54" fmla="*/ 286562 w 644091"/>
                <a:gd name="connsiteY54" fmla="*/ 47362 h 319403"/>
                <a:gd name="connsiteX55" fmla="*/ 260891 w 644091"/>
                <a:gd name="connsiteY55" fmla="*/ 57060 h 319403"/>
                <a:gd name="connsiteX56" fmla="*/ 248341 w 644091"/>
                <a:gd name="connsiteY56" fmla="*/ 64095 h 319403"/>
                <a:gd name="connsiteX57" fmla="*/ 238263 w 644091"/>
                <a:gd name="connsiteY57" fmla="*/ 66757 h 319403"/>
                <a:gd name="connsiteX58" fmla="*/ 220389 w 644091"/>
                <a:gd name="connsiteY58" fmla="*/ 79498 h 319403"/>
                <a:gd name="connsiteX59" fmla="*/ 204986 w 644091"/>
                <a:gd name="connsiteY59" fmla="*/ 71511 h 319403"/>
                <a:gd name="connsiteX60" fmla="*/ 192246 w 644091"/>
                <a:gd name="connsiteY60" fmla="*/ 90527 h 319403"/>
                <a:gd name="connsiteX61" fmla="*/ 175512 w 644091"/>
                <a:gd name="connsiteY61" fmla="*/ 78357 h 319403"/>
                <a:gd name="connsiteX62" fmla="*/ 157638 w 644091"/>
                <a:gd name="connsiteY62" fmla="*/ 93379 h 319403"/>
                <a:gd name="connsiteX63" fmla="*/ 162962 w 644091"/>
                <a:gd name="connsiteY63" fmla="*/ 112394 h 319403"/>
                <a:gd name="connsiteX64" fmla="*/ 153264 w 644091"/>
                <a:gd name="connsiteY64" fmla="*/ 129318 h 319403"/>
                <a:gd name="connsiteX65" fmla="*/ 163152 w 644091"/>
                <a:gd name="connsiteY65" fmla="*/ 147002 h 319403"/>
                <a:gd name="connsiteX66" fmla="*/ 145848 w 644091"/>
                <a:gd name="connsiteY66" fmla="*/ 139016 h 319403"/>
                <a:gd name="connsiteX67" fmla="*/ 120177 w 644091"/>
                <a:gd name="connsiteY67" fmla="*/ 143770 h 319403"/>
                <a:gd name="connsiteX68" fmla="*/ 120177 w 644091"/>
                <a:gd name="connsiteY68" fmla="*/ 165067 h 319403"/>
                <a:gd name="connsiteX69" fmla="*/ 102873 w 644091"/>
                <a:gd name="connsiteY69" fmla="*/ 169440 h 319403"/>
                <a:gd name="connsiteX70" fmla="*/ 93936 w 644091"/>
                <a:gd name="connsiteY70" fmla="*/ 179519 h 319403"/>
                <a:gd name="connsiteX71" fmla="*/ 81386 w 644091"/>
                <a:gd name="connsiteY71" fmla="*/ 187505 h 319403"/>
                <a:gd name="connsiteX72" fmla="*/ 59518 w 644091"/>
                <a:gd name="connsiteY72" fmla="*/ 188646 h 319403"/>
                <a:gd name="connsiteX73" fmla="*/ 38031 w 644091"/>
                <a:gd name="connsiteY73" fmla="*/ 198344 h 319403"/>
                <a:gd name="connsiteX74" fmla="*/ 12931 w 644091"/>
                <a:gd name="connsiteY74" fmla="*/ 201767 h 319403"/>
                <a:gd name="connsiteX75" fmla="*/ 7416 w 644091"/>
                <a:gd name="connsiteY75" fmla="*/ 220782 h 319403"/>
                <a:gd name="connsiteX76" fmla="*/ 33087 w 644091"/>
                <a:gd name="connsiteY76" fmla="*/ 230100 h 319403"/>
                <a:gd name="connsiteX77" fmla="*/ 56096 w 644091"/>
                <a:gd name="connsiteY77" fmla="*/ 235804 h 319403"/>
                <a:gd name="connsiteX78" fmla="*/ 40313 w 644091"/>
                <a:gd name="connsiteY78" fmla="*/ 236755 h 319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44091" h="319403">
                  <a:moveTo>
                    <a:pt x="40313" y="236755"/>
                  </a:moveTo>
                  <a:cubicBezTo>
                    <a:pt x="26622" y="235424"/>
                    <a:pt x="6846" y="251967"/>
                    <a:pt x="0" y="262045"/>
                  </a:cubicBezTo>
                  <a:cubicBezTo>
                    <a:pt x="11980" y="267940"/>
                    <a:pt x="22438" y="260524"/>
                    <a:pt x="31946" y="272124"/>
                  </a:cubicBezTo>
                  <a:cubicBezTo>
                    <a:pt x="35121" y="277885"/>
                    <a:pt x="38868" y="283301"/>
                    <a:pt x="43165" y="288287"/>
                  </a:cubicBezTo>
                  <a:cubicBezTo>
                    <a:pt x="47881" y="291405"/>
                    <a:pt x="52331" y="294904"/>
                    <a:pt x="56476" y="298745"/>
                  </a:cubicBezTo>
                  <a:cubicBezTo>
                    <a:pt x="65413" y="309394"/>
                    <a:pt x="61800" y="324416"/>
                    <a:pt x="80625" y="317761"/>
                  </a:cubicBezTo>
                  <a:cubicBezTo>
                    <a:pt x="89563" y="315155"/>
                    <a:pt x="97416" y="309757"/>
                    <a:pt x="103064" y="302358"/>
                  </a:cubicBezTo>
                  <a:cubicBezTo>
                    <a:pt x="104965" y="297984"/>
                    <a:pt x="101542" y="289237"/>
                    <a:pt x="103064" y="286195"/>
                  </a:cubicBezTo>
                  <a:cubicBezTo>
                    <a:pt x="104585" y="283153"/>
                    <a:pt x="106296" y="286195"/>
                    <a:pt x="109719" y="286195"/>
                  </a:cubicBezTo>
                  <a:cubicBezTo>
                    <a:pt x="113142" y="286195"/>
                    <a:pt x="115233" y="290949"/>
                    <a:pt x="121128" y="288287"/>
                  </a:cubicBezTo>
                  <a:cubicBezTo>
                    <a:pt x="124760" y="286161"/>
                    <a:pt x="127270" y="282542"/>
                    <a:pt x="127974" y="278399"/>
                  </a:cubicBezTo>
                  <a:cubicBezTo>
                    <a:pt x="130636" y="267750"/>
                    <a:pt x="114283" y="256531"/>
                    <a:pt x="116945" y="248164"/>
                  </a:cubicBezTo>
                  <a:cubicBezTo>
                    <a:pt x="120558" y="236375"/>
                    <a:pt x="128164" y="253298"/>
                    <a:pt x="130446" y="257482"/>
                  </a:cubicBezTo>
                  <a:cubicBezTo>
                    <a:pt x="134439" y="265468"/>
                    <a:pt x="137481" y="274976"/>
                    <a:pt x="145658" y="268701"/>
                  </a:cubicBezTo>
                  <a:cubicBezTo>
                    <a:pt x="153835" y="262426"/>
                    <a:pt x="146609" y="247594"/>
                    <a:pt x="146799" y="238086"/>
                  </a:cubicBezTo>
                  <a:cubicBezTo>
                    <a:pt x="146989" y="228578"/>
                    <a:pt x="152694" y="220402"/>
                    <a:pt x="158969" y="229149"/>
                  </a:cubicBezTo>
                  <a:cubicBezTo>
                    <a:pt x="162772" y="234283"/>
                    <a:pt x="154976" y="249305"/>
                    <a:pt x="161631" y="251967"/>
                  </a:cubicBezTo>
                  <a:cubicBezTo>
                    <a:pt x="168286" y="254629"/>
                    <a:pt x="169617" y="245312"/>
                    <a:pt x="173040" y="243030"/>
                  </a:cubicBezTo>
                  <a:cubicBezTo>
                    <a:pt x="176463" y="240748"/>
                    <a:pt x="183499" y="240938"/>
                    <a:pt x="188252" y="238466"/>
                  </a:cubicBezTo>
                  <a:cubicBezTo>
                    <a:pt x="196581" y="232260"/>
                    <a:pt x="202000" y="222916"/>
                    <a:pt x="203275" y="212605"/>
                  </a:cubicBezTo>
                  <a:cubicBezTo>
                    <a:pt x="204225" y="205950"/>
                    <a:pt x="198711" y="183512"/>
                    <a:pt x="209930" y="190548"/>
                  </a:cubicBezTo>
                  <a:cubicBezTo>
                    <a:pt x="217916" y="195682"/>
                    <a:pt x="212973" y="209563"/>
                    <a:pt x="225713" y="205950"/>
                  </a:cubicBezTo>
                  <a:cubicBezTo>
                    <a:pt x="233699" y="203288"/>
                    <a:pt x="238833" y="184843"/>
                    <a:pt x="248531" y="191118"/>
                  </a:cubicBezTo>
                  <a:cubicBezTo>
                    <a:pt x="253095" y="194351"/>
                    <a:pt x="253856" y="212225"/>
                    <a:pt x="262793" y="202147"/>
                  </a:cubicBezTo>
                  <a:cubicBezTo>
                    <a:pt x="266025" y="198344"/>
                    <a:pt x="262793" y="191308"/>
                    <a:pt x="267737" y="188646"/>
                  </a:cubicBezTo>
                  <a:cubicBezTo>
                    <a:pt x="272681" y="185984"/>
                    <a:pt x="276484" y="191498"/>
                    <a:pt x="279906" y="191118"/>
                  </a:cubicBezTo>
                  <a:cubicBezTo>
                    <a:pt x="290555" y="189787"/>
                    <a:pt x="294168" y="179709"/>
                    <a:pt x="296830" y="172103"/>
                  </a:cubicBezTo>
                  <a:cubicBezTo>
                    <a:pt x="294358" y="172103"/>
                    <a:pt x="274392" y="167159"/>
                    <a:pt x="285611" y="162405"/>
                  </a:cubicBezTo>
                  <a:cubicBezTo>
                    <a:pt x="289224" y="160884"/>
                    <a:pt x="291506" y="164496"/>
                    <a:pt x="294738" y="164496"/>
                  </a:cubicBezTo>
                  <a:cubicBezTo>
                    <a:pt x="299131" y="163905"/>
                    <a:pt x="303372" y="162553"/>
                    <a:pt x="307289" y="160503"/>
                  </a:cubicBezTo>
                  <a:cubicBezTo>
                    <a:pt x="315656" y="157271"/>
                    <a:pt x="324022" y="157080"/>
                    <a:pt x="332009" y="154038"/>
                  </a:cubicBezTo>
                  <a:cubicBezTo>
                    <a:pt x="340775" y="149244"/>
                    <a:pt x="349864" y="145051"/>
                    <a:pt x="359201" y="141488"/>
                  </a:cubicBezTo>
                  <a:cubicBezTo>
                    <a:pt x="368708" y="139396"/>
                    <a:pt x="378216" y="141488"/>
                    <a:pt x="387153" y="140537"/>
                  </a:cubicBezTo>
                  <a:cubicBezTo>
                    <a:pt x="396091" y="139586"/>
                    <a:pt x="402176" y="133692"/>
                    <a:pt x="411113" y="132741"/>
                  </a:cubicBezTo>
                  <a:cubicBezTo>
                    <a:pt x="420050" y="131790"/>
                    <a:pt x="430128" y="134832"/>
                    <a:pt x="440777" y="134642"/>
                  </a:cubicBezTo>
                  <a:cubicBezTo>
                    <a:pt x="451425" y="134452"/>
                    <a:pt x="457320" y="131600"/>
                    <a:pt x="465497" y="130459"/>
                  </a:cubicBezTo>
                  <a:cubicBezTo>
                    <a:pt x="477286" y="128748"/>
                    <a:pt x="487745" y="126656"/>
                    <a:pt x="499154" y="124184"/>
                  </a:cubicBezTo>
                  <a:cubicBezTo>
                    <a:pt x="509213" y="123516"/>
                    <a:pt x="519329" y="123516"/>
                    <a:pt x="529389" y="124184"/>
                  </a:cubicBezTo>
                  <a:cubicBezTo>
                    <a:pt x="546122" y="122472"/>
                    <a:pt x="561334" y="111444"/>
                    <a:pt x="578258" y="108401"/>
                  </a:cubicBezTo>
                  <a:cubicBezTo>
                    <a:pt x="593984" y="105323"/>
                    <a:pt x="608511" y="97798"/>
                    <a:pt x="620092" y="86724"/>
                  </a:cubicBezTo>
                  <a:cubicBezTo>
                    <a:pt x="625416" y="82160"/>
                    <a:pt x="634734" y="77406"/>
                    <a:pt x="637776" y="70941"/>
                  </a:cubicBezTo>
                  <a:cubicBezTo>
                    <a:pt x="640362" y="62304"/>
                    <a:pt x="642207" y="53460"/>
                    <a:pt x="643291" y="44509"/>
                  </a:cubicBezTo>
                  <a:cubicBezTo>
                    <a:pt x="644622" y="39565"/>
                    <a:pt x="643291" y="42798"/>
                    <a:pt x="643291" y="44509"/>
                  </a:cubicBezTo>
                  <a:cubicBezTo>
                    <a:pt x="647493" y="24575"/>
                    <a:pt x="634753" y="5003"/>
                    <a:pt x="614825" y="795"/>
                  </a:cubicBezTo>
                  <a:cubicBezTo>
                    <a:pt x="611991" y="198"/>
                    <a:pt x="609101" y="-65"/>
                    <a:pt x="606211" y="13"/>
                  </a:cubicBezTo>
                  <a:cubicBezTo>
                    <a:pt x="581643" y="4961"/>
                    <a:pt x="559395" y="17857"/>
                    <a:pt x="542889" y="36713"/>
                  </a:cubicBezTo>
                  <a:cubicBezTo>
                    <a:pt x="533572" y="45270"/>
                    <a:pt x="523874" y="40136"/>
                    <a:pt x="511704" y="42037"/>
                  </a:cubicBezTo>
                  <a:cubicBezTo>
                    <a:pt x="499534" y="43939"/>
                    <a:pt x="495541" y="54397"/>
                    <a:pt x="486794" y="55158"/>
                  </a:cubicBezTo>
                  <a:cubicBezTo>
                    <a:pt x="478047" y="55919"/>
                    <a:pt x="475385" y="45840"/>
                    <a:pt x="467779" y="43939"/>
                  </a:cubicBezTo>
                  <a:cubicBezTo>
                    <a:pt x="460173" y="42037"/>
                    <a:pt x="452376" y="50404"/>
                    <a:pt x="440967" y="46411"/>
                  </a:cubicBezTo>
                  <a:cubicBezTo>
                    <a:pt x="430927" y="42378"/>
                    <a:pt x="422085" y="35831"/>
                    <a:pt x="415296" y="27395"/>
                  </a:cubicBezTo>
                  <a:cubicBezTo>
                    <a:pt x="408641" y="20170"/>
                    <a:pt x="404648" y="16557"/>
                    <a:pt x="393999" y="18648"/>
                  </a:cubicBezTo>
                  <a:cubicBezTo>
                    <a:pt x="383350" y="20740"/>
                    <a:pt x="382590" y="25874"/>
                    <a:pt x="376505" y="33861"/>
                  </a:cubicBezTo>
                  <a:cubicBezTo>
                    <a:pt x="370420" y="41847"/>
                    <a:pt x="362243" y="40516"/>
                    <a:pt x="351595" y="39756"/>
                  </a:cubicBezTo>
                  <a:cubicBezTo>
                    <a:pt x="329632" y="36696"/>
                    <a:pt x="307232" y="39314"/>
                    <a:pt x="286562" y="47362"/>
                  </a:cubicBezTo>
                  <a:cubicBezTo>
                    <a:pt x="278195" y="51091"/>
                    <a:pt x="269638" y="54329"/>
                    <a:pt x="260891" y="57060"/>
                  </a:cubicBezTo>
                  <a:cubicBezTo>
                    <a:pt x="256537" y="59104"/>
                    <a:pt x="252353" y="61456"/>
                    <a:pt x="248341" y="64095"/>
                  </a:cubicBezTo>
                  <a:cubicBezTo>
                    <a:pt x="245489" y="65236"/>
                    <a:pt x="240925" y="64095"/>
                    <a:pt x="238263" y="66757"/>
                  </a:cubicBezTo>
                  <a:cubicBezTo>
                    <a:pt x="230467" y="72652"/>
                    <a:pt x="232748" y="85773"/>
                    <a:pt x="220389" y="79498"/>
                  </a:cubicBezTo>
                  <a:cubicBezTo>
                    <a:pt x="213353" y="75505"/>
                    <a:pt x="215444" y="64666"/>
                    <a:pt x="204986" y="71511"/>
                  </a:cubicBezTo>
                  <a:cubicBezTo>
                    <a:pt x="198141" y="75885"/>
                    <a:pt x="199662" y="87484"/>
                    <a:pt x="192246" y="90527"/>
                  </a:cubicBezTo>
                  <a:cubicBezTo>
                    <a:pt x="180076" y="96802"/>
                    <a:pt x="183118" y="82540"/>
                    <a:pt x="175512" y="78357"/>
                  </a:cubicBezTo>
                  <a:cubicBezTo>
                    <a:pt x="167906" y="74173"/>
                    <a:pt x="158208" y="85773"/>
                    <a:pt x="157638" y="93379"/>
                  </a:cubicBezTo>
                  <a:cubicBezTo>
                    <a:pt x="157067" y="100985"/>
                    <a:pt x="164673" y="106119"/>
                    <a:pt x="162962" y="112394"/>
                  </a:cubicBezTo>
                  <a:cubicBezTo>
                    <a:pt x="161251" y="118669"/>
                    <a:pt x="147750" y="116197"/>
                    <a:pt x="153264" y="129318"/>
                  </a:cubicBezTo>
                  <a:cubicBezTo>
                    <a:pt x="155356" y="134262"/>
                    <a:pt x="167906" y="140157"/>
                    <a:pt x="163152" y="147002"/>
                  </a:cubicBezTo>
                  <a:cubicBezTo>
                    <a:pt x="158398" y="153848"/>
                    <a:pt x="151743" y="141298"/>
                    <a:pt x="145848" y="139016"/>
                  </a:cubicBezTo>
                  <a:cubicBezTo>
                    <a:pt x="139953" y="136734"/>
                    <a:pt x="122079" y="139016"/>
                    <a:pt x="120177" y="143770"/>
                  </a:cubicBezTo>
                  <a:cubicBezTo>
                    <a:pt x="117135" y="152137"/>
                    <a:pt x="142615" y="172863"/>
                    <a:pt x="120177" y="165067"/>
                  </a:cubicBezTo>
                  <a:cubicBezTo>
                    <a:pt x="108958" y="161264"/>
                    <a:pt x="106867" y="155559"/>
                    <a:pt x="102873" y="169440"/>
                  </a:cubicBezTo>
                  <a:cubicBezTo>
                    <a:pt x="98880" y="183322"/>
                    <a:pt x="102873" y="173053"/>
                    <a:pt x="93936" y="179519"/>
                  </a:cubicBezTo>
                  <a:cubicBezTo>
                    <a:pt x="84999" y="185984"/>
                    <a:pt x="92035" y="188836"/>
                    <a:pt x="81386" y="187505"/>
                  </a:cubicBezTo>
                  <a:cubicBezTo>
                    <a:pt x="70737" y="186174"/>
                    <a:pt x="69216" y="182941"/>
                    <a:pt x="59518" y="188646"/>
                  </a:cubicBezTo>
                  <a:cubicBezTo>
                    <a:pt x="53338" y="193719"/>
                    <a:pt x="45922" y="197066"/>
                    <a:pt x="38031" y="198344"/>
                  </a:cubicBezTo>
                  <a:cubicBezTo>
                    <a:pt x="29512" y="197549"/>
                    <a:pt x="20917" y="198720"/>
                    <a:pt x="12931" y="201767"/>
                  </a:cubicBezTo>
                  <a:cubicBezTo>
                    <a:pt x="6579" y="205826"/>
                    <a:pt x="4221" y="213957"/>
                    <a:pt x="7416" y="220782"/>
                  </a:cubicBezTo>
                  <a:cubicBezTo>
                    <a:pt x="13121" y="231240"/>
                    <a:pt x="23579" y="230100"/>
                    <a:pt x="33087" y="230100"/>
                  </a:cubicBezTo>
                  <a:cubicBezTo>
                    <a:pt x="38031" y="230100"/>
                    <a:pt x="53814" y="227437"/>
                    <a:pt x="56096" y="235804"/>
                  </a:cubicBezTo>
                  <a:cubicBezTo>
                    <a:pt x="58377" y="244171"/>
                    <a:pt x="42024" y="236945"/>
                    <a:pt x="40313" y="23675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55" name="Полилиния: фигура 454">
              <a:extLst>
                <a:ext uri="{FF2B5EF4-FFF2-40B4-BE49-F238E27FC236}">
                  <a16:creationId xmlns:a16="http://schemas.microsoft.com/office/drawing/2014/main" id="{47890BFF-1D06-E7BE-C6AB-0A7AC5DF3D0E}"/>
                </a:ext>
              </a:extLst>
            </p:cNvPr>
            <p:cNvSpPr/>
            <p:nvPr/>
          </p:nvSpPr>
          <p:spPr>
            <a:xfrm>
              <a:off x="4047491" y="3000275"/>
              <a:ext cx="29033" cy="58762"/>
            </a:xfrm>
            <a:custGeom>
              <a:avLst/>
              <a:gdLst>
                <a:gd name="connsiteX0" fmla="*/ 24366 w 29033"/>
                <a:gd name="connsiteY0" fmla="*/ 43142 h 58762"/>
                <a:gd name="connsiteX1" fmla="*/ 24366 w 29033"/>
                <a:gd name="connsiteY1" fmla="*/ 8344 h 58762"/>
                <a:gd name="connsiteX2" fmla="*/ 216 w 29033"/>
                <a:gd name="connsiteY2" fmla="*/ 10436 h 58762"/>
                <a:gd name="connsiteX3" fmla="*/ 7442 w 29033"/>
                <a:gd name="connsiteY3" fmla="*/ 25648 h 58762"/>
                <a:gd name="connsiteX4" fmla="*/ 4780 w 29033"/>
                <a:gd name="connsiteY4" fmla="*/ 54171 h 58762"/>
                <a:gd name="connsiteX5" fmla="*/ 14668 w 29033"/>
                <a:gd name="connsiteY5" fmla="*/ 54171 h 58762"/>
                <a:gd name="connsiteX6" fmla="*/ 15999 w 29033"/>
                <a:gd name="connsiteY6" fmla="*/ 46375 h 58762"/>
                <a:gd name="connsiteX7" fmla="*/ 24366 w 29033"/>
                <a:gd name="connsiteY7" fmla="*/ 43142 h 5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33" h="58762">
                  <a:moveTo>
                    <a:pt x="24366" y="43142"/>
                  </a:moveTo>
                  <a:cubicBezTo>
                    <a:pt x="29500" y="38579"/>
                    <a:pt x="31591" y="13478"/>
                    <a:pt x="24366" y="8344"/>
                  </a:cubicBezTo>
                  <a:cubicBezTo>
                    <a:pt x="17140" y="3210"/>
                    <a:pt x="-2256" y="-8579"/>
                    <a:pt x="216" y="10436"/>
                  </a:cubicBezTo>
                  <a:cubicBezTo>
                    <a:pt x="216" y="16711"/>
                    <a:pt x="6111" y="19563"/>
                    <a:pt x="7442" y="25648"/>
                  </a:cubicBezTo>
                  <a:cubicBezTo>
                    <a:pt x="8773" y="31733"/>
                    <a:pt x="1547" y="47136"/>
                    <a:pt x="4780" y="54171"/>
                  </a:cubicBezTo>
                  <a:cubicBezTo>
                    <a:pt x="8012" y="61207"/>
                    <a:pt x="11245" y="59305"/>
                    <a:pt x="14668" y="54171"/>
                  </a:cubicBezTo>
                  <a:cubicBezTo>
                    <a:pt x="18090" y="49037"/>
                    <a:pt x="13717" y="49227"/>
                    <a:pt x="15999" y="46375"/>
                  </a:cubicBezTo>
                  <a:cubicBezTo>
                    <a:pt x="18281" y="43523"/>
                    <a:pt x="22274" y="45044"/>
                    <a:pt x="24366" y="4314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56" name="Полилиния: фигура 455">
              <a:extLst>
                <a:ext uri="{FF2B5EF4-FFF2-40B4-BE49-F238E27FC236}">
                  <a16:creationId xmlns:a16="http://schemas.microsoft.com/office/drawing/2014/main" id="{BCDA5B34-3CF9-4ED5-733C-C60A33A9BC6E}"/>
                </a:ext>
              </a:extLst>
            </p:cNvPr>
            <p:cNvSpPr/>
            <p:nvPr/>
          </p:nvSpPr>
          <p:spPr>
            <a:xfrm>
              <a:off x="3724636" y="3122445"/>
              <a:ext cx="106581" cy="90217"/>
            </a:xfrm>
            <a:custGeom>
              <a:avLst/>
              <a:gdLst>
                <a:gd name="connsiteX0" fmla="*/ 35179 w 106581"/>
                <a:gd name="connsiteY0" fmla="*/ 89639 h 90217"/>
                <a:gd name="connsiteX1" fmla="*/ 75301 w 106581"/>
                <a:gd name="connsiteY1" fmla="*/ 81842 h 90217"/>
                <a:gd name="connsiteX2" fmla="*/ 85379 w 106581"/>
                <a:gd name="connsiteY2" fmla="*/ 76518 h 90217"/>
                <a:gd name="connsiteX3" fmla="*/ 95077 w 106581"/>
                <a:gd name="connsiteY3" fmla="*/ 76518 h 90217"/>
                <a:gd name="connsiteX4" fmla="*/ 105155 w 106581"/>
                <a:gd name="connsiteY4" fmla="*/ 70433 h 90217"/>
                <a:gd name="connsiteX5" fmla="*/ 105155 w 106581"/>
                <a:gd name="connsiteY5" fmla="*/ 58644 h 90217"/>
                <a:gd name="connsiteX6" fmla="*/ 101162 w 106581"/>
                <a:gd name="connsiteY6" fmla="*/ 52369 h 90217"/>
                <a:gd name="connsiteX7" fmla="*/ 97359 w 106581"/>
                <a:gd name="connsiteY7" fmla="*/ 35825 h 90217"/>
                <a:gd name="connsiteX8" fmla="*/ 73970 w 106581"/>
                <a:gd name="connsiteY8" fmla="*/ 3119 h 90217"/>
                <a:gd name="connsiteX9" fmla="*/ 65793 w 106581"/>
                <a:gd name="connsiteY9" fmla="*/ 76 h 90217"/>
                <a:gd name="connsiteX10" fmla="*/ 48489 w 106581"/>
                <a:gd name="connsiteY10" fmla="*/ 4640 h 90217"/>
                <a:gd name="connsiteX11" fmla="*/ 1902 w 106581"/>
                <a:gd name="connsiteY11" fmla="*/ 54270 h 90217"/>
                <a:gd name="connsiteX12" fmla="*/ 0 w 106581"/>
                <a:gd name="connsiteY12" fmla="*/ 60355 h 90217"/>
                <a:gd name="connsiteX13" fmla="*/ 5895 w 106581"/>
                <a:gd name="connsiteY13" fmla="*/ 74997 h 90217"/>
                <a:gd name="connsiteX14" fmla="*/ 35179 w 106581"/>
                <a:gd name="connsiteY14" fmla="*/ 89639 h 9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6581" h="90217">
                  <a:moveTo>
                    <a:pt x="35179" y="89639"/>
                  </a:moveTo>
                  <a:cubicBezTo>
                    <a:pt x="49041" y="91521"/>
                    <a:pt x="63150" y="88783"/>
                    <a:pt x="75301" y="81842"/>
                  </a:cubicBezTo>
                  <a:cubicBezTo>
                    <a:pt x="78248" y="79371"/>
                    <a:pt x="81690" y="77564"/>
                    <a:pt x="85379" y="76518"/>
                  </a:cubicBezTo>
                  <a:cubicBezTo>
                    <a:pt x="88612" y="76518"/>
                    <a:pt x="91844" y="76518"/>
                    <a:pt x="95077" y="76518"/>
                  </a:cubicBezTo>
                  <a:cubicBezTo>
                    <a:pt x="99279" y="76385"/>
                    <a:pt x="103101" y="74084"/>
                    <a:pt x="105155" y="70433"/>
                  </a:cubicBezTo>
                  <a:cubicBezTo>
                    <a:pt x="107057" y="66725"/>
                    <a:pt x="107057" y="62352"/>
                    <a:pt x="105155" y="58644"/>
                  </a:cubicBezTo>
                  <a:cubicBezTo>
                    <a:pt x="104014" y="56362"/>
                    <a:pt x="102303" y="54460"/>
                    <a:pt x="101162" y="52369"/>
                  </a:cubicBezTo>
                  <a:cubicBezTo>
                    <a:pt x="98918" y="47120"/>
                    <a:pt x="97625" y="41530"/>
                    <a:pt x="97359" y="35825"/>
                  </a:cubicBezTo>
                  <a:cubicBezTo>
                    <a:pt x="94716" y="22039"/>
                    <a:pt x="86159" y="10079"/>
                    <a:pt x="73970" y="3119"/>
                  </a:cubicBezTo>
                  <a:cubicBezTo>
                    <a:pt x="71403" y="1712"/>
                    <a:pt x="68646" y="685"/>
                    <a:pt x="65793" y="76"/>
                  </a:cubicBezTo>
                  <a:cubicBezTo>
                    <a:pt x="59670" y="-380"/>
                    <a:pt x="53585" y="1217"/>
                    <a:pt x="48489" y="4640"/>
                  </a:cubicBezTo>
                  <a:cubicBezTo>
                    <a:pt x="27895" y="15574"/>
                    <a:pt x="11504" y="33030"/>
                    <a:pt x="1902" y="54270"/>
                  </a:cubicBezTo>
                  <a:cubicBezTo>
                    <a:pt x="1065" y="56229"/>
                    <a:pt x="437" y="58263"/>
                    <a:pt x="0" y="60355"/>
                  </a:cubicBezTo>
                  <a:cubicBezTo>
                    <a:pt x="266" y="65755"/>
                    <a:pt x="2339" y="70909"/>
                    <a:pt x="5895" y="74997"/>
                  </a:cubicBezTo>
                  <a:cubicBezTo>
                    <a:pt x="12778" y="84257"/>
                    <a:pt x="23655" y="89677"/>
                    <a:pt x="35179" y="8963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9BD36CA4-2FD9-6E97-CC16-75584ED171B8}"/>
              </a:ext>
            </a:extLst>
          </p:cNvPr>
          <p:cNvGrpSpPr/>
          <p:nvPr/>
        </p:nvGrpSpPr>
        <p:grpSpPr>
          <a:xfrm>
            <a:off x="4813806" y="2831146"/>
            <a:ext cx="2292878" cy="2128422"/>
            <a:chOff x="4813806" y="2831146"/>
            <a:chExt cx="2292878" cy="2128422"/>
          </a:xfrm>
          <a:solidFill>
            <a:schemeClr val="bg2">
              <a:lumMod val="75000"/>
            </a:schemeClr>
          </a:solidFill>
        </p:grpSpPr>
        <p:sp>
          <p:nvSpPr>
            <p:cNvPr id="496" name="Полилиния: фигура 495">
              <a:extLst>
                <a:ext uri="{FF2B5EF4-FFF2-40B4-BE49-F238E27FC236}">
                  <a16:creationId xmlns:a16="http://schemas.microsoft.com/office/drawing/2014/main" id="{6E930BCC-F264-FADA-0386-66AF7B50F9DA}"/>
                </a:ext>
              </a:extLst>
            </p:cNvPr>
            <p:cNvSpPr/>
            <p:nvPr/>
          </p:nvSpPr>
          <p:spPr>
            <a:xfrm>
              <a:off x="5168828" y="3851507"/>
              <a:ext cx="530723" cy="597837"/>
            </a:xfrm>
            <a:custGeom>
              <a:avLst/>
              <a:gdLst>
                <a:gd name="connsiteX0" fmla="*/ 582251 w 583873"/>
                <a:gd name="connsiteY0" fmla="*/ 114285 h 655786"/>
                <a:gd name="connsiteX1" fmla="*/ 568940 w 583873"/>
                <a:gd name="connsiteY1" fmla="*/ 116757 h 655786"/>
                <a:gd name="connsiteX2" fmla="*/ 502957 w 583873"/>
                <a:gd name="connsiteY2" fmla="*/ 95650 h 655786"/>
                <a:gd name="connsiteX3" fmla="*/ 498393 w 583873"/>
                <a:gd name="connsiteY3" fmla="*/ 93178 h 655786"/>
                <a:gd name="connsiteX4" fmla="*/ 468539 w 583873"/>
                <a:gd name="connsiteY4" fmla="*/ 79677 h 655786"/>
                <a:gd name="connsiteX5" fmla="*/ 463595 w 583873"/>
                <a:gd name="connsiteY5" fmla="*/ 78346 h 655786"/>
                <a:gd name="connsiteX6" fmla="*/ 450665 w 583873"/>
                <a:gd name="connsiteY6" fmla="*/ 73402 h 655786"/>
                <a:gd name="connsiteX7" fmla="*/ 445721 w 583873"/>
                <a:gd name="connsiteY7" fmla="*/ 69219 h 655786"/>
                <a:gd name="connsiteX8" fmla="*/ 439255 w 583873"/>
                <a:gd name="connsiteY8" fmla="*/ 65035 h 655786"/>
                <a:gd name="connsiteX9" fmla="*/ 421571 w 583873"/>
                <a:gd name="connsiteY9" fmla="*/ 68648 h 655786"/>
                <a:gd name="connsiteX10" fmla="*/ 415296 w 583873"/>
                <a:gd name="connsiteY10" fmla="*/ 74543 h 655786"/>
                <a:gd name="connsiteX11" fmla="*/ 406549 w 583873"/>
                <a:gd name="connsiteY11" fmla="*/ 82149 h 655786"/>
                <a:gd name="connsiteX12" fmla="*/ 387533 w 583873"/>
                <a:gd name="connsiteY12" fmla="*/ 80248 h 655786"/>
                <a:gd name="connsiteX13" fmla="*/ 377265 w 583873"/>
                <a:gd name="connsiteY13" fmla="*/ 77966 h 655786"/>
                <a:gd name="connsiteX14" fmla="*/ 374033 w 583873"/>
                <a:gd name="connsiteY14" fmla="*/ 80058 h 655786"/>
                <a:gd name="connsiteX15" fmla="*/ 363194 w 583873"/>
                <a:gd name="connsiteY15" fmla="*/ 84431 h 655786"/>
                <a:gd name="connsiteX16" fmla="*/ 350073 w 583873"/>
                <a:gd name="connsiteY16" fmla="*/ 77966 h 655786"/>
                <a:gd name="connsiteX17" fmla="*/ 345319 w 583873"/>
                <a:gd name="connsiteY17" fmla="*/ 74733 h 655786"/>
                <a:gd name="connsiteX18" fmla="*/ 329537 w 583873"/>
                <a:gd name="connsiteY18" fmla="*/ 77205 h 655786"/>
                <a:gd name="connsiteX19" fmla="*/ 323832 w 583873"/>
                <a:gd name="connsiteY19" fmla="*/ 80248 h 655786"/>
                <a:gd name="connsiteX20" fmla="*/ 313374 w 583873"/>
                <a:gd name="connsiteY20" fmla="*/ 82910 h 655786"/>
                <a:gd name="connsiteX21" fmla="*/ 281428 w 583873"/>
                <a:gd name="connsiteY21" fmla="*/ 63894 h 655786"/>
                <a:gd name="connsiteX22" fmla="*/ 279716 w 583873"/>
                <a:gd name="connsiteY22" fmla="*/ 61993 h 655786"/>
                <a:gd name="connsiteX23" fmla="*/ 276864 w 583873"/>
                <a:gd name="connsiteY23" fmla="*/ 58380 h 655786"/>
                <a:gd name="connsiteX24" fmla="*/ 268497 w 583873"/>
                <a:gd name="connsiteY24" fmla="*/ 50393 h 655786"/>
                <a:gd name="connsiteX25" fmla="*/ 259370 w 583873"/>
                <a:gd name="connsiteY25" fmla="*/ 50393 h 655786"/>
                <a:gd name="connsiteX26" fmla="*/ 249482 w 583873"/>
                <a:gd name="connsiteY26" fmla="*/ 52105 h 655786"/>
                <a:gd name="connsiteX27" fmla="*/ 230467 w 583873"/>
                <a:gd name="connsiteY27" fmla="*/ 43168 h 655786"/>
                <a:gd name="connsiteX28" fmla="*/ 225142 w 583873"/>
                <a:gd name="connsiteY28" fmla="*/ 25674 h 655786"/>
                <a:gd name="connsiteX29" fmla="*/ 211641 w 583873"/>
                <a:gd name="connsiteY29" fmla="*/ 6658 h 655786"/>
                <a:gd name="connsiteX30" fmla="*/ 177604 w 583873"/>
                <a:gd name="connsiteY30" fmla="*/ 4947 h 655786"/>
                <a:gd name="connsiteX31" fmla="*/ 173801 w 583873"/>
                <a:gd name="connsiteY31" fmla="*/ 4947 h 655786"/>
                <a:gd name="connsiteX32" fmla="*/ 160870 w 583873"/>
                <a:gd name="connsiteY32" fmla="*/ 4947 h 655786"/>
                <a:gd name="connsiteX33" fmla="*/ 154975 w 583873"/>
                <a:gd name="connsiteY33" fmla="*/ 2475 h 655786"/>
                <a:gd name="connsiteX34" fmla="*/ 146228 w 583873"/>
                <a:gd name="connsiteY34" fmla="*/ 3 h 655786"/>
                <a:gd name="connsiteX35" fmla="*/ 136150 w 583873"/>
                <a:gd name="connsiteY35" fmla="*/ 6088 h 655786"/>
                <a:gd name="connsiteX36" fmla="*/ 133868 w 583873"/>
                <a:gd name="connsiteY36" fmla="*/ 18067 h 655786"/>
                <a:gd name="connsiteX37" fmla="*/ 139383 w 583873"/>
                <a:gd name="connsiteY37" fmla="*/ 28906 h 655786"/>
                <a:gd name="connsiteX38" fmla="*/ 143946 w 583873"/>
                <a:gd name="connsiteY38" fmla="*/ 56859 h 655786"/>
                <a:gd name="connsiteX39" fmla="*/ 143946 w 583873"/>
                <a:gd name="connsiteY39" fmla="*/ 58760 h 655786"/>
                <a:gd name="connsiteX40" fmla="*/ 140524 w 583873"/>
                <a:gd name="connsiteY40" fmla="*/ 64845 h 655786"/>
                <a:gd name="connsiteX41" fmla="*/ 138432 w 583873"/>
                <a:gd name="connsiteY41" fmla="*/ 68838 h 655786"/>
                <a:gd name="connsiteX42" fmla="*/ 141094 w 583873"/>
                <a:gd name="connsiteY42" fmla="*/ 76064 h 655786"/>
                <a:gd name="connsiteX43" fmla="*/ 167716 w 583873"/>
                <a:gd name="connsiteY43" fmla="*/ 95080 h 655786"/>
                <a:gd name="connsiteX44" fmla="*/ 175892 w 583873"/>
                <a:gd name="connsiteY44" fmla="*/ 99833 h 655786"/>
                <a:gd name="connsiteX45" fmla="*/ 197380 w 583873"/>
                <a:gd name="connsiteY45" fmla="*/ 128927 h 655786"/>
                <a:gd name="connsiteX46" fmla="*/ 175132 w 583873"/>
                <a:gd name="connsiteY46" fmla="*/ 163345 h 655786"/>
                <a:gd name="connsiteX47" fmla="*/ 156116 w 583873"/>
                <a:gd name="connsiteY47" fmla="*/ 175515 h 655786"/>
                <a:gd name="connsiteX48" fmla="*/ 123220 w 583873"/>
                <a:gd name="connsiteY48" fmla="*/ 208982 h 655786"/>
                <a:gd name="connsiteX49" fmla="*/ 130256 w 583873"/>
                <a:gd name="connsiteY49" fmla="*/ 220961 h 655786"/>
                <a:gd name="connsiteX50" fmla="*/ 139193 w 583873"/>
                <a:gd name="connsiteY50" fmla="*/ 234652 h 655786"/>
                <a:gd name="connsiteX51" fmla="*/ 132157 w 583873"/>
                <a:gd name="connsiteY51" fmla="*/ 253668 h 655786"/>
                <a:gd name="connsiteX52" fmla="*/ 126643 w 583873"/>
                <a:gd name="connsiteY52" fmla="*/ 262415 h 655786"/>
                <a:gd name="connsiteX53" fmla="*/ 126643 w 583873"/>
                <a:gd name="connsiteY53" fmla="*/ 268120 h 655786"/>
                <a:gd name="connsiteX54" fmla="*/ 126643 w 583873"/>
                <a:gd name="connsiteY54" fmla="*/ 274965 h 655786"/>
                <a:gd name="connsiteX55" fmla="*/ 120938 w 583873"/>
                <a:gd name="connsiteY55" fmla="*/ 284473 h 655786"/>
                <a:gd name="connsiteX56" fmla="*/ 114663 w 583873"/>
                <a:gd name="connsiteY56" fmla="*/ 288466 h 655786"/>
                <a:gd name="connsiteX57" fmla="*/ 110289 w 583873"/>
                <a:gd name="connsiteY57" fmla="*/ 290938 h 655786"/>
                <a:gd name="connsiteX58" fmla="*/ 105155 w 583873"/>
                <a:gd name="connsiteY58" fmla="*/ 298925 h 655786"/>
                <a:gd name="connsiteX59" fmla="*/ 102493 w 583873"/>
                <a:gd name="connsiteY59" fmla="*/ 309573 h 655786"/>
                <a:gd name="connsiteX60" fmla="*/ 102493 w 583873"/>
                <a:gd name="connsiteY60" fmla="*/ 312616 h 655786"/>
                <a:gd name="connsiteX61" fmla="*/ 100591 w 583873"/>
                <a:gd name="connsiteY61" fmla="*/ 322884 h 655786"/>
                <a:gd name="connsiteX62" fmla="*/ 96028 w 583873"/>
                <a:gd name="connsiteY62" fmla="*/ 336955 h 655786"/>
                <a:gd name="connsiteX63" fmla="*/ 90513 w 583873"/>
                <a:gd name="connsiteY63" fmla="*/ 358633 h 655786"/>
                <a:gd name="connsiteX64" fmla="*/ 90513 w 583873"/>
                <a:gd name="connsiteY64" fmla="*/ 365668 h 655786"/>
                <a:gd name="connsiteX65" fmla="*/ 81006 w 583873"/>
                <a:gd name="connsiteY65" fmla="*/ 400847 h 655786"/>
                <a:gd name="connsiteX66" fmla="*/ 77203 w 583873"/>
                <a:gd name="connsiteY66" fmla="*/ 406361 h 655786"/>
                <a:gd name="connsiteX67" fmla="*/ 66744 w 583873"/>
                <a:gd name="connsiteY67" fmla="*/ 431081 h 655786"/>
                <a:gd name="connsiteX68" fmla="*/ 54574 w 583873"/>
                <a:gd name="connsiteY68" fmla="*/ 473106 h 655786"/>
                <a:gd name="connsiteX69" fmla="*/ 39172 w 583873"/>
                <a:gd name="connsiteY69" fmla="*/ 485465 h 655786"/>
                <a:gd name="connsiteX70" fmla="*/ 28143 w 583873"/>
                <a:gd name="connsiteY70" fmla="*/ 493452 h 655786"/>
                <a:gd name="connsiteX71" fmla="*/ 26051 w 583873"/>
                <a:gd name="connsiteY71" fmla="*/ 497065 h 655786"/>
                <a:gd name="connsiteX72" fmla="*/ 16163 w 583873"/>
                <a:gd name="connsiteY72" fmla="*/ 507143 h 655786"/>
                <a:gd name="connsiteX73" fmla="*/ 4374 w 583873"/>
                <a:gd name="connsiteY73" fmla="*/ 504671 h 655786"/>
                <a:gd name="connsiteX74" fmla="*/ 0 w 583873"/>
                <a:gd name="connsiteY74" fmla="*/ 504671 h 655786"/>
                <a:gd name="connsiteX75" fmla="*/ 4183 w 583873"/>
                <a:gd name="connsiteY75" fmla="*/ 523686 h 655786"/>
                <a:gd name="connsiteX76" fmla="*/ 9318 w 583873"/>
                <a:gd name="connsiteY76" fmla="*/ 541371 h 655786"/>
                <a:gd name="connsiteX77" fmla="*/ 19586 w 583873"/>
                <a:gd name="connsiteY77" fmla="*/ 541371 h 655786"/>
                <a:gd name="connsiteX78" fmla="*/ 34038 w 583873"/>
                <a:gd name="connsiteY78" fmla="*/ 547646 h 655786"/>
                <a:gd name="connsiteX79" fmla="*/ 37270 w 583873"/>
                <a:gd name="connsiteY79" fmla="*/ 553731 h 655786"/>
                <a:gd name="connsiteX80" fmla="*/ 62751 w 583873"/>
                <a:gd name="connsiteY80" fmla="*/ 581113 h 655786"/>
                <a:gd name="connsiteX81" fmla="*/ 91274 w 583873"/>
                <a:gd name="connsiteY81" fmla="*/ 584345 h 655786"/>
                <a:gd name="connsiteX82" fmla="*/ 101542 w 583873"/>
                <a:gd name="connsiteY82" fmla="*/ 585867 h 655786"/>
                <a:gd name="connsiteX83" fmla="*/ 111050 w 583873"/>
                <a:gd name="connsiteY83" fmla="*/ 602600 h 655786"/>
                <a:gd name="connsiteX84" fmla="*/ 114663 w 583873"/>
                <a:gd name="connsiteY84" fmla="*/ 611918 h 655786"/>
                <a:gd name="connsiteX85" fmla="*/ 120558 w 583873"/>
                <a:gd name="connsiteY85" fmla="*/ 613629 h 655786"/>
                <a:gd name="connsiteX86" fmla="*/ 130256 w 583873"/>
                <a:gd name="connsiteY86" fmla="*/ 616481 h 655786"/>
                <a:gd name="connsiteX87" fmla="*/ 139003 w 583873"/>
                <a:gd name="connsiteY87" fmla="*/ 635497 h 655786"/>
                <a:gd name="connsiteX88" fmla="*/ 139003 w 583873"/>
                <a:gd name="connsiteY88" fmla="*/ 638539 h 655786"/>
                <a:gd name="connsiteX89" fmla="*/ 140524 w 583873"/>
                <a:gd name="connsiteY89" fmla="*/ 649568 h 655786"/>
                <a:gd name="connsiteX90" fmla="*/ 149081 w 583873"/>
                <a:gd name="connsiteY90" fmla="*/ 655273 h 655786"/>
                <a:gd name="connsiteX91" fmla="*/ 162582 w 583873"/>
                <a:gd name="connsiteY91" fmla="*/ 655273 h 655786"/>
                <a:gd name="connsiteX92" fmla="*/ 176463 w 583873"/>
                <a:gd name="connsiteY92" fmla="*/ 655273 h 655786"/>
                <a:gd name="connsiteX93" fmla="*/ 178364 w 583873"/>
                <a:gd name="connsiteY93" fmla="*/ 650329 h 655786"/>
                <a:gd name="connsiteX94" fmla="*/ 188823 w 583873"/>
                <a:gd name="connsiteY94" fmla="*/ 634166 h 655786"/>
                <a:gd name="connsiteX95" fmla="*/ 199091 w 583873"/>
                <a:gd name="connsiteY95" fmla="*/ 615151 h 655786"/>
                <a:gd name="connsiteX96" fmla="*/ 199091 w 583873"/>
                <a:gd name="connsiteY96" fmla="*/ 606974 h 655786"/>
                <a:gd name="connsiteX97" fmla="*/ 206507 w 583873"/>
                <a:gd name="connsiteY97" fmla="*/ 586437 h 655786"/>
                <a:gd name="connsiteX98" fmla="*/ 222860 w 583873"/>
                <a:gd name="connsiteY98" fmla="*/ 586437 h 655786"/>
                <a:gd name="connsiteX99" fmla="*/ 230467 w 583873"/>
                <a:gd name="connsiteY99" fmla="*/ 589670 h 655786"/>
                <a:gd name="connsiteX100" fmla="*/ 241876 w 583873"/>
                <a:gd name="connsiteY100" fmla="*/ 590811 h 655786"/>
                <a:gd name="connsiteX101" fmla="*/ 262793 w 583873"/>
                <a:gd name="connsiteY101" fmla="*/ 576549 h 655786"/>
                <a:gd name="connsiteX102" fmla="*/ 273441 w 583873"/>
                <a:gd name="connsiteY102" fmla="*/ 559245 h 655786"/>
                <a:gd name="connsiteX103" fmla="*/ 295499 w 583873"/>
                <a:gd name="connsiteY103" fmla="*/ 532243 h 655786"/>
                <a:gd name="connsiteX104" fmla="*/ 324783 w 583873"/>
                <a:gd name="connsiteY104" fmla="*/ 535476 h 655786"/>
                <a:gd name="connsiteX105" fmla="*/ 342467 w 583873"/>
                <a:gd name="connsiteY105" fmla="*/ 539089 h 655786"/>
                <a:gd name="connsiteX106" fmla="*/ 348552 w 583873"/>
                <a:gd name="connsiteY106" fmla="*/ 522355 h 655786"/>
                <a:gd name="connsiteX107" fmla="*/ 351404 w 583873"/>
                <a:gd name="connsiteY107" fmla="*/ 500488 h 655786"/>
                <a:gd name="connsiteX108" fmla="*/ 388104 w 583873"/>
                <a:gd name="connsiteY108" fmla="*/ 481472 h 655786"/>
                <a:gd name="connsiteX109" fmla="*/ 403126 w 583873"/>
                <a:gd name="connsiteY109" fmla="*/ 477669 h 655786"/>
                <a:gd name="connsiteX110" fmla="*/ 425564 w 583873"/>
                <a:gd name="connsiteY110" fmla="*/ 451998 h 655786"/>
                <a:gd name="connsiteX111" fmla="*/ 422522 w 583873"/>
                <a:gd name="connsiteY111" fmla="*/ 444012 h 655786"/>
                <a:gd name="connsiteX112" fmla="*/ 418339 w 583873"/>
                <a:gd name="connsiteY112" fmla="*/ 430131 h 655786"/>
                <a:gd name="connsiteX113" fmla="*/ 426325 w 583873"/>
                <a:gd name="connsiteY113" fmla="*/ 412256 h 655786"/>
                <a:gd name="connsiteX114" fmla="*/ 428607 w 583873"/>
                <a:gd name="connsiteY114" fmla="*/ 409404 h 655786"/>
                <a:gd name="connsiteX115" fmla="*/ 428607 w 583873"/>
                <a:gd name="connsiteY115" fmla="*/ 371373 h 655786"/>
                <a:gd name="connsiteX116" fmla="*/ 417007 w 583873"/>
                <a:gd name="connsiteY116" fmla="*/ 340758 h 655786"/>
                <a:gd name="connsiteX117" fmla="*/ 450284 w 583873"/>
                <a:gd name="connsiteY117" fmla="*/ 301397 h 655786"/>
                <a:gd name="connsiteX118" fmla="*/ 488315 w 583873"/>
                <a:gd name="connsiteY118" fmla="*/ 279339 h 655786"/>
                <a:gd name="connsiteX119" fmla="*/ 498393 w 583873"/>
                <a:gd name="connsiteY119" fmla="*/ 269070 h 655786"/>
                <a:gd name="connsiteX120" fmla="*/ 557531 w 583873"/>
                <a:gd name="connsiteY120" fmla="*/ 184262 h 655786"/>
                <a:gd name="connsiteX121" fmla="*/ 558862 w 583873"/>
                <a:gd name="connsiteY121" fmla="*/ 173803 h 655786"/>
                <a:gd name="connsiteX122" fmla="*/ 562665 w 583873"/>
                <a:gd name="connsiteY122" fmla="*/ 154788 h 655786"/>
                <a:gd name="connsiteX123" fmla="*/ 574075 w 583873"/>
                <a:gd name="connsiteY123" fmla="*/ 141477 h 655786"/>
                <a:gd name="connsiteX124" fmla="*/ 579779 w 583873"/>
                <a:gd name="connsiteY124" fmla="*/ 136533 h 655786"/>
                <a:gd name="connsiteX125" fmla="*/ 582251 w 583873"/>
                <a:gd name="connsiteY125" fmla="*/ 114285 h 65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583873" h="655786">
                  <a:moveTo>
                    <a:pt x="582251" y="114285"/>
                  </a:moveTo>
                  <a:cubicBezTo>
                    <a:pt x="577973" y="115825"/>
                    <a:pt x="573485" y="116662"/>
                    <a:pt x="568940" y="116757"/>
                  </a:cubicBezTo>
                  <a:cubicBezTo>
                    <a:pt x="545456" y="115749"/>
                    <a:pt x="522676" y="108447"/>
                    <a:pt x="502957" y="95650"/>
                  </a:cubicBezTo>
                  <a:lnTo>
                    <a:pt x="498393" y="93178"/>
                  </a:lnTo>
                  <a:cubicBezTo>
                    <a:pt x="488810" y="87892"/>
                    <a:pt x="478827" y="83366"/>
                    <a:pt x="468539" y="79677"/>
                  </a:cubicBezTo>
                  <a:lnTo>
                    <a:pt x="463595" y="78346"/>
                  </a:lnTo>
                  <a:cubicBezTo>
                    <a:pt x="459050" y="77414"/>
                    <a:pt x="454677" y="75741"/>
                    <a:pt x="450665" y="73402"/>
                  </a:cubicBezTo>
                  <a:cubicBezTo>
                    <a:pt x="448934" y="72109"/>
                    <a:pt x="447280" y="70702"/>
                    <a:pt x="445721" y="69219"/>
                  </a:cubicBezTo>
                  <a:cubicBezTo>
                    <a:pt x="444180" y="67051"/>
                    <a:pt x="441861" y="65549"/>
                    <a:pt x="439255" y="65035"/>
                  </a:cubicBezTo>
                  <a:cubicBezTo>
                    <a:pt x="433133" y="64408"/>
                    <a:pt x="426953" y="65663"/>
                    <a:pt x="421571" y="68648"/>
                  </a:cubicBezTo>
                  <a:cubicBezTo>
                    <a:pt x="419213" y="70303"/>
                    <a:pt x="417083" y="72280"/>
                    <a:pt x="415296" y="74543"/>
                  </a:cubicBezTo>
                  <a:cubicBezTo>
                    <a:pt x="412900" y="77624"/>
                    <a:pt x="409934" y="80190"/>
                    <a:pt x="406549" y="82149"/>
                  </a:cubicBezTo>
                  <a:cubicBezTo>
                    <a:pt x="400255" y="84526"/>
                    <a:pt x="393219" y="83823"/>
                    <a:pt x="387533" y="80248"/>
                  </a:cubicBezTo>
                  <a:cubicBezTo>
                    <a:pt x="384529" y="78194"/>
                    <a:pt x="380859" y="77376"/>
                    <a:pt x="377265" y="77966"/>
                  </a:cubicBezTo>
                  <a:cubicBezTo>
                    <a:pt x="376048" y="78422"/>
                    <a:pt x="374946" y="79145"/>
                    <a:pt x="374033" y="80058"/>
                  </a:cubicBezTo>
                  <a:cubicBezTo>
                    <a:pt x="371028" y="82720"/>
                    <a:pt x="367206" y="84279"/>
                    <a:pt x="363194" y="84431"/>
                  </a:cubicBezTo>
                  <a:cubicBezTo>
                    <a:pt x="358174" y="83955"/>
                    <a:pt x="353496" y="81655"/>
                    <a:pt x="350073" y="77966"/>
                  </a:cubicBezTo>
                  <a:cubicBezTo>
                    <a:pt x="348647" y="76673"/>
                    <a:pt x="347050" y="75589"/>
                    <a:pt x="345319" y="74733"/>
                  </a:cubicBezTo>
                  <a:cubicBezTo>
                    <a:pt x="340014" y="72451"/>
                    <a:pt x="333891" y="73421"/>
                    <a:pt x="329537" y="77205"/>
                  </a:cubicBezTo>
                  <a:lnTo>
                    <a:pt x="323832" y="80248"/>
                  </a:lnTo>
                  <a:lnTo>
                    <a:pt x="313374" y="82910"/>
                  </a:lnTo>
                  <a:cubicBezTo>
                    <a:pt x="300234" y="82244"/>
                    <a:pt x="288273" y="75133"/>
                    <a:pt x="281428" y="63894"/>
                  </a:cubicBezTo>
                  <a:lnTo>
                    <a:pt x="279716" y="61993"/>
                  </a:lnTo>
                  <a:lnTo>
                    <a:pt x="276864" y="58380"/>
                  </a:lnTo>
                  <a:cubicBezTo>
                    <a:pt x="274563" y="55242"/>
                    <a:pt x="271730" y="52542"/>
                    <a:pt x="268497" y="50393"/>
                  </a:cubicBezTo>
                  <a:cubicBezTo>
                    <a:pt x="265702" y="48644"/>
                    <a:pt x="262165" y="48644"/>
                    <a:pt x="259370" y="50393"/>
                  </a:cubicBezTo>
                  <a:cubicBezTo>
                    <a:pt x="256194" y="51496"/>
                    <a:pt x="252848" y="52067"/>
                    <a:pt x="249482" y="52105"/>
                  </a:cubicBezTo>
                  <a:cubicBezTo>
                    <a:pt x="241990" y="52789"/>
                    <a:pt x="234707" y="49386"/>
                    <a:pt x="230467" y="43168"/>
                  </a:cubicBezTo>
                  <a:cubicBezTo>
                    <a:pt x="227462" y="37786"/>
                    <a:pt x="225656" y="31816"/>
                    <a:pt x="225142" y="25674"/>
                  </a:cubicBezTo>
                  <a:cubicBezTo>
                    <a:pt x="223051" y="13694"/>
                    <a:pt x="221719" y="6658"/>
                    <a:pt x="211641" y="6658"/>
                  </a:cubicBezTo>
                  <a:cubicBezTo>
                    <a:pt x="200327" y="5479"/>
                    <a:pt x="188975" y="4909"/>
                    <a:pt x="177604" y="4947"/>
                  </a:cubicBezTo>
                  <a:cubicBezTo>
                    <a:pt x="176349" y="4737"/>
                    <a:pt x="175056" y="4737"/>
                    <a:pt x="173801" y="4947"/>
                  </a:cubicBezTo>
                  <a:cubicBezTo>
                    <a:pt x="169598" y="6335"/>
                    <a:pt x="165073" y="6335"/>
                    <a:pt x="160870" y="4947"/>
                  </a:cubicBezTo>
                  <a:cubicBezTo>
                    <a:pt x="158836" y="4319"/>
                    <a:pt x="156858" y="3502"/>
                    <a:pt x="154975" y="2475"/>
                  </a:cubicBezTo>
                  <a:cubicBezTo>
                    <a:pt x="152370" y="801"/>
                    <a:pt x="149328" y="-54"/>
                    <a:pt x="146228" y="3"/>
                  </a:cubicBezTo>
                  <a:cubicBezTo>
                    <a:pt x="142140" y="440"/>
                    <a:pt x="138432" y="2665"/>
                    <a:pt x="136150" y="6088"/>
                  </a:cubicBezTo>
                  <a:cubicBezTo>
                    <a:pt x="133602" y="9530"/>
                    <a:pt x="132765" y="13941"/>
                    <a:pt x="133868" y="18067"/>
                  </a:cubicBezTo>
                  <a:cubicBezTo>
                    <a:pt x="135085" y="21965"/>
                    <a:pt x="136949" y="25636"/>
                    <a:pt x="139383" y="28906"/>
                  </a:cubicBezTo>
                  <a:cubicBezTo>
                    <a:pt x="146228" y="36531"/>
                    <a:pt x="148016" y="47446"/>
                    <a:pt x="143946" y="56859"/>
                  </a:cubicBezTo>
                  <a:cubicBezTo>
                    <a:pt x="144023" y="57486"/>
                    <a:pt x="144023" y="58133"/>
                    <a:pt x="143946" y="58760"/>
                  </a:cubicBezTo>
                  <a:cubicBezTo>
                    <a:pt x="142958" y="60871"/>
                    <a:pt x="141817" y="62906"/>
                    <a:pt x="140524" y="64845"/>
                  </a:cubicBezTo>
                  <a:cubicBezTo>
                    <a:pt x="139611" y="66043"/>
                    <a:pt x="138907" y="67393"/>
                    <a:pt x="138432" y="68838"/>
                  </a:cubicBezTo>
                  <a:cubicBezTo>
                    <a:pt x="137481" y="71120"/>
                    <a:pt x="138432" y="72642"/>
                    <a:pt x="141094" y="76064"/>
                  </a:cubicBezTo>
                  <a:cubicBezTo>
                    <a:pt x="148738" y="83975"/>
                    <a:pt x="157752" y="90421"/>
                    <a:pt x="167716" y="95080"/>
                  </a:cubicBezTo>
                  <a:lnTo>
                    <a:pt x="175892" y="99833"/>
                  </a:lnTo>
                  <a:cubicBezTo>
                    <a:pt x="186161" y="105919"/>
                    <a:pt x="198521" y="113144"/>
                    <a:pt x="197380" y="128927"/>
                  </a:cubicBezTo>
                  <a:cubicBezTo>
                    <a:pt x="194813" y="142884"/>
                    <a:pt x="186807" y="155263"/>
                    <a:pt x="175132" y="163345"/>
                  </a:cubicBezTo>
                  <a:cubicBezTo>
                    <a:pt x="169180" y="167965"/>
                    <a:pt x="162810" y="172054"/>
                    <a:pt x="156116" y="175515"/>
                  </a:cubicBezTo>
                  <a:cubicBezTo>
                    <a:pt x="140334" y="185022"/>
                    <a:pt x="122269" y="195861"/>
                    <a:pt x="123220" y="208982"/>
                  </a:cubicBezTo>
                  <a:cubicBezTo>
                    <a:pt x="123961" y="213717"/>
                    <a:pt x="126490" y="217995"/>
                    <a:pt x="130256" y="220961"/>
                  </a:cubicBezTo>
                  <a:cubicBezTo>
                    <a:pt x="134306" y="224726"/>
                    <a:pt x="137386" y="229423"/>
                    <a:pt x="139193" y="234652"/>
                  </a:cubicBezTo>
                  <a:cubicBezTo>
                    <a:pt x="140353" y="241783"/>
                    <a:pt x="137690" y="249009"/>
                    <a:pt x="132157" y="253668"/>
                  </a:cubicBezTo>
                  <a:cubicBezTo>
                    <a:pt x="129723" y="256159"/>
                    <a:pt x="127840" y="259144"/>
                    <a:pt x="126643" y="262415"/>
                  </a:cubicBezTo>
                  <a:cubicBezTo>
                    <a:pt x="126452" y="264316"/>
                    <a:pt x="126452" y="266218"/>
                    <a:pt x="126643" y="268120"/>
                  </a:cubicBezTo>
                  <a:cubicBezTo>
                    <a:pt x="127099" y="270382"/>
                    <a:pt x="127099" y="272702"/>
                    <a:pt x="126643" y="274965"/>
                  </a:cubicBezTo>
                  <a:lnTo>
                    <a:pt x="120938" y="284473"/>
                  </a:lnTo>
                  <a:cubicBezTo>
                    <a:pt x="119055" y="286108"/>
                    <a:pt x="116945" y="287458"/>
                    <a:pt x="114663" y="288466"/>
                  </a:cubicBezTo>
                  <a:cubicBezTo>
                    <a:pt x="113104" y="289094"/>
                    <a:pt x="111639" y="289930"/>
                    <a:pt x="110289" y="290938"/>
                  </a:cubicBezTo>
                  <a:cubicBezTo>
                    <a:pt x="107931" y="293125"/>
                    <a:pt x="106163" y="295863"/>
                    <a:pt x="105155" y="298925"/>
                  </a:cubicBezTo>
                  <a:cubicBezTo>
                    <a:pt x="103843" y="302347"/>
                    <a:pt x="102949" y="305922"/>
                    <a:pt x="102493" y="309573"/>
                  </a:cubicBezTo>
                  <a:lnTo>
                    <a:pt x="102493" y="312616"/>
                  </a:lnTo>
                  <a:cubicBezTo>
                    <a:pt x="102037" y="316076"/>
                    <a:pt x="101409" y="319499"/>
                    <a:pt x="100591" y="322884"/>
                  </a:cubicBezTo>
                  <a:cubicBezTo>
                    <a:pt x="99356" y="327657"/>
                    <a:pt x="97834" y="332354"/>
                    <a:pt x="96028" y="336955"/>
                  </a:cubicBezTo>
                  <a:cubicBezTo>
                    <a:pt x="93194" y="343896"/>
                    <a:pt x="91331" y="351179"/>
                    <a:pt x="90513" y="358633"/>
                  </a:cubicBezTo>
                  <a:cubicBezTo>
                    <a:pt x="90513" y="361105"/>
                    <a:pt x="90513" y="363387"/>
                    <a:pt x="90513" y="365668"/>
                  </a:cubicBezTo>
                  <a:cubicBezTo>
                    <a:pt x="91274" y="378124"/>
                    <a:pt x="87927" y="390484"/>
                    <a:pt x="81006" y="400847"/>
                  </a:cubicBezTo>
                  <a:lnTo>
                    <a:pt x="77203" y="406361"/>
                  </a:lnTo>
                  <a:cubicBezTo>
                    <a:pt x="70946" y="413131"/>
                    <a:pt x="67257" y="421878"/>
                    <a:pt x="66744" y="431081"/>
                  </a:cubicBezTo>
                  <a:cubicBezTo>
                    <a:pt x="66155" y="445875"/>
                    <a:pt x="61971" y="460289"/>
                    <a:pt x="54574" y="473106"/>
                  </a:cubicBezTo>
                  <a:cubicBezTo>
                    <a:pt x="50695" y="478582"/>
                    <a:pt x="45352" y="482860"/>
                    <a:pt x="39172" y="485465"/>
                  </a:cubicBezTo>
                  <a:cubicBezTo>
                    <a:pt x="34988" y="487348"/>
                    <a:pt x="31242" y="490067"/>
                    <a:pt x="28143" y="493452"/>
                  </a:cubicBezTo>
                  <a:lnTo>
                    <a:pt x="26051" y="497065"/>
                  </a:lnTo>
                  <a:cubicBezTo>
                    <a:pt x="24321" y="501667"/>
                    <a:pt x="20727" y="505318"/>
                    <a:pt x="16163" y="507143"/>
                  </a:cubicBezTo>
                  <a:cubicBezTo>
                    <a:pt x="12075" y="508588"/>
                    <a:pt x="7530" y="507637"/>
                    <a:pt x="4374" y="504671"/>
                  </a:cubicBezTo>
                  <a:cubicBezTo>
                    <a:pt x="2282" y="503150"/>
                    <a:pt x="1902" y="502960"/>
                    <a:pt x="0" y="504671"/>
                  </a:cubicBezTo>
                  <a:cubicBezTo>
                    <a:pt x="152" y="511212"/>
                    <a:pt x="1559" y="517678"/>
                    <a:pt x="4183" y="523686"/>
                  </a:cubicBezTo>
                  <a:cubicBezTo>
                    <a:pt x="6275" y="529467"/>
                    <a:pt x="7987" y="535381"/>
                    <a:pt x="9318" y="541371"/>
                  </a:cubicBezTo>
                  <a:lnTo>
                    <a:pt x="19586" y="541371"/>
                  </a:lnTo>
                  <a:cubicBezTo>
                    <a:pt x="25024" y="541523"/>
                    <a:pt x="30216" y="543767"/>
                    <a:pt x="34038" y="547646"/>
                  </a:cubicBezTo>
                  <a:cubicBezTo>
                    <a:pt x="35445" y="549490"/>
                    <a:pt x="36529" y="551544"/>
                    <a:pt x="37270" y="553731"/>
                  </a:cubicBezTo>
                  <a:cubicBezTo>
                    <a:pt x="40617" y="566566"/>
                    <a:pt x="50182" y="576853"/>
                    <a:pt x="62751" y="581113"/>
                  </a:cubicBezTo>
                  <a:cubicBezTo>
                    <a:pt x="72011" y="583737"/>
                    <a:pt x="81652" y="584821"/>
                    <a:pt x="91274" y="584345"/>
                  </a:cubicBezTo>
                  <a:cubicBezTo>
                    <a:pt x="94773" y="583946"/>
                    <a:pt x="98310" y="584479"/>
                    <a:pt x="101542" y="585867"/>
                  </a:cubicBezTo>
                  <a:cubicBezTo>
                    <a:pt x="107209" y="589594"/>
                    <a:pt x="110765" y="595812"/>
                    <a:pt x="111050" y="602600"/>
                  </a:cubicBezTo>
                  <a:cubicBezTo>
                    <a:pt x="111221" y="606023"/>
                    <a:pt x="112476" y="609294"/>
                    <a:pt x="114663" y="611918"/>
                  </a:cubicBezTo>
                  <a:cubicBezTo>
                    <a:pt x="116488" y="612906"/>
                    <a:pt x="118485" y="613496"/>
                    <a:pt x="120558" y="613629"/>
                  </a:cubicBezTo>
                  <a:cubicBezTo>
                    <a:pt x="123961" y="613895"/>
                    <a:pt x="127251" y="614865"/>
                    <a:pt x="130256" y="616481"/>
                  </a:cubicBezTo>
                  <a:cubicBezTo>
                    <a:pt x="136321" y="620817"/>
                    <a:pt x="139649" y="628062"/>
                    <a:pt x="139003" y="635497"/>
                  </a:cubicBezTo>
                  <a:lnTo>
                    <a:pt x="139003" y="638539"/>
                  </a:lnTo>
                  <a:cubicBezTo>
                    <a:pt x="138660" y="642285"/>
                    <a:pt x="139193" y="646051"/>
                    <a:pt x="140524" y="649568"/>
                  </a:cubicBezTo>
                  <a:cubicBezTo>
                    <a:pt x="142482" y="652554"/>
                    <a:pt x="145563" y="654607"/>
                    <a:pt x="149081" y="655273"/>
                  </a:cubicBezTo>
                  <a:cubicBezTo>
                    <a:pt x="153549" y="655957"/>
                    <a:pt x="158113" y="655957"/>
                    <a:pt x="162582" y="655273"/>
                  </a:cubicBezTo>
                  <a:lnTo>
                    <a:pt x="176463" y="655273"/>
                  </a:lnTo>
                  <a:cubicBezTo>
                    <a:pt x="176957" y="653581"/>
                    <a:pt x="177604" y="651926"/>
                    <a:pt x="178364" y="650329"/>
                  </a:cubicBezTo>
                  <a:cubicBezTo>
                    <a:pt x="181122" y="644510"/>
                    <a:pt x="184640" y="639072"/>
                    <a:pt x="188823" y="634166"/>
                  </a:cubicBezTo>
                  <a:cubicBezTo>
                    <a:pt x="193729" y="628746"/>
                    <a:pt x="197266" y="622224"/>
                    <a:pt x="199091" y="615151"/>
                  </a:cubicBezTo>
                  <a:cubicBezTo>
                    <a:pt x="199091" y="612488"/>
                    <a:pt x="199091" y="609826"/>
                    <a:pt x="199091" y="606974"/>
                  </a:cubicBezTo>
                  <a:cubicBezTo>
                    <a:pt x="199091" y="598987"/>
                    <a:pt x="200232" y="590811"/>
                    <a:pt x="206507" y="586437"/>
                  </a:cubicBezTo>
                  <a:cubicBezTo>
                    <a:pt x="211679" y="583965"/>
                    <a:pt x="217688" y="583965"/>
                    <a:pt x="222860" y="586437"/>
                  </a:cubicBezTo>
                  <a:cubicBezTo>
                    <a:pt x="225465" y="587350"/>
                    <a:pt x="228014" y="588415"/>
                    <a:pt x="230467" y="589670"/>
                  </a:cubicBezTo>
                  <a:cubicBezTo>
                    <a:pt x="233794" y="592028"/>
                    <a:pt x="238130" y="592465"/>
                    <a:pt x="241876" y="590811"/>
                  </a:cubicBezTo>
                  <a:cubicBezTo>
                    <a:pt x="249748" y="587521"/>
                    <a:pt x="256860" y="582672"/>
                    <a:pt x="262793" y="576549"/>
                  </a:cubicBezTo>
                  <a:cubicBezTo>
                    <a:pt x="267318" y="571434"/>
                    <a:pt x="270912" y="565577"/>
                    <a:pt x="273441" y="559245"/>
                  </a:cubicBezTo>
                  <a:cubicBezTo>
                    <a:pt x="277339" y="547912"/>
                    <a:pt x="285174" y="538328"/>
                    <a:pt x="295499" y="532243"/>
                  </a:cubicBezTo>
                  <a:cubicBezTo>
                    <a:pt x="305159" y="528136"/>
                    <a:pt x="316264" y="529353"/>
                    <a:pt x="324783" y="535476"/>
                  </a:cubicBezTo>
                  <a:cubicBezTo>
                    <a:pt x="332009" y="539279"/>
                    <a:pt x="336762" y="541371"/>
                    <a:pt x="342467" y="539089"/>
                  </a:cubicBezTo>
                  <a:cubicBezTo>
                    <a:pt x="348172" y="536807"/>
                    <a:pt x="349693" y="532433"/>
                    <a:pt x="348552" y="522355"/>
                  </a:cubicBezTo>
                  <a:cubicBezTo>
                    <a:pt x="346860" y="514958"/>
                    <a:pt x="347867" y="507200"/>
                    <a:pt x="351404" y="500488"/>
                  </a:cubicBezTo>
                  <a:cubicBezTo>
                    <a:pt x="360665" y="489573"/>
                    <a:pt x="373842" y="482727"/>
                    <a:pt x="388104" y="481472"/>
                  </a:cubicBezTo>
                  <a:cubicBezTo>
                    <a:pt x="393181" y="480522"/>
                    <a:pt x="398201" y="479247"/>
                    <a:pt x="403126" y="477669"/>
                  </a:cubicBezTo>
                  <a:cubicBezTo>
                    <a:pt x="428036" y="468161"/>
                    <a:pt x="426135" y="455992"/>
                    <a:pt x="425564" y="451998"/>
                  </a:cubicBezTo>
                  <a:cubicBezTo>
                    <a:pt x="424823" y="449241"/>
                    <a:pt x="423796" y="446560"/>
                    <a:pt x="422522" y="444012"/>
                  </a:cubicBezTo>
                  <a:cubicBezTo>
                    <a:pt x="420012" y="439791"/>
                    <a:pt x="418567" y="435037"/>
                    <a:pt x="418339" y="430131"/>
                  </a:cubicBezTo>
                  <a:cubicBezTo>
                    <a:pt x="418643" y="423380"/>
                    <a:pt x="421495" y="416991"/>
                    <a:pt x="426325" y="412256"/>
                  </a:cubicBezTo>
                  <a:lnTo>
                    <a:pt x="428607" y="409404"/>
                  </a:lnTo>
                  <a:cubicBezTo>
                    <a:pt x="440967" y="393051"/>
                    <a:pt x="435833" y="384113"/>
                    <a:pt x="428607" y="371373"/>
                  </a:cubicBezTo>
                  <a:cubicBezTo>
                    <a:pt x="422313" y="362265"/>
                    <a:pt x="418339" y="351749"/>
                    <a:pt x="417007" y="340758"/>
                  </a:cubicBezTo>
                  <a:cubicBezTo>
                    <a:pt x="414916" y="315468"/>
                    <a:pt x="440587" y="305200"/>
                    <a:pt x="450284" y="301397"/>
                  </a:cubicBezTo>
                  <a:cubicBezTo>
                    <a:pt x="464546" y="297213"/>
                    <a:pt x="477609" y="289645"/>
                    <a:pt x="488315" y="279339"/>
                  </a:cubicBezTo>
                  <a:lnTo>
                    <a:pt x="498393" y="269070"/>
                  </a:lnTo>
                  <a:cubicBezTo>
                    <a:pt x="522923" y="244160"/>
                    <a:pt x="550686" y="216208"/>
                    <a:pt x="557531" y="184262"/>
                  </a:cubicBezTo>
                  <a:cubicBezTo>
                    <a:pt x="558254" y="180820"/>
                    <a:pt x="558691" y="177321"/>
                    <a:pt x="558862" y="173803"/>
                  </a:cubicBezTo>
                  <a:cubicBezTo>
                    <a:pt x="559033" y="167300"/>
                    <a:pt x="560326" y="160854"/>
                    <a:pt x="562665" y="154788"/>
                  </a:cubicBezTo>
                  <a:cubicBezTo>
                    <a:pt x="565156" y="149388"/>
                    <a:pt x="569112" y="144767"/>
                    <a:pt x="574075" y="141477"/>
                  </a:cubicBezTo>
                  <a:cubicBezTo>
                    <a:pt x="576109" y="139994"/>
                    <a:pt x="578011" y="138340"/>
                    <a:pt x="579779" y="136533"/>
                  </a:cubicBezTo>
                  <a:cubicBezTo>
                    <a:pt x="584172" y="129954"/>
                    <a:pt x="585084" y="121663"/>
                    <a:pt x="582251" y="11428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03" name="Полилиния: фигура 502">
              <a:extLst>
                <a:ext uri="{FF2B5EF4-FFF2-40B4-BE49-F238E27FC236}">
                  <a16:creationId xmlns:a16="http://schemas.microsoft.com/office/drawing/2014/main" id="{D9956226-C11A-9D1F-5193-40B6D4EA47E4}"/>
                </a:ext>
              </a:extLst>
            </p:cNvPr>
            <p:cNvSpPr/>
            <p:nvPr/>
          </p:nvSpPr>
          <p:spPr>
            <a:xfrm>
              <a:off x="4995945" y="4087983"/>
              <a:ext cx="255675" cy="283396"/>
            </a:xfrm>
            <a:custGeom>
              <a:avLst/>
              <a:gdLst>
                <a:gd name="connsiteX0" fmla="*/ 184302 w 281280"/>
                <a:gd name="connsiteY0" fmla="*/ 234244 h 310866"/>
                <a:gd name="connsiteX1" fmla="*/ 198944 w 281280"/>
                <a:gd name="connsiteY1" fmla="*/ 236526 h 310866"/>
                <a:gd name="connsiteX2" fmla="*/ 200655 w 281280"/>
                <a:gd name="connsiteY2" fmla="*/ 237667 h 310866"/>
                <a:gd name="connsiteX3" fmla="*/ 204838 w 281280"/>
                <a:gd name="connsiteY3" fmla="*/ 232723 h 310866"/>
                <a:gd name="connsiteX4" fmla="*/ 207881 w 281280"/>
                <a:gd name="connsiteY4" fmla="*/ 227589 h 310866"/>
                <a:gd name="connsiteX5" fmla="*/ 222523 w 281280"/>
                <a:gd name="connsiteY5" fmla="*/ 216560 h 310866"/>
                <a:gd name="connsiteX6" fmla="*/ 233742 w 281280"/>
                <a:gd name="connsiteY6" fmla="*/ 208003 h 310866"/>
                <a:gd name="connsiteX7" fmla="*/ 244200 w 281280"/>
                <a:gd name="connsiteY7" fmla="*/ 171113 h 310866"/>
                <a:gd name="connsiteX8" fmla="*/ 256750 w 281280"/>
                <a:gd name="connsiteY8" fmla="*/ 140688 h 310866"/>
                <a:gd name="connsiteX9" fmla="*/ 260363 w 281280"/>
                <a:gd name="connsiteY9" fmla="*/ 135364 h 310866"/>
                <a:gd name="connsiteX10" fmla="*/ 267970 w 281280"/>
                <a:gd name="connsiteY10" fmla="*/ 105890 h 310866"/>
                <a:gd name="connsiteX11" fmla="*/ 267970 w 281280"/>
                <a:gd name="connsiteY11" fmla="*/ 98854 h 310866"/>
                <a:gd name="connsiteX12" fmla="*/ 275386 w 281280"/>
                <a:gd name="connsiteY12" fmla="*/ 73374 h 310866"/>
                <a:gd name="connsiteX13" fmla="*/ 279569 w 281280"/>
                <a:gd name="connsiteY13" fmla="*/ 60253 h 310866"/>
                <a:gd name="connsiteX14" fmla="*/ 281280 w 281280"/>
                <a:gd name="connsiteY14" fmla="*/ 51126 h 310866"/>
                <a:gd name="connsiteX15" fmla="*/ 281280 w 281280"/>
                <a:gd name="connsiteY15" fmla="*/ 47323 h 310866"/>
                <a:gd name="connsiteX16" fmla="*/ 276146 w 281280"/>
                <a:gd name="connsiteY16" fmla="*/ 45992 h 310866"/>
                <a:gd name="connsiteX17" fmla="*/ 259413 w 281280"/>
                <a:gd name="connsiteY17" fmla="*/ 33251 h 310866"/>
                <a:gd name="connsiteX18" fmla="*/ 254849 w 281280"/>
                <a:gd name="connsiteY18" fmla="*/ 27927 h 310866"/>
                <a:gd name="connsiteX19" fmla="*/ 243249 w 281280"/>
                <a:gd name="connsiteY19" fmla="*/ 24314 h 310866"/>
                <a:gd name="connsiteX20" fmla="*/ 232791 w 281280"/>
                <a:gd name="connsiteY20" fmla="*/ 24314 h 310866"/>
                <a:gd name="connsiteX21" fmla="*/ 211494 w 281280"/>
                <a:gd name="connsiteY21" fmla="*/ 13285 h 310866"/>
                <a:gd name="connsiteX22" fmla="*/ 205219 w 281280"/>
                <a:gd name="connsiteY22" fmla="*/ 8722 h 310866"/>
                <a:gd name="connsiteX23" fmla="*/ 163765 w 281280"/>
                <a:gd name="connsiteY23" fmla="*/ 5869 h 310866"/>
                <a:gd name="connsiteX24" fmla="*/ 155208 w 281280"/>
                <a:gd name="connsiteY24" fmla="*/ 24885 h 310866"/>
                <a:gd name="connsiteX25" fmla="*/ 149504 w 281280"/>
                <a:gd name="connsiteY25" fmla="*/ 45421 h 310866"/>
                <a:gd name="connsiteX26" fmla="*/ 111473 w 281280"/>
                <a:gd name="connsiteY26" fmla="*/ 83452 h 310866"/>
                <a:gd name="connsiteX27" fmla="*/ 88084 w 281280"/>
                <a:gd name="connsiteY27" fmla="*/ 81741 h 310866"/>
                <a:gd name="connsiteX28" fmla="*/ 81999 w 281280"/>
                <a:gd name="connsiteY28" fmla="*/ 77938 h 310866"/>
                <a:gd name="connsiteX29" fmla="*/ 75344 w 281280"/>
                <a:gd name="connsiteY29" fmla="*/ 74515 h 310866"/>
                <a:gd name="connsiteX30" fmla="*/ 61843 w 281280"/>
                <a:gd name="connsiteY30" fmla="*/ 116729 h 310866"/>
                <a:gd name="connsiteX31" fmla="*/ 36552 w 281280"/>
                <a:gd name="connsiteY31" fmla="*/ 158183 h 310866"/>
                <a:gd name="connsiteX32" fmla="*/ 31418 w 281280"/>
                <a:gd name="connsiteY32" fmla="*/ 160274 h 310866"/>
                <a:gd name="connsiteX33" fmla="*/ 23241 w 281280"/>
                <a:gd name="connsiteY33" fmla="*/ 166739 h 310866"/>
                <a:gd name="connsiteX34" fmla="*/ 21150 w 281280"/>
                <a:gd name="connsiteY34" fmla="*/ 182522 h 310866"/>
                <a:gd name="connsiteX35" fmla="*/ 21150 w 281280"/>
                <a:gd name="connsiteY35" fmla="*/ 187086 h 310866"/>
                <a:gd name="connsiteX36" fmla="*/ 12213 w 281280"/>
                <a:gd name="connsiteY36" fmla="*/ 213707 h 310866"/>
                <a:gd name="connsiteX37" fmla="*/ 2515 w 281280"/>
                <a:gd name="connsiteY37" fmla="*/ 216940 h 310866"/>
                <a:gd name="connsiteX38" fmla="*/ 2515 w 281280"/>
                <a:gd name="connsiteY38" fmla="*/ 216940 h 310866"/>
                <a:gd name="connsiteX39" fmla="*/ 1184 w 281280"/>
                <a:gd name="connsiteY39" fmla="*/ 243371 h 310866"/>
                <a:gd name="connsiteX40" fmla="*/ 1184 w 281280"/>
                <a:gd name="connsiteY40" fmla="*/ 250787 h 310866"/>
                <a:gd name="connsiteX41" fmla="*/ 1184 w 281280"/>
                <a:gd name="connsiteY41" fmla="*/ 279120 h 310866"/>
                <a:gd name="connsiteX42" fmla="*/ 30087 w 281280"/>
                <a:gd name="connsiteY42" fmla="*/ 271134 h 310866"/>
                <a:gd name="connsiteX43" fmla="*/ 51955 w 281280"/>
                <a:gd name="connsiteY43" fmla="*/ 255351 h 310866"/>
                <a:gd name="connsiteX44" fmla="*/ 59751 w 281280"/>
                <a:gd name="connsiteY44" fmla="*/ 248315 h 310866"/>
                <a:gd name="connsiteX45" fmla="*/ 97782 w 281280"/>
                <a:gd name="connsiteY45" fmla="*/ 229300 h 310866"/>
                <a:gd name="connsiteX46" fmla="*/ 116797 w 281280"/>
                <a:gd name="connsiteY46" fmla="*/ 234815 h 310866"/>
                <a:gd name="connsiteX47" fmla="*/ 115656 w 281280"/>
                <a:gd name="connsiteY47" fmla="*/ 250977 h 310866"/>
                <a:gd name="connsiteX48" fmla="*/ 113755 w 281280"/>
                <a:gd name="connsiteY48" fmla="*/ 254590 h 310866"/>
                <a:gd name="connsiteX49" fmla="*/ 113755 w 281280"/>
                <a:gd name="connsiteY49" fmla="*/ 269803 h 310866"/>
                <a:gd name="connsiteX50" fmla="*/ 119840 w 281280"/>
                <a:gd name="connsiteY50" fmla="*/ 271704 h 310866"/>
                <a:gd name="connsiteX51" fmla="*/ 121171 w 281280"/>
                <a:gd name="connsiteY51" fmla="*/ 271704 h 310866"/>
                <a:gd name="connsiteX52" fmla="*/ 136573 w 281280"/>
                <a:gd name="connsiteY52" fmla="*/ 277789 h 310866"/>
                <a:gd name="connsiteX53" fmla="*/ 134291 w 281280"/>
                <a:gd name="connsiteY53" fmla="*/ 293192 h 310866"/>
                <a:gd name="connsiteX54" fmla="*/ 117558 w 281280"/>
                <a:gd name="connsiteY54" fmla="*/ 299657 h 310866"/>
                <a:gd name="connsiteX55" fmla="*/ 107290 w 281280"/>
                <a:gd name="connsiteY55" fmla="*/ 304601 h 310866"/>
                <a:gd name="connsiteX56" fmla="*/ 126305 w 281280"/>
                <a:gd name="connsiteY56" fmla="*/ 310496 h 310866"/>
                <a:gd name="connsiteX57" fmla="*/ 129918 w 281280"/>
                <a:gd name="connsiteY57" fmla="*/ 310496 h 310866"/>
                <a:gd name="connsiteX58" fmla="*/ 135432 w 281280"/>
                <a:gd name="connsiteY58" fmla="*/ 310496 h 310866"/>
                <a:gd name="connsiteX59" fmla="*/ 140567 w 281280"/>
                <a:gd name="connsiteY59" fmla="*/ 310496 h 310866"/>
                <a:gd name="connsiteX60" fmla="*/ 148743 w 281280"/>
                <a:gd name="connsiteY60" fmla="*/ 310496 h 310866"/>
                <a:gd name="connsiteX61" fmla="*/ 151976 w 281280"/>
                <a:gd name="connsiteY61" fmla="*/ 308024 h 310866"/>
                <a:gd name="connsiteX62" fmla="*/ 157680 w 281280"/>
                <a:gd name="connsiteY62" fmla="*/ 303650 h 310866"/>
                <a:gd name="connsiteX63" fmla="*/ 173843 w 281280"/>
                <a:gd name="connsiteY63" fmla="*/ 301178 h 310866"/>
                <a:gd name="connsiteX64" fmla="*/ 187154 w 281280"/>
                <a:gd name="connsiteY64" fmla="*/ 297945 h 310866"/>
                <a:gd name="connsiteX65" fmla="*/ 189436 w 281280"/>
                <a:gd name="connsiteY65" fmla="*/ 290339 h 310866"/>
                <a:gd name="connsiteX66" fmla="*/ 187915 w 281280"/>
                <a:gd name="connsiteY66" fmla="*/ 279691 h 310866"/>
                <a:gd name="connsiteX67" fmla="*/ 183922 w 281280"/>
                <a:gd name="connsiteY67" fmla="*/ 265619 h 310866"/>
                <a:gd name="connsiteX68" fmla="*/ 184302 w 281280"/>
                <a:gd name="connsiteY68" fmla="*/ 234244 h 31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281280" h="310866">
                  <a:moveTo>
                    <a:pt x="184302" y="234244"/>
                  </a:moveTo>
                  <a:cubicBezTo>
                    <a:pt x="189227" y="232209"/>
                    <a:pt x="194874" y="233084"/>
                    <a:pt x="198944" y="236526"/>
                  </a:cubicBezTo>
                  <a:lnTo>
                    <a:pt x="200655" y="237667"/>
                  </a:lnTo>
                  <a:cubicBezTo>
                    <a:pt x="202557" y="237667"/>
                    <a:pt x="203507" y="235385"/>
                    <a:pt x="204838" y="232723"/>
                  </a:cubicBezTo>
                  <a:cubicBezTo>
                    <a:pt x="205694" y="230916"/>
                    <a:pt x="206721" y="229205"/>
                    <a:pt x="207881" y="227589"/>
                  </a:cubicBezTo>
                  <a:cubicBezTo>
                    <a:pt x="211836" y="222835"/>
                    <a:pt x="216856" y="219051"/>
                    <a:pt x="222523" y="216560"/>
                  </a:cubicBezTo>
                  <a:cubicBezTo>
                    <a:pt x="226915" y="214696"/>
                    <a:pt x="230775" y="211749"/>
                    <a:pt x="233742" y="208003"/>
                  </a:cubicBezTo>
                  <a:cubicBezTo>
                    <a:pt x="240131" y="196727"/>
                    <a:pt x="243706" y="184062"/>
                    <a:pt x="244200" y="171113"/>
                  </a:cubicBezTo>
                  <a:cubicBezTo>
                    <a:pt x="244790" y="159837"/>
                    <a:pt x="249220" y="149093"/>
                    <a:pt x="256750" y="140688"/>
                  </a:cubicBezTo>
                  <a:lnTo>
                    <a:pt x="260363" y="135364"/>
                  </a:lnTo>
                  <a:cubicBezTo>
                    <a:pt x="266220" y="126712"/>
                    <a:pt x="268901" y="116292"/>
                    <a:pt x="267970" y="105890"/>
                  </a:cubicBezTo>
                  <a:cubicBezTo>
                    <a:pt x="267970" y="103608"/>
                    <a:pt x="267970" y="101326"/>
                    <a:pt x="267970" y="98854"/>
                  </a:cubicBezTo>
                  <a:cubicBezTo>
                    <a:pt x="268977" y="89993"/>
                    <a:pt x="271487" y="81379"/>
                    <a:pt x="275386" y="73374"/>
                  </a:cubicBezTo>
                  <a:cubicBezTo>
                    <a:pt x="276907" y="69000"/>
                    <a:pt x="278428" y="64817"/>
                    <a:pt x="279569" y="60253"/>
                  </a:cubicBezTo>
                  <a:cubicBezTo>
                    <a:pt x="280330" y="57249"/>
                    <a:pt x="280900" y="54206"/>
                    <a:pt x="281280" y="51126"/>
                  </a:cubicBezTo>
                  <a:lnTo>
                    <a:pt x="281280" y="47323"/>
                  </a:lnTo>
                  <a:lnTo>
                    <a:pt x="276146" y="45992"/>
                  </a:lnTo>
                  <a:cubicBezTo>
                    <a:pt x="269301" y="43729"/>
                    <a:pt x="263406" y="39241"/>
                    <a:pt x="259413" y="33251"/>
                  </a:cubicBezTo>
                  <a:lnTo>
                    <a:pt x="254849" y="27927"/>
                  </a:lnTo>
                  <a:cubicBezTo>
                    <a:pt x="251997" y="24599"/>
                    <a:pt x="247490" y="23192"/>
                    <a:pt x="243249" y="24314"/>
                  </a:cubicBezTo>
                  <a:cubicBezTo>
                    <a:pt x="239770" y="24770"/>
                    <a:pt x="236271" y="24770"/>
                    <a:pt x="232791" y="24314"/>
                  </a:cubicBezTo>
                  <a:cubicBezTo>
                    <a:pt x="224843" y="22565"/>
                    <a:pt x="217503" y="18762"/>
                    <a:pt x="211494" y="13285"/>
                  </a:cubicBezTo>
                  <a:cubicBezTo>
                    <a:pt x="209497" y="11650"/>
                    <a:pt x="207406" y="10110"/>
                    <a:pt x="205219" y="8722"/>
                  </a:cubicBezTo>
                  <a:cubicBezTo>
                    <a:pt x="193733" y="-1737"/>
                    <a:pt x="176563" y="-2916"/>
                    <a:pt x="163765" y="5869"/>
                  </a:cubicBezTo>
                  <a:cubicBezTo>
                    <a:pt x="157490" y="9862"/>
                    <a:pt x="156349" y="15757"/>
                    <a:pt x="155208" y="24885"/>
                  </a:cubicBezTo>
                  <a:cubicBezTo>
                    <a:pt x="154790" y="32053"/>
                    <a:pt x="152831" y="39051"/>
                    <a:pt x="149504" y="45421"/>
                  </a:cubicBezTo>
                  <a:cubicBezTo>
                    <a:pt x="141517" y="58732"/>
                    <a:pt x="130488" y="78888"/>
                    <a:pt x="111473" y="83452"/>
                  </a:cubicBezTo>
                  <a:cubicBezTo>
                    <a:pt x="103696" y="85448"/>
                    <a:pt x="95481" y="84859"/>
                    <a:pt x="88084" y="81741"/>
                  </a:cubicBezTo>
                  <a:cubicBezTo>
                    <a:pt x="85954" y="80657"/>
                    <a:pt x="83920" y="79383"/>
                    <a:pt x="81999" y="77938"/>
                  </a:cubicBezTo>
                  <a:cubicBezTo>
                    <a:pt x="80021" y="76359"/>
                    <a:pt x="77759" y="75199"/>
                    <a:pt x="75344" y="74515"/>
                  </a:cubicBezTo>
                  <a:cubicBezTo>
                    <a:pt x="68878" y="74515"/>
                    <a:pt x="63174" y="93530"/>
                    <a:pt x="61843" y="116729"/>
                  </a:cubicBezTo>
                  <a:cubicBezTo>
                    <a:pt x="63820" y="134699"/>
                    <a:pt x="53419" y="151717"/>
                    <a:pt x="36552" y="158183"/>
                  </a:cubicBezTo>
                  <a:lnTo>
                    <a:pt x="31418" y="160274"/>
                  </a:lnTo>
                  <a:cubicBezTo>
                    <a:pt x="27919" y="161206"/>
                    <a:pt x="24953" y="163545"/>
                    <a:pt x="23241" y="166739"/>
                  </a:cubicBezTo>
                  <a:cubicBezTo>
                    <a:pt x="20541" y="171531"/>
                    <a:pt x="19800" y="177179"/>
                    <a:pt x="21150" y="182522"/>
                  </a:cubicBezTo>
                  <a:lnTo>
                    <a:pt x="21150" y="187086"/>
                  </a:lnTo>
                  <a:cubicBezTo>
                    <a:pt x="22785" y="196898"/>
                    <a:pt x="19438" y="206881"/>
                    <a:pt x="12213" y="213707"/>
                  </a:cubicBezTo>
                  <a:cubicBezTo>
                    <a:pt x="9417" y="215818"/>
                    <a:pt x="6014" y="216959"/>
                    <a:pt x="2515" y="216940"/>
                  </a:cubicBezTo>
                  <a:lnTo>
                    <a:pt x="2515" y="216940"/>
                  </a:lnTo>
                  <a:cubicBezTo>
                    <a:pt x="2515" y="225687"/>
                    <a:pt x="2515" y="234434"/>
                    <a:pt x="1184" y="243371"/>
                  </a:cubicBezTo>
                  <a:cubicBezTo>
                    <a:pt x="1355" y="245843"/>
                    <a:pt x="1355" y="248315"/>
                    <a:pt x="1184" y="250787"/>
                  </a:cubicBezTo>
                  <a:cubicBezTo>
                    <a:pt x="-395" y="260162"/>
                    <a:pt x="-395" y="269746"/>
                    <a:pt x="1184" y="279120"/>
                  </a:cubicBezTo>
                  <a:cubicBezTo>
                    <a:pt x="1184" y="279120"/>
                    <a:pt x="6508" y="281402"/>
                    <a:pt x="30087" y="271134"/>
                  </a:cubicBezTo>
                  <a:cubicBezTo>
                    <a:pt x="38302" y="267293"/>
                    <a:pt x="45718" y="261930"/>
                    <a:pt x="51955" y="255351"/>
                  </a:cubicBezTo>
                  <a:lnTo>
                    <a:pt x="59751" y="248315"/>
                  </a:lnTo>
                  <a:cubicBezTo>
                    <a:pt x="70609" y="238846"/>
                    <a:pt x="83691" y="232304"/>
                    <a:pt x="97782" y="229300"/>
                  </a:cubicBezTo>
                  <a:cubicBezTo>
                    <a:pt x="103296" y="229300"/>
                    <a:pt x="112994" y="227589"/>
                    <a:pt x="116797" y="234815"/>
                  </a:cubicBezTo>
                  <a:cubicBezTo>
                    <a:pt x="119649" y="239948"/>
                    <a:pt x="119212" y="246300"/>
                    <a:pt x="115656" y="250977"/>
                  </a:cubicBezTo>
                  <a:cubicBezTo>
                    <a:pt x="114915" y="252118"/>
                    <a:pt x="114268" y="253335"/>
                    <a:pt x="113755" y="254590"/>
                  </a:cubicBezTo>
                  <a:cubicBezTo>
                    <a:pt x="111644" y="259439"/>
                    <a:pt x="111644" y="264954"/>
                    <a:pt x="113755" y="269803"/>
                  </a:cubicBezTo>
                  <a:cubicBezTo>
                    <a:pt x="113755" y="269803"/>
                    <a:pt x="115466" y="271894"/>
                    <a:pt x="119840" y="271704"/>
                  </a:cubicBezTo>
                  <a:lnTo>
                    <a:pt x="121171" y="271704"/>
                  </a:lnTo>
                  <a:cubicBezTo>
                    <a:pt x="127065" y="270297"/>
                    <a:pt x="133227" y="272731"/>
                    <a:pt x="136573" y="277789"/>
                  </a:cubicBezTo>
                  <a:cubicBezTo>
                    <a:pt x="139635" y="282809"/>
                    <a:pt x="138665" y="289275"/>
                    <a:pt x="134291" y="293192"/>
                  </a:cubicBezTo>
                  <a:cubicBezTo>
                    <a:pt x="129595" y="297147"/>
                    <a:pt x="123700" y="299429"/>
                    <a:pt x="117558" y="299657"/>
                  </a:cubicBezTo>
                  <a:cubicBezTo>
                    <a:pt x="107860" y="301178"/>
                    <a:pt x="107099" y="302129"/>
                    <a:pt x="107290" y="304601"/>
                  </a:cubicBezTo>
                  <a:cubicBezTo>
                    <a:pt x="107480" y="307073"/>
                    <a:pt x="114896" y="310686"/>
                    <a:pt x="126305" y="310496"/>
                  </a:cubicBezTo>
                  <a:lnTo>
                    <a:pt x="129918" y="310496"/>
                  </a:lnTo>
                  <a:lnTo>
                    <a:pt x="135432" y="310496"/>
                  </a:lnTo>
                  <a:lnTo>
                    <a:pt x="140567" y="310496"/>
                  </a:lnTo>
                  <a:cubicBezTo>
                    <a:pt x="143267" y="310990"/>
                    <a:pt x="146043" y="310990"/>
                    <a:pt x="148743" y="310496"/>
                  </a:cubicBezTo>
                  <a:cubicBezTo>
                    <a:pt x="149998" y="309944"/>
                    <a:pt x="151120" y="309088"/>
                    <a:pt x="151976" y="308024"/>
                  </a:cubicBezTo>
                  <a:cubicBezTo>
                    <a:pt x="153573" y="306217"/>
                    <a:pt x="155513" y="304734"/>
                    <a:pt x="157680" y="303650"/>
                  </a:cubicBezTo>
                  <a:cubicBezTo>
                    <a:pt x="162776" y="301482"/>
                    <a:pt x="168329" y="300646"/>
                    <a:pt x="173843" y="301178"/>
                  </a:cubicBezTo>
                  <a:cubicBezTo>
                    <a:pt x="180309" y="301178"/>
                    <a:pt x="183922" y="301178"/>
                    <a:pt x="187154" y="297945"/>
                  </a:cubicBezTo>
                  <a:cubicBezTo>
                    <a:pt x="188865" y="295797"/>
                    <a:pt x="189683" y="293078"/>
                    <a:pt x="189436" y="290339"/>
                  </a:cubicBezTo>
                  <a:cubicBezTo>
                    <a:pt x="189550" y="286726"/>
                    <a:pt x="189037" y="283133"/>
                    <a:pt x="187915" y="279691"/>
                  </a:cubicBezTo>
                  <a:cubicBezTo>
                    <a:pt x="186850" y="274937"/>
                    <a:pt x="185519" y="270240"/>
                    <a:pt x="183922" y="265619"/>
                  </a:cubicBezTo>
                  <a:cubicBezTo>
                    <a:pt x="177837" y="252879"/>
                    <a:pt x="173273" y="238808"/>
                    <a:pt x="184302" y="23424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504" name="Полилиния: фигура 503">
              <a:extLst>
                <a:ext uri="{FF2B5EF4-FFF2-40B4-BE49-F238E27FC236}">
                  <a16:creationId xmlns:a16="http://schemas.microsoft.com/office/drawing/2014/main" id="{6F165599-B519-C653-F298-19189DF7348B}"/>
                </a:ext>
              </a:extLst>
            </p:cNvPr>
            <p:cNvSpPr/>
            <p:nvPr/>
          </p:nvSpPr>
          <p:spPr>
            <a:xfrm>
              <a:off x="4813806" y="3691984"/>
              <a:ext cx="524928" cy="582868"/>
            </a:xfrm>
            <a:custGeom>
              <a:avLst/>
              <a:gdLst>
                <a:gd name="connsiteX0" fmla="*/ 339234 w 577497"/>
                <a:gd name="connsiteY0" fmla="*/ 19633 h 639366"/>
                <a:gd name="connsiteX1" fmla="*/ 334671 w 577497"/>
                <a:gd name="connsiteY1" fmla="*/ 12978 h 639366"/>
                <a:gd name="connsiteX2" fmla="*/ 322311 w 577497"/>
                <a:gd name="connsiteY2" fmla="*/ 1569 h 639366"/>
                <a:gd name="connsiteX3" fmla="*/ 309380 w 577497"/>
                <a:gd name="connsiteY3" fmla="*/ 1569 h 639366"/>
                <a:gd name="connsiteX4" fmla="*/ 304246 w 577497"/>
                <a:gd name="connsiteY4" fmla="*/ 5752 h 639366"/>
                <a:gd name="connsiteX5" fmla="*/ 301584 w 577497"/>
                <a:gd name="connsiteY5" fmla="*/ 8224 h 639366"/>
                <a:gd name="connsiteX6" fmla="*/ 293788 w 577497"/>
                <a:gd name="connsiteY6" fmla="*/ 15830 h 639366"/>
                <a:gd name="connsiteX7" fmla="*/ 288463 w 577497"/>
                <a:gd name="connsiteY7" fmla="*/ 21155 h 639366"/>
                <a:gd name="connsiteX8" fmla="*/ 262983 w 577497"/>
                <a:gd name="connsiteY8" fmla="*/ 42642 h 639366"/>
                <a:gd name="connsiteX9" fmla="*/ 229516 w 577497"/>
                <a:gd name="connsiteY9" fmla="*/ 52530 h 639366"/>
                <a:gd name="connsiteX10" fmla="*/ 224381 w 577497"/>
                <a:gd name="connsiteY10" fmla="*/ 52530 h 639366"/>
                <a:gd name="connsiteX11" fmla="*/ 217536 w 577497"/>
                <a:gd name="connsiteY11" fmla="*/ 52530 h 639366"/>
                <a:gd name="connsiteX12" fmla="*/ 210690 w 577497"/>
                <a:gd name="connsiteY12" fmla="*/ 55192 h 639366"/>
                <a:gd name="connsiteX13" fmla="*/ 210690 w 577497"/>
                <a:gd name="connsiteY13" fmla="*/ 58044 h 639366"/>
                <a:gd name="connsiteX14" fmla="*/ 213923 w 577497"/>
                <a:gd name="connsiteY14" fmla="*/ 59185 h 639366"/>
                <a:gd name="connsiteX15" fmla="*/ 220198 w 577497"/>
                <a:gd name="connsiteY15" fmla="*/ 65841 h 639366"/>
                <a:gd name="connsiteX16" fmla="*/ 220198 w 577497"/>
                <a:gd name="connsiteY16" fmla="*/ 67172 h 639366"/>
                <a:gd name="connsiteX17" fmla="*/ 228185 w 577497"/>
                <a:gd name="connsiteY17" fmla="*/ 72116 h 639366"/>
                <a:gd name="connsiteX18" fmla="*/ 235601 w 577497"/>
                <a:gd name="connsiteY18" fmla="*/ 74017 h 639366"/>
                <a:gd name="connsiteX19" fmla="*/ 240354 w 577497"/>
                <a:gd name="connsiteY19" fmla="*/ 81623 h 639366"/>
                <a:gd name="connsiteX20" fmla="*/ 235981 w 577497"/>
                <a:gd name="connsiteY20" fmla="*/ 93223 h 639366"/>
                <a:gd name="connsiteX21" fmla="*/ 228945 w 577497"/>
                <a:gd name="connsiteY21" fmla="*/ 97977 h 639366"/>
                <a:gd name="connsiteX22" fmla="*/ 224952 w 577497"/>
                <a:gd name="connsiteY22" fmla="*/ 100259 h 639366"/>
                <a:gd name="connsiteX23" fmla="*/ 216775 w 577497"/>
                <a:gd name="connsiteY23" fmla="*/ 119274 h 639366"/>
                <a:gd name="connsiteX24" fmla="*/ 212402 w 577497"/>
                <a:gd name="connsiteY24" fmla="*/ 133726 h 639366"/>
                <a:gd name="connsiteX25" fmla="*/ 206317 w 577497"/>
                <a:gd name="connsiteY25" fmla="*/ 142663 h 639366"/>
                <a:gd name="connsiteX26" fmla="*/ 205176 w 577497"/>
                <a:gd name="connsiteY26" fmla="*/ 143614 h 639366"/>
                <a:gd name="connsiteX27" fmla="*/ 191865 w 577497"/>
                <a:gd name="connsiteY27" fmla="*/ 168143 h 639366"/>
                <a:gd name="connsiteX28" fmla="*/ 190914 w 577497"/>
                <a:gd name="connsiteY28" fmla="*/ 187159 h 639366"/>
                <a:gd name="connsiteX29" fmla="*/ 190914 w 577497"/>
                <a:gd name="connsiteY29" fmla="*/ 200279 h 639366"/>
                <a:gd name="connsiteX30" fmla="*/ 180836 w 577497"/>
                <a:gd name="connsiteY30" fmla="*/ 225380 h 639366"/>
                <a:gd name="connsiteX31" fmla="*/ 155356 w 577497"/>
                <a:gd name="connsiteY31" fmla="*/ 232035 h 639366"/>
                <a:gd name="connsiteX32" fmla="*/ 150412 w 577497"/>
                <a:gd name="connsiteY32" fmla="*/ 232035 h 639366"/>
                <a:gd name="connsiteX33" fmla="*/ 134249 w 577497"/>
                <a:gd name="connsiteY33" fmla="*/ 232035 h 639366"/>
                <a:gd name="connsiteX34" fmla="*/ 130826 w 577497"/>
                <a:gd name="connsiteY34" fmla="*/ 232035 h 639366"/>
                <a:gd name="connsiteX35" fmla="*/ 121508 w 577497"/>
                <a:gd name="connsiteY35" fmla="*/ 234317 h 639366"/>
                <a:gd name="connsiteX36" fmla="*/ 114663 w 577497"/>
                <a:gd name="connsiteY36" fmla="*/ 234317 h 639366"/>
                <a:gd name="connsiteX37" fmla="*/ 112571 w 577497"/>
                <a:gd name="connsiteY37" fmla="*/ 234317 h 639366"/>
                <a:gd name="connsiteX38" fmla="*/ 90513 w 577497"/>
                <a:gd name="connsiteY38" fmla="*/ 239071 h 639366"/>
                <a:gd name="connsiteX39" fmla="*/ 71498 w 577497"/>
                <a:gd name="connsiteY39" fmla="*/ 252572 h 639366"/>
                <a:gd name="connsiteX40" fmla="*/ 69977 w 577497"/>
                <a:gd name="connsiteY40" fmla="*/ 253523 h 639366"/>
                <a:gd name="connsiteX41" fmla="*/ 58948 w 577497"/>
                <a:gd name="connsiteY41" fmla="*/ 262079 h 639366"/>
                <a:gd name="connsiteX42" fmla="*/ 61610 w 577497"/>
                <a:gd name="connsiteY42" fmla="*/ 264932 h 639366"/>
                <a:gd name="connsiteX43" fmla="*/ 71688 w 577497"/>
                <a:gd name="connsiteY43" fmla="*/ 274249 h 639366"/>
                <a:gd name="connsiteX44" fmla="*/ 94887 w 577497"/>
                <a:gd name="connsiteY44" fmla="*/ 295356 h 639366"/>
                <a:gd name="connsiteX45" fmla="*/ 100781 w 577497"/>
                <a:gd name="connsiteY45" fmla="*/ 299349 h 639366"/>
                <a:gd name="connsiteX46" fmla="*/ 119797 w 577497"/>
                <a:gd name="connsiteY46" fmla="*/ 328633 h 639366"/>
                <a:gd name="connsiteX47" fmla="*/ 84999 w 577497"/>
                <a:gd name="connsiteY47" fmla="*/ 355635 h 639366"/>
                <a:gd name="connsiteX48" fmla="*/ 53433 w 577497"/>
                <a:gd name="connsiteY48" fmla="*/ 351071 h 639366"/>
                <a:gd name="connsiteX49" fmla="*/ 43165 w 577497"/>
                <a:gd name="connsiteY49" fmla="*/ 346508 h 639366"/>
                <a:gd name="connsiteX50" fmla="*/ 16543 w 577497"/>
                <a:gd name="connsiteY50" fmla="*/ 363622 h 639366"/>
                <a:gd name="connsiteX51" fmla="*/ 0 w 577497"/>
                <a:gd name="connsiteY51" fmla="*/ 383968 h 639366"/>
                <a:gd name="connsiteX52" fmla="*/ 16924 w 577497"/>
                <a:gd name="connsiteY52" fmla="*/ 409449 h 639366"/>
                <a:gd name="connsiteX53" fmla="*/ 44306 w 577497"/>
                <a:gd name="connsiteY53" fmla="*/ 420097 h 639366"/>
                <a:gd name="connsiteX54" fmla="*/ 56476 w 577497"/>
                <a:gd name="connsiteY54" fmla="*/ 420097 h 639366"/>
                <a:gd name="connsiteX55" fmla="*/ 97168 w 577497"/>
                <a:gd name="connsiteY55" fmla="*/ 429225 h 639366"/>
                <a:gd name="connsiteX56" fmla="*/ 108197 w 577497"/>
                <a:gd name="connsiteY56" fmla="*/ 434739 h 639366"/>
                <a:gd name="connsiteX57" fmla="*/ 114473 w 577497"/>
                <a:gd name="connsiteY57" fmla="*/ 438352 h 639366"/>
                <a:gd name="connsiteX58" fmla="*/ 123220 w 577497"/>
                <a:gd name="connsiteY58" fmla="*/ 440444 h 639366"/>
                <a:gd name="connsiteX59" fmla="*/ 137101 w 577497"/>
                <a:gd name="connsiteY59" fmla="*/ 444817 h 639366"/>
                <a:gd name="connsiteX60" fmla="*/ 146418 w 577497"/>
                <a:gd name="connsiteY60" fmla="*/ 460220 h 639366"/>
                <a:gd name="connsiteX61" fmla="*/ 146418 w 577497"/>
                <a:gd name="connsiteY61" fmla="*/ 465544 h 639366"/>
                <a:gd name="connsiteX62" fmla="*/ 151172 w 577497"/>
                <a:gd name="connsiteY62" fmla="*/ 470488 h 639366"/>
                <a:gd name="connsiteX63" fmla="*/ 156687 w 577497"/>
                <a:gd name="connsiteY63" fmla="*/ 473150 h 639366"/>
                <a:gd name="connsiteX64" fmla="*/ 159159 w 577497"/>
                <a:gd name="connsiteY64" fmla="*/ 474291 h 639366"/>
                <a:gd name="connsiteX65" fmla="*/ 172470 w 577497"/>
                <a:gd name="connsiteY65" fmla="*/ 488743 h 639366"/>
                <a:gd name="connsiteX66" fmla="*/ 166955 w 577497"/>
                <a:gd name="connsiteY66" fmla="*/ 503385 h 639366"/>
                <a:gd name="connsiteX67" fmla="*/ 163913 w 577497"/>
                <a:gd name="connsiteY67" fmla="*/ 508899 h 639366"/>
                <a:gd name="connsiteX68" fmla="*/ 167335 w 577497"/>
                <a:gd name="connsiteY68" fmla="*/ 512512 h 639366"/>
                <a:gd name="connsiteX69" fmla="*/ 175132 w 577497"/>
                <a:gd name="connsiteY69" fmla="*/ 521830 h 639366"/>
                <a:gd name="connsiteX70" fmla="*/ 173610 w 577497"/>
                <a:gd name="connsiteY70" fmla="*/ 537232 h 639366"/>
                <a:gd name="connsiteX71" fmla="*/ 173610 w 577497"/>
                <a:gd name="connsiteY71" fmla="*/ 538753 h 639366"/>
                <a:gd name="connsiteX72" fmla="*/ 171329 w 577497"/>
                <a:gd name="connsiteY72" fmla="*/ 544078 h 639366"/>
                <a:gd name="connsiteX73" fmla="*/ 173040 w 577497"/>
                <a:gd name="connsiteY73" fmla="*/ 548641 h 639366"/>
                <a:gd name="connsiteX74" fmla="*/ 174941 w 577497"/>
                <a:gd name="connsiteY74" fmla="*/ 550162 h 639366"/>
                <a:gd name="connsiteX75" fmla="*/ 179695 w 577497"/>
                <a:gd name="connsiteY75" fmla="*/ 556248 h 639366"/>
                <a:gd name="connsiteX76" fmla="*/ 179695 w 577497"/>
                <a:gd name="connsiteY76" fmla="*/ 572601 h 639366"/>
                <a:gd name="connsiteX77" fmla="*/ 179695 w 577497"/>
                <a:gd name="connsiteY77" fmla="*/ 574502 h 639366"/>
                <a:gd name="connsiteX78" fmla="*/ 179695 w 577497"/>
                <a:gd name="connsiteY78" fmla="*/ 577164 h 639366"/>
                <a:gd name="connsiteX79" fmla="*/ 179695 w 577497"/>
                <a:gd name="connsiteY79" fmla="*/ 592377 h 639366"/>
                <a:gd name="connsiteX80" fmla="*/ 183498 w 577497"/>
                <a:gd name="connsiteY80" fmla="*/ 597131 h 639366"/>
                <a:gd name="connsiteX81" fmla="*/ 189964 w 577497"/>
                <a:gd name="connsiteY81" fmla="*/ 605307 h 639366"/>
                <a:gd name="connsiteX82" fmla="*/ 192055 w 577497"/>
                <a:gd name="connsiteY82" fmla="*/ 622231 h 639366"/>
                <a:gd name="connsiteX83" fmla="*/ 193196 w 577497"/>
                <a:gd name="connsiteY83" fmla="*/ 633260 h 639366"/>
                <a:gd name="connsiteX84" fmla="*/ 193196 w 577497"/>
                <a:gd name="connsiteY84" fmla="*/ 633260 h 639366"/>
                <a:gd name="connsiteX85" fmla="*/ 198901 w 577497"/>
                <a:gd name="connsiteY85" fmla="*/ 638014 h 639366"/>
                <a:gd name="connsiteX86" fmla="*/ 203655 w 577497"/>
                <a:gd name="connsiteY86" fmla="*/ 639345 h 639366"/>
                <a:gd name="connsiteX87" fmla="*/ 207838 w 577497"/>
                <a:gd name="connsiteY87" fmla="*/ 638394 h 639366"/>
                <a:gd name="connsiteX88" fmla="*/ 212402 w 577497"/>
                <a:gd name="connsiteY88" fmla="*/ 621280 h 639366"/>
                <a:gd name="connsiteX89" fmla="*/ 212402 w 577497"/>
                <a:gd name="connsiteY89" fmla="*/ 616907 h 639366"/>
                <a:gd name="connsiteX90" fmla="*/ 216015 w 577497"/>
                <a:gd name="connsiteY90" fmla="*/ 594468 h 639366"/>
                <a:gd name="connsiteX91" fmla="*/ 229516 w 577497"/>
                <a:gd name="connsiteY91" fmla="*/ 583630 h 639366"/>
                <a:gd name="connsiteX92" fmla="*/ 233889 w 577497"/>
                <a:gd name="connsiteY92" fmla="*/ 581728 h 639366"/>
                <a:gd name="connsiteX93" fmla="*/ 252905 w 577497"/>
                <a:gd name="connsiteY93" fmla="*/ 549402 h 639366"/>
                <a:gd name="connsiteX94" fmla="*/ 276294 w 577497"/>
                <a:gd name="connsiteY94" fmla="*/ 497110 h 639366"/>
                <a:gd name="connsiteX95" fmla="*/ 289985 w 577497"/>
                <a:gd name="connsiteY95" fmla="*/ 502434 h 639366"/>
                <a:gd name="connsiteX96" fmla="*/ 310711 w 577497"/>
                <a:gd name="connsiteY96" fmla="*/ 506427 h 639366"/>
                <a:gd name="connsiteX97" fmla="*/ 341897 w 577497"/>
                <a:gd name="connsiteY97" fmla="*/ 473150 h 639366"/>
                <a:gd name="connsiteX98" fmla="*/ 346270 w 577497"/>
                <a:gd name="connsiteY98" fmla="*/ 456797 h 639366"/>
                <a:gd name="connsiteX99" fmla="*/ 359391 w 577497"/>
                <a:gd name="connsiteY99" fmla="*/ 429985 h 639366"/>
                <a:gd name="connsiteX100" fmla="*/ 412824 w 577497"/>
                <a:gd name="connsiteY100" fmla="*/ 432838 h 639366"/>
                <a:gd name="connsiteX101" fmla="*/ 419670 w 577497"/>
                <a:gd name="connsiteY101" fmla="*/ 437972 h 639366"/>
                <a:gd name="connsiteX102" fmla="*/ 436213 w 577497"/>
                <a:gd name="connsiteY102" fmla="*/ 446909 h 639366"/>
                <a:gd name="connsiteX103" fmla="*/ 444389 w 577497"/>
                <a:gd name="connsiteY103" fmla="*/ 446909 h 639366"/>
                <a:gd name="connsiteX104" fmla="*/ 463405 w 577497"/>
                <a:gd name="connsiteY104" fmla="*/ 453945 h 639366"/>
                <a:gd name="connsiteX105" fmla="*/ 468729 w 577497"/>
                <a:gd name="connsiteY105" fmla="*/ 460030 h 639366"/>
                <a:gd name="connsiteX106" fmla="*/ 480519 w 577497"/>
                <a:gd name="connsiteY106" fmla="*/ 469157 h 639366"/>
                <a:gd name="connsiteX107" fmla="*/ 484702 w 577497"/>
                <a:gd name="connsiteY107" fmla="*/ 470298 h 639366"/>
                <a:gd name="connsiteX108" fmla="*/ 493449 w 577497"/>
                <a:gd name="connsiteY108" fmla="*/ 456607 h 639366"/>
                <a:gd name="connsiteX109" fmla="*/ 500485 w 577497"/>
                <a:gd name="connsiteY109" fmla="*/ 452043 h 639366"/>
                <a:gd name="connsiteX110" fmla="*/ 502957 w 577497"/>
                <a:gd name="connsiteY110" fmla="*/ 450902 h 639366"/>
                <a:gd name="connsiteX111" fmla="*/ 505239 w 577497"/>
                <a:gd name="connsiteY111" fmla="*/ 449001 h 639366"/>
                <a:gd name="connsiteX112" fmla="*/ 506950 w 577497"/>
                <a:gd name="connsiteY112" fmla="*/ 441585 h 639366"/>
                <a:gd name="connsiteX113" fmla="*/ 506950 w 577497"/>
                <a:gd name="connsiteY113" fmla="*/ 440444 h 639366"/>
                <a:gd name="connsiteX114" fmla="*/ 506950 w 577497"/>
                <a:gd name="connsiteY114" fmla="*/ 433598 h 639366"/>
                <a:gd name="connsiteX115" fmla="*/ 514746 w 577497"/>
                <a:gd name="connsiteY115" fmla="*/ 420097 h 639366"/>
                <a:gd name="connsiteX116" fmla="*/ 519500 w 577497"/>
                <a:gd name="connsiteY116" fmla="*/ 410209 h 639366"/>
                <a:gd name="connsiteX117" fmla="*/ 513225 w 577497"/>
                <a:gd name="connsiteY117" fmla="*/ 401082 h 639366"/>
                <a:gd name="connsiteX118" fmla="*/ 503337 w 577497"/>
                <a:gd name="connsiteY118" fmla="*/ 382067 h 639366"/>
                <a:gd name="connsiteX119" fmla="*/ 541368 w 577497"/>
                <a:gd name="connsiteY119" fmla="*/ 338711 h 639366"/>
                <a:gd name="connsiteX120" fmla="*/ 558482 w 577497"/>
                <a:gd name="connsiteY120" fmla="*/ 327492 h 639366"/>
                <a:gd name="connsiteX121" fmla="*/ 577497 w 577497"/>
                <a:gd name="connsiteY121" fmla="*/ 300681 h 639366"/>
                <a:gd name="connsiteX122" fmla="*/ 561524 w 577497"/>
                <a:gd name="connsiteY122" fmla="*/ 281665 h 639366"/>
                <a:gd name="connsiteX123" fmla="*/ 551826 w 577497"/>
                <a:gd name="connsiteY123" fmla="*/ 279574 h 639366"/>
                <a:gd name="connsiteX124" fmla="*/ 521972 w 577497"/>
                <a:gd name="connsiteY124" fmla="*/ 257896 h 639366"/>
                <a:gd name="connsiteX125" fmla="*/ 517409 w 577497"/>
                <a:gd name="connsiteY125" fmla="*/ 240972 h 639366"/>
                <a:gd name="connsiteX126" fmla="*/ 516268 w 577497"/>
                <a:gd name="connsiteY126" fmla="*/ 240972 h 639366"/>
                <a:gd name="connsiteX127" fmla="*/ 492879 w 577497"/>
                <a:gd name="connsiteY127" fmla="*/ 240972 h 639366"/>
                <a:gd name="connsiteX128" fmla="*/ 486033 w 577497"/>
                <a:gd name="connsiteY128" fmla="*/ 245346 h 639366"/>
                <a:gd name="connsiteX129" fmla="*/ 453137 w 577497"/>
                <a:gd name="connsiteY129" fmla="*/ 247248 h 639366"/>
                <a:gd name="connsiteX130" fmla="*/ 446862 w 577497"/>
                <a:gd name="connsiteY130" fmla="*/ 239261 h 639366"/>
                <a:gd name="connsiteX131" fmla="*/ 434882 w 577497"/>
                <a:gd name="connsiteY131" fmla="*/ 233746 h 639366"/>
                <a:gd name="connsiteX132" fmla="*/ 429177 w 577497"/>
                <a:gd name="connsiteY132" fmla="*/ 235078 h 639366"/>
                <a:gd name="connsiteX133" fmla="*/ 395900 w 577497"/>
                <a:gd name="connsiteY133" fmla="*/ 235078 h 639366"/>
                <a:gd name="connsiteX134" fmla="*/ 364525 w 577497"/>
                <a:gd name="connsiteY134" fmla="*/ 230704 h 639366"/>
                <a:gd name="connsiteX135" fmla="*/ 341326 w 577497"/>
                <a:gd name="connsiteY135" fmla="*/ 250670 h 639366"/>
                <a:gd name="connsiteX136" fmla="*/ 340185 w 577497"/>
                <a:gd name="connsiteY136" fmla="*/ 252572 h 639366"/>
                <a:gd name="connsiteX137" fmla="*/ 319649 w 577497"/>
                <a:gd name="connsiteY137" fmla="*/ 272918 h 639366"/>
                <a:gd name="connsiteX138" fmla="*/ 316986 w 577497"/>
                <a:gd name="connsiteY138" fmla="*/ 272918 h 639366"/>
                <a:gd name="connsiteX139" fmla="*/ 308620 w 577497"/>
                <a:gd name="connsiteY139" fmla="*/ 270066 h 639366"/>
                <a:gd name="connsiteX140" fmla="*/ 305007 w 577497"/>
                <a:gd name="connsiteY140" fmla="*/ 248578 h 639366"/>
                <a:gd name="connsiteX141" fmla="*/ 305007 w 577497"/>
                <a:gd name="connsiteY141" fmla="*/ 239071 h 639366"/>
                <a:gd name="connsiteX142" fmla="*/ 301964 w 577497"/>
                <a:gd name="connsiteY142" fmla="*/ 235268 h 639366"/>
                <a:gd name="connsiteX143" fmla="*/ 295879 w 577497"/>
                <a:gd name="connsiteY143" fmla="*/ 225950 h 639366"/>
                <a:gd name="connsiteX144" fmla="*/ 297210 w 577497"/>
                <a:gd name="connsiteY144" fmla="*/ 213020 h 639366"/>
                <a:gd name="connsiteX145" fmla="*/ 298351 w 577497"/>
                <a:gd name="connsiteY145" fmla="*/ 208456 h 639366"/>
                <a:gd name="connsiteX146" fmla="*/ 294567 w 577497"/>
                <a:gd name="connsiteY146" fmla="*/ 191932 h 639366"/>
                <a:gd name="connsiteX147" fmla="*/ 292647 w 577497"/>
                <a:gd name="connsiteY147" fmla="*/ 190962 h 639366"/>
                <a:gd name="connsiteX148" fmla="*/ 284660 w 577497"/>
                <a:gd name="connsiteY148" fmla="*/ 184687 h 639366"/>
                <a:gd name="connsiteX149" fmla="*/ 290555 w 577497"/>
                <a:gd name="connsiteY149" fmla="*/ 155593 h 639366"/>
                <a:gd name="connsiteX150" fmla="*/ 297020 w 577497"/>
                <a:gd name="connsiteY150" fmla="*/ 142663 h 639366"/>
                <a:gd name="connsiteX151" fmla="*/ 310711 w 577497"/>
                <a:gd name="connsiteY151" fmla="*/ 121936 h 639366"/>
                <a:gd name="connsiteX152" fmla="*/ 322501 w 577497"/>
                <a:gd name="connsiteY152" fmla="*/ 117182 h 639366"/>
                <a:gd name="connsiteX153" fmla="*/ 330297 w 577497"/>
                <a:gd name="connsiteY153" fmla="*/ 108435 h 639366"/>
                <a:gd name="connsiteX154" fmla="*/ 339995 w 577497"/>
                <a:gd name="connsiteY154" fmla="*/ 86568 h 639366"/>
                <a:gd name="connsiteX155" fmla="*/ 346841 w 577497"/>
                <a:gd name="connsiteY155" fmla="*/ 73447 h 639366"/>
                <a:gd name="connsiteX156" fmla="*/ 349883 w 577497"/>
                <a:gd name="connsiteY156" fmla="*/ 65270 h 639366"/>
                <a:gd name="connsiteX157" fmla="*/ 353876 w 577497"/>
                <a:gd name="connsiteY157" fmla="*/ 54812 h 639366"/>
                <a:gd name="connsiteX158" fmla="*/ 338474 w 577497"/>
                <a:gd name="connsiteY158" fmla="*/ 35796 h 639366"/>
                <a:gd name="connsiteX159" fmla="*/ 338474 w 577497"/>
                <a:gd name="connsiteY159" fmla="*/ 27239 h 639366"/>
                <a:gd name="connsiteX160" fmla="*/ 339234 w 577497"/>
                <a:gd name="connsiteY160" fmla="*/ 19633 h 6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</a:cxnLst>
              <a:rect l="l" t="t" r="r" b="b"/>
              <a:pathLst>
                <a:path w="577497" h="639366">
                  <a:moveTo>
                    <a:pt x="339234" y="19633"/>
                  </a:moveTo>
                  <a:cubicBezTo>
                    <a:pt x="338208" y="17123"/>
                    <a:pt x="336648" y="14841"/>
                    <a:pt x="334671" y="12978"/>
                  </a:cubicBezTo>
                  <a:cubicBezTo>
                    <a:pt x="331229" y="8490"/>
                    <a:pt x="327046" y="4630"/>
                    <a:pt x="322311" y="1569"/>
                  </a:cubicBezTo>
                  <a:cubicBezTo>
                    <a:pt x="318260" y="-523"/>
                    <a:pt x="313430" y="-523"/>
                    <a:pt x="309380" y="1569"/>
                  </a:cubicBezTo>
                  <a:cubicBezTo>
                    <a:pt x="307498" y="2729"/>
                    <a:pt x="305767" y="4136"/>
                    <a:pt x="304246" y="5752"/>
                  </a:cubicBezTo>
                  <a:lnTo>
                    <a:pt x="301584" y="8224"/>
                  </a:lnTo>
                  <a:lnTo>
                    <a:pt x="293788" y="15830"/>
                  </a:lnTo>
                  <a:lnTo>
                    <a:pt x="288463" y="21155"/>
                  </a:lnTo>
                  <a:cubicBezTo>
                    <a:pt x="280724" y="29160"/>
                    <a:pt x="272186" y="36367"/>
                    <a:pt x="262983" y="42642"/>
                  </a:cubicBezTo>
                  <a:cubicBezTo>
                    <a:pt x="253095" y="49259"/>
                    <a:pt x="241419" y="52701"/>
                    <a:pt x="229516" y="52530"/>
                  </a:cubicBezTo>
                  <a:lnTo>
                    <a:pt x="224381" y="52530"/>
                  </a:lnTo>
                  <a:cubicBezTo>
                    <a:pt x="222100" y="52340"/>
                    <a:pt x="219818" y="52340"/>
                    <a:pt x="217536" y="52530"/>
                  </a:cubicBezTo>
                  <a:cubicBezTo>
                    <a:pt x="214969" y="52340"/>
                    <a:pt x="212459" y="53329"/>
                    <a:pt x="210690" y="55192"/>
                  </a:cubicBezTo>
                  <a:cubicBezTo>
                    <a:pt x="210215" y="56086"/>
                    <a:pt x="210215" y="57151"/>
                    <a:pt x="210690" y="58044"/>
                  </a:cubicBezTo>
                  <a:lnTo>
                    <a:pt x="213923" y="59185"/>
                  </a:lnTo>
                  <a:cubicBezTo>
                    <a:pt x="216680" y="60669"/>
                    <a:pt x="218867" y="63007"/>
                    <a:pt x="220198" y="65841"/>
                  </a:cubicBezTo>
                  <a:lnTo>
                    <a:pt x="220198" y="67172"/>
                  </a:lnTo>
                  <a:cubicBezTo>
                    <a:pt x="221948" y="69967"/>
                    <a:pt x="224895" y="71792"/>
                    <a:pt x="228185" y="72116"/>
                  </a:cubicBezTo>
                  <a:cubicBezTo>
                    <a:pt x="230752" y="72249"/>
                    <a:pt x="233281" y="72895"/>
                    <a:pt x="235601" y="74017"/>
                  </a:cubicBezTo>
                  <a:cubicBezTo>
                    <a:pt x="238301" y="75653"/>
                    <a:pt x="240069" y="78467"/>
                    <a:pt x="240354" y="81623"/>
                  </a:cubicBezTo>
                  <a:cubicBezTo>
                    <a:pt x="240868" y="85978"/>
                    <a:pt x="239232" y="90295"/>
                    <a:pt x="235981" y="93223"/>
                  </a:cubicBezTo>
                  <a:cubicBezTo>
                    <a:pt x="233927" y="95181"/>
                    <a:pt x="231531" y="96798"/>
                    <a:pt x="228945" y="97977"/>
                  </a:cubicBezTo>
                  <a:cubicBezTo>
                    <a:pt x="227557" y="98623"/>
                    <a:pt x="226207" y="99384"/>
                    <a:pt x="224952" y="100259"/>
                  </a:cubicBezTo>
                  <a:cubicBezTo>
                    <a:pt x="220122" y="105469"/>
                    <a:pt x="217232" y="112181"/>
                    <a:pt x="216775" y="119274"/>
                  </a:cubicBezTo>
                  <a:cubicBezTo>
                    <a:pt x="215863" y="124237"/>
                    <a:pt x="214398" y="129086"/>
                    <a:pt x="212402" y="133726"/>
                  </a:cubicBezTo>
                  <a:cubicBezTo>
                    <a:pt x="211052" y="137110"/>
                    <a:pt x="208979" y="140172"/>
                    <a:pt x="206317" y="142663"/>
                  </a:cubicBezTo>
                  <a:lnTo>
                    <a:pt x="205176" y="143614"/>
                  </a:lnTo>
                  <a:cubicBezTo>
                    <a:pt x="197912" y="149908"/>
                    <a:pt x="193196" y="158636"/>
                    <a:pt x="191865" y="168143"/>
                  </a:cubicBezTo>
                  <a:cubicBezTo>
                    <a:pt x="191124" y="174457"/>
                    <a:pt x="190800" y="180808"/>
                    <a:pt x="190914" y="187159"/>
                  </a:cubicBezTo>
                  <a:cubicBezTo>
                    <a:pt x="190914" y="191532"/>
                    <a:pt x="190914" y="195906"/>
                    <a:pt x="190914" y="200279"/>
                  </a:cubicBezTo>
                  <a:cubicBezTo>
                    <a:pt x="190991" y="209654"/>
                    <a:pt x="187378" y="218667"/>
                    <a:pt x="180836" y="225380"/>
                  </a:cubicBezTo>
                  <a:cubicBezTo>
                    <a:pt x="173534" y="230837"/>
                    <a:pt x="164388" y="233214"/>
                    <a:pt x="155356" y="232035"/>
                  </a:cubicBezTo>
                  <a:lnTo>
                    <a:pt x="150412" y="232035"/>
                  </a:lnTo>
                  <a:cubicBezTo>
                    <a:pt x="145068" y="231160"/>
                    <a:pt x="139592" y="231160"/>
                    <a:pt x="134249" y="232035"/>
                  </a:cubicBezTo>
                  <a:lnTo>
                    <a:pt x="130826" y="232035"/>
                  </a:lnTo>
                  <a:cubicBezTo>
                    <a:pt x="127840" y="233214"/>
                    <a:pt x="124703" y="233994"/>
                    <a:pt x="121508" y="234317"/>
                  </a:cubicBezTo>
                  <a:cubicBezTo>
                    <a:pt x="119226" y="234526"/>
                    <a:pt x="116945" y="234526"/>
                    <a:pt x="114663" y="234317"/>
                  </a:cubicBezTo>
                  <a:lnTo>
                    <a:pt x="112571" y="234317"/>
                  </a:lnTo>
                  <a:cubicBezTo>
                    <a:pt x="104908" y="233632"/>
                    <a:pt x="97207" y="235287"/>
                    <a:pt x="90513" y="239071"/>
                  </a:cubicBezTo>
                  <a:cubicBezTo>
                    <a:pt x="83767" y="242969"/>
                    <a:pt x="77400" y="247495"/>
                    <a:pt x="71498" y="252572"/>
                  </a:cubicBezTo>
                  <a:lnTo>
                    <a:pt x="69977" y="253523"/>
                  </a:lnTo>
                  <a:lnTo>
                    <a:pt x="58948" y="262079"/>
                  </a:lnTo>
                  <a:lnTo>
                    <a:pt x="61610" y="264932"/>
                  </a:lnTo>
                  <a:lnTo>
                    <a:pt x="71688" y="274249"/>
                  </a:lnTo>
                  <a:cubicBezTo>
                    <a:pt x="79294" y="281285"/>
                    <a:pt x="87090" y="288701"/>
                    <a:pt x="94887" y="295356"/>
                  </a:cubicBezTo>
                  <a:cubicBezTo>
                    <a:pt x="96598" y="296497"/>
                    <a:pt x="98500" y="298019"/>
                    <a:pt x="100781" y="299349"/>
                  </a:cubicBezTo>
                  <a:cubicBezTo>
                    <a:pt x="109529" y="305435"/>
                    <a:pt x="122839" y="314372"/>
                    <a:pt x="119797" y="328633"/>
                  </a:cubicBezTo>
                  <a:cubicBezTo>
                    <a:pt x="110898" y="340670"/>
                    <a:pt x="98861" y="350007"/>
                    <a:pt x="84999" y="355635"/>
                  </a:cubicBezTo>
                  <a:cubicBezTo>
                    <a:pt x="74329" y="358982"/>
                    <a:pt x="62720" y="357290"/>
                    <a:pt x="53433" y="351071"/>
                  </a:cubicBezTo>
                  <a:cubicBezTo>
                    <a:pt x="50155" y="349246"/>
                    <a:pt x="46719" y="347725"/>
                    <a:pt x="43165" y="346508"/>
                  </a:cubicBezTo>
                  <a:cubicBezTo>
                    <a:pt x="29474" y="341754"/>
                    <a:pt x="24149" y="349550"/>
                    <a:pt x="16543" y="363622"/>
                  </a:cubicBezTo>
                  <a:cubicBezTo>
                    <a:pt x="12898" y="371722"/>
                    <a:pt x="7195" y="378739"/>
                    <a:pt x="0" y="383968"/>
                  </a:cubicBezTo>
                  <a:cubicBezTo>
                    <a:pt x="5324" y="392525"/>
                    <a:pt x="10839" y="401272"/>
                    <a:pt x="16924" y="409449"/>
                  </a:cubicBezTo>
                  <a:cubicBezTo>
                    <a:pt x="23009" y="417625"/>
                    <a:pt x="32136" y="419717"/>
                    <a:pt x="44306" y="420097"/>
                  </a:cubicBezTo>
                  <a:lnTo>
                    <a:pt x="56476" y="420097"/>
                  </a:lnTo>
                  <a:cubicBezTo>
                    <a:pt x="70277" y="421961"/>
                    <a:pt x="83892" y="425022"/>
                    <a:pt x="97168" y="429225"/>
                  </a:cubicBezTo>
                  <a:cubicBezTo>
                    <a:pt x="101124" y="430442"/>
                    <a:pt x="104851" y="432305"/>
                    <a:pt x="108197" y="434739"/>
                  </a:cubicBezTo>
                  <a:cubicBezTo>
                    <a:pt x="110213" y="436089"/>
                    <a:pt x="112305" y="437287"/>
                    <a:pt x="114473" y="438352"/>
                  </a:cubicBezTo>
                  <a:cubicBezTo>
                    <a:pt x="117325" y="439322"/>
                    <a:pt x="120253" y="440006"/>
                    <a:pt x="123220" y="440444"/>
                  </a:cubicBezTo>
                  <a:cubicBezTo>
                    <a:pt x="128068" y="441052"/>
                    <a:pt x="132765" y="442536"/>
                    <a:pt x="137101" y="444817"/>
                  </a:cubicBezTo>
                  <a:cubicBezTo>
                    <a:pt x="142843" y="447803"/>
                    <a:pt x="146437" y="453755"/>
                    <a:pt x="146418" y="460220"/>
                  </a:cubicBezTo>
                  <a:cubicBezTo>
                    <a:pt x="146247" y="461988"/>
                    <a:pt x="146247" y="463776"/>
                    <a:pt x="146418" y="465544"/>
                  </a:cubicBezTo>
                  <a:cubicBezTo>
                    <a:pt x="147559" y="469157"/>
                    <a:pt x="148130" y="469347"/>
                    <a:pt x="151172" y="470488"/>
                  </a:cubicBezTo>
                  <a:lnTo>
                    <a:pt x="156687" y="473150"/>
                  </a:lnTo>
                  <a:lnTo>
                    <a:pt x="159159" y="474291"/>
                  </a:lnTo>
                  <a:cubicBezTo>
                    <a:pt x="165757" y="476535"/>
                    <a:pt x="170777" y="481973"/>
                    <a:pt x="172470" y="488743"/>
                  </a:cubicBezTo>
                  <a:cubicBezTo>
                    <a:pt x="172812" y="494181"/>
                    <a:pt x="170815" y="499525"/>
                    <a:pt x="166955" y="503385"/>
                  </a:cubicBezTo>
                  <a:cubicBezTo>
                    <a:pt x="164673" y="506237"/>
                    <a:pt x="163722" y="507568"/>
                    <a:pt x="163913" y="508899"/>
                  </a:cubicBezTo>
                  <a:cubicBezTo>
                    <a:pt x="164103" y="510230"/>
                    <a:pt x="165624" y="511181"/>
                    <a:pt x="167335" y="512512"/>
                  </a:cubicBezTo>
                  <a:cubicBezTo>
                    <a:pt x="170891" y="514680"/>
                    <a:pt x="173629" y="517950"/>
                    <a:pt x="175132" y="521830"/>
                  </a:cubicBezTo>
                  <a:cubicBezTo>
                    <a:pt x="176824" y="526945"/>
                    <a:pt x="176273" y="532554"/>
                    <a:pt x="173610" y="537232"/>
                  </a:cubicBezTo>
                  <a:lnTo>
                    <a:pt x="173610" y="538753"/>
                  </a:lnTo>
                  <a:cubicBezTo>
                    <a:pt x="172641" y="540427"/>
                    <a:pt x="171880" y="542214"/>
                    <a:pt x="171329" y="544078"/>
                  </a:cubicBezTo>
                  <a:cubicBezTo>
                    <a:pt x="171329" y="546930"/>
                    <a:pt x="171329" y="546930"/>
                    <a:pt x="173040" y="548641"/>
                  </a:cubicBezTo>
                  <a:lnTo>
                    <a:pt x="174941" y="550162"/>
                  </a:lnTo>
                  <a:cubicBezTo>
                    <a:pt x="176881" y="551874"/>
                    <a:pt x="178497" y="553947"/>
                    <a:pt x="179695" y="556248"/>
                  </a:cubicBezTo>
                  <a:cubicBezTo>
                    <a:pt x="181844" y="561477"/>
                    <a:pt x="181844" y="567371"/>
                    <a:pt x="179695" y="572601"/>
                  </a:cubicBezTo>
                  <a:cubicBezTo>
                    <a:pt x="179543" y="573228"/>
                    <a:pt x="179543" y="573875"/>
                    <a:pt x="179695" y="574502"/>
                  </a:cubicBezTo>
                  <a:lnTo>
                    <a:pt x="179695" y="577164"/>
                  </a:lnTo>
                  <a:cubicBezTo>
                    <a:pt x="178307" y="582146"/>
                    <a:pt x="178307" y="587395"/>
                    <a:pt x="179695" y="592377"/>
                  </a:cubicBezTo>
                  <a:cubicBezTo>
                    <a:pt x="180513" y="594278"/>
                    <a:pt x="181825" y="595914"/>
                    <a:pt x="183498" y="597131"/>
                  </a:cubicBezTo>
                  <a:cubicBezTo>
                    <a:pt x="186256" y="599317"/>
                    <a:pt x="188461" y="602113"/>
                    <a:pt x="189964" y="605307"/>
                  </a:cubicBezTo>
                  <a:cubicBezTo>
                    <a:pt x="191941" y="610726"/>
                    <a:pt x="192645" y="616507"/>
                    <a:pt x="192055" y="622231"/>
                  </a:cubicBezTo>
                  <a:cubicBezTo>
                    <a:pt x="191637" y="625939"/>
                    <a:pt x="192036" y="629704"/>
                    <a:pt x="193196" y="633260"/>
                  </a:cubicBezTo>
                  <a:lnTo>
                    <a:pt x="193196" y="633260"/>
                  </a:lnTo>
                  <a:cubicBezTo>
                    <a:pt x="194337" y="635580"/>
                    <a:pt x="196410" y="637310"/>
                    <a:pt x="198901" y="638014"/>
                  </a:cubicBezTo>
                  <a:cubicBezTo>
                    <a:pt x="200422" y="638641"/>
                    <a:pt x="202019" y="639097"/>
                    <a:pt x="203655" y="639345"/>
                  </a:cubicBezTo>
                  <a:cubicBezTo>
                    <a:pt x="205119" y="639459"/>
                    <a:pt x="206564" y="639135"/>
                    <a:pt x="207838" y="638394"/>
                  </a:cubicBezTo>
                  <a:cubicBezTo>
                    <a:pt x="211774" y="633621"/>
                    <a:pt x="213429" y="627384"/>
                    <a:pt x="212402" y="621280"/>
                  </a:cubicBezTo>
                  <a:lnTo>
                    <a:pt x="212402" y="616907"/>
                  </a:lnTo>
                  <a:cubicBezTo>
                    <a:pt x="210709" y="609243"/>
                    <a:pt x="212002" y="601219"/>
                    <a:pt x="216015" y="594468"/>
                  </a:cubicBezTo>
                  <a:cubicBezTo>
                    <a:pt x="218848" y="589163"/>
                    <a:pt x="223735" y="585246"/>
                    <a:pt x="229516" y="583630"/>
                  </a:cubicBezTo>
                  <a:lnTo>
                    <a:pt x="233889" y="581728"/>
                  </a:lnTo>
                  <a:cubicBezTo>
                    <a:pt x="249102" y="574692"/>
                    <a:pt x="252905" y="567467"/>
                    <a:pt x="252905" y="549402"/>
                  </a:cubicBezTo>
                  <a:cubicBezTo>
                    <a:pt x="252905" y="534190"/>
                    <a:pt x="257849" y="498821"/>
                    <a:pt x="276294" y="497110"/>
                  </a:cubicBezTo>
                  <a:cubicBezTo>
                    <a:pt x="281352" y="497167"/>
                    <a:pt x="286219" y="499068"/>
                    <a:pt x="289985" y="502434"/>
                  </a:cubicBezTo>
                  <a:cubicBezTo>
                    <a:pt x="295955" y="506789"/>
                    <a:pt x="303562" y="508253"/>
                    <a:pt x="310711" y="506427"/>
                  </a:cubicBezTo>
                  <a:cubicBezTo>
                    <a:pt x="324212" y="502814"/>
                    <a:pt x="334861" y="484940"/>
                    <a:pt x="341897" y="473150"/>
                  </a:cubicBezTo>
                  <a:cubicBezTo>
                    <a:pt x="344426" y="468054"/>
                    <a:pt x="345928" y="462483"/>
                    <a:pt x="346270" y="456797"/>
                  </a:cubicBezTo>
                  <a:cubicBezTo>
                    <a:pt x="346156" y="446281"/>
                    <a:pt x="351024" y="436355"/>
                    <a:pt x="359391" y="429985"/>
                  </a:cubicBezTo>
                  <a:cubicBezTo>
                    <a:pt x="375877" y="419052"/>
                    <a:pt x="397593" y="420211"/>
                    <a:pt x="412824" y="432838"/>
                  </a:cubicBezTo>
                  <a:cubicBezTo>
                    <a:pt x="415296" y="434359"/>
                    <a:pt x="417388" y="436260"/>
                    <a:pt x="419670" y="437972"/>
                  </a:cubicBezTo>
                  <a:cubicBezTo>
                    <a:pt x="424347" y="442288"/>
                    <a:pt x="430033" y="445369"/>
                    <a:pt x="436213" y="446909"/>
                  </a:cubicBezTo>
                  <a:cubicBezTo>
                    <a:pt x="438932" y="447289"/>
                    <a:pt x="441670" y="447289"/>
                    <a:pt x="444389" y="446909"/>
                  </a:cubicBezTo>
                  <a:cubicBezTo>
                    <a:pt x="451501" y="445920"/>
                    <a:pt x="458632" y="448563"/>
                    <a:pt x="463405" y="453945"/>
                  </a:cubicBezTo>
                  <a:cubicBezTo>
                    <a:pt x="465287" y="455865"/>
                    <a:pt x="467075" y="457900"/>
                    <a:pt x="468729" y="460030"/>
                  </a:cubicBezTo>
                  <a:cubicBezTo>
                    <a:pt x="471486" y="464346"/>
                    <a:pt x="475651" y="467579"/>
                    <a:pt x="480519" y="469157"/>
                  </a:cubicBezTo>
                  <a:lnTo>
                    <a:pt x="484702" y="470298"/>
                  </a:lnTo>
                  <a:cubicBezTo>
                    <a:pt x="486413" y="465069"/>
                    <a:pt x="489418" y="460353"/>
                    <a:pt x="493449" y="456607"/>
                  </a:cubicBezTo>
                  <a:cubicBezTo>
                    <a:pt x="495541" y="454724"/>
                    <a:pt x="497918" y="453184"/>
                    <a:pt x="500485" y="452043"/>
                  </a:cubicBezTo>
                  <a:lnTo>
                    <a:pt x="502957" y="450902"/>
                  </a:lnTo>
                  <a:cubicBezTo>
                    <a:pt x="503832" y="450427"/>
                    <a:pt x="504611" y="449780"/>
                    <a:pt x="505239" y="449001"/>
                  </a:cubicBezTo>
                  <a:cubicBezTo>
                    <a:pt x="506950" y="447099"/>
                    <a:pt x="506950" y="445198"/>
                    <a:pt x="506950" y="441585"/>
                  </a:cubicBezTo>
                  <a:lnTo>
                    <a:pt x="506950" y="440444"/>
                  </a:lnTo>
                  <a:cubicBezTo>
                    <a:pt x="506703" y="438162"/>
                    <a:pt x="506703" y="435880"/>
                    <a:pt x="506950" y="433598"/>
                  </a:cubicBezTo>
                  <a:cubicBezTo>
                    <a:pt x="508452" y="428559"/>
                    <a:pt x="511133" y="423919"/>
                    <a:pt x="514746" y="420097"/>
                  </a:cubicBezTo>
                  <a:cubicBezTo>
                    <a:pt x="518740" y="415534"/>
                    <a:pt x="520261" y="413252"/>
                    <a:pt x="519500" y="410209"/>
                  </a:cubicBezTo>
                  <a:cubicBezTo>
                    <a:pt x="518169" y="406711"/>
                    <a:pt x="516020" y="403573"/>
                    <a:pt x="513225" y="401082"/>
                  </a:cubicBezTo>
                  <a:cubicBezTo>
                    <a:pt x="507635" y="396233"/>
                    <a:pt x="504098" y="389425"/>
                    <a:pt x="503337" y="382067"/>
                  </a:cubicBezTo>
                  <a:cubicBezTo>
                    <a:pt x="501816" y="363051"/>
                    <a:pt x="523874" y="349170"/>
                    <a:pt x="541368" y="338711"/>
                  </a:cubicBezTo>
                  <a:cubicBezTo>
                    <a:pt x="547301" y="335346"/>
                    <a:pt x="553024" y="331600"/>
                    <a:pt x="558482" y="327492"/>
                  </a:cubicBezTo>
                  <a:cubicBezTo>
                    <a:pt x="567913" y="321217"/>
                    <a:pt x="574683" y="311653"/>
                    <a:pt x="577497" y="300681"/>
                  </a:cubicBezTo>
                  <a:cubicBezTo>
                    <a:pt x="577497" y="291743"/>
                    <a:pt x="571793" y="287750"/>
                    <a:pt x="561524" y="281665"/>
                  </a:cubicBezTo>
                  <a:lnTo>
                    <a:pt x="551826" y="279574"/>
                  </a:lnTo>
                  <a:cubicBezTo>
                    <a:pt x="540626" y="274249"/>
                    <a:pt x="530491" y="266909"/>
                    <a:pt x="521972" y="257896"/>
                  </a:cubicBezTo>
                  <a:cubicBezTo>
                    <a:pt x="517466" y="253523"/>
                    <a:pt x="515697" y="247019"/>
                    <a:pt x="517409" y="240972"/>
                  </a:cubicBezTo>
                  <a:lnTo>
                    <a:pt x="516268" y="240972"/>
                  </a:lnTo>
                  <a:cubicBezTo>
                    <a:pt x="505809" y="236409"/>
                    <a:pt x="502957" y="235078"/>
                    <a:pt x="492879" y="240972"/>
                  </a:cubicBezTo>
                  <a:cubicBezTo>
                    <a:pt x="490521" y="242284"/>
                    <a:pt x="488220" y="243749"/>
                    <a:pt x="486033" y="245346"/>
                  </a:cubicBezTo>
                  <a:cubicBezTo>
                    <a:pt x="477476" y="251051"/>
                    <a:pt x="464926" y="259607"/>
                    <a:pt x="453137" y="247248"/>
                  </a:cubicBezTo>
                  <a:cubicBezTo>
                    <a:pt x="450760" y="244833"/>
                    <a:pt x="448649" y="242151"/>
                    <a:pt x="446862" y="239261"/>
                  </a:cubicBezTo>
                  <a:cubicBezTo>
                    <a:pt x="443058" y="233556"/>
                    <a:pt x="441918" y="231845"/>
                    <a:pt x="434882" y="233746"/>
                  </a:cubicBezTo>
                  <a:lnTo>
                    <a:pt x="429177" y="235078"/>
                  </a:lnTo>
                  <a:cubicBezTo>
                    <a:pt x="418567" y="239698"/>
                    <a:pt x="406511" y="239698"/>
                    <a:pt x="395900" y="235078"/>
                  </a:cubicBezTo>
                  <a:cubicBezTo>
                    <a:pt x="386259" y="230039"/>
                    <a:pt x="375173" y="228479"/>
                    <a:pt x="364525" y="230704"/>
                  </a:cubicBezTo>
                  <a:cubicBezTo>
                    <a:pt x="354428" y="233975"/>
                    <a:pt x="346061" y="241162"/>
                    <a:pt x="341326" y="250670"/>
                  </a:cubicBezTo>
                  <a:lnTo>
                    <a:pt x="340185" y="252572"/>
                  </a:lnTo>
                  <a:cubicBezTo>
                    <a:pt x="336002" y="259417"/>
                    <a:pt x="329156" y="271587"/>
                    <a:pt x="319649" y="272918"/>
                  </a:cubicBezTo>
                  <a:lnTo>
                    <a:pt x="316986" y="272918"/>
                  </a:lnTo>
                  <a:cubicBezTo>
                    <a:pt x="313963" y="272937"/>
                    <a:pt x="311016" y="271930"/>
                    <a:pt x="308620" y="270066"/>
                  </a:cubicBezTo>
                  <a:cubicBezTo>
                    <a:pt x="301774" y="264932"/>
                    <a:pt x="303486" y="255994"/>
                    <a:pt x="305007" y="248578"/>
                  </a:cubicBezTo>
                  <a:cubicBezTo>
                    <a:pt x="305615" y="245441"/>
                    <a:pt x="305615" y="242208"/>
                    <a:pt x="305007" y="239071"/>
                  </a:cubicBezTo>
                  <a:cubicBezTo>
                    <a:pt x="304246" y="237626"/>
                    <a:pt x="303219" y="236333"/>
                    <a:pt x="301964" y="235268"/>
                  </a:cubicBezTo>
                  <a:cubicBezTo>
                    <a:pt x="299093" y="232796"/>
                    <a:pt x="296982" y="229563"/>
                    <a:pt x="295879" y="225950"/>
                  </a:cubicBezTo>
                  <a:cubicBezTo>
                    <a:pt x="295252" y="221596"/>
                    <a:pt x="295708" y="217146"/>
                    <a:pt x="297210" y="213020"/>
                  </a:cubicBezTo>
                  <a:cubicBezTo>
                    <a:pt x="297210" y="211499"/>
                    <a:pt x="297210" y="209787"/>
                    <a:pt x="298351" y="208456"/>
                  </a:cubicBezTo>
                  <a:cubicBezTo>
                    <a:pt x="301869" y="202846"/>
                    <a:pt x="300177" y="195450"/>
                    <a:pt x="294567" y="191932"/>
                  </a:cubicBezTo>
                  <a:cubicBezTo>
                    <a:pt x="293959" y="191551"/>
                    <a:pt x="293312" y="191228"/>
                    <a:pt x="292647" y="190962"/>
                  </a:cubicBezTo>
                  <a:cubicBezTo>
                    <a:pt x="289414" y="189707"/>
                    <a:pt x="286638" y="187520"/>
                    <a:pt x="284660" y="184687"/>
                  </a:cubicBezTo>
                  <a:cubicBezTo>
                    <a:pt x="278005" y="174038"/>
                    <a:pt x="284660" y="163009"/>
                    <a:pt x="290555" y="155593"/>
                  </a:cubicBezTo>
                  <a:cubicBezTo>
                    <a:pt x="293331" y="151619"/>
                    <a:pt x="295518" y="147265"/>
                    <a:pt x="297020" y="142663"/>
                  </a:cubicBezTo>
                  <a:cubicBezTo>
                    <a:pt x="299131" y="134410"/>
                    <a:pt x="303961" y="127108"/>
                    <a:pt x="310711" y="121936"/>
                  </a:cubicBezTo>
                  <a:cubicBezTo>
                    <a:pt x="314324" y="119654"/>
                    <a:pt x="318318" y="118057"/>
                    <a:pt x="322501" y="117182"/>
                  </a:cubicBezTo>
                  <a:cubicBezTo>
                    <a:pt x="327255" y="115851"/>
                    <a:pt x="328586" y="115661"/>
                    <a:pt x="330297" y="108435"/>
                  </a:cubicBezTo>
                  <a:cubicBezTo>
                    <a:pt x="332579" y="100753"/>
                    <a:pt x="335831" y="93413"/>
                    <a:pt x="339995" y="86568"/>
                  </a:cubicBezTo>
                  <a:cubicBezTo>
                    <a:pt x="342619" y="82384"/>
                    <a:pt x="344901" y="77992"/>
                    <a:pt x="346841" y="73447"/>
                  </a:cubicBezTo>
                  <a:cubicBezTo>
                    <a:pt x="347981" y="70594"/>
                    <a:pt x="348932" y="67932"/>
                    <a:pt x="349883" y="65270"/>
                  </a:cubicBezTo>
                  <a:cubicBezTo>
                    <a:pt x="350967" y="61695"/>
                    <a:pt x="352298" y="58197"/>
                    <a:pt x="353876" y="54812"/>
                  </a:cubicBezTo>
                  <a:cubicBezTo>
                    <a:pt x="346289" y="50933"/>
                    <a:pt x="340699" y="44030"/>
                    <a:pt x="338474" y="35796"/>
                  </a:cubicBezTo>
                  <a:cubicBezTo>
                    <a:pt x="338189" y="32944"/>
                    <a:pt x="338189" y="30092"/>
                    <a:pt x="338474" y="27239"/>
                  </a:cubicBezTo>
                  <a:cubicBezTo>
                    <a:pt x="339177" y="24768"/>
                    <a:pt x="339425" y="22200"/>
                    <a:pt x="339234" y="1963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grpSp>
          <p:nvGrpSpPr>
            <p:cNvPr id="333" name="Группа 332">
              <a:extLst>
                <a:ext uri="{FF2B5EF4-FFF2-40B4-BE49-F238E27FC236}">
                  <a16:creationId xmlns:a16="http://schemas.microsoft.com/office/drawing/2014/main" id="{F00C0FBE-CB18-8D9D-160B-EDEFFAA3CB40}"/>
                </a:ext>
              </a:extLst>
            </p:cNvPr>
            <p:cNvGrpSpPr/>
            <p:nvPr/>
          </p:nvGrpSpPr>
          <p:grpSpPr>
            <a:xfrm>
              <a:off x="5231908" y="2831146"/>
              <a:ext cx="1874776" cy="2128422"/>
              <a:chOff x="3272060" y="3027800"/>
              <a:chExt cx="2062526" cy="2334733"/>
            </a:xfrm>
            <a:grpFill/>
          </p:grpSpPr>
          <p:sp>
            <p:nvSpPr>
              <p:cNvPr id="430" name="Полилиния: фигура 429">
                <a:extLst>
                  <a:ext uri="{FF2B5EF4-FFF2-40B4-BE49-F238E27FC236}">
                    <a16:creationId xmlns:a16="http://schemas.microsoft.com/office/drawing/2014/main" id="{50319774-01C1-51FC-0863-BD2930BD2E77}"/>
                  </a:ext>
                </a:extLst>
              </p:cNvPr>
              <p:cNvSpPr/>
              <p:nvPr/>
            </p:nvSpPr>
            <p:spPr>
              <a:xfrm>
                <a:off x="3272060" y="4866165"/>
                <a:ext cx="399485" cy="496368"/>
              </a:xfrm>
              <a:custGeom>
                <a:avLst/>
                <a:gdLst>
                  <a:gd name="connsiteX0" fmla="*/ 398573 w 399485"/>
                  <a:gd name="connsiteY0" fmla="*/ 298228 h 496368"/>
                  <a:gd name="connsiteX1" fmla="*/ 380508 w 399485"/>
                  <a:gd name="connsiteY1" fmla="*/ 288911 h 496368"/>
                  <a:gd name="connsiteX2" fmla="*/ 359401 w 399485"/>
                  <a:gd name="connsiteY2" fmla="*/ 281115 h 496368"/>
                  <a:gd name="connsiteX3" fmla="*/ 342667 w 399485"/>
                  <a:gd name="connsiteY3" fmla="*/ 270086 h 496368"/>
                  <a:gd name="connsiteX4" fmla="*/ 328025 w 399485"/>
                  <a:gd name="connsiteY4" fmla="*/ 249549 h 496368"/>
                  <a:gd name="connsiteX5" fmla="*/ 341907 w 399485"/>
                  <a:gd name="connsiteY5" fmla="*/ 225209 h 496368"/>
                  <a:gd name="connsiteX6" fmla="*/ 352175 w 399485"/>
                  <a:gd name="connsiteY6" fmla="*/ 211138 h 496368"/>
                  <a:gd name="connsiteX7" fmla="*/ 353886 w 399485"/>
                  <a:gd name="connsiteY7" fmla="*/ 203341 h 496368"/>
                  <a:gd name="connsiteX8" fmla="*/ 363014 w 399485"/>
                  <a:gd name="connsiteY8" fmla="*/ 184326 h 496368"/>
                  <a:gd name="connsiteX9" fmla="*/ 377275 w 399485"/>
                  <a:gd name="connsiteY9" fmla="*/ 178241 h 496368"/>
                  <a:gd name="connsiteX10" fmla="*/ 385832 w 399485"/>
                  <a:gd name="connsiteY10" fmla="*/ 175199 h 496368"/>
                  <a:gd name="connsiteX11" fmla="*/ 398382 w 399485"/>
                  <a:gd name="connsiteY11" fmla="*/ 132794 h 496368"/>
                  <a:gd name="connsiteX12" fmla="*/ 395150 w 399485"/>
                  <a:gd name="connsiteY12" fmla="*/ 118153 h 496368"/>
                  <a:gd name="connsiteX13" fmla="*/ 390966 w 399485"/>
                  <a:gd name="connsiteY13" fmla="*/ 99137 h 496368"/>
                  <a:gd name="connsiteX14" fmla="*/ 390966 w 399485"/>
                  <a:gd name="connsiteY14" fmla="*/ 89629 h 496368"/>
                  <a:gd name="connsiteX15" fmla="*/ 375184 w 399485"/>
                  <a:gd name="connsiteY15" fmla="*/ 70614 h 496368"/>
                  <a:gd name="connsiteX16" fmla="*/ 374043 w 399485"/>
                  <a:gd name="connsiteY16" fmla="*/ 67952 h 496368"/>
                  <a:gd name="connsiteX17" fmla="*/ 350083 w 399485"/>
                  <a:gd name="connsiteY17" fmla="*/ 57493 h 496368"/>
                  <a:gd name="connsiteX18" fmla="*/ 313193 w 399485"/>
                  <a:gd name="connsiteY18" fmla="*/ 50458 h 496368"/>
                  <a:gd name="connsiteX19" fmla="*/ 294178 w 399485"/>
                  <a:gd name="connsiteY19" fmla="*/ 42471 h 496368"/>
                  <a:gd name="connsiteX20" fmla="*/ 272120 w 399485"/>
                  <a:gd name="connsiteY20" fmla="*/ 32203 h 496368"/>
                  <a:gd name="connsiteX21" fmla="*/ 257288 w 399485"/>
                  <a:gd name="connsiteY21" fmla="*/ 17371 h 496368"/>
                  <a:gd name="connsiteX22" fmla="*/ 228575 w 399485"/>
                  <a:gd name="connsiteY22" fmla="*/ 257 h 496368"/>
                  <a:gd name="connsiteX23" fmla="*/ 213933 w 399485"/>
                  <a:gd name="connsiteY23" fmla="*/ 4631 h 496368"/>
                  <a:gd name="connsiteX24" fmla="*/ 222680 w 399485"/>
                  <a:gd name="connsiteY24" fmla="*/ 13568 h 496368"/>
                  <a:gd name="connsiteX25" fmla="*/ 214694 w 399485"/>
                  <a:gd name="connsiteY25" fmla="*/ 36577 h 496368"/>
                  <a:gd name="connsiteX26" fmla="*/ 212602 w 399485"/>
                  <a:gd name="connsiteY26" fmla="*/ 39429 h 496368"/>
                  <a:gd name="connsiteX27" fmla="*/ 208228 w 399485"/>
                  <a:gd name="connsiteY27" fmla="*/ 52550 h 496368"/>
                  <a:gd name="connsiteX28" fmla="*/ 208228 w 399485"/>
                  <a:gd name="connsiteY28" fmla="*/ 54831 h 496368"/>
                  <a:gd name="connsiteX29" fmla="*/ 208228 w 399485"/>
                  <a:gd name="connsiteY29" fmla="*/ 60346 h 496368"/>
                  <a:gd name="connsiteX30" fmla="*/ 207278 w 399485"/>
                  <a:gd name="connsiteY30" fmla="*/ 66431 h 496368"/>
                  <a:gd name="connsiteX31" fmla="*/ 208989 w 399485"/>
                  <a:gd name="connsiteY31" fmla="*/ 72706 h 496368"/>
                  <a:gd name="connsiteX32" fmla="*/ 211461 w 399485"/>
                  <a:gd name="connsiteY32" fmla="*/ 78600 h 496368"/>
                  <a:gd name="connsiteX33" fmla="*/ 211461 w 399485"/>
                  <a:gd name="connsiteY33" fmla="*/ 94003 h 496368"/>
                  <a:gd name="connsiteX34" fmla="*/ 195488 w 399485"/>
                  <a:gd name="connsiteY34" fmla="*/ 100658 h 496368"/>
                  <a:gd name="connsiteX35" fmla="*/ 188643 w 399485"/>
                  <a:gd name="connsiteY35" fmla="*/ 100658 h 496368"/>
                  <a:gd name="connsiteX36" fmla="*/ 180846 w 399485"/>
                  <a:gd name="connsiteY36" fmla="*/ 102370 h 496368"/>
                  <a:gd name="connsiteX37" fmla="*/ 157838 w 399485"/>
                  <a:gd name="connsiteY37" fmla="*/ 104842 h 496368"/>
                  <a:gd name="connsiteX38" fmla="*/ 155366 w 399485"/>
                  <a:gd name="connsiteY38" fmla="*/ 104842 h 496368"/>
                  <a:gd name="connsiteX39" fmla="*/ 129315 w 399485"/>
                  <a:gd name="connsiteY39" fmla="*/ 104842 h 496368"/>
                  <a:gd name="connsiteX40" fmla="*/ 100792 w 399485"/>
                  <a:gd name="connsiteY40" fmla="*/ 88679 h 496368"/>
                  <a:gd name="connsiteX41" fmla="*/ 94517 w 399485"/>
                  <a:gd name="connsiteY41" fmla="*/ 76129 h 496368"/>
                  <a:gd name="connsiteX42" fmla="*/ 88051 w 399485"/>
                  <a:gd name="connsiteY42" fmla="*/ 71565 h 496368"/>
                  <a:gd name="connsiteX43" fmla="*/ 81206 w 399485"/>
                  <a:gd name="connsiteY43" fmla="*/ 66811 h 496368"/>
                  <a:gd name="connsiteX44" fmla="*/ 74931 w 399485"/>
                  <a:gd name="connsiteY44" fmla="*/ 60156 h 496368"/>
                  <a:gd name="connsiteX45" fmla="*/ 63331 w 399485"/>
                  <a:gd name="connsiteY45" fmla="*/ 52359 h 496368"/>
                  <a:gd name="connsiteX46" fmla="*/ 32146 w 399485"/>
                  <a:gd name="connsiteY46" fmla="*/ 77270 h 496368"/>
                  <a:gd name="connsiteX47" fmla="*/ 25681 w 399485"/>
                  <a:gd name="connsiteY47" fmla="*/ 93242 h 496368"/>
                  <a:gd name="connsiteX48" fmla="*/ 30625 w 399485"/>
                  <a:gd name="connsiteY48" fmla="*/ 102560 h 496368"/>
                  <a:gd name="connsiteX49" fmla="*/ 43745 w 399485"/>
                  <a:gd name="connsiteY49" fmla="*/ 135647 h 496368"/>
                  <a:gd name="connsiteX50" fmla="*/ 48119 w 399485"/>
                  <a:gd name="connsiteY50" fmla="*/ 154662 h 496368"/>
                  <a:gd name="connsiteX51" fmla="*/ 58958 w 399485"/>
                  <a:gd name="connsiteY51" fmla="*/ 158085 h 496368"/>
                  <a:gd name="connsiteX52" fmla="*/ 65043 w 399485"/>
                  <a:gd name="connsiteY52" fmla="*/ 158085 h 496368"/>
                  <a:gd name="connsiteX53" fmla="*/ 91854 w 399485"/>
                  <a:gd name="connsiteY53" fmla="*/ 165881 h 496368"/>
                  <a:gd name="connsiteX54" fmla="*/ 93756 w 399485"/>
                  <a:gd name="connsiteY54" fmla="*/ 166832 h 496368"/>
                  <a:gd name="connsiteX55" fmla="*/ 109539 w 399485"/>
                  <a:gd name="connsiteY55" fmla="*/ 172156 h 496368"/>
                  <a:gd name="connsiteX56" fmla="*/ 128554 w 399485"/>
                  <a:gd name="connsiteY56" fmla="*/ 174248 h 496368"/>
                  <a:gd name="connsiteX57" fmla="*/ 136350 w 399485"/>
                  <a:gd name="connsiteY57" fmla="*/ 175389 h 496368"/>
                  <a:gd name="connsiteX58" fmla="*/ 153464 w 399485"/>
                  <a:gd name="connsiteY58" fmla="*/ 169874 h 496368"/>
                  <a:gd name="connsiteX59" fmla="*/ 176853 w 399485"/>
                  <a:gd name="connsiteY59" fmla="*/ 162458 h 496368"/>
                  <a:gd name="connsiteX60" fmla="*/ 197390 w 399485"/>
                  <a:gd name="connsiteY60" fmla="*/ 176530 h 496368"/>
                  <a:gd name="connsiteX61" fmla="*/ 188643 w 399485"/>
                  <a:gd name="connsiteY61" fmla="*/ 204292 h 496368"/>
                  <a:gd name="connsiteX62" fmla="*/ 177234 w 399485"/>
                  <a:gd name="connsiteY62" fmla="*/ 213420 h 496368"/>
                  <a:gd name="connsiteX63" fmla="*/ 163352 w 399485"/>
                  <a:gd name="connsiteY63" fmla="*/ 232435 h 496368"/>
                  <a:gd name="connsiteX64" fmla="*/ 163352 w 399485"/>
                  <a:gd name="connsiteY64" fmla="*/ 234907 h 496368"/>
                  <a:gd name="connsiteX65" fmla="*/ 150041 w 399485"/>
                  <a:gd name="connsiteY65" fmla="*/ 252021 h 496368"/>
                  <a:gd name="connsiteX66" fmla="*/ 133688 w 399485"/>
                  <a:gd name="connsiteY66" fmla="*/ 246316 h 496368"/>
                  <a:gd name="connsiteX67" fmla="*/ 127603 w 399485"/>
                  <a:gd name="connsiteY67" fmla="*/ 242703 h 496368"/>
                  <a:gd name="connsiteX68" fmla="*/ 117525 w 399485"/>
                  <a:gd name="connsiteY68" fmla="*/ 248028 h 496368"/>
                  <a:gd name="connsiteX69" fmla="*/ 106496 w 399485"/>
                  <a:gd name="connsiteY69" fmla="*/ 255444 h 496368"/>
                  <a:gd name="connsiteX70" fmla="*/ 87481 w 399485"/>
                  <a:gd name="connsiteY70" fmla="*/ 257916 h 496368"/>
                  <a:gd name="connsiteX71" fmla="*/ 61810 w 399485"/>
                  <a:gd name="connsiteY71" fmla="*/ 298989 h 496368"/>
                  <a:gd name="connsiteX72" fmla="*/ 56486 w 399485"/>
                  <a:gd name="connsiteY72" fmla="*/ 311729 h 496368"/>
                  <a:gd name="connsiteX73" fmla="*/ 51161 w 399485"/>
                  <a:gd name="connsiteY73" fmla="*/ 326941 h 496368"/>
                  <a:gd name="connsiteX74" fmla="*/ 34428 w 399485"/>
                  <a:gd name="connsiteY74" fmla="*/ 357556 h 496368"/>
                  <a:gd name="connsiteX75" fmla="*/ 29674 w 399485"/>
                  <a:gd name="connsiteY75" fmla="*/ 360979 h 496368"/>
                  <a:gd name="connsiteX76" fmla="*/ 19406 w 399485"/>
                  <a:gd name="connsiteY76" fmla="*/ 372008 h 496368"/>
                  <a:gd name="connsiteX77" fmla="*/ 13511 w 399485"/>
                  <a:gd name="connsiteY77" fmla="*/ 382086 h 496368"/>
                  <a:gd name="connsiteX78" fmla="*/ 5905 w 399485"/>
                  <a:gd name="connsiteY78" fmla="*/ 395207 h 496368"/>
                  <a:gd name="connsiteX79" fmla="*/ 10 w 399485"/>
                  <a:gd name="connsiteY79" fmla="*/ 425251 h 496368"/>
                  <a:gd name="connsiteX80" fmla="*/ 2672 w 399485"/>
                  <a:gd name="connsiteY80" fmla="*/ 425251 h 496368"/>
                  <a:gd name="connsiteX81" fmla="*/ 21688 w 399485"/>
                  <a:gd name="connsiteY81" fmla="*/ 425251 h 496368"/>
                  <a:gd name="connsiteX82" fmla="*/ 51161 w 399485"/>
                  <a:gd name="connsiteY82" fmla="*/ 428864 h 496368"/>
                  <a:gd name="connsiteX83" fmla="*/ 61810 w 399485"/>
                  <a:gd name="connsiteY83" fmla="*/ 433047 h 496368"/>
                  <a:gd name="connsiteX84" fmla="*/ 80825 w 399485"/>
                  <a:gd name="connsiteY84" fmla="*/ 442745 h 496368"/>
                  <a:gd name="connsiteX85" fmla="*/ 88622 w 399485"/>
                  <a:gd name="connsiteY85" fmla="*/ 461761 h 496368"/>
                  <a:gd name="connsiteX86" fmla="*/ 80065 w 399485"/>
                  <a:gd name="connsiteY86" fmla="*/ 478114 h 496368"/>
                  <a:gd name="connsiteX87" fmla="*/ 69036 w 399485"/>
                  <a:gd name="connsiteY87" fmla="*/ 483058 h 496368"/>
                  <a:gd name="connsiteX88" fmla="*/ 60289 w 399485"/>
                  <a:gd name="connsiteY88" fmla="*/ 488192 h 496368"/>
                  <a:gd name="connsiteX89" fmla="*/ 60289 w 399485"/>
                  <a:gd name="connsiteY89" fmla="*/ 492756 h 496368"/>
                  <a:gd name="connsiteX90" fmla="*/ 65423 w 399485"/>
                  <a:gd name="connsiteY90" fmla="*/ 496369 h 496368"/>
                  <a:gd name="connsiteX91" fmla="*/ 67515 w 399485"/>
                  <a:gd name="connsiteY91" fmla="*/ 493136 h 496368"/>
                  <a:gd name="connsiteX92" fmla="*/ 106686 w 399485"/>
                  <a:gd name="connsiteY92" fmla="*/ 487431 h 496368"/>
                  <a:gd name="connsiteX93" fmla="*/ 130265 w 399485"/>
                  <a:gd name="connsiteY93" fmla="*/ 489143 h 496368"/>
                  <a:gd name="connsiteX94" fmla="*/ 142245 w 399485"/>
                  <a:gd name="connsiteY94" fmla="*/ 459859 h 496368"/>
                  <a:gd name="connsiteX95" fmla="*/ 152894 w 399485"/>
                  <a:gd name="connsiteY95" fmla="*/ 424490 h 496368"/>
                  <a:gd name="connsiteX96" fmla="*/ 214314 w 399485"/>
                  <a:gd name="connsiteY96" fmla="*/ 424490 h 496368"/>
                  <a:gd name="connsiteX97" fmla="*/ 223631 w 399485"/>
                  <a:gd name="connsiteY97" fmla="*/ 430005 h 496368"/>
                  <a:gd name="connsiteX98" fmla="*/ 246830 w 399485"/>
                  <a:gd name="connsiteY98" fmla="*/ 434378 h 496368"/>
                  <a:gd name="connsiteX99" fmla="*/ 248351 w 399485"/>
                  <a:gd name="connsiteY99" fmla="*/ 430005 h 496368"/>
                  <a:gd name="connsiteX100" fmla="*/ 229336 w 399485"/>
                  <a:gd name="connsiteY100" fmla="*/ 410989 h 496368"/>
                  <a:gd name="connsiteX101" fmla="*/ 205757 w 399485"/>
                  <a:gd name="connsiteY101" fmla="*/ 385509 h 496368"/>
                  <a:gd name="connsiteX102" fmla="*/ 208799 w 399485"/>
                  <a:gd name="connsiteY102" fmla="*/ 373529 h 496368"/>
                  <a:gd name="connsiteX103" fmla="*/ 225533 w 399485"/>
                  <a:gd name="connsiteY103" fmla="*/ 369156 h 496368"/>
                  <a:gd name="connsiteX104" fmla="*/ 235991 w 399485"/>
                  <a:gd name="connsiteY104" fmla="*/ 367634 h 496368"/>
                  <a:gd name="connsiteX105" fmla="*/ 225342 w 399485"/>
                  <a:gd name="connsiteY105" fmla="*/ 360409 h 496368"/>
                  <a:gd name="connsiteX106" fmla="*/ 216786 w 399485"/>
                  <a:gd name="connsiteY106" fmla="*/ 356225 h 496368"/>
                  <a:gd name="connsiteX107" fmla="*/ 207848 w 399485"/>
                  <a:gd name="connsiteY107" fmla="*/ 341013 h 496368"/>
                  <a:gd name="connsiteX108" fmla="*/ 231618 w 399485"/>
                  <a:gd name="connsiteY108" fmla="*/ 304693 h 496368"/>
                  <a:gd name="connsiteX109" fmla="*/ 269515 w 399485"/>
                  <a:gd name="connsiteY109" fmla="*/ 305891 h 496368"/>
                  <a:gd name="connsiteX110" fmla="*/ 269648 w 399485"/>
                  <a:gd name="connsiteY110" fmla="*/ 306025 h 496368"/>
                  <a:gd name="connsiteX111" fmla="*/ 271930 w 399485"/>
                  <a:gd name="connsiteY111" fmla="*/ 307736 h 496368"/>
                  <a:gd name="connsiteX112" fmla="*/ 302925 w 399485"/>
                  <a:gd name="connsiteY112" fmla="*/ 328083 h 496368"/>
                  <a:gd name="connsiteX113" fmla="*/ 307299 w 399485"/>
                  <a:gd name="connsiteY113" fmla="*/ 329984 h 496368"/>
                  <a:gd name="connsiteX114" fmla="*/ 340195 w 399485"/>
                  <a:gd name="connsiteY114" fmla="*/ 339302 h 496368"/>
                  <a:gd name="connsiteX115" fmla="*/ 375184 w 399485"/>
                  <a:gd name="connsiteY115" fmla="*/ 339302 h 496368"/>
                  <a:gd name="connsiteX116" fmla="*/ 376325 w 399485"/>
                  <a:gd name="connsiteY116" fmla="*/ 335689 h 496368"/>
                  <a:gd name="connsiteX117" fmla="*/ 388685 w 399485"/>
                  <a:gd name="connsiteY117" fmla="*/ 318385 h 496368"/>
                  <a:gd name="connsiteX118" fmla="*/ 398573 w 399485"/>
                  <a:gd name="connsiteY118" fmla="*/ 298228 h 496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399485" h="496368">
                    <a:moveTo>
                      <a:pt x="398573" y="298228"/>
                    </a:moveTo>
                    <a:cubicBezTo>
                      <a:pt x="398573" y="292714"/>
                      <a:pt x="392107" y="291002"/>
                      <a:pt x="380508" y="288911"/>
                    </a:cubicBezTo>
                    <a:cubicBezTo>
                      <a:pt x="372902" y="288207"/>
                      <a:pt x="365638" y="285526"/>
                      <a:pt x="359401" y="281115"/>
                    </a:cubicBezTo>
                    <a:cubicBezTo>
                      <a:pt x="354628" y="276342"/>
                      <a:pt x="348923" y="272595"/>
                      <a:pt x="342667" y="270086"/>
                    </a:cubicBezTo>
                    <a:cubicBezTo>
                      <a:pt x="335061" y="266473"/>
                      <a:pt x="327075" y="262860"/>
                      <a:pt x="328025" y="249549"/>
                    </a:cubicBezTo>
                    <a:cubicBezTo>
                      <a:pt x="329471" y="240003"/>
                      <a:pt x="334415" y="231313"/>
                      <a:pt x="341907" y="225209"/>
                    </a:cubicBezTo>
                    <a:cubicBezTo>
                      <a:pt x="346223" y="221235"/>
                      <a:pt x="349703" y="216462"/>
                      <a:pt x="352175" y="211138"/>
                    </a:cubicBezTo>
                    <a:cubicBezTo>
                      <a:pt x="352955" y="208590"/>
                      <a:pt x="353525" y="205985"/>
                      <a:pt x="353886" y="203341"/>
                    </a:cubicBezTo>
                    <a:cubicBezTo>
                      <a:pt x="354324" y="196059"/>
                      <a:pt x="357613" y="189232"/>
                      <a:pt x="363014" y="184326"/>
                    </a:cubicBezTo>
                    <a:cubicBezTo>
                      <a:pt x="367254" y="181246"/>
                      <a:pt x="372122" y="179173"/>
                      <a:pt x="377275" y="178241"/>
                    </a:cubicBezTo>
                    <a:cubicBezTo>
                      <a:pt x="380261" y="177633"/>
                      <a:pt x="383132" y="176606"/>
                      <a:pt x="385832" y="175199"/>
                    </a:cubicBezTo>
                    <a:cubicBezTo>
                      <a:pt x="401995" y="166071"/>
                      <a:pt x="400094" y="142492"/>
                      <a:pt x="398382" y="132794"/>
                    </a:cubicBezTo>
                    <a:cubicBezTo>
                      <a:pt x="398382" y="127850"/>
                      <a:pt x="396291" y="123096"/>
                      <a:pt x="395150" y="118153"/>
                    </a:cubicBezTo>
                    <a:cubicBezTo>
                      <a:pt x="393267" y="111935"/>
                      <a:pt x="391879" y="105564"/>
                      <a:pt x="390966" y="99137"/>
                    </a:cubicBezTo>
                    <a:cubicBezTo>
                      <a:pt x="390776" y="95962"/>
                      <a:pt x="390776" y="92805"/>
                      <a:pt x="390966" y="89629"/>
                    </a:cubicBezTo>
                    <a:cubicBezTo>
                      <a:pt x="382029" y="86967"/>
                      <a:pt x="378036" y="77460"/>
                      <a:pt x="375184" y="70614"/>
                    </a:cubicBezTo>
                    <a:lnTo>
                      <a:pt x="374043" y="67952"/>
                    </a:lnTo>
                    <a:cubicBezTo>
                      <a:pt x="369289" y="56923"/>
                      <a:pt x="363584" y="54451"/>
                      <a:pt x="350083" y="57493"/>
                    </a:cubicBezTo>
                    <a:cubicBezTo>
                      <a:pt x="337400" y="61810"/>
                      <a:pt x="323386" y="59129"/>
                      <a:pt x="313193" y="50458"/>
                    </a:cubicBezTo>
                    <a:cubicBezTo>
                      <a:pt x="307242" y="46959"/>
                      <a:pt x="300834" y="44278"/>
                      <a:pt x="294178" y="42471"/>
                    </a:cubicBezTo>
                    <a:cubicBezTo>
                      <a:pt x="286344" y="40189"/>
                      <a:pt x="278909" y="36729"/>
                      <a:pt x="272120" y="32203"/>
                    </a:cubicBezTo>
                    <a:cubicBezTo>
                      <a:pt x="266625" y="27849"/>
                      <a:pt x="261643" y="22866"/>
                      <a:pt x="257288" y="17371"/>
                    </a:cubicBezTo>
                    <a:cubicBezTo>
                      <a:pt x="248731" y="7293"/>
                      <a:pt x="241315" y="-1644"/>
                      <a:pt x="228575" y="257"/>
                    </a:cubicBezTo>
                    <a:cubicBezTo>
                      <a:pt x="223479" y="866"/>
                      <a:pt x="218535" y="2349"/>
                      <a:pt x="213933" y="4631"/>
                    </a:cubicBezTo>
                    <a:cubicBezTo>
                      <a:pt x="218003" y="6190"/>
                      <a:pt x="221197" y="9461"/>
                      <a:pt x="222680" y="13568"/>
                    </a:cubicBezTo>
                    <a:cubicBezTo>
                      <a:pt x="225342" y="21554"/>
                      <a:pt x="219448" y="29921"/>
                      <a:pt x="214694" y="36577"/>
                    </a:cubicBezTo>
                    <a:lnTo>
                      <a:pt x="212602" y="39429"/>
                    </a:lnTo>
                    <a:cubicBezTo>
                      <a:pt x="209788" y="43232"/>
                      <a:pt x="208248" y="47815"/>
                      <a:pt x="208228" y="52550"/>
                    </a:cubicBezTo>
                    <a:lnTo>
                      <a:pt x="208228" y="54831"/>
                    </a:lnTo>
                    <a:cubicBezTo>
                      <a:pt x="208228" y="56543"/>
                      <a:pt x="208228" y="58444"/>
                      <a:pt x="208228" y="60346"/>
                    </a:cubicBezTo>
                    <a:cubicBezTo>
                      <a:pt x="207753" y="62342"/>
                      <a:pt x="207430" y="64377"/>
                      <a:pt x="207278" y="66431"/>
                    </a:cubicBezTo>
                    <a:cubicBezTo>
                      <a:pt x="207278" y="68636"/>
                      <a:pt x="207867" y="70804"/>
                      <a:pt x="208989" y="72706"/>
                    </a:cubicBezTo>
                    <a:cubicBezTo>
                      <a:pt x="210111" y="74531"/>
                      <a:pt x="210948" y="76528"/>
                      <a:pt x="211461" y="78600"/>
                    </a:cubicBezTo>
                    <a:cubicBezTo>
                      <a:pt x="213629" y="83506"/>
                      <a:pt x="213629" y="89097"/>
                      <a:pt x="211461" y="94003"/>
                    </a:cubicBezTo>
                    <a:cubicBezTo>
                      <a:pt x="208228" y="98947"/>
                      <a:pt x="202144" y="99708"/>
                      <a:pt x="195488" y="100658"/>
                    </a:cubicBezTo>
                    <a:cubicBezTo>
                      <a:pt x="193206" y="100506"/>
                      <a:pt x="190925" y="100506"/>
                      <a:pt x="188643" y="100658"/>
                    </a:cubicBezTo>
                    <a:lnTo>
                      <a:pt x="180846" y="102370"/>
                    </a:lnTo>
                    <a:cubicBezTo>
                      <a:pt x="173392" y="104595"/>
                      <a:pt x="165596" y="105431"/>
                      <a:pt x="157838" y="104842"/>
                    </a:cubicBezTo>
                    <a:lnTo>
                      <a:pt x="155366" y="104842"/>
                    </a:lnTo>
                    <a:cubicBezTo>
                      <a:pt x="146790" y="102940"/>
                      <a:pt x="137891" y="102940"/>
                      <a:pt x="129315" y="104842"/>
                    </a:cubicBezTo>
                    <a:cubicBezTo>
                      <a:pt x="107827" y="109406"/>
                      <a:pt x="104024" y="97996"/>
                      <a:pt x="100792" y="88679"/>
                    </a:cubicBezTo>
                    <a:cubicBezTo>
                      <a:pt x="99499" y="84134"/>
                      <a:pt x="97369" y="79894"/>
                      <a:pt x="94517" y="76129"/>
                    </a:cubicBezTo>
                    <a:cubicBezTo>
                      <a:pt x="92653" y="74227"/>
                      <a:pt x="90466" y="72668"/>
                      <a:pt x="88051" y="71565"/>
                    </a:cubicBezTo>
                    <a:cubicBezTo>
                      <a:pt x="85655" y="70158"/>
                      <a:pt x="83374" y="68560"/>
                      <a:pt x="81206" y="66811"/>
                    </a:cubicBezTo>
                    <a:cubicBezTo>
                      <a:pt x="78962" y="64738"/>
                      <a:pt x="76870" y="62514"/>
                      <a:pt x="74931" y="60156"/>
                    </a:cubicBezTo>
                    <a:cubicBezTo>
                      <a:pt x="70747" y="55212"/>
                      <a:pt x="68085" y="52359"/>
                      <a:pt x="63331" y="52359"/>
                    </a:cubicBezTo>
                    <a:cubicBezTo>
                      <a:pt x="52873" y="52359"/>
                      <a:pt x="39752" y="65290"/>
                      <a:pt x="32146" y="77270"/>
                    </a:cubicBezTo>
                    <a:cubicBezTo>
                      <a:pt x="28609" y="81928"/>
                      <a:pt x="26384" y="87443"/>
                      <a:pt x="25681" y="93242"/>
                    </a:cubicBezTo>
                    <a:cubicBezTo>
                      <a:pt x="25681" y="97806"/>
                      <a:pt x="27202" y="99327"/>
                      <a:pt x="30625" y="102560"/>
                    </a:cubicBezTo>
                    <a:cubicBezTo>
                      <a:pt x="40209" y="110737"/>
                      <a:pt x="45115" y="123135"/>
                      <a:pt x="43745" y="135647"/>
                    </a:cubicBezTo>
                    <a:cubicBezTo>
                      <a:pt x="43783" y="142226"/>
                      <a:pt x="45267" y="148729"/>
                      <a:pt x="48119" y="154662"/>
                    </a:cubicBezTo>
                    <a:cubicBezTo>
                      <a:pt x="50591" y="158465"/>
                      <a:pt x="52683" y="158465"/>
                      <a:pt x="58958" y="158085"/>
                    </a:cubicBezTo>
                    <a:lnTo>
                      <a:pt x="65043" y="158085"/>
                    </a:lnTo>
                    <a:cubicBezTo>
                      <a:pt x="74512" y="158256"/>
                      <a:pt x="83773" y="160956"/>
                      <a:pt x="91854" y="165881"/>
                    </a:cubicBezTo>
                    <a:lnTo>
                      <a:pt x="93756" y="166832"/>
                    </a:lnTo>
                    <a:cubicBezTo>
                      <a:pt x="98491" y="169894"/>
                      <a:pt x="103910" y="171719"/>
                      <a:pt x="109539" y="172156"/>
                    </a:cubicBezTo>
                    <a:cubicBezTo>
                      <a:pt x="116384" y="172156"/>
                      <a:pt x="122089" y="173487"/>
                      <a:pt x="128554" y="174248"/>
                    </a:cubicBezTo>
                    <a:lnTo>
                      <a:pt x="136350" y="175389"/>
                    </a:lnTo>
                    <a:cubicBezTo>
                      <a:pt x="142511" y="175522"/>
                      <a:pt x="148539" y="173583"/>
                      <a:pt x="153464" y="169874"/>
                    </a:cubicBezTo>
                    <a:cubicBezTo>
                      <a:pt x="160348" y="165101"/>
                      <a:pt x="168486" y="162534"/>
                      <a:pt x="176853" y="162458"/>
                    </a:cubicBezTo>
                    <a:cubicBezTo>
                      <a:pt x="185942" y="162477"/>
                      <a:pt x="194100" y="168049"/>
                      <a:pt x="197390" y="176530"/>
                    </a:cubicBezTo>
                    <a:cubicBezTo>
                      <a:pt x="200299" y="186703"/>
                      <a:pt x="196857" y="197618"/>
                      <a:pt x="188643" y="204292"/>
                    </a:cubicBezTo>
                    <a:cubicBezTo>
                      <a:pt x="185068" y="207620"/>
                      <a:pt x="181265" y="210662"/>
                      <a:pt x="177234" y="213420"/>
                    </a:cubicBezTo>
                    <a:cubicBezTo>
                      <a:pt x="169798" y="217147"/>
                      <a:pt x="164626" y="224220"/>
                      <a:pt x="163352" y="232435"/>
                    </a:cubicBezTo>
                    <a:lnTo>
                      <a:pt x="163352" y="234907"/>
                    </a:lnTo>
                    <a:cubicBezTo>
                      <a:pt x="163409" y="243007"/>
                      <a:pt x="157914" y="250081"/>
                      <a:pt x="150041" y="252021"/>
                    </a:cubicBezTo>
                    <a:cubicBezTo>
                      <a:pt x="143995" y="252858"/>
                      <a:pt x="137910" y="250728"/>
                      <a:pt x="133688" y="246316"/>
                    </a:cubicBezTo>
                    <a:cubicBezTo>
                      <a:pt x="131977" y="244643"/>
                      <a:pt x="129885" y="243407"/>
                      <a:pt x="127603" y="242703"/>
                    </a:cubicBezTo>
                    <a:cubicBezTo>
                      <a:pt x="123800" y="242703"/>
                      <a:pt x="121518" y="244225"/>
                      <a:pt x="117525" y="248028"/>
                    </a:cubicBezTo>
                    <a:cubicBezTo>
                      <a:pt x="114407" y="251241"/>
                      <a:pt x="110642" y="253770"/>
                      <a:pt x="106496" y="255444"/>
                    </a:cubicBezTo>
                    <a:cubicBezTo>
                      <a:pt x="99270" y="258106"/>
                      <a:pt x="92805" y="255444"/>
                      <a:pt x="87481" y="257916"/>
                    </a:cubicBezTo>
                    <a:cubicBezTo>
                      <a:pt x="76072" y="263620"/>
                      <a:pt x="68465" y="283967"/>
                      <a:pt x="61810" y="298989"/>
                    </a:cubicBezTo>
                    <a:cubicBezTo>
                      <a:pt x="59909" y="303743"/>
                      <a:pt x="58197" y="308116"/>
                      <a:pt x="56486" y="311729"/>
                    </a:cubicBezTo>
                    <a:cubicBezTo>
                      <a:pt x="54318" y="316654"/>
                      <a:pt x="52531" y="321731"/>
                      <a:pt x="51161" y="326941"/>
                    </a:cubicBezTo>
                    <a:cubicBezTo>
                      <a:pt x="48918" y="338636"/>
                      <a:pt x="43061" y="349342"/>
                      <a:pt x="34428" y="357556"/>
                    </a:cubicBezTo>
                    <a:lnTo>
                      <a:pt x="29674" y="360979"/>
                    </a:lnTo>
                    <a:cubicBezTo>
                      <a:pt x="25415" y="363793"/>
                      <a:pt x="21897" y="367558"/>
                      <a:pt x="19406" y="372008"/>
                    </a:cubicBezTo>
                    <a:lnTo>
                      <a:pt x="13511" y="382086"/>
                    </a:lnTo>
                    <a:cubicBezTo>
                      <a:pt x="10735" y="386308"/>
                      <a:pt x="8187" y="390700"/>
                      <a:pt x="5905" y="395207"/>
                    </a:cubicBezTo>
                    <a:cubicBezTo>
                      <a:pt x="1855" y="404695"/>
                      <a:pt x="-161" y="414926"/>
                      <a:pt x="10" y="425251"/>
                    </a:cubicBezTo>
                    <a:lnTo>
                      <a:pt x="2672" y="425251"/>
                    </a:lnTo>
                    <a:cubicBezTo>
                      <a:pt x="8890" y="426943"/>
                      <a:pt x="15470" y="426943"/>
                      <a:pt x="21688" y="425251"/>
                    </a:cubicBezTo>
                    <a:cubicBezTo>
                      <a:pt x="31347" y="420402"/>
                      <a:pt x="42966" y="421828"/>
                      <a:pt x="51161" y="428864"/>
                    </a:cubicBezTo>
                    <a:cubicBezTo>
                      <a:pt x="54584" y="430556"/>
                      <a:pt x="58159" y="431944"/>
                      <a:pt x="61810" y="433047"/>
                    </a:cubicBezTo>
                    <a:cubicBezTo>
                      <a:pt x="68846" y="434664"/>
                      <a:pt x="75387" y="437991"/>
                      <a:pt x="80825" y="442745"/>
                    </a:cubicBezTo>
                    <a:cubicBezTo>
                      <a:pt x="85903" y="447765"/>
                      <a:pt x="88717" y="454630"/>
                      <a:pt x="88622" y="461761"/>
                    </a:cubicBezTo>
                    <a:cubicBezTo>
                      <a:pt x="88279" y="468188"/>
                      <a:pt x="85142" y="474159"/>
                      <a:pt x="80065" y="478114"/>
                    </a:cubicBezTo>
                    <a:cubicBezTo>
                      <a:pt x="76794" y="480529"/>
                      <a:pt x="73029" y="482221"/>
                      <a:pt x="69036" y="483058"/>
                    </a:cubicBezTo>
                    <a:cubicBezTo>
                      <a:pt x="63712" y="484389"/>
                      <a:pt x="61430" y="485340"/>
                      <a:pt x="60289" y="488192"/>
                    </a:cubicBezTo>
                    <a:cubicBezTo>
                      <a:pt x="59566" y="489637"/>
                      <a:pt x="59566" y="491311"/>
                      <a:pt x="60289" y="492756"/>
                    </a:cubicBezTo>
                    <a:cubicBezTo>
                      <a:pt x="61563" y="494486"/>
                      <a:pt x="63369" y="495760"/>
                      <a:pt x="65423" y="496369"/>
                    </a:cubicBezTo>
                    <a:cubicBezTo>
                      <a:pt x="66012" y="495228"/>
                      <a:pt x="66716" y="494144"/>
                      <a:pt x="67515" y="493136"/>
                    </a:cubicBezTo>
                    <a:cubicBezTo>
                      <a:pt x="77783" y="480776"/>
                      <a:pt x="93185" y="484389"/>
                      <a:pt x="106686" y="487431"/>
                    </a:cubicBezTo>
                    <a:cubicBezTo>
                      <a:pt x="114274" y="489999"/>
                      <a:pt x="122393" y="490588"/>
                      <a:pt x="130265" y="489143"/>
                    </a:cubicBezTo>
                    <a:cubicBezTo>
                      <a:pt x="140534" y="484959"/>
                      <a:pt x="141485" y="475261"/>
                      <a:pt x="142245" y="459859"/>
                    </a:cubicBezTo>
                    <a:cubicBezTo>
                      <a:pt x="141523" y="447176"/>
                      <a:pt x="145307" y="434664"/>
                      <a:pt x="152894" y="424490"/>
                    </a:cubicBezTo>
                    <a:cubicBezTo>
                      <a:pt x="175142" y="400721"/>
                      <a:pt x="196059" y="413652"/>
                      <a:pt x="214314" y="424490"/>
                    </a:cubicBezTo>
                    <a:cubicBezTo>
                      <a:pt x="217356" y="426392"/>
                      <a:pt x="220398" y="428293"/>
                      <a:pt x="223631" y="430005"/>
                    </a:cubicBezTo>
                    <a:cubicBezTo>
                      <a:pt x="230572" y="434226"/>
                      <a:pt x="238824" y="435785"/>
                      <a:pt x="246830" y="434378"/>
                    </a:cubicBezTo>
                    <a:cubicBezTo>
                      <a:pt x="246830" y="434378"/>
                      <a:pt x="248351" y="433238"/>
                      <a:pt x="248351" y="430005"/>
                    </a:cubicBezTo>
                    <a:cubicBezTo>
                      <a:pt x="248351" y="422209"/>
                      <a:pt x="241315" y="417645"/>
                      <a:pt x="229336" y="410989"/>
                    </a:cubicBezTo>
                    <a:cubicBezTo>
                      <a:pt x="217356" y="404334"/>
                      <a:pt x="207088" y="398439"/>
                      <a:pt x="205757" y="385509"/>
                    </a:cubicBezTo>
                    <a:cubicBezTo>
                      <a:pt x="204996" y="381269"/>
                      <a:pt x="206118" y="376895"/>
                      <a:pt x="208799" y="373529"/>
                    </a:cubicBezTo>
                    <a:cubicBezTo>
                      <a:pt x="213477" y="369726"/>
                      <a:pt x="219581" y="368129"/>
                      <a:pt x="225533" y="369156"/>
                    </a:cubicBezTo>
                    <a:cubicBezTo>
                      <a:pt x="229716" y="369156"/>
                      <a:pt x="234470" y="369156"/>
                      <a:pt x="235991" y="367634"/>
                    </a:cubicBezTo>
                    <a:cubicBezTo>
                      <a:pt x="237512" y="366113"/>
                      <a:pt x="228385" y="361740"/>
                      <a:pt x="225342" y="360409"/>
                    </a:cubicBezTo>
                    <a:cubicBezTo>
                      <a:pt x="222357" y="359325"/>
                      <a:pt x="219486" y="357918"/>
                      <a:pt x="216786" y="356225"/>
                    </a:cubicBezTo>
                    <a:cubicBezTo>
                      <a:pt x="211499" y="352935"/>
                      <a:pt x="208152" y="347250"/>
                      <a:pt x="207848" y="341013"/>
                    </a:cubicBezTo>
                    <a:cubicBezTo>
                      <a:pt x="207848" y="328083"/>
                      <a:pt x="219638" y="315342"/>
                      <a:pt x="231618" y="304693"/>
                    </a:cubicBezTo>
                    <a:cubicBezTo>
                      <a:pt x="242418" y="294558"/>
                      <a:pt x="259380" y="295091"/>
                      <a:pt x="269515" y="305891"/>
                    </a:cubicBezTo>
                    <a:cubicBezTo>
                      <a:pt x="269553" y="305929"/>
                      <a:pt x="269610" y="305987"/>
                      <a:pt x="269648" y="306025"/>
                    </a:cubicBezTo>
                    <a:lnTo>
                      <a:pt x="271930" y="307736"/>
                    </a:lnTo>
                    <a:cubicBezTo>
                      <a:pt x="281362" y="315798"/>
                      <a:pt x="291782" y="322625"/>
                      <a:pt x="302925" y="328083"/>
                    </a:cubicBezTo>
                    <a:lnTo>
                      <a:pt x="307299" y="329984"/>
                    </a:lnTo>
                    <a:cubicBezTo>
                      <a:pt x="317396" y="335613"/>
                      <a:pt x="328653" y="338807"/>
                      <a:pt x="340195" y="339302"/>
                    </a:cubicBezTo>
                    <a:cubicBezTo>
                      <a:pt x="351852" y="338636"/>
                      <a:pt x="363527" y="338636"/>
                      <a:pt x="375184" y="339302"/>
                    </a:cubicBezTo>
                    <a:cubicBezTo>
                      <a:pt x="375469" y="338066"/>
                      <a:pt x="375849" y="336867"/>
                      <a:pt x="376325" y="335689"/>
                    </a:cubicBezTo>
                    <a:cubicBezTo>
                      <a:pt x="379462" y="329280"/>
                      <a:pt x="383645" y="323424"/>
                      <a:pt x="388685" y="318385"/>
                    </a:cubicBezTo>
                    <a:cubicBezTo>
                      <a:pt x="393058" y="313631"/>
                      <a:pt x="399904" y="305834"/>
                      <a:pt x="398573" y="298228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431" name="Полилиния: фигура 430">
                <a:extLst>
                  <a:ext uri="{FF2B5EF4-FFF2-40B4-BE49-F238E27FC236}">
                    <a16:creationId xmlns:a16="http://schemas.microsoft.com/office/drawing/2014/main" id="{8C7EC3A4-93CF-F051-2F23-50260DE81341}"/>
                  </a:ext>
                </a:extLst>
              </p:cNvPr>
              <p:cNvSpPr/>
              <p:nvPr/>
            </p:nvSpPr>
            <p:spPr>
              <a:xfrm>
                <a:off x="3386861" y="4232259"/>
                <a:ext cx="630298" cy="735134"/>
              </a:xfrm>
              <a:custGeom>
                <a:avLst/>
                <a:gdLst>
                  <a:gd name="connsiteX0" fmla="*/ 512907 w 630298"/>
                  <a:gd name="connsiteY0" fmla="*/ 675617 h 735134"/>
                  <a:gd name="connsiteX1" fmla="*/ 515189 w 630298"/>
                  <a:gd name="connsiteY1" fmla="*/ 667250 h 735134"/>
                  <a:gd name="connsiteX2" fmla="*/ 544092 w 630298"/>
                  <a:gd name="connsiteY2" fmla="*/ 620662 h 735134"/>
                  <a:gd name="connsiteX3" fmla="*/ 579080 w 630298"/>
                  <a:gd name="connsiteY3" fmla="*/ 609824 h 735134"/>
                  <a:gd name="connsiteX4" fmla="*/ 627570 w 630298"/>
                  <a:gd name="connsiteY4" fmla="*/ 579589 h 735134"/>
                  <a:gd name="connsiteX5" fmla="*/ 629661 w 630298"/>
                  <a:gd name="connsiteY5" fmla="*/ 553348 h 735134"/>
                  <a:gd name="connsiteX6" fmla="*/ 627950 w 630298"/>
                  <a:gd name="connsiteY6" fmla="*/ 542699 h 735134"/>
                  <a:gd name="connsiteX7" fmla="*/ 622816 w 630298"/>
                  <a:gd name="connsiteY7" fmla="*/ 522733 h 735134"/>
                  <a:gd name="connsiteX8" fmla="*/ 620534 w 630298"/>
                  <a:gd name="connsiteY8" fmla="*/ 514556 h 735134"/>
                  <a:gd name="connsiteX9" fmla="*/ 616160 w 630298"/>
                  <a:gd name="connsiteY9" fmla="*/ 480899 h 735134"/>
                  <a:gd name="connsiteX10" fmla="*/ 610456 w 630298"/>
                  <a:gd name="connsiteY10" fmla="*/ 444580 h 735134"/>
                  <a:gd name="connsiteX11" fmla="*/ 580031 w 630298"/>
                  <a:gd name="connsiteY11" fmla="*/ 416437 h 735134"/>
                  <a:gd name="connsiteX12" fmla="*/ 551698 w 630298"/>
                  <a:gd name="connsiteY12" fmla="*/ 359391 h 735134"/>
                  <a:gd name="connsiteX13" fmla="*/ 552839 w 630298"/>
                  <a:gd name="connsiteY13" fmla="*/ 297021 h 735134"/>
                  <a:gd name="connsiteX14" fmla="*/ 545043 w 630298"/>
                  <a:gd name="connsiteY14" fmla="*/ 208789 h 735134"/>
                  <a:gd name="connsiteX15" fmla="*/ 548656 w 630298"/>
                  <a:gd name="connsiteY15" fmla="*/ 197380 h 735134"/>
                  <a:gd name="connsiteX16" fmla="*/ 554170 w 630298"/>
                  <a:gd name="connsiteY16" fmla="*/ 169237 h 735134"/>
                  <a:gd name="connsiteX17" fmla="*/ 540289 w 630298"/>
                  <a:gd name="connsiteY17" fmla="*/ 137481 h 735134"/>
                  <a:gd name="connsiteX18" fmla="*/ 530591 w 630298"/>
                  <a:gd name="connsiteY18" fmla="*/ 122459 h 735134"/>
                  <a:gd name="connsiteX19" fmla="*/ 495032 w 630298"/>
                  <a:gd name="connsiteY19" fmla="*/ 73590 h 735134"/>
                  <a:gd name="connsiteX20" fmla="*/ 473355 w 630298"/>
                  <a:gd name="connsiteY20" fmla="*/ 57427 h 735134"/>
                  <a:gd name="connsiteX21" fmla="*/ 462136 w 630298"/>
                  <a:gd name="connsiteY21" fmla="*/ 50201 h 735134"/>
                  <a:gd name="connsiteX22" fmla="*/ 441219 w 630298"/>
                  <a:gd name="connsiteY22" fmla="*/ 18825 h 735134"/>
                  <a:gd name="connsiteX23" fmla="*/ 440078 w 630298"/>
                  <a:gd name="connsiteY23" fmla="*/ 15973 h 735134"/>
                  <a:gd name="connsiteX24" fmla="*/ 429619 w 630298"/>
                  <a:gd name="connsiteY24" fmla="*/ 0 h 735134"/>
                  <a:gd name="connsiteX25" fmla="*/ 407942 w 630298"/>
                  <a:gd name="connsiteY25" fmla="*/ 23769 h 735134"/>
                  <a:gd name="connsiteX26" fmla="*/ 401286 w 630298"/>
                  <a:gd name="connsiteY26" fmla="*/ 57807 h 735134"/>
                  <a:gd name="connsiteX27" fmla="*/ 394251 w 630298"/>
                  <a:gd name="connsiteY27" fmla="*/ 64082 h 735134"/>
                  <a:gd name="connsiteX28" fmla="*/ 386074 w 630298"/>
                  <a:gd name="connsiteY28" fmla="*/ 73209 h 735134"/>
                  <a:gd name="connsiteX29" fmla="*/ 383222 w 630298"/>
                  <a:gd name="connsiteY29" fmla="*/ 88992 h 735134"/>
                  <a:gd name="connsiteX30" fmla="*/ 381701 w 630298"/>
                  <a:gd name="connsiteY30" fmla="*/ 100972 h 735134"/>
                  <a:gd name="connsiteX31" fmla="*/ 319711 w 630298"/>
                  <a:gd name="connsiteY31" fmla="*/ 190915 h 735134"/>
                  <a:gd name="connsiteX32" fmla="*/ 309632 w 630298"/>
                  <a:gd name="connsiteY32" fmla="*/ 201183 h 735134"/>
                  <a:gd name="connsiteX33" fmla="*/ 268559 w 630298"/>
                  <a:gd name="connsiteY33" fmla="*/ 225713 h 735134"/>
                  <a:gd name="connsiteX34" fmla="*/ 241937 w 630298"/>
                  <a:gd name="connsiteY34" fmla="*/ 254426 h 735134"/>
                  <a:gd name="connsiteX35" fmla="*/ 252206 w 630298"/>
                  <a:gd name="connsiteY35" fmla="*/ 280477 h 735134"/>
                  <a:gd name="connsiteX36" fmla="*/ 252206 w 630298"/>
                  <a:gd name="connsiteY36" fmla="*/ 330868 h 735134"/>
                  <a:gd name="connsiteX37" fmla="*/ 249544 w 630298"/>
                  <a:gd name="connsiteY37" fmla="*/ 334100 h 735134"/>
                  <a:gd name="connsiteX38" fmla="*/ 244029 w 630298"/>
                  <a:gd name="connsiteY38" fmla="*/ 344939 h 735134"/>
                  <a:gd name="connsiteX39" fmla="*/ 247262 w 630298"/>
                  <a:gd name="connsiteY39" fmla="*/ 354447 h 735134"/>
                  <a:gd name="connsiteX40" fmla="*/ 251065 w 630298"/>
                  <a:gd name="connsiteY40" fmla="*/ 365286 h 735134"/>
                  <a:gd name="connsiteX41" fmla="*/ 221971 w 630298"/>
                  <a:gd name="connsiteY41" fmla="*/ 403316 h 735134"/>
                  <a:gd name="connsiteX42" fmla="*/ 205238 w 630298"/>
                  <a:gd name="connsiteY42" fmla="*/ 407880 h 735134"/>
                  <a:gd name="connsiteX43" fmla="*/ 175384 w 630298"/>
                  <a:gd name="connsiteY43" fmla="*/ 421951 h 735134"/>
                  <a:gd name="connsiteX44" fmla="*/ 174243 w 630298"/>
                  <a:gd name="connsiteY44" fmla="*/ 436403 h 735134"/>
                  <a:gd name="connsiteX45" fmla="*/ 161693 w 630298"/>
                  <a:gd name="connsiteY45" fmla="*/ 464356 h 735134"/>
                  <a:gd name="connsiteX46" fmla="*/ 134881 w 630298"/>
                  <a:gd name="connsiteY46" fmla="*/ 460363 h 735134"/>
                  <a:gd name="connsiteX47" fmla="*/ 115866 w 630298"/>
                  <a:gd name="connsiteY47" fmla="*/ 457320 h 735134"/>
                  <a:gd name="connsiteX48" fmla="*/ 98752 w 630298"/>
                  <a:gd name="connsiteY48" fmla="*/ 479188 h 735134"/>
                  <a:gd name="connsiteX49" fmla="*/ 86202 w 630298"/>
                  <a:gd name="connsiteY49" fmla="*/ 499534 h 735134"/>
                  <a:gd name="connsiteX50" fmla="*/ 61101 w 630298"/>
                  <a:gd name="connsiteY50" fmla="*/ 516458 h 735134"/>
                  <a:gd name="connsiteX51" fmla="*/ 42086 w 630298"/>
                  <a:gd name="connsiteY51" fmla="*/ 514747 h 735134"/>
                  <a:gd name="connsiteX52" fmla="*/ 35811 w 630298"/>
                  <a:gd name="connsiteY52" fmla="*/ 512275 h 735134"/>
                  <a:gd name="connsiteX53" fmla="*/ 28775 w 630298"/>
                  <a:gd name="connsiteY53" fmla="*/ 512275 h 735134"/>
                  <a:gd name="connsiteX54" fmla="*/ 26113 w 630298"/>
                  <a:gd name="connsiteY54" fmla="*/ 524635 h 735134"/>
                  <a:gd name="connsiteX55" fmla="*/ 25162 w 630298"/>
                  <a:gd name="connsiteY55" fmla="*/ 533952 h 735134"/>
                  <a:gd name="connsiteX56" fmla="*/ 12612 w 630298"/>
                  <a:gd name="connsiteY56" fmla="*/ 557151 h 735134"/>
                  <a:gd name="connsiteX57" fmla="*/ 3675 w 630298"/>
                  <a:gd name="connsiteY57" fmla="*/ 570842 h 735134"/>
                  <a:gd name="connsiteX58" fmla="*/ 3675 w 630298"/>
                  <a:gd name="connsiteY58" fmla="*/ 570842 h 735134"/>
                  <a:gd name="connsiteX59" fmla="*/ 442 w 630298"/>
                  <a:gd name="connsiteY59" fmla="*/ 581681 h 735134"/>
                  <a:gd name="connsiteX60" fmla="*/ 442 w 630298"/>
                  <a:gd name="connsiteY60" fmla="*/ 589097 h 735134"/>
                  <a:gd name="connsiteX61" fmla="*/ 11091 w 630298"/>
                  <a:gd name="connsiteY61" fmla="*/ 595942 h 735134"/>
                  <a:gd name="connsiteX62" fmla="*/ 20028 w 630298"/>
                  <a:gd name="connsiteY62" fmla="*/ 598605 h 735134"/>
                  <a:gd name="connsiteX63" fmla="*/ 33149 w 630298"/>
                  <a:gd name="connsiteY63" fmla="*/ 608112 h 735134"/>
                  <a:gd name="connsiteX64" fmla="*/ 40374 w 630298"/>
                  <a:gd name="connsiteY64" fmla="*/ 614197 h 735134"/>
                  <a:gd name="connsiteX65" fmla="*/ 49882 w 630298"/>
                  <a:gd name="connsiteY65" fmla="*/ 618380 h 735134"/>
                  <a:gd name="connsiteX66" fmla="*/ 65475 w 630298"/>
                  <a:gd name="connsiteY66" fmla="*/ 626747 h 735134"/>
                  <a:gd name="connsiteX67" fmla="*/ 70038 w 630298"/>
                  <a:gd name="connsiteY67" fmla="*/ 631881 h 735134"/>
                  <a:gd name="connsiteX68" fmla="*/ 76694 w 630298"/>
                  <a:gd name="connsiteY68" fmla="*/ 636445 h 735134"/>
                  <a:gd name="connsiteX69" fmla="*/ 82969 w 630298"/>
                  <a:gd name="connsiteY69" fmla="*/ 636445 h 735134"/>
                  <a:gd name="connsiteX70" fmla="*/ 82969 w 630298"/>
                  <a:gd name="connsiteY70" fmla="*/ 636445 h 735134"/>
                  <a:gd name="connsiteX71" fmla="*/ 113964 w 630298"/>
                  <a:gd name="connsiteY71" fmla="*/ 623134 h 735134"/>
                  <a:gd name="connsiteX72" fmla="*/ 151995 w 630298"/>
                  <a:gd name="connsiteY72" fmla="*/ 644051 h 735134"/>
                  <a:gd name="connsiteX73" fmla="*/ 164925 w 630298"/>
                  <a:gd name="connsiteY73" fmla="*/ 657172 h 735134"/>
                  <a:gd name="connsiteX74" fmla="*/ 183941 w 630298"/>
                  <a:gd name="connsiteY74" fmla="*/ 665919 h 735134"/>
                  <a:gd name="connsiteX75" fmla="*/ 204477 w 630298"/>
                  <a:gd name="connsiteY75" fmla="*/ 675237 h 735134"/>
                  <a:gd name="connsiteX76" fmla="*/ 233000 w 630298"/>
                  <a:gd name="connsiteY76" fmla="*/ 680751 h 735134"/>
                  <a:gd name="connsiteX77" fmla="*/ 268483 w 630298"/>
                  <a:gd name="connsiteY77" fmla="*/ 695564 h 735134"/>
                  <a:gd name="connsiteX78" fmla="*/ 269130 w 630298"/>
                  <a:gd name="connsiteY78" fmla="*/ 697294 h 735134"/>
                  <a:gd name="connsiteX79" fmla="*/ 270270 w 630298"/>
                  <a:gd name="connsiteY79" fmla="*/ 700147 h 735134"/>
                  <a:gd name="connsiteX80" fmla="*/ 275214 w 630298"/>
                  <a:gd name="connsiteY80" fmla="*/ 709844 h 735134"/>
                  <a:gd name="connsiteX81" fmla="*/ 285863 w 630298"/>
                  <a:gd name="connsiteY81" fmla="*/ 713457 h 735134"/>
                  <a:gd name="connsiteX82" fmla="*/ 285863 w 630298"/>
                  <a:gd name="connsiteY82" fmla="*/ 713457 h 735134"/>
                  <a:gd name="connsiteX83" fmla="*/ 298793 w 630298"/>
                  <a:gd name="connsiteY83" fmla="*/ 705091 h 735134"/>
                  <a:gd name="connsiteX84" fmla="*/ 314386 w 630298"/>
                  <a:gd name="connsiteY84" fmla="*/ 694822 h 735134"/>
                  <a:gd name="connsiteX85" fmla="*/ 337205 w 630298"/>
                  <a:gd name="connsiteY85" fmla="*/ 694822 h 735134"/>
                  <a:gd name="connsiteX86" fmla="*/ 346142 w 630298"/>
                  <a:gd name="connsiteY86" fmla="*/ 694822 h 735134"/>
                  <a:gd name="connsiteX87" fmla="*/ 417640 w 630298"/>
                  <a:gd name="connsiteY87" fmla="*/ 728099 h 735134"/>
                  <a:gd name="connsiteX88" fmla="*/ 427718 w 630298"/>
                  <a:gd name="connsiteY88" fmla="*/ 735135 h 735134"/>
                  <a:gd name="connsiteX89" fmla="*/ 442550 w 630298"/>
                  <a:gd name="connsiteY89" fmla="*/ 725817 h 735134"/>
                  <a:gd name="connsiteX90" fmla="*/ 460614 w 630298"/>
                  <a:gd name="connsiteY90" fmla="*/ 712887 h 735134"/>
                  <a:gd name="connsiteX91" fmla="*/ 504160 w 630298"/>
                  <a:gd name="connsiteY91" fmla="*/ 727338 h 735134"/>
                  <a:gd name="connsiteX92" fmla="*/ 508343 w 630298"/>
                  <a:gd name="connsiteY92" fmla="*/ 711936 h 735134"/>
                  <a:gd name="connsiteX93" fmla="*/ 508343 w 630298"/>
                  <a:gd name="connsiteY93" fmla="*/ 707753 h 735134"/>
                  <a:gd name="connsiteX94" fmla="*/ 512717 w 630298"/>
                  <a:gd name="connsiteY94" fmla="*/ 677518 h 735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630298" h="735134">
                    <a:moveTo>
                      <a:pt x="512907" y="675617"/>
                    </a:moveTo>
                    <a:lnTo>
                      <a:pt x="515189" y="667250"/>
                    </a:lnTo>
                    <a:cubicBezTo>
                      <a:pt x="517699" y="648292"/>
                      <a:pt x="528233" y="631330"/>
                      <a:pt x="544092" y="620662"/>
                    </a:cubicBezTo>
                    <a:cubicBezTo>
                      <a:pt x="555140" y="615300"/>
                      <a:pt x="566929" y="611630"/>
                      <a:pt x="579080" y="609824"/>
                    </a:cubicBezTo>
                    <a:cubicBezTo>
                      <a:pt x="601328" y="605070"/>
                      <a:pt x="620534" y="601076"/>
                      <a:pt x="627570" y="579589"/>
                    </a:cubicBezTo>
                    <a:cubicBezTo>
                      <a:pt x="630251" y="571108"/>
                      <a:pt x="630973" y="562133"/>
                      <a:pt x="629661" y="553348"/>
                    </a:cubicBezTo>
                    <a:cubicBezTo>
                      <a:pt x="629281" y="549773"/>
                      <a:pt x="628711" y="546217"/>
                      <a:pt x="627950" y="542699"/>
                    </a:cubicBezTo>
                    <a:cubicBezTo>
                      <a:pt x="626619" y="536044"/>
                      <a:pt x="624717" y="529389"/>
                      <a:pt x="622816" y="522733"/>
                    </a:cubicBezTo>
                    <a:lnTo>
                      <a:pt x="620534" y="514556"/>
                    </a:lnTo>
                    <a:cubicBezTo>
                      <a:pt x="617872" y="503528"/>
                      <a:pt x="616388" y="492251"/>
                      <a:pt x="616160" y="480899"/>
                    </a:cubicBezTo>
                    <a:cubicBezTo>
                      <a:pt x="616065" y="468577"/>
                      <a:pt x="614145" y="456331"/>
                      <a:pt x="610456" y="444580"/>
                    </a:cubicBezTo>
                    <a:cubicBezTo>
                      <a:pt x="604009" y="431858"/>
                      <a:pt x="593209" y="421875"/>
                      <a:pt x="580031" y="416437"/>
                    </a:cubicBezTo>
                    <a:cubicBezTo>
                      <a:pt x="561016" y="406169"/>
                      <a:pt x="540859" y="394379"/>
                      <a:pt x="551698" y="359391"/>
                    </a:cubicBezTo>
                    <a:cubicBezTo>
                      <a:pt x="560711" y="339653"/>
                      <a:pt x="561130" y="317063"/>
                      <a:pt x="552839" y="297021"/>
                    </a:cubicBezTo>
                    <a:cubicBezTo>
                      <a:pt x="540555" y="269277"/>
                      <a:pt x="537817" y="238244"/>
                      <a:pt x="545043" y="208789"/>
                    </a:cubicBezTo>
                    <a:cubicBezTo>
                      <a:pt x="546184" y="204986"/>
                      <a:pt x="547515" y="201183"/>
                      <a:pt x="548656" y="197380"/>
                    </a:cubicBezTo>
                    <a:cubicBezTo>
                      <a:pt x="552592" y="188538"/>
                      <a:pt x="554474" y="178916"/>
                      <a:pt x="554170" y="169237"/>
                    </a:cubicBezTo>
                    <a:cubicBezTo>
                      <a:pt x="552117" y="157714"/>
                      <a:pt x="547344" y="146818"/>
                      <a:pt x="540289" y="137481"/>
                    </a:cubicBezTo>
                    <a:lnTo>
                      <a:pt x="530591" y="122459"/>
                    </a:lnTo>
                    <a:cubicBezTo>
                      <a:pt x="520247" y="105117"/>
                      <a:pt x="508343" y="88764"/>
                      <a:pt x="495032" y="73590"/>
                    </a:cubicBezTo>
                    <a:cubicBezTo>
                      <a:pt x="488662" y="67143"/>
                      <a:pt x="481341" y="61705"/>
                      <a:pt x="473355" y="57427"/>
                    </a:cubicBezTo>
                    <a:lnTo>
                      <a:pt x="462136" y="50201"/>
                    </a:lnTo>
                    <a:cubicBezTo>
                      <a:pt x="451487" y="42728"/>
                      <a:pt x="444033" y="31528"/>
                      <a:pt x="441219" y="18825"/>
                    </a:cubicBezTo>
                    <a:lnTo>
                      <a:pt x="440078" y="15973"/>
                    </a:lnTo>
                    <a:cubicBezTo>
                      <a:pt x="438005" y="9850"/>
                      <a:pt x="434411" y="4355"/>
                      <a:pt x="429619" y="0"/>
                    </a:cubicBezTo>
                    <a:cubicBezTo>
                      <a:pt x="424371" y="9527"/>
                      <a:pt x="416936" y="17665"/>
                      <a:pt x="407942" y="23769"/>
                    </a:cubicBezTo>
                    <a:cubicBezTo>
                      <a:pt x="411745" y="35502"/>
                      <a:pt x="409235" y="48375"/>
                      <a:pt x="401286" y="57807"/>
                    </a:cubicBezTo>
                    <a:cubicBezTo>
                      <a:pt x="399081" y="60051"/>
                      <a:pt x="396742" y="62142"/>
                      <a:pt x="394251" y="64082"/>
                    </a:cubicBezTo>
                    <a:cubicBezTo>
                      <a:pt x="390676" y="66250"/>
                      <a:pt x="387843" y="69425"/>
                      <a:pt x="386074" y="73209"/>
                    </a:cubicBezTo>
                    <a:cubicBezTo>
                      <a:pt x="384192" y="78267"/>
                      <a:pt x="383241" y="83611"/>
                      <a:pt x="383222" y="88992"/>
                    </a:cubicBezTo>
                    <a:cubicBezTo>
                      <a:pt x="382917" y="93004"/>
                      <a:pt x="382423" y="97017"/>
                      <a:pt x="381701" y="100972"/>
                    </a:cubicBezTo>
                    <a:cubicBezTo>
                      <a:pt x="374095" y="135960"/>
                      <a:pt x="345191" y="165244"/>
                      <a:pt x="319711" y="190915"/>
                    </a:cubicBezTo>
                    <a:lnTo>
                      <a:pt x="309632" y="201183"/>
                    </a:lnTo>
                    <a:cubicBezTo>
                      <a:pt x="298147" y="212592"/>
                      <a:pt x="284038" y="221016"/>
                      <a:pt x="268559" y="225713"/>
                    </a:cubicBezTo>
                    <a:cubicBezTo>
                      <a:pt x="249544" y="233699"/>
                      <a:pt x="240987" y="242066"/>
                      <a:pt x="241937" y="254426"/>
                    </a:cubicBezTo>
                    <a:cubicBezTo>
                      <a:pt x="243364" y="263762"/>
                      <a:pt x="246862" y="272681"/>
                      <a:pt x="252206" y="280477"/>
                    </a:cubicBezTo>
                    <a:cubicBezTo>
                      <a:pt x="264927" y="294872"/>
                      <a:pt x="264927" y="316473"/>
                      <a:pt x="252206" y="330868"/>
                    </a:cubicBezTo>
                    <a:cubicBezTo>
                      <a:pt x="251255" y="332009"/>
                      <a:pt x="250495" y="333150"/>
                      <a:pt x="249544" y="334100"/>
                    </a:cubicBezTo>
                    <a:cubicBezTo>
                      <a:pt x="246121" y="338474"/>
                      <a:pt x="244029" y="341136"/>
                      <a:pt x="244029" y="344939"/>
                    </a:cubicBezTo>
                    <a:cubicBezTo>
                      <a:pt x="244391" y="348305"/>
                      <a:pt x="245493" y="351557"/>
                      <a:pt x="247262" y="354447"/>
                    </a:cubicBezTo>
                    <a:cubicBezTo>
                      <a:pt x="249030" y="357870"/>
                      <a:pt x="250323" y="361521"/>
                      <a:pt x="251065" y="365286"/>
                    </a:cubicBezTo>
                    <a:cubicBezTo>
                      <a:pt x="252966" y="376505"/>
                      <a:pt x="249354" y="392287"/>
                      <a:pt x="221971" y="403316"/>
                    </a:cubicBezTo>
                    <a:cubicBezTo>
                      <a:pt x="216514" y="405256"/>
                      <a:pt x="210923" y="406777"/>
                      <a:pt x="205238" y="407880"/>
                    </a:cubicBezTo>
                    <a:cubicBezTo>
                      <a:pt x="193828" y="408470"/>
                      <a:pt x="183104" y="413528"/>
                      <a:pt x="175384" y="421951"/>
                    </a:cubicBezTo>
                    <a:cubicBezTo>
                      <a:pt x="173501" y="426534"/>
                      <a:pt x="173102" y="431592"/>
                      <a:pt x="174243" y="436403"/>
                    </a:cubicBezTo>
                    <a:cubicBezTo>
                      <a:pt x="175384" y="445531"/>
                      <a:pt x="176715" y="458081"/>
                      <a:pt x="161693" y="464356"/>
                    </a:cubicBezTo>
                    <a:cubicBezTo>
                      <a:pt x="152622" y="467360"/>
                      <a:pt x="142677" y="465877"/>
                      <a:pt x="134881" y="460363"/>
                    </a:cubicBezTo>
                    <a:cubicBezTo>
                      <a:pt x="127085" y="456369"/>
                      <a:pt x="121950" y="454087"/>
                      <a:pt x="115866" y="457320"/>
                    </a:cubicBezTo>
                    <a:cubicBezTo>
                      <a:pt x="107765" y="462378"/>
                      <a:pt x="101718" y="470118"/>
                      <a:pt x="98752" y="479188"/>
                    </a:cubicBezTo>
                    <a:cubicBezTo>
                      <a:pt x="95785" y="486642"/>
                      <a:pt x="91526" y="493525"/>
                      <a:pt x="86202" y="499534"/>
                    </a:cubicBezTo>
                    <a:cubicBezTo>
                      <a:pt x="79033" y="506760"/>
                      <a:pt x="70495" y="512522"/>
                      <a:pt x="61101" y="516458"/>
                    </a:cubicBezTo>
                    <a:cubicBezTo>
                      <a:pt x="54826" y="518835"/>
                      <a:pt x="47828" y="518207"/>
                      <a:pt x="42086" y="514747"/>
                    </a:cubicBezTo>
                    <a:cubicBezTo>
                      <a:pt x="40184" y="514747"/>
                      <a:pt x="38283" y="513035"/>
                      <a:pt x="35811" y="512275"/>
                    </a:cubicBezTo>
                    <a:cubicBezTo>
                      <a:pt x="33339" y="511514"/>
                      <a:pt x="29726" y="510944"/>
                      <a:pt x="28775" y="512275"/>
                    </a:cubicBezTo>
                    <a:cubicBezTo>
                      <a:pt x="27824" y="513606"/>
                      <a:pt x="26303" y="519881"/>
                      <a:pt x="26113" y="524635"/>
                    </a:cubicBezTo>
                    <a:cubicBezTo>
                      <a:pt x="25999" y="527753"/>
                      <a:pt x="25695" y="530872"/>
                      <a:pt x="25162" y="533952"/>
                    </a:cubicBezTo>
                    <a:cubicBezTo>
                      <a:pt x="22994" y="542623"/>
                      <a:pt x="18678" y="550591"/>
                      <a:pt x="12612" y="557151"/>
                    </a:cubicBezTo>
                    <a:cubicBezTo>
                      <a:pt x="9056" y="561296"/>
                      <a:pt x="6052" y="565917"/>
                      <a:pt x="3675" y="570842"/>
                    </a:cubicBezTo>
                    <a:lnTo>
                      <a:pt x="3675" y="570842"/>
                    </a:lnTo>
                    <a:cubicBezTo>
                      <a:pt x="2058" y="574265"/>
                      <a:pt x="975" y="577935"/>
                      <a:pt x="442" y="581681"/>
                    </a:cubicBezTo>
                    <a:cubicBezTo>
                      <a:pt x="-147" y="584115"/>
                      <a:pt x="-147" y="586663"/>
                      <a:pt x="442" y="589097"/>
                    </a:cubicBezTo>
                    <a:cubicBezTo>
                      <a:pt x="2344" y="593851"/>
                      <a:pt x="5006" y="594611"/>
                      <a:pt x="11091" y="595942"/>
                    </a:cubicBezTo>
                    <a:cubicBezTo>
                      <a:pt x="14133" y="596589"/>
                      <a:pt x="17119" y="597483"/>
                      <a:pt x="20028" y="598605"/>
                    </a:cubicBezTo>
                    <a:cubicBezTo>
                      <a:pt x="24972" y="600905"/>
                      <a:pt x="29422" y="604138"/>
                      <a:pt x="33149" y="608112"/>
                    </a:cubicBezTo>
                    <a:cubicBezTo>
                      <a:pt x="35411" y="610299"/>
                      <a:pt x="37826" y="612334"/>
                      <a:pt x="40374" y="614197"/>
                    </a:cubicBezTo>
                    <a:cubicBezTo>
                      <a:pt x="43398" y="615889"/>
                      <a:pt x="46592" y="617296"/>
                      <a:pt x="49882" y="618380"/>
                    </a:cubicBezTo>
                    <a:cubicBezTo>
                      <a:pt x="55625" y="620035"/>
                      <a:pt x="60930" y="622887"/>
                      <a:pt x="65475" y="626747"/>
                    </a:cubicBezTo>
                    <a:cubicBezTo>
                      <a:pt x="67376" y="628649"/>
                      <a:pt x="68708" y="630360"/>
                      <a:pt x="70038" y="631881"/>
                    </a:cubicBezTo>
                    <a:cubicBezTo>
                      <a:pt x="71350" y="634410"/>
                      <a:pt x="73861" y="636141"/>
                      <a:pt x="76694" y="636445"/>
                    </a:cubicBezTo>
                    <a:cubicBezTo>
                      <a:pt x="78786" y="636711"/>
                      <a:pt x="80877" y="636711"/>
                      <a:pt x="82969" y="636445"/>
                    </a:cubicBezTo>
                    <a:lnTo>
                      <a:pt x="82969" y="636445"/>
                    </a:lnTo>
                    <a:cubicBezTo>
                      <a:pt x="91944" y="629333"/>
                      <a:pt x="102631" y="624751"/>
                      <a:pt x="113964" y="623134"/>
                    </a:cubicBezTo>
                    <a:cubicBezTo>
                      <a:pt x="129443" y="622887"/>
                      <a:pt x="143913" y="630835"/>
                      <a:pt x="151995" y="644051"/>
                    </a:cubicBezTo>
                    <a:cubicBezTo>
                      <a:pt x="155760" y="648938"/>
                      <a:pt x="160095" y="653331"/>
                      <a:pt x="164925" y="657172"/>
                    </a:cubicBezTo>
                    <a:cubicBezTo>
                      <a:pt x="170763" y="661070"/>
                      <a:pt x="177171" y="664017"/>
                      <a:pt x="183941" y="665919"/>
                    </a:cubicBezTo>
                    <a:cubicBezTo>
                      <a:pt x="191128" y="668182"/>
                      <a:pt x="198031" y="671319"/>
                      <a:pt x="204477" y="675237"/>
                    </a:cubicBezTo>
                    <a:cubicBezTo>
                      <a:pt x="212141" y="682386"/>
                      <a:pt x="223226" y="684516"/>
                      <a:pt x="233000" y="680751"/>
                    </a:cubicBezTo>
                    <a:cubicBezTo>
                      <a:pt x="246900" y="675046"/>
                      <a:pt x="262778" y="681683"/>
                      <a:pt x="268483" y="695564"/>
                    </a:cubicBezTo>
                    <a:cubicBezTo>
                      <a:pt x="268730" y="696134"/>
                      <a:pt x="268939" y="696705"/>
                      <a:pt x="269130" y="697294"/>
                    </a:cubicBezTo>
                    <a:lnTo>
                      <a:pt x="270270" y="700147"/>
                    </a:lnTo>
                    <a:cubicBezTo>
                      <a:pt x="271525" y="703569"/>
                      <a:pt x="273180" y="706821"/>
                      <a:pt x="275214" y="709844"/>
                    </a:cubicBezTo>
                    <a:cubicBezTo>
                      <a:pt x="277363" y="713533"/>
                      <a:pt x="281908" y="715074"/>
                      <a:pt x="285863" y="713457"/>
                    </a:cubicBezTo>
                    <a:lnTo>
                      <a:pt x="285863" y="713457"/>
                    </a:lnTo>
                    <a:cubicBezTo>
                      <a:pt x="290731" y="711632"/>
                      <a:pt x="295143" y="708780"/>
                      <a:pt x="298793" y="705091"/>
                    </a:cubicBezTo>
                    <a:cubicBezTo>
                      <a:pt x="303243" y="700641"/>
                      <a:pt x="308548" y="697161"/>
                      <a:pt x="314386" y="694822"/>
                    </a:cubicBezTo>
                    <a:cubicBezTo>
                      <a:pt x="321878" y="693035"/>
                      <a:pt x="329713" y="693035"/>
                      <a:pt x="337205" y="694822"/>
                    </a:cubicBezTo>
                    <a:lnTo>
                      <a:pt x="346142" y="694822"/>
                    </a:lnTo>
                    <a:cubicBezTo>
                      <a:pt x="373885" y="694062"/>
                      <a:pt x="400374" y="706384"/>
                      <a:pt x="417640" y="728099"/>
                    </a:cubicBezTo>
                    <a:cubicBezTo>
                      <a:pt x="419979" y="731655"/>
                      <a:pt x="423572" y="734165"/>
                      <a:pt x="427718" y="735135"/>
                    </a:cubicBezTo>
                    <a:cubicBezTo>
                      <a:pt x="432282" y="735135"/>
                      <a:pt x="437225" y="730761"/>
                      <a:pt x="442550" y="725817"/>
                    </a:cubicBezTo>
                    <a:cubicBezTo>
                      <a:pt x="447760" y="720455"/>
                      <a:pt x="453864" y="716081"/>
                      <a:pt x="460614" y="712887"/>
                    </a:cubicBezTo>
                    <a:cubicBezTo>
                      <a:pt x="476720" y="707429"/>
                      <a:pt x="494519" y="713324"/>
                      <a:pt x="504160" y="727338"/>
                    </a:cubicBezTo>
                    <a:cubicBezTo>
                      <a:pt x="509674" y="722585"/>
                      <a:pt x="509294" y="719923"/>
                      <a:pt x="508343" y="711936"/>
                    </a:cubicBezTo>
                    <a:lnTo>
                      <a:pt x="508343" y="707753"/>
                    </a:lnTo>
                    <a:cubicBezTo>
                      <a:pt x="507525" y="697465"/>
                      <a:pt x="509028" y="687140"/>
                      <a:pt x="512717" y="677518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432" name="Полилиния: фигура 431">
                <a:extLst>
                  <a:ext uri="{FF2B5EF4-FFF2-40B4-BE49-F238E27FC236}">
                    <a16:creationId xmlns:a16="http://schemas.microsoft.com/office/drawing/2014/main" id="{28401BCC-EC43-5500-FFFF-20D8A0359830}"/>
                  </a:ext>
                </a:extLst>
              </p:cNvPr>
              <p:cNvSpPr/>
              <p:nvPr/>
            </p:nvSpPr>
            <p:spPr>
              <a:xfrm>
                <a:off x="3609593" y="4936219"/>
                <a:ext cx="447622" cy="302145"/>
              </a:xfrm>
              <a:custGeom>
                <a:avLst/>
                <a:gdLst>
                  <a:gd name="connsiteX0" fmla="*/ 425754 w 447622"/>
                  <a:gd name="connsiteY0" fmla="*/ 228175 h 302145"/>
                  <a:gd name="connsiteX1" fmla="*/ 413395 w 447622"/>
                  <a:gd name="connsiteY1" fmla="*/ 221710 h 302145"/>
                  <a:gd name="connsiteX2" fmla="*/ 392478 w 447622"/>
                  <a:gd name="connsiteY2" fmla="*/ 207448 h 302145"/>
                  <a:gd name="connsiteX3" fmla="*/ 385632 w 447622"/>
                  <a:gd name="connsiteY3" fmla="*/ 190144 h 302145"/>
                  <a:gd name="connsiteX4" fmla="*/ 381449 w 447622"/>
                  <a:gd name="connsiteY4" fmla="*/ 177785 h 302145"/>
                  <a:gd name="connsiteX5" fmla="*/ 358820 w 447622"/>
                  <a:gd name="connsiteY5" fmla="*/ 160100 h 302145"/>
                  <a:gd name="connsiteX6" fmla="*/ 339805 w 447622"/>
                  <a:gd name="connsiteY6" fmla="*/ 152874 h 302145"/>
                  <a:gd name="connsiteX7" fmla="*/ 303105 w 447622"/>
                  <a:gd name="connsiteY7" fmla="*/ 133859 h 302145"/>
                  <a:gd name="connsiteX8" fmla="*/ 291506 w 447622"/>
                  <a:gd name="connsiteY8" fmla="*/ 113322 h 302145"/>
                  <a:gd name="connsiteX9" fmla="*/ 289034 w 447622"/>
                  <a:gd name="connsiteY9" fmla="*/ 106857 h 302145"/>
                  <a:gd name="connsiteX10" fmla="*/ 276864 w 447622"/>
                  <a:gd name="connsiteY10" fmla="*/ 90884 h 302145"/>
                  <a:gd name="connsiteX11" fmla="*/ 271350 w 447622"/>
                  <a:gd name="connsiteY11" fmla="*/ 85179 h 302145"/>
                  <a:gd name="connsiteX12" fmla="*/ 258419 w 447622"/>
                  <a:gd name="connsiteY12" fmla="*/ 51902 h 302145"/>
                  <a:gd name="connsiteX13" fmla="*/ 273251 w 447622"/>
                  <a:gd name="connsiteY13" fmla="*/ 29274 h 302145"/>
                  <a:gd name="connsiteX14" fmla="*/ 242256 w 447622"/>
                  <a:gd name="connsiteY14" fmla="*/ 18436 h 302145"/>
                  <a:gd name="connsiteX15" fmla="*/ 227804 w 447622"/>
                  <a:gd name="connsiteY15" fmla="*/ 29084 h 302145"/>
                  <a:gd name="connsiteX16" fmla="*/ 204796 w 447622"/>
                  <a:gd name="connsiteY16" fmla="*/ 41444 h 302145"/>
                  <a:gd name="connsiteX17" fmla="*/ 187302 w 447622"/>
                  <a:gd name="connsiteY17" fmla="*/ 30415 h 302145"/>
                  <a:gd name="connsiteX18" fmla="*/ 123790 w 447622"/>
                  <a:gd name="connsiteY18" fmla="*/ 941 h 302145"/>
                  <a:gd name="connsiteX19" fmla="*/ 113902 w 447622"/>
                  <a:gd name="connsiteY19" fmla="*/ 941 h 302145"/>
                  <a:gd name="connsiteX20" fmla="*/ 95838 w 447622"/>
                  <a:gd name="connsiteY20" fmla="*/ 941 h 302145"/>
                  <a:gd name="connsiteX21" fmla="*/ 83668 w 447622"/>
                  <a:gd name="connsiteY21" fmla="*/ 9308 h 302145"/>
                  <a:gd name="connsiteX22" fmla="*/ 64652 w 447622"/>
                  <a:gd name="connsiteY22" fmla="*/ 20147 h 302145"/>
                  <a:gd name="connsiteX23" fmla="*/ 63131 w 447622"/>
                  <a:gd name="connsiteY23" fmla="*/ 20147 h 302145"/>
                  <a:gd name="connsiteX24" fmla="*/ 63131 w 447622"/>
                  <a:gd name="connsiteY24" fmla="*/ 27943 h 302145"/>
                  <a:gd name="connsiteX25" fmla="*/ 66934 w 447622"/>
                  <a:gd name="connsiteY25" fmla="*/ 46959 h 302145"/>
                  <a:gd name="connsiteX26" fmla="*/ 70357 w 447622"/>
                  <a:gd name="connsiteY26" fmla="*/ 62551 h 302145"/>
                  <a:gd name="connsiteX27" fmla="*/ 52482 w 447622"/>
                  <a:gd name="connsiteY27" fmla="*/ 115985 h 302145"/>
                  <a:gd name="connsiteX28" fmla="*/ 41263 w 447622"/>
                  <a:gd name="connsiteY28" fmla="*/ 120168 h 302145"/>
                  <a:gd name="connsiteX29" fmla="*/ 31185 w 447622"/>
                  <a:gd name="connsiteY29" fmla="*/ 124161 h 302145"/>
                  <a:gd name="connsiteX30" fmla="*/ 25861 w 447622"/>
                  <a:gd name="connsiteY30" fmla="*/ 136901 h 302145"/>
                  <a:gd name="connsiteX31" fmla="*/ 23579 w 447622"/>
                  <a:gd name="connsiteY31" fmla="*/ 146409 h 302145"/>
                  <a:gd name="connsiteX32" fmla="*/ 11029 w 447622"/>
                  <a:gd name="connsiteY32" fmla="*/ 165424 h 302145"/>
                  <a:gd name="connsiteX33" fmla="*/ 0 w 447622"/>
                  <a:gd name="connsiteY33" fmla="*/ 182918 h 302145"/>
                  <a:gd name="connsiteX34" fmla="*/ 8557 w 447622"/>
                  <a:gd name="connsiteY34" fmla="*/ 192997 h 302145"/>
                  <a:gd name="connsiteX35" fmla="*/ 27572 w 447622"/>
                  <a:gd name="connsiteY35" fmla="*/ 205927 h 302145"/>
                  <a:gd name="connsiteX36" fmla="*/ 43545 w 447622"/>
                  <a:gd name="connsiteY36" fmla="*/ 211061 h 302145"/>
                  <a:gd name="connsiteX37" fmla="*/ 70167 w 447622"/>
                  <a:gd name="connsiteY37" fmla="*/ 230077 h 302145"/>
                  <a:gd name="connsiteX38" fmla="*/ 55525 w 447622"/>
                  <a:gd name="connsiteY38" fmla="*/ 261452 h 302145"/>
                  <a:gd name="connsiteX39" fmla="*/ 45257 w 447622"/>
                  <a:gd name="connsiteY39" fmla="*/ 275524 h 302145"/>
                  <a:gd name="connsiteX40" fmla="*/ 45257 w 447622"/>
                  <a:gd name="connsiteY40" fmla="*/ 276474 h 302145"/>
                  <a:gd name="connsiteX41" fmla="*/ 52292 w 447622"/>
                  <a:gd name="connsiteY41" fmla="*/ 277615 h 302145"/>
                  <a:gd name="connsiteX42" fmla="*/ 54384 w 447622"/>
                  <a:gd name="connsiteY42" fmla="*/ 277615 h 302145"/>
                  <a:gd name="connsiteX43" fmla="*/ 100592 w 447622"/>
                  <a:gd name="connsiteY43" fmla="*/ 283700 h 302145"/>
                  <a:gd name="connsiteX44" fmla="*/ 114282 w 447622"/>
                  <a:gd name="connsiteY44" fmla="*/ 283700 h 302145"/>
                  <a:gd name="connsiteX45" fmla="*/ 147750 w 447622"/>
                  <a:gd name="connsiteY45" fmla="*/ 285221 h 302145"/>
                  <a:gd name="connsiteX46" fmla="*/ 163722 w 447622"/>
                  <a:gd name="connsiteY46" fmla="*/ 294159 h 302145"/>
                  <a:gd name="connsiteX47" fmla="*/ 178935 w 447622"/>
                  <a:gd name="connsiteY47" fmla="*/ 301955 h 302145"/>
                  <a:gd name="connsiteX48" fmla="*/ 195098 w 447622"/>
                  <a:gd name="connsiteY48" fmla="*/ 293588 h 302145"/>
                  <a:gd name="connsiteX49" fmla="*/ 206507 w 447622"/>
                  <a:gd name="connsiteY49" fmla="*/ 284651 h 302145"/>
                  <a:gd name="connsiteX50" fmla="*/ 245869 w 447622"/>
                  <a:gd name="connsiteY50" fmla="*/ 285792 h 302145"/>
                  <a:gd name="connsiteX51" fmla="*/ 247580 w 447622"/>
                  <a:gd name="connsiteY51" fmla="*/ 285792 h 302145"/>
                  <a:gd name="connsiteX52" fmla="*/ 296260 w 447622"/>
                  <a:gd name="connsiteY52" fmla="*/ 296250 h 302145"/>
                  <a:gd name="connsiteX53" fmla="*/ 338284 w 447622"/>
                  <a:gd name="connsiteY53" fmla="*/ 297201 h 302145"/>
                  <a:gd name="connsiteX54" fmla="*/ 367377 w 447622"/>
                  <a:gd name="connsiteY54" fmla="*/ 299673 h 302145"/>
                  <a:gd name="connsiteX55" fmla="*/ 390005 w 447622"/>
                  <a:gd name="connsiteY55" fmla="*/ 302145 h 302145"/>
                  <a:gd name="connsiteX56" fmla="*/ 415296 w 447622"/>
                  <a:gd name="connsiteY56" fmla="*/ 292637 h 302145"/>
                  <a:gd name="connsiteX57" fmla="*/ 419860 w 447622"/>
                  <a:gd name="connsiteY57" fmla="*/ 289405 h 302145"/>
                  <a:gd name="connsiteX58" fmla="*/ 447622 w 447622"/>
                  <a:gd name="connsiteY58" fmla="*/ 275904 h 302145"/>
                  <a:gd name="connsiteX59" fmla="*/ 439446 w 447622"/>
                  <a:gd name="connsiteY59" fmla="*/ 254797 h 302145"/>
                  <a:gd name="connsiteX60" fmla="*/ 425754 w 447622"/>
                  <a:gd name="connsiteY60" fmla="*/ 228175 h 302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447622" h="302145">
                    <a:moveTo>
                      <a:pt x="425754" y="228175"/>
                    </a:moveTo>
                    <a:cubicBezTo>
                      <a:pt x="421894" y="225570"/>
                      <a:pt x="417749" y="223402"/>
                      <a:pt x="413395" y="221710"/>
                    </a:cubicBezTo>
                    <a:cubicBezTo>
                      <a:pt x="405218" y="219010"/>
                      <a:pt x="397973" y="214066"/>
                      <a:pt x="392478" y="207448"/>
                    </a:cubicBezTo>
                    <a:cubicBezTo>
                      <a:pt x="389055" y="202200"/>
                      <a:pt x="386716" y="196324"/>
                      <a:pt x="385632" y="190144"/>
                    </a:cubicBezTo>
                    <a:cubicBezTo>
                      <a:pt x="384910" y="185828"/>
                      <a:pt x="383483" y="181664"/>
                      <a:pt x="381449" y="177785"/>
                    </a:cubicBezTo>
                    <a:cubicBezTo>
                      <a:pt x="375668" y="169931"/>
                      <a:pt x="367834" y="163808"/>
                      <a:pt x="358820" y="160100"/>
                    </a:cubicBezTo>
                    <a:cubicBezTo>
                      <a:pt x="352640" y="157267"/>
                      <a:pt x="346289" y="154852"/>
                      <a:pt x="339805" y="152874"/>
                    </a:cubicBezTo>
                    <a:cubicBezTo>
                      <a:pt x="326323" y="149299"/>
                      <a:pt x="313792" y="142815"/>
                      <a:pt x="303105" y="133859"/>
                    </a:cubicBezTo>
                    <a:cubicBezTo>
                      <a:pt x="297515" y="128135"/>
                      <a:pt x="293522" y="121062"/>
                      <a:pt x="291506" y="113322"/>
                    </a:cubicBezTo>
                    <a:cubicBezTo>
                      <a:pt x="291506" y="111231"/>
                      <a:pt x="289985" y="109139"/>
                      <a:pt x="289034" y="106857"/>
                    </a:cubicBezTo>
                    <a:cubicBezTo>
                      <a:pt x="286220" y="100696"/>
                      <a:pt x="282074" y="95239"/>
                      <a:pt x="276864" y="90884"/>
                    </a:cubicBezTo>
                    <a:lnTo>
                      <a:pt x="271350" y="85179"/>
                    </a:lnTo>
                    <a:cubicBezTo>
                      <a:pt x="262431" y="76471"/>
                      <a:pt x="257735" y="64339"/>
                      <a:pt x="258419" y="51902"/>
                    </a:cubicBezTo>
                    <a:cubicBezTo>
                      <a:pt x="259370" y="42395"/>
                      <a:pt x="264903" y="33952"/>
                      <a:pt x="273251" y="29274"/>
                    </a:cubicBezTo>
                    <a:cubicBezTo>
                      <a:pt x="266387" y="19291"/>
                      <a:pt x="253856" y="14899"/>
                      <a:pt x="242256" y="18436"/>
                    </a:cubicBezTo>
                    <a:cubicBezTo>
                      <a:pt x="236837" y="21079"/>
                      <a:pt x="231931" y="24691"/>
                      <a:pt x="227804" y="29084"/>
                    </a:cubicBezTo>
                    <a:cubicBezTo>
                      <a:pt x="222062" y="36063"/>
                      <a:pt x="213790" y="40512"/>
                      <a:pt x="204796" y="41444"/>
                    </a:cubicBezTo>
                    <a:cubicBezTo>
                      <a:pt x="197665" y="40436"/>
                      <a:pt x="191295" y="36424"/>
                      <a:pt x="187302" y="30415"/>
                    </a:cubicBezTo>
                    <a:cubicBezTo>
                      <a:pt x="171918" y="11172"/>
                      <a:pt x="148415" y="257"/>
                      <a:pt x="123790" y="941"/>
                    </a:cubicBezTo>
                    <a:cubicBezTo>
                      <a:pt x="120501" y="1131"/>
                      <a:pt x="117192" y="1131"/>
                      <a:pt x="113902" y="941"/>
                    </a:cubicBezTo>
                    <a:cubicBezTo>
                      <a:pt x="107950" y="-314"/>
                      <a:pt x="101789" y="-314"/>
                      <a:pt x="95838" y="941"/>
                    </a:cubicBezTo>
                    <a:cubicBezTo>
                      <a:pt x="91274" y="2900"/>
                      <a:pt x="87148" y="5752"/>
                      <a:pt x="83668" y="9308"/>
                    </a:cubicBezTo>
                    <a:cubicBezTo>
                      <a:pt x="78362" y="14480"/>
                      <a:pt x="71821" y="18226"/>
                      <a:pt x="64652" y="20147"/>
                    </a:cubicBezTo>
                    <a:lnTo>
                      <a:pt x="63131" y="20147"/>
                    </a:lnTo>
                    <a:cubicBezTo>
                      <a:pt x="62941" y="22733"/>
                      <a:pt x="62941" y="25357"/>
                      <a:pt x="63131" y="27943"/>
                    </a:cubicBezTo>
                    <a:cubicBezTo>
                      <a:pt x="63797" y="34390"/>
                      <a:pt x="65071" y="40760"/>
                      <a:pt x="66934" y="46959"/>
                    </a:cubicBezTo>
                    <a:cubicBezTo>
                      <a:pt x="68360" y="52093"/>
                      <a:pt x="69501" y="57303"/>
                      <a:pt x="70357" y="62551"/>
                    </a:cubicBezTo>
                    <a:cubicBezTo>
                      <a:pt x="76423" y="82346"/>
                      <a:pt x="69235" y="103815"/>
                      <a:pt x="52482" y="115985"/>
                    </a:cubicBezTo>
                    <a:cubicBezTo>
                      <a:pt x="48965" y="117905"/>
                      <a:pt x="45181" y="119312"/>
                      <a:pt x="41263" y="120168"/>
                    </a:cubicBezTo>
                    <a:cubicBezTo>
                      <a:pt x="37670" y="120795"/>
                      <a:pt x="34228" y="122145"/>
                      <a:pt x="31185" y="124161"/>
                    </a:cubicBezTo>
                    <a:cubicBezTo>
                      <a:pt x="27877" y="127584"/>
                      <a:pt x="25975" y="132129"/>
                      <a:pt x="25861" y="136901"/>
                    </a:cubicBezTo>
                    <a:cubicBezTo>
                      <a:pt x="25386" y="140134"/>
                      <a:pt x="24625" y="143310"/>
                      <a:pt x="23579" y="146409"/>
                    </a:cubicBezTo>
                    <a:cubicBezTo>
                      <a:pt x="20841" y="153597"/>
                      <a:pt x="16562" y="160081"/>
                      <a:pt x="11029" y="165424"/>
                    </a:cubicBezTo>
                    <a:cubicBezTo>
                      <a:pt x="5438" y="169817"/>
                      <a:pt x="1559" y="175997"/>
                      <a:pt x="0" y="182918"/>
                    </a:cubicBezTo>
                    <a:cubicBezTo>
                      <a:pt x="0" y="188813"/>
                      <a:pt x="1141" y="189574"/>
                      <a:pt x="8557" y="192997"/>
                    </a:cubicBezTo>
                    <a:cubicBezTo>
                      <a:pt x="15650" y="196077"/>
                      <a:pt x="22096" y="200470"/>
                      <a:pt x="27572" y="205927"/>
                    </a:cubicBezTo>
                    <a:cubicBezTo>
                      <a:pt x="32421" y="208855"/>
                      <a:pt x="37898" y="210605"/>
                      <a:pt x="43545" y="211061"/>
                    </a:cubicBezTo>
                    <a:cubicBezTo>
                      <a:pt x="54384" y="213153"/>
                      <a:pt x="67695" y="215625"/>
                      <a:pt x="70167" y="230077"/>
                    </a:cubicBezTo>
                    <a:cubicBezTo>
                      <a:pt x="72639" y="244528"/>
                      <a:pt x="63511" y="252325"/>
                      <a:pt x="55525" y="261452"/>
                    </a:cubicBezTo>
                    <a:cubicBezTo>
                      <a:pt x="51379" y="265578"/>
                      <a:pt x="47919" y="270332"/>
                      <a:pt x="45257" y="275524"/>
                    </a:cubicBezTo>
                    <a:lnTo>
                      <a:pt x="45257" y="276474"/>
                    </a:lnTo>
                    <a:lnTo>
                      <a:pt x="52292" y="277615"/>
                    </a:lnTo>
                    <a:lnTo>
                      <a:pt x="54384" y="277615"/>
                    </a:lnTo>
                    <a:cubicBezTo>
                      <a:pt x="69520" y="281304"/>
                      <a:pt x="85018" y="283339"/>
                      <a:pt x="100592" y="283700"/>
                    </a:cubicBezTo>
                    <a:lnTo>
                      <a:pt x="114282" y="283700"/>
                    </a:lnTo>
                    <a:cubicBezTo>
                      <a:pt x="125444" y="282122"/>
                      <a:pt x="136778" y="282635"/>
                      <a:pt x="147750" y="285221"/>
                    </a:cubicBezTo>
                    <a:cubicBezTo>
                      <a:pt x="153549" y="287256"/>
                      <a:pt x="158950" y="290280"/>
                      <a:pt x="163722" y="294159"/>
                    </a:cubicBezTo>
                    <a:cubicBezTo>
                      <a:pt x="168096" y="297924"/>
                      <a:pt x="173325" y="300605"/>
                      <a:pt x="178935" y="301955"/>
                    </a:cubicBezTo>
                    <a:cubicBezTo>
                      <a:pt x="185400" y="301955"/>
                      <a:pt x="189203" y="299293"/>
                      <a:pt x="195098" y="293588"/>
                    </a:cubicBezTo>
                    <a:cubicBezTo>
                      <a:pt x="198578" y="290203"/>
                      <a:pt x="202400" y="287218"/>
                      <a:pt x="206507" y="284651"/>
                    </a:cubicBezTo>
                    <a:cubicBezTo>
                      <a:pt x="219247" y="279669"/>
                      <a:pt x="233452" y="280087"/>
                      <a:pt x="245869" y="285792"/>
                    </a:cubicBezTo>
                    <a:lnTo>
                      <a:pt x="247580" y="285792"/>
                    </a:lnTo>
                    <a:cubicBezTo>
                      <a:pt x="263439" y="290793"/>
                      <a:pt x="279735" y="294292"/>
                      <a:pt x="296260" y="296250"/>
                    </a:cubicBezTo>
                    <a:cubicBezTo>
                      <a:pt x="310236" y="297429"/>
                      <a:pt x="324270" y="297734"/>
                      <a:pt x="338284" y="297201"/>
                    </a:cubicBezTo>
                    <a:cubicBezTo>
                      <a:pt x="348039" y="297144"/>
                      <a:pt x="357775" y="297981"/>
                      <a:pt x="367377" y="299673"/>
                    </a:cubicBezTo>
                    <a:cubicBezTo>
                      <a:pt x="374869" y="300947"/>
                      <a:pt x="382419" y="301784"/>
                      <a:pt x="390005" y="302145"/>
                    </a:cubicBezTo>
                    <a:cubicBezTo>
                      <a:pt x="399285" y="302031"/>
                      <a:pt x="408241" y="298665"/>
                      <a:pt x="415296" y="292637"/>
                    </a:cubicBezTo>
                    <a:lnTo>
                      <a:pt x="419860" y="289405"/>
                    </a:lnTo>
                    <a:cubicBezTo>
                      <a:pt x="428569" y="283852"/>
                      <a:pt x="437886" y="279327"/>
                      <a:pt x="447622" y="275904"/>
                    </a:cubicBezTo>
                    <a:lnTo>
                      <a:pt x="439446" y="254797"/>
                    </a:lnTo>
                    <a:cubicBezTo>
                      <a:pt x="437715" y="244738"/>
                      <a:pt x="432942" y="235439"/>
                      <a:pt x="425754" y="228175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433" name="Полилиния: фигура 432">
                <a:extLst>
                  <a:ext uri="{FF2B5EF4-FFF2-40B4-BE49-F238E27FC236}">
                    <a16:creationId xmlns:a16="http://schemas.microsoft.com/office/drawing/2014/main" id="{25B182C6-BA45-ABE5-B590-A0A845C57ED4}"/>
                  </a:ext>
                </a:extLst>
              </p:cNvPr>
              <p:cNvSpPr/>
              <p:nvPr/>
            </p:nvSpPr>
            <p:spPr>
              <a:xfrm>
                <a:off x="3879403" y="4685139"/>
                <a:ext cx="710052" cy="565810"/>
              </a:xfrm>
              <a:custGeom>
                <a:avLst/>
                <a:gdLst>
                  <a:gd name="connsiteX0" fmla="*/ 329364 w 710052"/>
                  <a:gd name="connsiteY0" fmla="*/ 526223 h 565810"/>
                  <a:gd name="connsiteX1" fmla="*/ 331646 w 710052"/>
                  <a:gd name="connsiteY1" fmla="*/ 513102 h 565810"/>
                  <a:gd name="connsiteX2" fmla="*/ 345147 w 710052"/>
                  <a:gd name="connsiteY2" fmla="*/ 495228 h 565810"/>
                  <a:gd name="connsiteX3" fmla="*/ 357507 w 710052"/>
                  <a:gd name="connsiteY3" fmla="*/ 478304 h 565810"/>
                  <a:gd name="connsiteX4" fmla="*/ 357507 w 710052"/>
                  <a:gd name="connsiteY4" fmla="*/ 475452 h 565810"/>
                  <a:gd name="connsiteX5" fmla="*/ 378804 w 710052"/>
                  <a:gd name="connsiteY5" fmla="*/ 433808 h 565810"/>
                  <a:gd name="connsiteX6" fmla="*/ 409419 w 710052"/>
                  <a:gd name="connsiteY6" fmla="*/ 414793 h 565810"/>
                  <a:gd name="connsiteX7" fmla="*/ 422159 w 710052"/>
                  <a:gd name="connsiteY7" fmla="*/ 409278 h 565810"/>
                  <a:gd name="connsiteX8" fmla="*/ 430716 w 710052"/>
                  <a:gd name="connsiteY8" fmla="*/ 400341 h 565810"/>
                  <a:gd name="connsiteX9" fmla="*/ 426723 w 710052"/>
                  <a:gd name="connsiteY9" fmla="*/ 381326 h 565810"/>
                  <a:gd name="connsiteX10" fmla="*/ 392686 w 710052"/>
                  <a:gd name="connsiteY10" fmla="*/ 350331 h 565810"/>
                  <a:gd name="connsiteX11" fmla="*/ 380896 w 710052"/>
                  <a:gd name="connsiteY11" fmla="*/ 312300 h 565810"/>
                  <a:gd name="connsiteX12" fmla="*/ 389073 w 710052"/>
                  <a:gd name="connsiteY12" fmla="*/ 272938 h 565810"/>
                  <a:gd name="connsiteX13" fmla="*/ 389073 w 710052"/>
                  <a:gd name="connsiteY13" fmla="*/ 268184 h 565810"/>
                  <a:gd name="connsiteX14" fmla="*/ 402954 w 710052"/>
                  <a:gd name="connsiteY14" fmla="*/ 235668 h 565810"/>
                  <a:gd name="connsiteX15" fmla="*/ 410180 w 710052"/>
                  <a:gd name="connsiteY15" fmla="*/ 225780 h 565810"/>
                  <a:gd name="connsiteX16" fmla="*/ 413983 w 710052"/>
                  <a:gd name="connsiteY16" fmla="*/ 219315 h 565810"/>
                  <a:gd name="connsiteX17" fmla="*/ 455246 w 710052"/>
                  <a:gd name="connsiteY17" fmla="*/ 193454 h 565810"/>
                  <a:gd name="connsiteX18" fmla="*/ 463993 w 710052"/>
                  <a:gd name="connsiteY18" fmla="*/ 226350 h 565810"/>
                  <a:gd name="connsiteX19" fmla="*/ 461331 w 710052"/>
                  <a:gd name="connsiteY19" fmla="*/ 233956 h 565810"/>
                  <a:gd name="connsiteX20" fmla="*/ 461331 w 710052"/>
                  <a:gd name="connsiteY20" fmla="*/ 243844 h 565810"/>
                  <a:gd name="connsiteX21" fmla="*/ 476163 w 710052"/>
                  <a:gd name="connsiteY21" fmla="*/ 249169 h 565810"/>
                  <a:gd name="connsiteX22" fmla="*/ 482058 w 710052"/>
                  <a:gd name="connsiteY22" fmla="*/ 249169 h 565810"/>
                  <a:gd name="connsiteX23" fmla="*/ 510581 w 710052"/>
                  <a:gd name="connsiteY23" fmla="*/ 261529 h 565810"/>
                  <a:gd name="connsiteX24" fmla="*/ 545950 w 710052"/>
                  <a:gd name="connsiteY24" fmla="*/ 279213 h 565810"/>
                  <a:gd name="connsiteX25" fmla="*/ 566106 w 710052"/>
                  <a:gd name="connsiteY25" fmla="*/ 275790 h 565810"/>
                  <a:gd name="connsiteX26" fmla="*/ 595200 w 710052"/>
                  <a:gd name="connsiteY26" fmla="*/ 272938 h 565810"/>
                  <a:gd name="connsiteX27" fmla="*/ 610602 w 710052"/>
                  <a:gd name="connsiteY27" fmla="*/ 277882 h 565810"/>
                  <a:gd name="connsiteX28" fmla="*/ 650534 w 710052"/>
                  <a:gd name="connsiteY28" fmla="*/ 281875 h 565810"/>
                  <a:gd name="connsiteX29" fmla="*/ 699404 w 710052"/>
                  <a:gd name="connsiteY29" fmla="*/ 255064 h 565810"/>
                  <a:gd name="connsiteX30" fmla="*/ 710052 w 710052"/>
                  <a:gd name="connsiteY30" fmla="*/ 244605 h 565810"/>
                  <a:gd name="connsiteX31" fmla="*/ 698643 w 710052"/>
                  <a:gd name="connsiteY31" fmla="*/ 235477 h 565810"/>
                  <a:gd name="connsiteX32" fmla="*/ 682100 w 710052"/>
                  <a:gd name="connsiteY32" fmla="*/ 229773 h 565810"/>
                  <a:gd name="connsiteX33" fmla="*/ 665556 w 710052"/>
                  <a:gd name="connsiteY33" fmla="*/ 224068 h 565810"/>
                  <a:gd name="connsiteX34" fmla="*/ 650724 w 710052"/>
                  <a:gd name="connsiteY34" fmla="*/ 216842 h 565810"/>
                  <a:gd name="connsiteX35" fmla="*/ 629427 w 710052"/>
                  <a:gd name="connsiteY35" fmla="*/ 207145 h 565810"/>
                  <a:gd name="connsiteX36" fmla="*/ 594249 w 710052"/>
                  <a:gd name="connsiteY36" fmla="*/ 175769 h 565810"/>
                  <a:gd name="connsiteX37" fmla="*/ 586452 w 710052"/>
                  <a:gd name="connsiteY37" fmla="*/ 161888 h 565810"/>
                  <a:gd name="connsiteX38" fmla="*/ 576184 w 710052"/>
                  <a:gd name="connsiteY38" fmla="*/ 149908 h 565810"/>
                  <a:gd name="connsiteX39" fmla="*/ 561923 w 710052"/>
                  <a:gd name="connsiteY39" fmla="*/ 130893 h 565810"/>
                  <a:gd name="connsiteX40" fmla="*/ 554887 w 710052"/>
                  <a:gd name="connsiteY40" fmla="*/ 111877 h 565810"/>
                  <a:gd name="connsiteX41" fmla="*/ 545569 w 710052"/>
                  <a:gd name="connsiteY41" fmla="*/ 89439 h 565810"/>
                  <a:gd name="connsiteX42" fmla="*/ 530357 w 710052"/>
                  <a:gd name="connsiteY42" fmla="*/ 70424 h 565810"/>
                  <a:gd name="connsiteX43" fmla="*/ 520849 w 710052"/>
                  <a:gd name="connsiteY43" fmla="*/ 59585 h 565810"/>
                  <a:gd name="connsiteX44" fmla="*/ 515905 w 710052"/>
                  <a:gd name="connsiteY44" fmla="*/ 53120 h 565810"/>
                  <a:gd name="connsiteX45" fmla="*/ 496890 w 710052"/>
                  <a:gd name="connsiteY45" fmla="*/ 36196 h 565810"/>
                  <a:gd name="connsiteX46" fmla="*/ 480537 w 710052"/>
                  <a:gd name="connsiteY46" fmla="*/ 32393 h 565810"/>
                  <a:gd name="connsiteX47" fmla="*/ 461521 w 710052"/>
                  <a:gd name="connsiteY47" fmla="*/ 28020 h 565810"/>
                  <a:gd name="connsiteX48" fmla="*/ 431857 w 710052"/>
                  <a:gd name="connsiteY48" fmla="*/ 12997 h 565810"/>
                  <a:gd name="connsiteX49" fmla="*/ 425772 w 710052"/>
                  <a:gd name="connsiteY49" fmla="*/ 9384 h 565810"/>
                  <a:gd name="connsiteX50" fmla="*/ 394777 w 710052"/>
                  <a:gd name="connsiteY50" fmla="*/ 67 h 565810"/>
                  <a:gd name="connsiteX51" fmla="*/ 389073 w 710052"/>
                  <a:gd name="connsiteY51" fmla="*/ 4821 h 565810"/>
                  <a:gd name="connsiteX52" fmla="*/ 387552 w 710052"/>
                  <a:gd name="connsiteY52" fmla="*/ 12427 h 565810"/>
                  <a:gd name="connsiteX53" fmla="*/ 373670 w 710052"/>
                  <a:gd name="connsiteY53" fmla="*/ 27069 h 565810"/>
                  <a:gd name="connsiteX54" fmla="*/ 365113 w 710052"/>
                  <a:gd name="connsiteY54" fmla="*/ 28590 h 565810"/>
                  <a:gd name="connsiteX55" fmla="*/ 340203 w 710052"/>
                  <a:gd name="connsiteY55" fmla="*/ 41901 h 565810"/>
                  <a:gd name="connsiteX56" fmla="*/ 335069 w 710052"/>
                  <a:gd name="connsiteY56" fmla="*/ 46655 h 565810"/>
                  <a:gd name="connsiteX57" fmla="*/ 306546 w 710052"/>
                  <a:gd name="connsiteY57" fmla="*/ 61487 h 565810"/>
                  <a:gd name="connsiteX58" fmla="*/ 291143 w 710052"/>
                  <a:gd name="connsiteY58" fmla="*/ 61487 h 565810"/>
                  <a:gd name="connsiteX59" fmla="*/ 264522 w 710052"/>
                  <a:gd name="connsiteY59" fmla="*/ 63388 h 565810"/>
                  <a:gd name="connsiteX60" fmla="*/ 253683 w 710052"/>
                  <a:gd name="connsiteY60" fmla="*/ 67572 h 565810"/>
                  <a:gd name="connsiteX61" fmla="*/ 222878 w 710052"/>
                  <a:gd name="connsiteY61" fmla="*/ 73847 h 565810"/>
                  <a:gd name="connsiteX62" fmla="*/ 200440 w 710052"/>
                  <a:gd name="connsiteY62" fmla="*/ 84496 h 565810"/>
                  <a:gd name="connsiteX63" fmla="*/ 196447 w 710052"/>
                  <a:gd name="connsiteY63" fmla="*/ 89059 h 565810"/>
                  <a:gd name="connsiteX64" fmla="*/ 158416 w 710052"/>
                  <a:gd name="connsiteY64" fmla="*/ 101229 h 565810"/>
                  <a:gd name="connsiteX65" fmla="*/ 148148 w 710052"/>
                  <a:gd name="connsiteY65" fmla="*/ 101229 h 565810"/>
                  <a:gd name="connsiteX66" fmla="*/ 145486 w 710052"/>
                  <a:gd name="connsiteY66" fmla="*/ 131083 h 565810"/>
                  <a:gd name="connsiteX67" fmla="*/ 88439 w 710052"/>
                  <a:gd name="connsiteY67" fmla="*/ 169114 h 565810"/>
                  <a:gd name="connsiteX68" fmla="*/ 56684 w 710052"/>
                  <a:gd name="connsiteY68" fmla="*/ 179002 h 565810"/>
                  <a:gd name="connsiteX69" fmla="*/ 32914 w 710052"/>
                  <a:gd name="connsiteY69" fmla="*/ 218934 h 565810"/>
                  <a:gd name="connsiteX70" fmla="*/ 30443 w 710052"/>
                  <a:gd name="connsiteY70" fmla="*/ 227491 h 565810"/>
                  <a:gd name="connsiteX71" fmla="*/ 30443 w 710052"/>
                  <a:gd name="connsiteY71" fmla="*/ 228822 h 565810"/>
                  <a:gd name="connsiteX72" fmla="*/ 26449 w 710052"/>
                  <a:gd name="connsiteY72" fmla="*/ 254873 h 565810"/>
                  <a:gd name="connsiteX73" fmla="*/ 26449 w 710052"/>
                  <a:gd name="connsiteY73" fmla="*/ 258867 h 565810"/>
                  <a:gd name="connsiteX74" fmla="*/ 18463 w 710052"/>
                  <a:gd name="connsiteY74" fmla="*/ 283967 h 565810"/>
                  <a:gd name="connsiteX75" fmla="*/ 18463 w 710052"/>
                  <a:gd name="connsiteY75" fmla="*/ 283967 h 565810"/>
                  <a:gd name="connsiteX76" fmla="*/ 11047 w 710052"/>
                  <a:gd name="connsiteY76" fmla="*/ 289481 h 565810"/>
                  <a:gd name="connsiteX77" fmla="*/ 11047 w 710052"/>
                  <a:gd name="connsiteY77" fmla="*/ 289481 h 565810"/>
                  <a:gd name="connsiteX78" fmla="*/ 18 w 710052"/>
                  <a:gd name="connsiteY78" fmla="*/ 304884 h 565810"/>
                  <a:gd name="connsiteX79" fmla="*/ 9906 w 710052"/>
                  <a:gd name="connsiteY79" fmla="*/ 329604 h 565810"/>
                  <a:gd name="connsiteX80" fmla="*/ 15230 w 710052"/>
                  <a:gd name="connsiteY80" fmla="*/ 334928 h 565810"/>
                  <a:gd name="connsiteX81" fmla="*/ 29872 w 710052"/>
                  <a:gd name="connsiteY81" fmla="*/ 353943 h 565810"/>
                  <a:gd name="connsiteX82" fmla="*/ 32344 w 710052"/>
                  <a:gd name="connsiteY82" fmla="*/ 360789 h 565810"/>
                  <a:gd name="connsiteX83" fmla="*/ 41281 w 710052"/>
                  <a:gd name="connsiteY83" fmla="*/ 377142 h 565810"/>
                  <a:gd name="connsiteX84" fmla="*/ 73988 w 710052"/>
                  <a:gd name="connsiteY84" fmla="*/ 393305 h 565810"/>
                  <a:gd name="connsiteX85" fmla="*/ 94714 w 710052"/>
                  <a:gd name="connsiteY85" fmla="*/ 401102 h 565810"/>
                  <a:gd name="connsiteX86" fmla="*/ 121907 w 710052"/>
                  <a:gd name="connsiteY86" fmla="*/ 422969 h 565810"/>
                  <a:gd name="connsiteX87" fmla="*/ 127231 w 710052"/>
                  <a:gd name="connsiteY87" fmla="*/ 438372 h 565810"/>
                  <a:gd name="connsiteX88" fmla="*/ 132365 w 710052"/>
                  <a:gd name="connsiteY88" fmla="*/ 451873 h 565810"/>
                  <a:gd name="connsiteX89" fmla="*/ 148908 w 710052"/>
                  <a:gd name="connsiteY89" fmla="*/ 462521 h 565810"/>
                  <a:gd name="connsiteX90" fmla="*/ 163360 w 710052"/>
                  <a:gd name="connsiteY90" fmla="*/ 470318 h 565810"/>
                  <a:gd name="connsiteX91" fmla="*/ 182375 w 710052"/>
                  <a:gd name="connsiteY91" fmla="*/ 499031 h 565810"/>
                  <a:gd name="connsiteX92" fmla="*/ 190742 w 710052"/>
                  <a:gd name="connsiteY92" fmla="*/ 520518 h 565810"/>
                  <a:gd name="connsiteX93" fmla="*/ 194545 w 710052"/>
                  <a:gd name="connsiteY93" fmla="*/ 519377 h 565810"/>
                  <a:gd name="connsiteX94" fmla="*/ 268895 w 710052"/>
                  <a:gd name="connsiteY94" fmla="*/ 541245 h 565810"/>
                  <a:gd name="connsiteX95" fmla="*/ 277262 w 710052"/>
                  <a:gd name="connsiteY95" fmla="*/ 551894 h 565810"/>
                  <a:gd name="connsiteX96" fmla="*/ 308638 w 710052"/>
                  <a:gd name="connsiteY96" fmla="*/ 562732 h 565810"/>
                  <a:gd name="connsiteX97" fmla="*/ 308638 w 710052"/>
                  <a:gd name="connsiteY97" fmla="*/ 562732 h 565810"/>
                  <a:gd name="connsiteX98" fmla="*/ 316054 w 710052"/>
                  <a:gd name="connsiteY98" fmla="*/ 550943 h 565810"/>
                  <a:gd name="connsiteX99" fmla="*/ 321948 w 710052"/>
                  <a:gd name="connsiteY99" fmla="*/ 544668 h 565810"/>
                  <a:gd name="connsiteX100" fmla="*/ 329174 w 710052"/>
                  <a:gd name="connsiteY100" fmla="*/ 535350 h 565810"/>
                  <a:gd name="connsiteX101" fmla="*/ 329364 w 710052"/>
                  <a:gd name="connsiteY101" fmla="*/ 526223 h 565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710052" h="565810">
                    <a:moveTo>
                      <a:pt x="329364" y="526223"/>
                    </a:moveTo>
                    <a:cubicBezTo>
                      <a:pt x="329345" y="521754"/>
                      <a:pt x="330125" y="517305"/>
                      <a:pt x="331646" y="513102"/>
                    </a:cubicBezTo>
                    <a:cubicBezTo>
                      <a:pt x="334841" y="506257"/>
                      <a:pt x="339443" y="500172"/>
                      <a:pt x="345147" y="495228"/>
                    </a:cubicBezTo>
                    <a:cubicBezTo>
                      <a:pt x="350776" y="490854"/>
                      <a:pt x="355054" y="484997"/>
                      <a:pt x="357507" y="478304"/>
                    </a:cubicBezTo>
                    <a:lnTo>
                      <a:pt x="357507" y="475452"/>
                    </a:lnTo>
                    <a:cubicBezTo>
                      <a:pt x="360816" y="459935"/>
                      <a:pt x="368156" y="445579"/>
                      <a:pt x="378804" y="433808"/>
                    </a:cubicBezTo>
                    <a:cubicBezTo>
                      <a:pt x="387342" y="425099"/>
                      <a:pt x="397839" y="418596"/>
                      <a:pt x="409419" y="414793"/>
                    </a:cubicBezTo>
                    <a:cubicBezTo>
                      <a:pt x="413755" y="413176"/>
                      <a:pt x="418014" y="411332"/>
                      <a:pt x="422159" y="409278"/>
                    </a:cubicBezTo>
                    <a:cubicBezTo>
                      <a:pt x="426115" y="407605"/>
                      <a:pt x="429214" y="404372"/>
                      <a:pt x="430716" y="400341"/>
                    </a:cubicBezTo>
                    <a:cubicBezTo>
                      <a:pt x="431705" y="393724"/>
                      <a:pt x="430279" y="386992"/>
                      <a:pt x="426723" y="381326"/>
                    </a:cubicBezTo>
                    <a:cubicBezTo>
                      <a:pt x="418528" y="367996"/>
                      <a:pt x="406719" y="357252"/>
                      <a:pt x="392686" y="350331"/>
                    </a:cubicBezTo>
                    <a:cubicBezTo>
                      <a:pt x="380516" y="342915"/>
                      <a:pt x="369677" y="332456"/>
                      <a:pt x="380896" y="312300"/>
                    </a:cubicBezTo>
                    <a:cubicBezTo>
                      <a:pt x="387894" y="300434"/>
                      <a:pt x="390765" y="286610"/>
                      <a:pt x="389073" y="272938"/>
                    </a:cubicBezTo>
                    <a:lnTo>
                      <a:pt x="389073" y="268184"/>
                    </a:lnTo>
                    <a:cubicBezTo>
                      <a:pt x="389567" y="256014"/>
                      <a:pt x="394511" y="244453"/>
                      <a:pt x="402954" y="235668"/>
                    </a:cubicBezTo>
                    <a:cubicBezTo>
                      <a:pt x="405236" y="232625"/>
                      <a:pt x="407708" y="229393"/>
                      <a:pt x="410180" y="225780"/>
                    </a:cubicBezTo>
                    <a:lnTo>
                      <a:pt x="413983" y="219315"/>
                    </a:lnTo>
                    <a:cubicBezTo>
                      <a:pt x="421589" y="206004"/>
                      <a:pt x="434139" y="183946"/>
                      <a:pt x="455246" y="193454"/>
                    </a:cubicBezTo>
                    <a:cubicBezTo>
                      <a:pt x="476353" y="202961"/>
                      <a:pt x="467606" y="217223"/>
                      <a:pt x="463993" y="226350"/>
                    </a:cubicBezTo>
                    <a:cubicBezTo>
                      <a:pt x="462890" y="228803"/>
                      <a:pt x="461997" y="231351"/>
                      <a:pt x="461331" y="233956"/>
                    </a:cubicBezTo>
                    <a:cubicBezTo>
                      <a:pt x="459829" y="237075"/>
                      <a:pt x="459829" y="240726"/>
                      <a:pt x="461331" y="243844"/>
                    </a:cubicBezTo>
                    <a:cubicBezTo>
                      <a:pt x="463043" y="246506"/>
                      <a:pt x="467987" y="248218"/>
                      <a:pt x="476163" y="249169"/>
                    </a:cubicBezTo>
                    <a:lnTo>
                      <a:pt x="482058" y="249169"/>
                    </a:lnTo>
                    <a:cubicBezTo>
                      <a:pt x="492973" y="248674"/>
                      <a:pt x="503488" y="253219"/>
                      <a:pt x="510581" y="261529"/>
                    </a:cubicBezTo>
                    <a:cubicBezTo>
                      <a:pt x="520108" y="271150"/>
                      <a:pt x="532544" y="277368"/>
                      <a:pt x="545950" y="279213"/>
                    </a:cubicBezTo>
                    <a:cubicBezTo>
                      <a:pt x="552852" y="279669"/>
                      <a:pt x="559755" y="278509"/>
                      <a:pt x="566106" y="275790"/>
                    </a:cubicBezTo>
                    <a:cubicBezTo>
                      <a:pt x="575291" y="271892"/>
                      <a:pt x="585445" y="270903"/>
                      <a:pt x="595200" y="272938"/>
                    </a:cubicBezTo>
                    <a:cubicBezTo>
                      <a:pt x="600429" y="274307"/>
                      <a:pt x="605563" y="275942"/>
                      <a:pt x="610602" y="277882"/>
                    </a:cubicBezTo>
                    <a:cubicBezTo>
                      <a:pt x="622981" y="284005"/>
                      <a:pt x="637185" y="285431"/>
                      <a:pt x="650534" y="281875"/>
                    </a:cubicBezTo>
                    <a:cubicBezTo>
                      <a:pt x="668143" y="275581"/>
                      <a:pt x="684629" y="266530"/>
                      <a:pt x="699404" y="255064"/>
                    </a:cubicBezTo>
                    <a:cubicBezTo>
                      <a:pt x="703283" y="251926"/>
                      <a:pt x="706839" y="248427"/>
                      <a:pt x="710052" y="244605"/>
                    </a:cubicBezTo>
                    <a:cubicBezTo>
                      <a:pt x="707333" y="240402"/>
                      <a:pt x="703340" y="237208"/>
                      <a:pt x="698643" y="235477"/>
                    </a:cubicBezTo>
                    <a:cubicBezTo>
                      <a:pt x="693262" y="233215"/>
                      <a:pt x="687728" y="231294"/>
                      <a:pt x="682100" y="229773"/>
                    </a:cubicBezTo>
                    <a:cubicBezTo>
                      <a:pt x="676452" y="228271"/>
                      <a:pt x="670919" y="226369"/>
                      <a:pt x="665556" y="224068"/>
                    </a:cubicBezTo>
                    <a:cubicBezTo>
                      <a:pt x="660422" y="221977"/>
                      <a:pt x="655668" y="219315"/>
                      <a:pt x="650724" y="216842"/>
                    </a:cubicBezTo>
                    <a:cubicBezTo>
                      <a:pt x="643917" y="212982"/>
                      <a:pt x="636805" y="209750"/>
                      <a:pt x="629427" y="207145"/>
                    </a:cubicBezTo>
                    <a:cubicBezTo>
                      <a:pt x="613416" y="202809"/>
                      <a:pt x="600372" y="191191"/>
                      <a:pt x="594249" y="175769"/>
                    </a:cubicBezTo>
                    <a:cubicBezTo>
                      <a:pt x="591967" y="171586"/>
                      <a:pt x="589685" y="167022"/>
                      <a:pt x="586452" y="161888"/>
                    </a:cubicBezTo>
                    <a:cubicBezTo>
                      <a:pt x="583410" y="157591"/>
                      <a:pt x="579968" y="153578"/>
                      <a:pt x="576184" y="149908"/>
                    </a:cubicBezTo>
                    <a:cubicBezTo>
                      <a:pt x="570289" y="144508"/>
                      <a:pt x="565459" y="138062"/>
                      <a:pt x="561923" y="130893"/>
                    </a:cubicBezTo>
                    <a:cubicBezTo>
                      <a:pt x="559223" y="124694"/>
                      <a:pt x="556884" y="118343"/>
                      <a:pt x="554887" y="111877"/>
                    </a:cubicBezTo>
                    <a:cubicBezTo>
                      <a:pt x="552681" y="104043"/>
                      <a:pt x="549562" y="96513"/>
                      <a:pt x="545569" y="89439"/>
                    </a:cubicBezTo>
                    <a:cubicBezTo>
                      <a:pt x="541139" y="82613"/>
                      <a:pt x="536043" y="76243"/>
                      <a:pt x="530357" y="70424"/>
                    </a:cubicBezTo>
                    <a:cubicBezTo>
                      <a:pt x="527124" y="66811"/>
                      <a:pt x="523892" y="63388"/>
                      <a:pt x="520849" y="59585"/>
                    </a:cubicBezTo>
                    <a:cubicBezTo>
                      <a:pt x="517807" y="55782"/>
                      <a:pt x="517427" y="55402"/>
                      <a:pt x="515905" y="53120"/>
                    </a:cubicBezTo>
                    <a:cubicBezTo>
                      <a:pt x="511437" y="45685"/>
                      <a:pt x="504800" y="39771"/>
                      <a:pt x="496890" y="36196"/>
                    </a:cubicBezTo>
                    <a:cubicBezTo>
                      <a:pt x="491585" y="34390"/>
                      <a:pt x="486108" y="33116"/>
                      <a:pt x="480537" y="32393"/>
                    </a:cubicBezTo>
                    <a:cubicBezTo>
                      <a:pt x="474071" y="31614"/>
                      <a:pt x="467682" y="30149"/>
                      <a:pt x="461521" y="28020"/>
                    </a:cubicBezTo>
                    <a:cubicBezTo>
                      <a:pt x="451158" y="24008"/>
                      <a:pt x="441213" y="18987"/>
                      <a:pt x="431857" y="12997"/>
                    </a:cubicBezTo>
                    <a:lnTo>
                      <a:pt x="425772" y="9384"/>
                    </a:lnTo>
                    <a:cubicBezTo>
                      <a:pt x="416835" y="2786"/>
                      <a:pt x="405882" y="-522"/>
                      <a:pt x="394777" y="67"/>
                    </a:cubicBezTo>
                    <a:cubicBezTo>
                      <a:pt x="392305" y="790"/>
                      <a:pt x="390233" y="2520"/>
                      <a:pt x="389073" y="4821"/>
                    </a:cubicBezTo>
                    <a:cubicBezTo>
                      <a:pt x="387875" y="7179"/>
                      <a:pt x="387361" y="9803"/>
                      <a:pt x="387552" y="12427"/>
                    </a:cubicBezTo>
                    <a:cubicBezTo>
                      <a:pt x="387552" y="19653"/>
                      <a:pt x="385270" y="24407"/>
                      <a:pt x="373670" y="27069"/>
                    </a:cubicBezTo>
                    <a:lnTo>
                      <a:pt x="365113" y="28590"/>
                    </a:lnTo>
                    <a:cubicBezTo>
                      <a:pt x="355568" y="30149"/>
                      <a:pt x="346802" y="34827"/>
                      <a:pt x="340203" y="41901"/>
                    </a:cubicBezTo>
                    <a:cubicBezTo>
                      <a:pt x="338302" y="43422"/>
                      <a:pt x="336781" y="45134"/>
                      <a:pt x="335069" y="46655"/>
                    </a:cubicBezTo>
                    <a:cubicBezTo>
                      <a:pt x="328052" y="55383"/>
                      <a:pt x="317708" y="60764"/>
                      <a:pt x="306546" y="61487"/>
                    </a:cubicBezTo>
                    <a:cubicBezTo>
                      <a:pt x="301412" y="61772"/>
                      <a:pt x="296278" y="61772"/>
                      <a:pt x="291143" y="61487"/>
                    </a:cubicBezTo>
                    <a:cubicBezTo>
                      <a:pt x="282225" y="60308"/>
                      <a:pt x="273174" y="60954"/>
                      <a:pt x="264522" y="63388"/>
                    </a:cubicBezTo>
                    <a:cubicBezTo>
                      <a:pt x="260529" y="64719"/>
                      <a:pt x="256916" y="66241"/>
                      <a:pt x="253683" y="67572"/>
                    </a:cubicBezTo>
                    <a:cubicBezTo>
                      <a:pt x="244119" y="72269"/>
                      <a:pt x="233508" y="74436"/>
                      <a:pt x="222878" y="73847"/>
                    </a:cubicBezTo>
                    <a:cubicBezTo>
                      <a:pt x="210899" y="72896"/>
                      <a:pt x="208046" y="76319"/>
                      <a:pt x="200440" y="84496"/>
                    </a:cubicBezTo>
                    <a:cubicBezTo>
                      <a:pt x="199299" y="86017"/>
                      <a:pt x="197778" y="87538"/>
                      <a:pt x="196447" y="89059"/>
                    </a:cubicBezTo>
                    <a:cubicBezTo>
                      <a:pt x="186216" y="98586"/>
                      <a:pt x="172278" y="103054"/>
                      <a:pt x="158416" y="101229"/>
                    </a:cubicBezTo>
                    <a:lnTo>
                      <a:pt x="148148" y="101229"/>
                    </a:lnTo>
                    <a:cubicBezTo>
                      <a:pt x="149536" y="111250"/>
                      <a:pt x="148623" y="121461"/>
                      <a:pt x="145486" y="131083"/>
                    </a:cubicBezTo>
                    <a:cubicBezTo>
                      <a:pt x="136358" y="158465"/>
                      <a:pt x="111068" y="163790"/>
                      <a:pt x="88439" y="169114"/>
                    </a:cubicBezTo>
                    <a:cubicBezTo>
                      <a:pt x="77410" y="170806"/>
                      <a:pt x="66705" y="174134"/>
                      <a:pt x="56684" y="179002"/>
                    </a:cubicBezTo>
                    <a:cubicBezTo>
                      <a:pt x="43449" y="188338"/>
                      <a:pt x="34816" y="202847"/>
                      <a:pt x="32914" y="218934"/>
                    </a:cubicBezTo>
                    <a:cubicBezTo>
                      <a:pt x="32914" y="221787"/>
                      <a:pt x="31393" y="224639"/>
                      <a:pt x="30443" y="227491"/>
                    </a:cubicBezTo>
                    <a:lnTo>
                      <a:pt x="30443" y="228822"/>
                    </a:lnTo>
                    <a:cubicBezTo>
                      <a:pt x="27267" y="237113"/>
                      <a:pt x="25917" y="246012"/>
                      <a:pt x="26449" y="254873"/>
                    </a:cubicBezTo>
                    <a:lnTo>
                      <a:pt x="26449" y="258867"/>
                    </a:lnTo>
                    <a:cubicBezTo>
                      <a:pt x="29207" y="268089"/>
                      <a:pt x="26031" y="278034"/>
                      <a:pt x="18463" y="283967"/>
                    </a:cubicBezTo>
                    <a:lnTo>
                      <a:pt x="18463" y="283967"/>
                    </a:lnTo>
                    <a:cubicBezTo>
                      <a:pt x="15991" y="286058"/>
                      <a:pt x="13519" y="287770"/>
                      <a:pt x="11047" y="289481"/>
                    </a:cubicBezTo>
                    <a:lnTo>
                      <a:pt x="11047" y="289481"/>
                    </a:lnTo>
                    <a:cubicBezTo>
                      <a:pt x="4886" y="292296"/>
                      <a:pt x="702" y="298152"/>
                      <a:pt x="18" y="304884"/>
                    </a:cubicBezTo>
                    <a:cubicBezTo>
                      <a:pt x="-286" y="314144"/>
                      <a:pt x="3289" y="323120"/>
                      <a:pt x="9906" y="329604"/>
                    </a:cubicBezTo>
                    <a:cubicBezTo>
                      <a:pt x="11617" y="331505"/>
                      <a:pt x="13519" y="333217"/>
                      <a:pt x="15230" y="334928"/>
                    </a:cubicBezTo>
                    <a:cubicBezTo>
                      <a:pt x="21372" y="340195"/>
                      <a:pt x="26354" y="346660"/>
                      <a:pt x="29872" y="353943"/>
                    </a:cubicBezTo>
                    <a:cubicBezTo>
                      <a:pt x="30823" y="356225"/>
                      <a:pt x="31584" y="358507"/>
                      <a:pt x="32344" y="360789"/>
                    </a:cubicBezTo>
                    <a:cubicBezTo>
                      <a:pt x="33922" y="366893"/>
                      <a:pt x="36984" y="372521"/>
                      <a:pt x="41281" y="377142"/>
                    </a:cubicBezTo>
                    <a:cubicBezTo>
                      <a:pt x="50884" y="384824"/>
                      <a:pt x="62046" y="390339"/>
                      <a:pt x="73988" y="393305"/>
                    </a:cubicBezTo>
                    <a:cubicBezTo>
                      <a:pt x="81043" y="395511"/>
                      <a:pt x="87964" y="398116"/>
                      <a:pt x="94714" y="401102"/>
                    </a:cubicBezTo>
                    <a:cubicBezTo>
                      <a:pt x="105667" y="405665"/>
                      <a:pt x="115099" y="413253"/>
                      <a:pt x="121907" y="422969"/>
                    </a:cubicBezTo>
                    <a:cubicBezTo>
                      <a:pt x="124455" y="427799"/>
                      <a:pt x="126261" y="432990"/>
                      <a:pt x="127231" y="438372"/>
                    </a:cubicBezTo>
                    <a:cubicBezTo>
                      <a:pt x="128163" y="443126"/>
                      <a:pt x="129893" y="447708"/>
                      <a:pt x="132365" y="451873"/>
                    </a:cubicBezTo>
                    <a:cubicBezTo>
                      <a:pt x="136853" y="456817"/>
                      <a:pt x="142557" y="460487"/>
                      <a:pt x="148908" y="462521"/>
                    </a:cubicBezTo>
                    <a:cubicBezTo>
                      <a:pt x="154043" y="464480"/>
                      <a:pt x="158911" y="467104"/>
                      <a:pt x="163360" y="470318"/>
                    </a:cubicBezTo>
                    <a:cubicBezTo>
                      <a:pt x="172373" y="477810"/>
                      <a:pt x="178991" y="487793"/>
                      <a:pt x="182375" y="499031"/>
                    </a:cubicBezTo>
                    <a:lnTo>
                      <a:pt x="190742" y="520518"/>
                    </a:lnTo>
                    <a:lnTo>
                      <a:pt x="194545" y="519377"/>
                    </a:lnTo>
                    <a:cubicBezTo>
                      <a:pt x="221471" y="511182"/>
                      <a:pt x="250698" y="519777"/>
                      <a:pt x="268895" y="541245"/>
                    </a:cubicBezTo>
                    <a:cubicBezTo>
                      <a:pt x="272128" y="545048"/>
                      <a:pt x="274790" y="548661"/>
                      <a:pt x="277262" y="551894"/>
                    </a:cubicBezTo>
                    <a:cubicBezTo>
                      <a:pt x="286960" y="565014"/>
                      <a:pt x="290193" y="569388"/>
                      <a:pt x="308638" y="562732"/>
                    </a:cubicBezTo>
                    <a:lnTo>
                      <a:pt x="308638" y="562732"/>
                    </a:lnTo>
                    <a:cubicBezTo>
                      <a:pt x="310710" y="558568"/>
                      <a:pt x="313182" y="554613"/>
                      <a:pt x="316054" y="550943"/>
                    </a:cubicBezTo>
                    <a:cubicBezTo>
                      <a:pt x="317860" y="548718"/>
                      <a:pt x="319838" y="546626"/>
                      <a:pt x="321948" y="544668"/>
                    </a:cubicBezTo>
                    <a:cubicBezTo>
                      <a:pt x="325048" y="542177"/>
                      <a:pt x="327539" y="538982"/>
                      <a:pt x="329174" y="535350"/>
                    </a:cubicBezTo>
                    <a:cubicBezTo>
                      <a:pt x="329688" y="532327"/>
                      <a:pt x="329745" y="529265"/>
                      <a:pt x="329364" y="526223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434" name="Полилиния: фигура 433">
                <a:extLst>
                  <a:ext uri="{FF2B5EF4-FFF2-40B4-BE49-F238E27FC236}">
                    <a16:creationId xmlns:a16="http://schemas.microsoft.com/office/drawing/2014/main" id="{1E55FFEC-E80B-DE13-F146-4FB692DD6FD8}"/>
                  </a:ext>
                </a:extLst>
              </p:cNvPr>
              <p:cNvSpPr/>
              <p:nvPr/>
            </p:nvSpPr>
            <p:spPr>
              <a:xfrm>
                <a:off x="3824467" y="3862600"/>
                <a:ext cx="1481488" cy="1057255"/>
              </a:xfrm>
              <a:custGeom>
                <a:avLst/>
                <a:gdLst>
                  <a:gd name="connsiteX0" fmla="*/ 195478 w 1481488"/>
                  <a:gd name="connsiteY0" fmla="*/ 889350 h 1057255"/>
                  <a:gd name="connsiteX1" fmla="*/ 201373 w 1481488"/>
                  <a:gd name="connsiteY1" fmla="*/ 912168 h 1057255"/>
                  <a:gd name="connsiteX2" fmla="*/ 213162 w 1481488"/>
                  <a:gd name="connsiteY2" fmla="*/ 912168 h 1057255"/>
                  <a:gd name="connsiteX3" fmla="*/ 243017 w 1481488"/>
                  <a:gd name="connsiteY3" fmla="*/ 902470 h 1057255"/>
                  <a:gd name="connsiteX4" fmla="*/ 247010 w 1481488"/>
                  <a:gd name="connsiteY4" fmla="*/ 898097 h 1057255"/>
                  <a:gd name="connsiteX5" fmla="*/ 278385 w 1481488"/>
                  <a:gd name="connsiteY5" fmla="*/ 883835 h 1057255"/>
                  <a:gd name="connsiteX6" fmla="*/ 304056 w 1481488"/>
                  <a:gd name="connsiteY6" fmla="*/ 878321 h 1057255"/>
                  <a:gd name="connsiteX7" fmla="*/ 315656 w 1481488"/>
                  <a:gd name="connsiteY7" fmla="*/ 873947 h 1057255"/>
                  <a:gd name="connsiteX8" fmla="*/ 346270 w 1481488"/>
                  <a:gd name="connsiteY8" fmla="*/ 871665 h 1057255"/>
                  <a:gd name="connsiteX9" fmla="*/ 360722 w 1481488"/>
                  <a:gd name="connsiteY9" fmla="*/ 871665 h 1057255"/>
                  <a:gd name="connsiteX10" fmla="*/ 382209 w 1481488"/>
                  <a:gd name="connsiteY10" fmla="*/ 859876 h 1057255"/>
                  <a:gd name="connsiteX11" fmla="*/ 387534 w 1481488"/>
                  <a:gd name="connsiteY11" fmla="*/ 854742 h 1057255"/>
                  <a:gd name="connsiteX12" fmla="*/ 418909 w 1481488"/>
                  <a:gd name="connsiteY12" fmla="*/ 841051 h 1057255"/>
                  <a:gd name="connsiteX13" fmla="*/ 427085 w 1481488"/>
                  <a:gd name="connsiteY13" fmla="*/ 839529 h 1057255"/>
                  <a:gd name="connsiteX14" fmla="*/ 432410 w 1481488"/>
                  <a:gd name="connsiteY14" fmla="*/ 837628 h 1057255"/>
                  <a:gd name="connsiteX15" fmla="*/ 432410 w 1481488"/>
                  <a:gd name="connsiteY15" fmla="*/ 835536 h 1057255"/>
                  <a:gd name="connsiteX16" fmla="*/ 435262 w 1481488"/>
                  <a:gd name="connsiteY16" fmla="*/ 822796 h 1057255"/>
                  <a:gd name="connsiteX17" fmla="*/ 447622 w 1481488"/>
                  <a:gd name="connsiteY17" fmla="*/ 812908 h 1057255"/>
                  <a:gd name="connsiteX18" fmla="*/ 486794 w 1481488"/>
                  <a:gd name="connsiteY18" fmla="*/ 823176 h 1057255"/>
                  <a:gd name="connsiteX19" fmla="*/ 493069 w 1481488"/>
                  <a:gd name="connsiteY19" fmla="*/ 826789 h 1057255"/>
                  <a:gd name="connsiteX20" fmla="*/ 520831 w 1481488"/>
                  <a:gd name="connsiteY20" fmla="*/ 841051 h 1057255"/>
                  <a:gd name="connsiteX21" fmla="*/ 537565 w 1481488"/>
                  <a:gd name="connsiteY21" fmla="*/ 844854 h 1057255"/>
                  <a:gd name="connsiteX22" fmla="*/ 556580 w 1481488"/>
                  <a:gd name="connsiteY22" fmla="*/ 849227 h 1057255"/>
                  <a:gd name="connsiteX23" fmla="*/ 580350 w 1481488"/>
                  <a:gd name="connsiteY23" fmla="*/ 869764 h 1057255"/>
                  <a:gd name="connsiteX24" fmla="*/ 585103 w 1481488"/>
                  <a:gd name="connsiteY24" fmla="*/ 875849 h 1057255"/>
                  <a:gd name="connsiteX25" fmla="*/ 594231 w 1481488"/>
                  <a:gd name="connsiteY25" fmla="*/ 886117 h 1057255"/>
                  <a:gd name="connsiteX26" fmla="*/ 610584 w 1481488"/>
                  <a:gd name="connsiteY26" fmla="*/ 906273 h 1057255"/>
                  <a:gd name="connsiteX27" fmla="*/ 621043 w 1481488"/>
                  <a:gd name="connsiteY27" fmla="*/ 930993 h 1057255"/>
                  <a:gd name="connsiteX28" fmla="*/ 627508 w 1481488"/>
                  <a:gd name="connsiteY28" fmla="*/ 948107 h 1057255"/>
                  <a:gd name="connsiteX29" fmla="*/ 639678 w 1481488"/>
                  <a:gd name="connsiteY29" fmla="*/ 963510 h 1057255"/>
                  <a:gd name="connsiteX30" fmla="*/ 651277 w 1481488"/>
                  <a:gd name="connsiteY30" fmla="*/ 977201 h 1057255"/>
                  <a:gd name="connsiteX31" fmla="*/ 659644 w 1481488"/>
                  <a:gd name="connsiteY31" fmla="*/ 991653 h 1057255"/>
                  <a:gd name="connsiteX32" fmla="*/ 688547 w 1481488"/>
                  <a:gd name="connsiteY32" fmla="*/ 1017894 h 1057255"/>
                  <a:gd name="connsiteX33" fmla="*/ 711746 w 1481488"/>
                  <a:gd name="connsiteY33" fmla="*/ 1028352 h 1057255"/>
                  <a:gd name="connsiteX34" fmla="*/ 725817 w 1481488"/>
                  <a:gd name="connsiteY34" fmla="*/ 1035388 h 1057255"/>
                  <a:gd name="connsiteX35" fmla="*/ 741030 w 1481488"/>
                  <a:gd name="connsiteY35" fmla="*/ 1040522 h 1057255"/>
                  <a:gd name="connsiteX36" fmla="*/ 759094 w 1481488"/>
                  <a:gd name="connsiteY36" fmla="*/ 1046797 h 1057255"/>
                  <a:gd name="connsiteX37" fmla="*/ 773356 w 1481488"/>
                  <a:gd name="connsiteY37" fmla="*/ 1057256 h 1057255"/>
                  <a:gd name="connsiteX38" fmla="*/ 775447 w 1481488"/>
                  <a:gd name="connsiteY38" fmla="*/ 1054974 h 1057255"/>
                  <a:gd name="connsiteX39" fmla="*/ 791040 w 1481488"/>
                  <a:gd name="connsiteY39" fmla="*/ 1043374 h 1057255"/>
                  <a:gd name="connsiteX40" fmla="*/ 799217 w 1481488"/>
                  <a:gd name="connsiteY40" fmla="*/ 1037860 h 1057255"/>
                  <a:gd name="connsiteX41" fmla="*/ 801308 w 1481488"/>
                  <a:gd name="connsiteY41" fmla="*/ 1036338 h 1057255"/>
                  <a:gd name="connsiteX42" fmla="*/ 811386 w 1481488"/>
                  <a:gd name="connsiteY42" fmla="*/ 1026260 h 1057255"/>
                  <a:gd name="connsiteX43" fmla="*/ 813478 w 1481488"/>
                  <a:gd name="connsiteY43" fmla="*/ 1016563 h 1057255"/>
                  <a:gd name="connsiteX44" fmla="*/ 818042 w 1481488"/>
                  <a:gd name="connsiteY44" fmla="*/ 999829 h 1057255"/>
                  <a:gd name="connsiteX45" fmla="*/ 866151 w 1481488"/>
                  <a:gd name="connsiteY45" fmla="*/ 963890 h 1057255"/>
                  <a:gd name="connsiteX46" fmla="*/ 875468 w 1481488"/>
                  <a:gd name="connsiteY46" fmla="*/ 965411 h 1057255"/>
                  <a:gd name="connsiteX47" fmla="*/ 889730 w 1481488"/>
                  <a:gd name="connsiteY47" fmla="*/ 958185 h 1057255"/>
                  <a:gd name="connsiteX48" fmla="*/ 898287 w 1481488"/>
                  <a:gd name="connsiteY48" fmla="*/ 930803 h 1057255"/>
                  <a:gd name="connsiteX49" fmla="*/ 900949 w 1481488"/>
                  <a:gd name="connsiteY49" fmla="*/ 915401 h 1057255"/>
                  <a:gd name="connsiteX50" fmla="*/ 907795 w 1481488"/>
                  <a:gd name="connsiteY50" fmla="*/ 901519 h 1057255"/>
                  <a:gd name="connsiteX51" fmla="*/ 912929 w 1481488"/>
                  <a:gd name="connsiteY51" fmla="*/ 891631 h 1057255"/>
                  <a:gd name="connsiteX52" fmla="*/ 912929 w 1481488"/>
                  <a:gd name="connsiteY52" fmla="*/ 883645 h 1057255"/>
                  <a:gd name="connsiteX53" fmla="*/ 912929 w 1481488"/>
                  <a:gd name="connsiteY53" fmla="*/ 869193 h 1057255"/>
                  <a:gd name="connsiteX54" fmla="*/ 923767 w 1481488"/>
                  <a:gd name="connsiteY54" fmla="*/ 855692 h 1057255"/>
                  <a:gd name="connsiteX55" fmla="*/ 930043 w 1481488"/>
                  <a:gd name="connsiteY55" fmla="*/ 849227 h 1057255"/>
                  <a:gd name="connsiteX56" fmla="*/ 933465 w 1481488"/>
                  <a:gd name="connsiteY56" fmla="*/ 842002 h 1057255"/>
                  <a:gd name="connsiteX57" fmla="*/ 938029 w 1481488"/>
                  <a:gd name="connsiteY57" fmla="*/ 832684 h 1057255"/>
                  <a:gd name="connsiteX58" fmla="*/ 983285 w 1481488"/>
                  <a:gd name="connsiteY58" fmla="*/ 826599 h 1057255"/>
                  <a:gd name="connsiteX59" fmla="*/ 1042804 w 1481488"/>
                  <a:gd name="connsiteY59" fmla="*/ 838389 h 1057255"/>
                  <a:gd name="connsiteX60" fmla="*/ 1084637 w 1481488"/>
                  <a:gd name="connsiteY60" fmla="*/ 854171 h 1057255"/>
                  <a:gd name="connsiteX61" fmla="*/ 1087870 w 1481488"/>
                  <a:gd name="connsiteY61" fmla="*/ 856453 h 1057255"/>
                  <a:gd name="connsiteX62" fmla="*/ 1135979 w 1481488"/>
                  <a:gd name="connsiteY62" fmla="*/ 863869 h 1057255"/>
                  <a:gd name="connsiteX63" fmla="*/ 1144536 w 1481488"/>
                  <a:gd name="connsiteY63" fmla="*/ 860637 h 1057255"/>
                  <a:gd name="connsiteX64" fmla="*/ 1183708 w 1481488"/>
                  <a:gd name="connsiteY64" fmla="*/ 862728 h 1057255"/>
                  <a:gd name="connsiteX65" fmla="*/ 1190553 w 1481488"/>
                  <a:gd name="connsiteY65" fmla="*/ 872806 h 1057255"/>
                  <a:gd name="connsiteX66" fmla="*/ 1197399 w 1481488"/>
                  <a:gd name="connsiteY66" fmla="*/ 881744 h 1057255"/>
                  <a:gd name="connsiteX67" fmla="*/ 1205575 w 1481488"/>
                  <a:gd name="connsiteY67" fmla="*/ 881744 h 1057255"/>
                  <a:gd name="connsiteX68" fmla="*/ 1214323 w 1481488"/>
                  <a:gd name="connsiteY68" fmla="*/ 881744 h 1057255"/>
                  <a:gd name="connsiteX69" fmla="*/ 1233338 w 1481488"/>
                  <a:gd name="connsiteY69" fmla="*/ 889730 h 1057255"/>
                  <a:gd name="connsiteX70" fmla="*/ 1250452 w 1481488"/>
                  <a:gd name="connsiteY70" fmla="*/ 896195 h 1057255"/>
                  <a:gd name="connsiteX71" fmla="*/ 1281066 w 1481488"/>
                  <a:gd name="connsiteY71" fmla="*/ 870905 h 1057255"/>
                  <a:gd name="connsiteX72" fmla="*/ 1295708 w 1481488"/>
                  <a:gd name="connsiteY72" fmla="*/ 853411 h 1057255"/>
                  <a:gd name="connsiteX73" fmla="*/ 1329366 w 1481488"/>
                  <a:gd name="connsiteY73" fmla="*/ 843903 h 1057255"/>
                  <a:gd name="connsiteX74" fmla="*/ 1352184 w 1481488"/>
                  <a:gd name="connsiteY74" fmla="*/ 860827 h 1057255"/>
                  <a:gd name="connsiteX75" fmla="*/ 1366065 w 1481488"/>
                  <a:gd name="connsiteY75" fmla="*/ 872996 h 1057255"/>
                  <a:gd name="connsiteX76" fmla="*/ 1376524 w 1481488"/>
                  <a:gd name="connsiteY76" fmla="*/ 872996 h 1057255"/>
                  <a:gd name="connsiteX77" fmla="*/ 1386982 w 1481488"/>
                  <a:gd name="connsiteY77" fmla="*/ 869383 h 1057255"/>
                  <a:gd name="connsiteX78" fmla="*/ 1404286 w 1481488"/>
                  <a:gd name="connsiteY78" fmla="*/ 859115 h 1057255"/>
                  <a:gd name="connsiteX79" fmla="*/ 1407519 w 1481488"/>
                  <a:gd name="connsiteY79" fmla="*/ 857024 h 1057255"/>
                  <a:gd name="connsiteX80" fmla="*/ 1416266 w 1481488"/>
                  <a:gd name="connsiteY80" fmla="*/ 850558 h 1057255"/>
                  <a:gd name="connsiteX81" fmla="*/ 1435281 w 1481488"/>
                  <a:gd name="connsiteY81" fmla="*/ 838959 h 1057255"/>
                  <a:gd name="connsiteX82" fmla="*/ 1447641 w 1481488"/>
                  <a:gd name="connsiteY82" fmla="*/ 836297 h 1057255"/>
                  <a:gd name="connsiteX83" fmla="*/ 1456008 w 1481488"/>
                  <a:gd name="connsiteY83" fmla="*/ 834776 h 1057255"/>
                  <a:gd name="connsiteX84" fmla="*/ 1462853 w 1481488"/>
                  <a:gd name="connsiteY84" fmla="*/ 827930 h 1057255"/>
                  <a:gd name="connsiteX85" fmla="*/ 1465326 w 1481488"/>
                  <a:gd name="connsiteY85" fmla="*/ 822606 h 1057255"/>
                  <a:gd name="connsiteX86" fmla="*/ 1474453 w 1481488"/>
                  <a:gd name="connsiteY86" fmla="*/ 811767 h 1057255"/>
                  <a:gd name="connsiteX87" fmla="*/ 1478827 w 1481488"/>
                  <a:gd name="connsiteY87" fmla="*/ 807393 h 1057255"/>
                  <a:gd name="connsiteX88" fmla="*/ 1481489 w 1481488"/>
                  <a:gd name="connsiteY88" fmla="*/ 802069 h 1057255"/>
                  <a:gd name="connsiteX89" fmla="*/ 1468368 w 1481488"/>
                  <a:gd name="connsiteY89" fmla="*/ 791611 h 1057255"/>
                  <a:gd name="connsiteX90" fmla="*/ 1465326 w 1481488"/>
                  <a:gd name="connsiteY90" fmla="*/ 789709 h 1057255"/>
                  <a:gd name="connsiteX91" fmla="*/ 1449162 w 1481488"/>
                  <a:gd name="connsiteY91" fmla="*/ 781723 h 1057255"/>
                  <a:gd name="connsiteX92" fmla="*/ 1411132 w 1481488"/>
                  <a:gd name="connsiteY92" fmla="*/ 756052 h 1057255"/>
                  <a:gd name="connsiteX93" fmla="*/ 1404857 w 1481488"/>
                  <a:gd name="connsiteY93" fmla="*/ 709464 h 1057255"/>
                  <a:gd name="connsiteX94" fmla="*/ 1404857 w 1481488"/>
                  <a:gd name="connsiteY94" fmla="*/ 706802 h 1057255"/>
                  <a:gd name="connsiteX95" fmla="*/ 1398201 w 1481488"/>
                  <a:gd name="connsiteY95" fmla="*/ 701097 h 1057255"/>
                  <a:gd name="connsiteX96" fmla="*/ 1390785 w 1481488"/>
                  <a:gd name="connsiteY96" fmla="*/ 690259 h 1057255"/>
                  <a:gd name="connsiteX97" fmla="*/ 1374432 w 1481488"/>
                  <a:gd name="connsiteY97" fmla="*/ 674856 h 1057255"/>
                  <a:gd name="connsiteX98" fmla="*/ 1362262 w 1481488"/>
                  <a:gd name="connsiteY98" fmla="*/ 673715 h 1057255"/>
                  <a:gd name="connsiteX99" fmla="*/ 1343247 w 1481488"/>
                  <a:gd name="connsiteY99" fmla="*/ 670673 h 1057255"/>
                  <a:gd name="connsiteX100" fmla="*/ 1318337 w 1481488"/>
                  <a:gd name="connsiteY100" fmla="*/ 651657 h 1057255"/>
                  <a:gd name="connsiteX101" fmla="*/ 1310921 w 1481488"/>
                  <a:gd name="connsiteY101" fmla="*/ 644622 h 1057255"/>
                  <a:gd name="connsiteX102" fmla="*/ 1276693 w 1481488"/>
                  <a:gd name="connsiteY102" fmla="*/ 634353 h 1057255"/>
                  <a:gd name="connsiteX103" fmla="*/ 1236951 w 1481488"/>
                  <a:gd name="connsiteY103" fmla="*/ 614197 h 1057255"/>
                  <a:gd name="connsiteX104" fmla="*/ 1229154 w 1481488"/>
                  <a:gd name="connsiteY104" fmla="*/ 601457 h 1057255"/>
                  <a:gd name="connsiteX105" fmla="*/ 1208047 w 1481488"/>
                  <a:gd name="connsiteY105" fmla="*/ 577497 h 1057255"/>
                  <a:gd name="connsiteX106" fmla="*/ 1195878 w 1481488"/>
                  <a:gd name="connsiteY106" fmla="*/ 585864 h 1057255"/>
                  <a:gd name="connsiteX107" fmla="*/ 1175531 w 1481488"/>
                  <a:gd name="connsiteY107" fmla="*/ 604880 h 1057255"/>
                  <a:gd name="connsiteX108" fmla="*/ 1168495 w 1481488"/>
                  <a:gd name="connsiteY108" fmla="*/ 610014 h 1057255"/>
                  <a:gd name="connsiteX109" fmla="*/ 1163932 w 1481488"/>
                  <a:gd name="connsiteY109" fmla="*/ 613817 h 1057255"/>
                  <a:gd name="connsiteX110" fmla="*/ 1125901 w 1481488"/>
                  <a:gd name="connsiteY110" fmla="*/ 631121 h 1057255"/>
                  <a:gd name="connsiteX111" fmla="*/ 1092053 w 1481488"/>
                  <a:gd name="connsiteY111" fmla="*/ 632642 h 1057255"/>
                  <a:gd name="connsiteX112" fmla="*/ 1075700 w 1481488"/>
                  <a:gd name="connsiteY112" fmla="*/ 632642 h 1057255"/>
                  <a:gd name="connsiteX113" fmla="*/ 1031204 w 1481488"/>
                  <a:gd name="connsiteY113" fmla="*/ 618380 h 1057255"/>
                  <a:gd name="connsiteX114" fmla="*/ 997547 w 1481488"/>
                  <a:gd name="connsiteY114" fmla="*/ 578068 h 1057255"/>
                  <a:gd name="connsiteX115" fmla="*/ 967693 w 1481488"/>
                  <a:gd name="connsiteY115" fmla="*/ 557531 h 1057255"/>
                  <a:gd name="connsiteX116" fmla="*/ 945255 w 1481488"/>
                  <a:gd name="connsiteY116" fmla="*/ 544601 h 1057255"/>
                  <a:gd name="connsiteX117" fmla="*/ 934416 w 1481488"/>
                  <a:gd name="connsiteY117" fmla="*/ 536234 h 1057255"/>
                  <a:gd name="connsiteX118" fmla="*/ 906083 w 1481488"/>
                  <a:gd name="connsiteY118" fmla="*/ 531290 h 1057255"/>
                  <a:gd name="connsiteX119" fmla="*/ 887068 w 1481488"/>
                  <a:gd name="connsiteY119" fmla="*/ 530149 h 1057255"/>
                  <a:gd name="connsiteX120" fmla="*/ 850938 w 1481488"/>
                  <a:gd name="connsiteY120" fmla="*/ 513796 h 1057255"/>
                  <a:gd name="connsiteX121" fmla="*/ 826979 w 1481488"/>
                  <a:gd name="connsiteY121" fmla="*/ 502387 h 1057255"/>
                  <a:gd name="connsiteX122" fmla="*/ 814049 w 1481488"/>
                  <a:gd name="connsiteY122" fmla="*/ 497062 h 1057255"/>
                  <a:gd name="connsiteX123" fmla="*/ 796554 w 1481488"/>
                  <a:gd name="connsiteY123" fmla="*/ 478047 h 1057255"/>
                  <a:gd name="connsiteX124" fmla="*/ 788758 w 1481488"/>
                  <a:gd name="connsiteY124" fmla="*/ 466448 h 1057255"/>
                  <a:gd name="connsiteX125" fmla="*/ 768602 w 1481488"/>
                  <a:gd name="connsiteY125" fmla="*/ 466448 h 1057255"/>
                  <a:gd name="connsiteX126" fmla="*/ 762327 w 1481488"/>
                  <a:gd name="connsiteY126" fmla="*/ 469300 h 1057255"/>
                  <a:gd name="connsiteX127" fmla="*/ 720493 w 1481488"/>
                  <a:gd name="connsiteY127" fmla="*/ 466828 h 1057255"/>
                  <a:gd name="connsiteX128" fmla="*/ 707943 w 1481488"/>
                  <a:gd name="connsiteY128" fmla="*/ 432410 h 1057255"/>
                  <a:gd name="connsiteX129" fmla="*/ 707943 w 1481488"/>
                  <a:gd name="connsiteY129" fmla="*/ 424043 h 1057255"/>
                  <a:gd name="connsiteX130" fmla="*/ 692350 w 1481488"/>
                  <a:gd name="connsiteY130" fmla="*/ 396661 h 1057255"/>
                  <a:gd name="connsiteX131" fmla="*/ 676948 w 1481488"/>
                  <a:gd name="connsiteY131" fmla="*/ 355398 h 1057255"/>
                  <a:gd name="connsiteX132" fmla="*/ 682462 w 1481488"/>
                  <a:gd name="connsiteY132" fmla="*/ 341897 h 1057255"/>
                  <a:gd name="connsiteX133" fmla="*/ 685124 w 1481488"/>
                  <a:gd name="connsiteY133" fmla="*/ 323832 h 1057255"/>
                  <a:gd name="connsiteX134" fmla="*/ 659073 w 1481488"/>
                  <a:gd name="connsiteY134" fmla="*/ 302535 h 1057255"/>
                  <a:gd name="connsiteX135" fmla="*/ 653939 w 1481488"/>
                  <a:gd name="connsiteY135" fmla="*/ 299683 h 1057255"/>
                  <a:gd name="connsiteX136" fmla="*/ 641579 w 1481488"/>
                  <a:gd name="connsiteY136" fmla="*/ 291506 h 1057255"/>
                  <a:gd name="connsiteX137" fmla="*/ 616098 w 1481488"/>
                  <a:gd name="connsiteY137" fmla="*/ 277435 h 1057255"/>
                  <a:gd name="connsiteX138" fmla="*/ 601266 w 1481488"/>
                  <a:gd name="connsiteY138" fmla="*/ 282759 h 1057255"/>
                  <a:gd name="connsiteX139" fmla="*/ 587575 w 1481488"/>
                  <a:gd name="connsiteY139" fmla="*/ 292647 h 1057255"/>
                  <a:gd name="connsiteX140" fmla="*/ 574835 w 1481488"/>
                  <a:gd name="connsiteY140" fmla="*/ 291506 h 1057255"/>
                  <a:gd name="connsiteX141" fmla="*/ 570272 w 1481488"/>
                  <a:gd name="connsiteY141" fmla="*/ 290175 h 1057255"/>
                  <a:gd name="connsiteX142" fmla="*/ 558102 w 1481488"/>
                  <a:gd name="connsiteY142" fmla="*/ 292837 h 1057255"/>
                  <a:gd name="connsiteX143" fmla="*/ 553918 w 1481488"/>
                  <a:gd name="connsiteY143" fmla="*/ 294358 h 1057255"/>
                  <a:gd name="connsiteX144" fmla="*/ 552017 w 1481488"/>
                  <a:gd name="connsiteY144" fmla="*/ 294358 h 1057255"/>
                  <a:gd name="connsiteX145" fmla="*/ 507140 w 1481488"/>
                  <a:gd name="connsiteY145" fmla="*/ 291696 h 1057255"/>
                  <a:gd name="connsiteX146" fmla="*/ 485463 w 1481488"/>
                  <a:gd name="connsiteY146" fmla="*/ 260701 h 1057255"/>
                  <a:gd name="connsiteX147" fmla="*/ 487935 w 1481488"/>
                  <a:gd name="connsiteY147" fmla="*/ 241686 h 1057255"/>
                  <a:gd name="connsiteX148" fmla="*/ 482230 w 1481488"/>
                  <a:gd name="connsiteY148" fmla="*/ 222670 h 1057255"/>
                  <a:gd name="connsiteX149" fmla="*/ 472152 w 1481488"/>
                  <a:gd name="connsiteY149" fmla="*/ 216015 h 1057255"/>
                  <a:gd name="connsiteX150" fmla="*/ 432030 w 1481488"/>
                  <a:gd name="connsiteY150" fmla="*/ 196999 h 1057255"/>
                  <a:gd name="connsiteX151" fmla="*/ 404077 w 1481488"/>
                  <a:gd name="connsiteY151" fmla="*/ 199281 h 1057255"/>
                  <a:gd name="connsiteX152" fmla="*/ 383540 w 1481488"/>
                  <a:gd name="connsiteY152" fmla="*/ 201944 h 1057255"/>
                  <a:gd name="connsiteX153" fmla="*/ 376124 w 1481488"/>
                  <a:gd name="connsiteY153" fmla="*/ 201944 h 1057255"/>
                  <a:gd name="connsiteX154" fmla="*/ 320219 w 1481488"/>
                  <a:gd name="connsiteY154" fmla="*/ 192626 h 1057255"/>
                  <a:gd name="connsiteX155" fmla="*/ 312613 w 1481488"/>
                  <a:gd name="connsiteY155" fmla="*/ 173611 h 1057255"/>
                  <a:gd name="connsiteX156" fmla="*/ 302915 w 1481488"/>
                  <a:gd name="connsiteY156" fmla="*/ 159159 h 1057255"/>
                  <a:gd name="connsiteX157" fmla="*/ 299112 w 1481488"/>
                  <a:gd name="connsiteY157" fmla="*/ 158018 h 1057255"/>
                  <a:gd name="connsiteX158" fmla="*/ 288844 w 1481488"/>
                  <a:gd name="connsiteY158" fmla="*/ 145848 h 1057255"/>
                  <a:gd name="connsiteX159" fmla="*/ 297971 w 1481488"/>
                  <a:gd name="connsiteY159" fmla="*/ 125312 h 1057255"/>
                  <a:gd name="connsiteX160" fmla="*/ 309951 w 1481488"/>
                  <a:gd name="connsiteY160" fmla="*/ 99260 h 1057255"/>
                  <a:gd name="connsiteX161" fmla="*/ 315465 w 1481488"/>
                  <a:gd name="connsiteY161" fmla="*/ 80245 h 1057255"/>
                  <a:gd name="connsiteX162" fmla="*/ 320219 w 1481488"/>
                  <a:gd name="connsiteY162" fmla="*/ 72259 h 1057255"/>
                  <a:gd name="connsiteX163" fmla="*/ 325543 w 1481488"/>
                  <a:gd name="connsiteY163" fmla="*/ 61040 h 1057255"/>
                  <a:gd name="connsiteX164" fmla="*/ 321930 w 1481488"/>
                  <a:gd name="connsiteY164" fmla="*/ 46778 h 1057255"/>
                  <a:gd name="connsiteX165" fmla="*/ 317937 w 1481488"/>
                  <a:gd name="connsiteY165" fmla="*/ 34418 h 1057255"/>
                  <a:gd name="connsiteX166" fmla="*/ 315085 w 1481488"/>
                  <a:gd name="connsiteY166" fmla="*/ 0 h 1057255"/>
                  <a:gd name="connsiteX167" fmla="*/ 285421 w 1481488"/>
                  <a:gd name="connsiteY167" fmla="*/ 12550 h 1057255"/>
                  <a:gd name="connsiteX168" fmla="*/ 269828 w 1481488"/>
                  <a:gd name="connsiteY168" fmla="*/ 25861 h 1057255"/>
                  <a:gd name="connsiteX169" fmla="*/ 223621 w 1481488"/>
                  <a:gd name="connsiteY169" fmla="*/ 54004 h 1057255"/>
                  <a:gd name="connsiteX170" fmla="*/ 194908 w 1481488"/>
                  <a:gd name="connsiteY170" fmla="*/ 43355 h 1057255"/>
                  <a:gd name="connsiteX171" fmla="*/ 174751 w 1481488"/>
                  <a:gd name="connsiteY171" fmla="*/ 39362 h 1057255"/>
                  <a:gd name="connsiteX172" fmla="*/ 144897 w 1481488"/>
                  <a:gd name="connsiteY172" fmla="*/ 62751 h 1057255"/>
                  <a:gd name="connsiteX173" fmla="*/ 139763 w 1481488"/>
                  <a:gd name="connsiteY173" fmla="*/ 79104 h 1057255"/>
                  <a:gd name="connsiteX174" fmla="*/ 137481 w 1481488"/>
                  <a:gd name="connsiteY174" fmla="*/ 90703 h 1057255"/>
                  <a:gd name="connsiteX175" fmla="*/ 129495 w 1481488"/>
                  <a:gd name="connsiteY175" fmla="*/ 122840 h 1057255"/>
                  <a:gd name="connsiteX176" fmla="*/ 110479 w 1481488"/>
                  <a:gd name="connsiteY176" fmla="*/ 150602 h 1057255"/>
                  <a:gd name="connsiteX177" fmla="*/ 106486 w 1481488"/>
                  <a:gd name="connsiteY177" fmla="*/ 154215 h 1057255"/>
                  <a:gd name="connsiteX178" fmla="*/ 55335 w 1481488"/>
                  <a:gd name="connsiteY178" fmla="*/ 217156 h 1057255"/>
                  <a:gd name="connsiteX179" fmla="*/ 48299 w 1481488"/>
                  <a:gd name="connsiteY179" fmla="*/ 248721 h 1057255"/>
                  <a:gd name="connsiteX180" fmla="*/ 42404 w 1481488"/>
                  <a:gd name="connsiteY180" fmla="*/ 273061 h 1057255"/>
                  <a:gd name="connsiteX181" fmla="*/ 37841 w 1481488"/>
                  <a:gd name="connsiteY181" fmla="*/ 280857 h 1057255"/>
                  <a:gd name="connsiteX182" fmla="*/ 33467 w 1481488"/>
                  <a:gd name="connsiteY182" fmla="*/ 296640 h 1057255"/>
                  <a:gd name="connsiteX183" fmla="*/ 26812 w 1481488"/>
                  <a:gd name="connsiteY183" fmla="*/ 318128 h 1057255"/>
                  <a:gd name="connsiteX184" fmla="*/ 13881 w 1481488"/>
                  <a:gd name="connsiteY184" fmla="*/ 337143 h 1057255"/>
                  <a:gd name="connsiteX185" fmla="*/ 1331 w 1481488"/>
                  <a:gd name="connsiteY185" fmla="*/ 356158 h 1057255"/>
                  <a:gd name="connsiteX186" fmla="*/ 0 w 1481488"/>
                  <a:gd name="connsiteY186" fmla="*/ 358440 h 1057255"/>
                  <a:gd name="connsiteX187" fmla="*/ 15022 w 1481488"/>
                  <a:gd name="connsiteY187" fmla="*/ 379928 h 1057255"/>
                  <a:gd name="connsiteX188" fmla="*/ 15973 w 1481488"/>
                  <a:gd name="connsiteY188" fmla="*/ 382780 h 1057255"/>
                  <a:gd name="connsiteX189" fmla="*/ 32897 w 1481488"/>
                  <a:gd name="connsiteY189" fmla="*/ 408831 h 1057255"/>
                  <a:gd name="connsiteX190" fmla="*/ 43735 w 1481488"/>
                  <a:gd name="connsiteY190" fmla="*/ 415676 h 1057255"/>
                  <a:gd name="connsiteX191" fmla="*/ 67695 w 1481488"/>
                  <a:gd name="connsiteY191" fmla="*/ 433741 h 1057255"/>
                  <a:gd name="connsiteX192" fmla="*/ 104395 w 1481488"/>
                  <a:gd name="connsiteY192" fmla="*/ 484322 h 1057255"/>
                  <a:gd name="connsiteX193" fmla="*/ 114092 w 1481488"/>
                  <a:gd name="connsiteY193" fmla="*/ 498964 h 1057255"/>
                  <a:gd name="connsiteX194" fmla="*/ 129495 w 1481488"/>
                  <a:gd name="connsiteY194" fmla="*/ 535664 h 1057255"/>
                  <a:gd name="connsiteX195" fmla="*/ 123600 w 1481488"/>
                  <a:gd name="connsiteY195" fmla="*/ 568560 h 1057255"/>
                  <a:gd name="connsiteX196" fmla="*/ 120177 w 1481488"/>
                  <a:gd name="connsiteY196" fmla="*/ 579209 h 1057255"/>
                  <a:gd name="connsiteX197" fmla="*/ 127593 w 1481488"/>
                  <a:gd name="connsiteY197" fmla="*/ 660785 h 1057255"/>
                  <a:gd name="connsiteX198" fmla="*/ 126643 w 1481488"/>
                  <a:gd name="connsiteY198" fmla="*/ 730191 h 1057255"/>
                  <a:gd name="connsiteX199" fmla="*/ 150031 w 1481488"/>
                  <a:gd name="connsiteY199" fmla="*/ 773926 h 1057255"/>
                  <a:gd name="connsiteX200" fmla="*/ 185210 w 1481488"/>
                  <a:gd name="connsiteY200" fmla="*/ 807774 h 1057255"/>
                  <a:gd name="connsiteX201" fmla="*/ 191485 w 1481488"/>
                  <a:gd name="connsiteY201" fmla="*/ 846945 h 1057255"/>
                  <a:gd name="connsiteX202" fmla="*/ 195478 w 1481488"/>
                  <a:gd name="connsiteY202" fmla="*/ 878511 h 1057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</a:cxnLst>
                <a:rect l="l" t="t" r="r" b="b"/>
                <a:pathLst>
                  <a:path w="1481488" h="1057255">
                    <a:moveTo>
                      <a:pt x="195478" y="889350"/>
                    </a:moveTo>
                    <a:cubicBezTo>
                      <a:pt x="197760" y="896956"/>
                      <a:pt x="199852" y="904562"/>
                      <a:pt x="201373" y="912168"/>
                    </a:cubicBezTo>
                    <a:lnTo>
                      <a:pt x="213162" y="912168"/>
                    </a:lnTo>
                    <a:cubicBezTo>
                      <a:pt x="224058" y="913594"/>
                      <a:pt x="235030" y="910038"/>
                      <a:pt x="243017" y="902470"/>
                    </a:cubicBezTo>
                    <a:lnTo>
                      <a:pt x="247010" y="898097"/>
                    </a:lnTo>
                    <a:cubicBezTo>
                      <a:pt x="253874" y="887734"/>
                      <a:pt x="266063" y="882200"/>
                      <a:pt x="278385" y="883835"/>
                    </a:cubicBezTo>
                    <a:cubicBezTo>
                      <a:pt x="287284" y="884292"/>
                      <a:pt x="296146" y="882390"/>
                      <a:pt x="304056" y="878321"/>
                    </a:cubicBezTo>
                    <a:lnTo>
                      <a:pt x="315656" y="873947"/>
                    </a:lnTo>
                    <a:cubicBezTo>
                      <a:pt x="325600" y="871152"/>
                      <a:pt x="336021" y="870391"/>
                      <a:pt x="346270" y="871665"/>
                    </a:cubicBezTo>
                    <a:cubicBezTo>
                      <a:pt x="351024" y="871665"/>
                      <a:pt x="355778" y="871665"/>
                      <a:pt x="360722" y="871665"/>
                    </a:cubicBezTo>
                    <a:cubicBezTo>
                      <a:pt x="369222" y="870924"/>
                      <a:pt x="377018" y="866645"/>
                      <a:pt x="382209" y="859876"/>
                    </a:cubicBezTo>
                    <a:lnTo>
                      <a:pt x="387534" y="854742"/>
                    </a:lnTo>
                    <a:cubicBezTo>
                      <a:pt x="396243" y="846907"/>
                      <a:pt x="407252" y="842096"/>
                      <a:pt x="418909" y="841051"/>
                    </a:cubicBezTo>
                    <a:lnTo>
                      <a:pt x="427085" y="839529"/>
                    </a:lnTo>
                    <a:cubicBezTo>
                      <a:pt x="428987" y="839320"/>
                      <a:pt x="430813" y="838674"/>
                      <a:pt x="432410" y="837628"/>
                    </a:cubicBezTo>
                    <a:lnTo>
                      <a:pt x="432410" y="835536"/>
                    </a:lnTo>
                    <a:cubicBezTo>
                      <a:pt x="432220" y="831105"/>
                      <a:pt x="433190" y="826713"/>
                      <a:pt x="435262" y="822796"/>
                    </a:cubicBezTo>
                    <a:cubicBezTo>
                      <a:pt x="437753" y="817852"/>
                      <a:pt x="442260" y="814258"/>
                      <a:pt x="447622" y="812908"/>
                    </a:cubicBezTo>
                    <a:cubicBezTo>
                      <a:pt x="461522" y="811178"/>
                      <a:pt x="475537" y="814847"/>
                      <a:pt x="486794" y="823176"/>
                    </a:cubicBezTo>
                    <a:lnTo>
                      <a:pt x="493069" y="826789"/>
                    </a:lnTo>
                    <a:cubicBezTo>
                      <a:pt x="501854" y="832399"/>
                      <a:pt x="511152" y="837171"/>
                      <a:pt x="520831" y="841051"/>
                    </a:cubicBezTo>
                    <a:cubicBezTo>
                      <a:pt x="526289" y="842838"/>
                      <a:pt x="531879" y="844093"/>
                      <a:pt x="537565" y="844854"/>
                    </a:cubicBezTo>
                    <a:cubicBezTo>
                      <a:pt x="544011" y="845747"/>
                      <a:pt x="550381" y="847211"/>
                      <a:pt x="556580" y="849227"/>
                    </a:cubicBezTo>
                    <a:cubicBezTo>
                      <a:pt x="566392" y="853506"/>
                      <a:pt x="574683" y="860675"/>
                      <a:pt x="580350" y="869764"/>
                    </a:cubicBezTo>
                    <a:cubicBezTo>
                      <a:pt x="581833" y="871875"/>
                      <a:pt x="583411" y="873909"/>
                      <a:pt x="585103" y="875849"/>
                    </a:cubicBezTo>
                    <a:cubicBezTo>
                      <a:pt x="587956" y="879462"/>
                      <a:pt x="591188" y="882694"/>
                      <a:pt x="594231" y="886117"/>
                    </a:cubicBezTo>
                    <a:cubicBezTo>
                      <a:pt x="600278" y="892316"/>
                      <a:pt x="605754" y="899067"/>
                      <a:pt x="610584" y="906273"/>
                    </a:cubicBezTo>
                    <a:cubicBezTo>
                      <a:pt x="615053" y="914051"/>
                      <a:pt x="618570" y="922361"/>
                      <a:pt x="621043" y="930993"/>
                    </a:cubicBezTo>
                    <a:cubicBezTo>
                      <a:pt x="622906" y="936812"/>
                      <a:pt x="625055" y="942517"/>
                      <a:pt x="627508" y="948107"/>
                    </a:cubicBezTo>
                    <a:cubicBezTo>
                      <a:pt x="630721" y="953850"/>
                      <a:pt x="634829" y="959060"/>
                      <a:pt x="639678" y="963510"/>
                    </a:cubicBezTo>
                    <a:cubicBezTo>
                      <a:pt x="644089" y="967598"/>
                      <a:pt x="647968" y="972181"/>
                      <a:pt x="651277" y="977201"/>
                    </a:cubicBezTo>
                    <a:cubicBezTo>
                      <a:pt x="654319" y="981860"/>
                      <a:pt x="657115" y="986689"/>
                      <a:pt x="659644" y="991653"/>
                    </a:cubicBezTo>
                    <a:cubicBezTo>
                      <a:pt x="664436" y="1004583"/>
                      <a:pt x="675217" y="1014357"/>
                      <a:pt x="688547" y="1017894"/>
                    </a:cubicBezTo>
                    <a:cubicBezTo>
                      <a:pt x="696572" y="1020689"/>
                      <a:pt x="704330" y="1024188"/>
                      <a:pt x="711746" y="1028352"/>
                    </a:cubicBezTo>
                    <a:cubicBezTo>
                      <a:pt x="716310" y="1030824"/>
                      <a:pt x="720873" y="1033106"/>
                      <a:pt x="725817" y="1035388"/>
                    </a:cubicBezTo>
                    <a:cubicBezTo>
                      <a:pt x="730799" y="1037346"/>
                      <a:pt x="735876" y="1039077"/>
                      <a:pt x="741030" y="1040522"/>
                    </a:cubicBezTo>
                    <a:cubicBezTo>
                      <a:pt x="747229" y="1042062"/>
                      <a:pt x="753275" y="1044173"/>
                      <a:pt x="759094" y="1046797"/>
                    </a:cubicBezTo>
                    <a:cubicBezTo>
                      <a:pt x="764647" y="1049041"/>
                      <a:pt x="769534" y="1052635"/>
                      <a:pt x="773356" y="1057256"/>
                    </a:cubicBezTo>
                    <a:lnTo>
                      <a:pt x="775447" y="1054974"/>
                    </a:lnTo>
                    <a:cubicBezTo>
                      <a:pt x="780258" y="1050619"/>
                      <a:pt x="785488" y="1046721"/>
                      <a:pt x="791040" y="1043374"/>
                    </a:cubicBezTo>
                    <a:cubicBezTo>
                      <a:pt x="793892" y="1041663"/>
                      <a:pt x="796554" y="1039761"/>
                      <a:pt x="799217" y="1037860"/>
                    </a:cubicBezTo>
                    <a:lnTo>
                      <a:pt x="801308" y="1036338"/>
                    </a:lnTo>
                    <a:cubicBezTo>
                      <a:pt x="805511" y="1033943"/>
                      <a:pt x="808991" y="1030463"/>
                      <a:pt x="811386" y="1026260"/>
                    </a:cubicBezTo>
                    <a:cubicBezTo>
                      <a:pt x="812622" y="1023161"/>
                      <a:pt x="813345" y="1019890"/>
                      <a:pt x="813478" y="1016563"/>
                    </a:cubicBezTo>
                    <a:cubicBezTo>
                      <a:pt x="813783" y="1010725"/>
                      <a:pt x="815342" y="1005020"/>
                      <a:pt x="818042" y="999829"/>
                    </a:cubicBezTo>
                    <a:cubicBezTo>
                      <a:pt x="824507" y="988230"/>
                      <a:pt x="841811" y="961798"/>
                      <a:pt x="866151" y="963890"/>
                    </a:cubicBezTo>
                    <a:cubicBezTo>
                      <a:pt x="869288" y="964232"/>
                      <a:pt x="872388" y="964727"/>
                      <a:pt x="875468" y="965411"/>
                    </a:cubicBezTo>
                    <a:cubicBezTo>
                      <a:pt x="882884" y="967123"/>
                      <a:pt x="884025" y="967313"/>
                      <a:pt x="889730" y="958185"/>
                    </a:cubicBezTo>
                    <a:cubicBezTo>
                      <a:pt x="894826" y="949914"/>
                      <a:pt x="897773" y="940501"/>
                      <a:pt x="898287" y="930803"/>
                    </a:cubicBezTo>
                    <a:cubicBezTo>
                      <a:pt x="898287" y="926049"/>
                      <a:pt x="899618" y="920915"/>
                      <a:pt x="900949" y="915401"/>
                    </a:cubicBezTo>
                    <a:cubicBezTo>
                      <a:pt x="902375" y="910400"/>
                      <a:pt x="904695" y="905703"/>
                      <a:pt x="907795" y="901519"/>
                    </a:cubicBezTo>
                    <a:cubicBezTo>
                      <a:pt x="910133" y="898591"/>
                      <a:pt x="911864" y="895226"/>
                      <a:pt x="912929" y="891631"/>
                    </a:cubicBezTo>
                    <a:cubicBezTo>
                      <a:pt x="913366" y="888988"/>
                      <a:pt x="913366" y="886288"/>
                      <a:pt x="912929" y="883645"/>
                    </a:cubicBezTo>
                    <a:cubicBezTo>
                      <a:pt x="911578" y="878929"/>
                      <a:pt x="911578" y="873909"/>
                      <a:pt x="912929" y="869193"/>
                    </a:cubicBezTo>
                    <a:cubicBezTo>
                      <a:pt x="915287" y="863812"/>
                      <a:pt x="919032" y="859153"/>
                      <a:pt x="923767" y="855692"/>
                    </a:cubicBezTo>
                    <a:cubicBezTo>
                      <a:pt x="926049" y="853734"/>
                      <a:pt x="928160" y="851566"/>
                      <a:pt x="930043" y="849227"/>
                    </a:cubicBezTo>
                    <a:cubicBezTo>
                      <a:pt x="931373" y="846907"/>
                      <a:pt x="932514" y="844492"/>
                      <a:pt x="933465" y="842002"/>
                    </a:cubicBezTo>
                    <a:cubicBezTo>
                      <a:pt x="934606" y="838712"/>
                      <a:pt x="936127" y="835593"/>
                      <a:pt x="938029" y="832684"/>
                    </a:cubicBezTo>
                    <a:cubicBezTo>
                      <a:pt x="951910" y="812337"/>
                      <a:pt x="973778" y="822415"/>
                      <a:pt x="983285" y="826599"/>
                    </a:cubicBezTo>
                    <a:cubicBezTo>
                      <a:pt x="1002092" y="834604"/>
                      <a:pt x="1022362" y="838617"/>
                      <a:pt x="1042804" y="838389"/>
                    </a:cubicBezTo>
                    <a:cubicBezTo>
                      <a:pt x="1058092" y="838997"/>
                      <a:pt x="1072753" y="844530"/>
                      <a:pt x="1084637" y="854171"/>
                    </a:cubicBezTo>
                    <a:lnTo>
                      <a:pt x="1087870" y="856453"/>
                    </a:lnTo>
                    <a:cubicBezTo>
                      <a:pt x="1102474" y="864687"/>
                      <a:pt x="1119569" y="867330"/>
                      <a:pt x="1135979" y="863869"/>
                    </a:cubicBezTo>
                    <a:lnTo>
                      <a:pt x="1144536" y="860637"/>
                    </a:lnTo>
                    <a:cubicBezTo>
                      <a:pt x="1156630" y="852612"/>
                      <a:pt x="1172546" y="853468"/>
                      <a:pt x="1183708" y="862728"/>
                    </a:cubicBezTo>
                    <a:cubicBezTo>
                      <a:pt x="1186541" y="865676"/>
                      <a:pt x="1188861" y="869079"/>
                      <a:pt x="1190553" y="872806"/>
                    </a:cubicBezTo>
                    <a:cubicBezTo>
                      <a:pt x="1191808" y="876457"/>
                      <a:pt x="1194204" y="879595"/>
                      <a:pt x="1197399" y="881744"/>
                    </a:cubicBezTo>
                    <a:cubicBezTo>
                      <a:pt x="1200042" y="882656"/>
                      <a:pt x="1202932" y="882656"/>
                      <a:pt x="1205575" y="881744"/>
                    </a:cubicBezTo>
                    <a:cubicBezTo>
                      <a:pt x="1208485" y="881363"/>
                      <a:pt x="1211413" y="881363"/>
                      <a:pt x="1214323" y="881744"/>
                    </a:cubicBezTo>
                    <a:cubicBezTo>
                      <a:pt x="1221187" y="882942"/>
                      <a:pt x="1227690" y="885661"/>
                      <a:pt x="1233338" y="889730"/>
                    </a:cubicBezTo>
                    <a:cubicBezTo>
                      <a:pt x="1238111" y="893818"/>
                      <a:pt x="1244158" y="896119"/>
                      <a:pt x="1250452" y="896195"/>
                    </a:cubicBezTo>
                    <a:cubicBezTo>
                      <a:pt x="1262812" y="896195"/>
                      <a:pt x="1272129" y="882884"/>
                      <a:pt x="1281066" y="870905"/>
                    </a:cubicBezTo>
                    <a:cubicBezTo>
                      <a:pt x="1285345" y="864592"/>
                      <a:pt x="1290251" y="858735"/>
                      <a:pt x="1295708" y="853411"/>
                    </a:cubicBezTo>
                    <a:cubicBezTo>
                      <a:pt x="1304398" y="844416"/>
                      <a:pt x="1317253" y="840803"/>
                      <a:pt x="1329366" y="843903"/>
                    </a:cubicBezTo>
                    <a:cubicBezTo>
                      <a:pt x="1338626" y="846869"/>
                      <a:pt x="1346651" y="852821"/>
                      <a:pt x="1352184" y="860827"/>
                    </a:cubicBezTo>
                    <a:cubicBezTo>
                      <a:pt x="1355626" y="866056"/>
                      <a:pt x="1360418" y="870258"/>
                      <a:pt x="1366065" y="872996"/>
                    </a:cubicBezTo>
                    <a:cubicBezTo>
                      <a:pt x="1369488" y="873966"/>
                      <a:pt x="1373101" y="873966"/>
                      <a:pt x="1376524" y="872996"/>
                    </a:cubicBezTo>
                    <a:cubicBezTo>
                      <a:pt x="1380118" y="872141"/>
                      <a:pt x="1383616" y="870924"/>
                      <a:pt x="1386982" y="869383"/>
                    </a:cubicBezTo>
                    <a:cubicBezTo>
                      <a:pt x="1392953" y="866322"/>
                      <a:pt x="1398734" y="862899"/>
                      <a:pt x="1404286" y="859115"/>
                    </a:cubicBezTo>
                    <a:lnTo>
                      <a:pt x="1407519" y="857024"/>
                    </a:lnTo>
                    <a:cubicBezTo>
                      <a:pt x="1410371" y="855122"/>
                      <a:pt x="1413414" y="852840"/>
                      <a:pt x="1416266" y="850558"/>
                    </a:cubicBezTo>
                    <a:cubicBezTo>
                      <a:pt x="1422066" y="845861"/>
                      <a:pt x="1428455" y="841963"/>
                      <a:pt x="1435281" y="838959"/>
                    </a:cubicBezTo>
                    <a:cubicBezTo>
                      <a:pt x="1439217" y="837381"/>
                      <a:pt x="1443401" y="836487"/>
                      <a:pt x="1447641" y="836297"/>
                    </a:cubicBezTo>
                    <a:cubicBezTo>
                      <a:pt x="1450474" y="836126"/>
                      <a:pt x="1453289" y="835612"/>
                      <a:pt x="1456008" y="834776"/>
                    </a:cubicBezTo>
                    <a:cubicBezTo>
                      <a:pt x="1460382" y="833064"/>
                      <a:pt x="1460952" y="831923"/>
                      <a:pt x="1462853" y="827930"/>
                    </a:cubicBezTo>
                    <a:cubicBezTo>
                      <a:pt x="1463481" y="826066"/>
                      <a:pt x="1464299" y="824279"/>
                      <a:pt x="1465326" y="822606"/>
                    </a:cubicBezTo>
                    <a:cubicBezTo>
                      <a:pt x="1467550" y="818384"/>
                      <a:pt x="1470669" y="814676"/>
                      <a:pt x="1474453" y="811767"/>
                    </a:cubicBezTo>
                    <a:lnTo>
                      <a:pt x="1478827" y="807393"/>
                    </a:lnTo>
                    <a:cubicBezTo>
                      <a:pt x="1480329" y="806005"/>
                      <a:pt x="1481280" y="804104"/>
                      <a:pt x="1481489" y="802069"/>
                    </a:cubicBezTo>
                    <a:cubicBezTo>
                      <a:pt x="1481489" y="798646"/>
                      <a:pt x="1473692" y="794653"/>
                      <a:pt x="1468368" y="791611"/>
                    </a:cubicBezTo>
                    <a:lnTo>
                      <a:pt x="1465326" y="789709"/>
                    </a:lnTo>
                    <a:cubicBezTo>
                      <a:pt x="1460762" y="787047"/>
                      <a:pt x="1455057" y="784385"/>
                      <a:pt x="1449162" y="781723"/>
                    </a:cubicBezTo>
                    <a:cubicBezTo>
                      <a:pt x="1434521" y="776531"/>
                      <a:pt x="1421419" y="767689"/>
                      <a:pt x="1411132" y="756052"/>
                    </a:cubicBezTo>
                    <a:cubicBezTo>
                      <a:pt x="1403811" y="741676"/>
                      <a:pt x="1401605" y="725247"/>
                      <a:pt x="1404857" y="709464"/>
                    </a:cubicBezTo>
                    <a:cubicBezTo>
                      <a:pt x="1404780" y="708570"/>
                      <a:pt x="1404780" y="707696"/>
                      <a:pt x="1404857" y="706802"/>
                    </a:cubicBezTo>
                    <a:cubicBezTo>
                      <a:pt x="1402347" y="705281"/>
                      <a:pt x="1400103" y="703341"/>
                      <a:pt x="1398201" y="701097"/>
                    </a:cubicBezTo>
                    <a:cubicBezTo>
                      <a:pt x="1395482" y="697675"/>
                      <a:pt x="1392991" y="694043"/>
                      <a:pt x="1390785" y="690259"/>
                    </a:cubicBezTo>
                    <a:cubicBezTo>
                      <a:pt x="1386602" y="682843"/>
                      <a:pt x="1383179" y="677138"/>
                      <a:pt x="1374432" y="674856"/>
                    </a:cubicBezTo>
                    <a:cubicBezTo>
                      <a:pt x="1370439" y="674000"/>
                      <a:pt x="1366350" y="673620"/>
                      <a:pt x="1362262" y="673715"/>
                    </a:cubicBezTo>
                    <a:cubicBezTo>
                      <a:pt x="1355797" y="673848"/>
                      <a:pt x="1349351" y="672822"/>
                      <a:pt x="1343247" y="670673"/>
                    </a:cubicBezTo>
                    <a:cubicBezTo>
                      <a:pt x="1333644" y="666261"/>
                      <a:pt x="1325125" y="659758"/>
                      <a:pt x="1318337" y="651657"/>
                    </a:cubicBezTo>
                    <a:cubicBezTo>
                      <a:pt x="1316055" y="649376"/>
                      <a:pt x="1313583" y="646903"/>
                      <a:pt x="1310921" y="644622"/>
                    </a:cubicBezTo>
                    <a:cubicBezTo>
                      <a:pt x="1302421" y="634924"/>
                      <a:pt x="1289129" y="630931"/>
                      <a:pt x="1276693" y="634353"/>
                    </a:cubicBezTo>
                    <a:cubicBezTo>
                      <a:pt x="1260701" y="635646"/>
                      <a:pt x="1245356" y="627869"/>
                      <a:pt x="1236951" y="614197"/>
                    </a:cubicBezTo>
                    <a:cubicBezTo>
                      <a:pt x="1234118" y="610090"/>
                      <a:pt x="1231531" y="605849"/>
                      <a:pt x="1229154" y="601457"/>
                    </a:cubicBezTo>
                    <a:cubicBezTo>
                      <a:pt x="1223260" y="591569"/>
                      <a:pt x="1215463" y="578068"/>
                      <a:pt x="1208047" y="577497"/>
                    </a:cubicBezTo>
                    <a:cubicBezTo>
                      <a:pt x="1204434" y="577497"/>
                      <a:pt x="1200441" y="580160"/>
                      <a:pt x="1195878" y="585864"/>
                    </a:cubicBezTo>
                    <a:cubicBezTo>
                      <a:pt x="1190059" y="593166"/>
                      <a:pt x="1183213" y="599574"/>
                      <a:pt x="1175531" y="604880"/>
                    </a:cubicBezTo>
                    <a:lnTo>
                      <a:pt x="1168495" y="610014"/>
                    </a:lnTo>
                    <a:lnTo>
                      <a:pt x="1163932" y="613817"/>
                    </a:lnTo>
                    <a:cubicBezTo>
                      <a:pt x="1153606" y="623762"/>
                      <a:pt x="1140181" y="629866"/>
                      <a:pt x="1125901" y="631121"/>
                    </a:cubicBezTo>
                    <a:cubicBezTo>
                      <a:pt x="1114682" y="631121"/>
                      <a:pt x="1103273" y="632262"/>
                      <a:pt x="1092053" y="632642"/>
                    </a:cubicBezTo>
                    <a:lnTo>
                      <a:pt x="1075700" y="632642"/>
                    </a:lnTo>
                    <a:cubicBezTo>
                      <a:pt x="1059423" y="635475"/>
                      <a:pt x="1042804" y="630132"/>
                      <a:pt x="1031204" y="618380"/>
                    </a:cubicBezTo>
                    <a:cubicBezTo>
                      <a:pt x="1017970" y="606762"/>
                      <a:pt x="1006617" y="593166"/>
                      <a:pt x="997547" y="578068"/>
                    </a:cubicBezTo>
                    <a:cubicBezTo>
                      <a:pt x="991709" y="566621"/>
                      <a:pt x="980471" y="558900"/>
                      <a:pt x="967693" y="557531"/>
                    </a:cubicBezTo>
                    <a:cubicBezTo>
                      <a:pt x="959288" y="555078"/>
                      <a:pt x="951606" y="550629"/>
                      <a:pt x="945255" y="544601"/>
                    </a:cubicBezTo>
                    <a:cubicBezTo>
                      <a:pt x="941927" y="541463"/>
                      <a:pt x="938295" y="538668"/>
                      <a:pt x="934416" y="536234"/>
                    </a:cubicBezTo>
                    <a:cubicBezTo>
                      <a:pt x="925612" y="532013"/>
                      <a:pt x="915800" y="530301"/>
                      <a:pt x="906083" y="531290"/>
                    </a:cubicBezTo>
                    <a:cubicBezTo>
                      <a:pt x="899732" y="531404"/>
                      <a:pt x="893362" y="531024"/>
                      <a:pt x="887068" y="530149"/>
                    </a:cubicBezTo>
                    <a:cubicBezTo>
                      <a:pt x="874080" y="527088"/>
                      <a:pt x="861815" y="521535"/>
                      <a:pt x="850938" y="513796"/>
                    </a:cubicBezTo>
                    <a:cubicBezTo>
                      <a:pt x="843465" y="509004"/>
                      <a:pt x="835403" y="505163"/>
                      <a:pt x="826979" y="502387"/>
                    </a:cubicBezTo>
                    <a:lnTo>
                      <a:pt x="814049" y="497062"/>
                    </a:lnTo>
                    <a:cubicBezTo>
                      <a:pt x="805910" y="493316"/>
                      <a:pt x="799597" y="486471"/>
                      <a:pt x="796554" y="478047"/>
                    </a:cubicBezTo>
                    <a:cubicBezTo>
                      <a:pt x="794748" y="473711"/>
                      <a:pt x="792105" y="469756"/>
                      <a:pt x="788758" y="466448"/>
                    </a:cubicBezTo>
                    <a:cubicBezTo>
                      <a:pt x="782293" y="460363"/>
                      <a:pt x="777919" y="462074"/>
                      <a:pt x="768602" y="466448"/>
                    </a:cubicBezTo>
                    <a:lnTo>
                      <a:pt x="762327" y="469300"/>
                    </a:lnTo>
                    <a:cubicBezTo>
                      <a:pt x="748693" y="474643"/>
                      <a:pt x="733404" y="473730"/>
                      <a:pt x="720493" y="466828"/>
                    </a:cubicBezTo>
                    <a:cubicBezTo>
                      <a:pt x="709293" y="459279"/>
                      <a:pt x="704235" y="445397"/>
                      <a:pt x="707943" y="432410"/>
                    </a:cubicBezTo>
                    <a:lnTo>
                      <a:pt x="707943" y="424043"/>
                    </a:lnTo>
                    <a:cubicBezTo>
                      <a:pt x="708323" y="412710"/>
                      <a:pt x="702295" y="402118"/>
                      <a:pt x="692350" y="396661"/>
                    </a:cubicBezTo>
                    <a:cubicBezTo>
                      <a:pt x="677404" y="388884"/>
                      <a:pt x="670749" y="371066"/>
                      <a:pt x="676948" y="355398"/>
                    </a:cubicBezTo>
                    <a:cubicBezTo>
                      <a:pt x="678336" y="350720"/>
                      <a:pt x="680180" y="346213"/>
                      <a:pt x="682462" y="341897"/>
                    </a:cubicBezTo>
                    <a:cubicBezTo>
                      <a:pt x="686456" y="334481"/>
                      <a:pt x="688357" y="330107"/>
                      <a:pt x="685124" y="323832"/>
                    </a:cubicBezTo>
                    <a:cubicBezTo>
                      <a:pt x="678621" y="314419"/>
                      <a:pt x="669589" y="307041"/>
                      <a:pt x="659073" y="302535"/>
                    </a:cubicBezTo>
                    <a:lnTo>
                      <a:pt x="653939" y="299683"/>
                    </a:lnTo>
                    <a:cubicBezTo>
                      <a:pt x="649680" y="297173"/>
                      <a:pt x="645553" y="294453"/>
                      <a:pt x="641579" y="291506"/>
                    </a:cubicBezTo>
                    <a:cubicBezTo>
                      <a:pt x="633783" y="285649"/>
                      <a:pt x="625207" y="280914"/>
                      <a:pt x="616098" y="277435"/>
                    </a:cubicBezTo>
                    <a:cubicBezTo>
                      <a:pt x="607922" y="275153"/>
                      <a:pt x="605640" y="277435"/>
                      <a:pt x="601266" y="282759"/>
                    </a:cubicBezTo>
                    <a:cubicBezTo>
                      <a:pt x="597691" y="287246"/>
                      <a:pt x="592957" y="290669"/>
                      <a:pt x="587575" y="292647"/>
                    </a:cubicBezTo>
                    <a:cubicBezTo>
                      <a:pt x="583316" y="293750"/>
                      <a:pt x="578828" y="293350"/>
                      <a:pt x="574835" y="291506"/>
                    </a:cubicBezTo>
                    <a:cubicBezTo>
                      <a:pt x="573390" y="290821"/>
                      <a:pt x="571850" y="290384"/>
                      <a:pt x="570272" y="290175"/>
                    </a:cubicBezTo>
                    <a:cubicBezTo>
                      <a:pt x="566069" y="290194"/>
                      <a:pt x="561924" y="291107"/>
                      <a:pt x="558102" y="292837"/>
                    </a:cubicBezTo>
                    <a:lnTo>
                      <a:pt x="553918" y="294358"/>
                    </a:lnTo>
                    <a:lnTo>
                      <a:pt x="552017" y="294358"/>
                    </a:lnTo>
                    <a:cubicBezTo>
                      <a:pt x="537812" y="302269"/>
                      <a:pt x="520318" y="301223"/>
                      <a:pt x="507140" y="291696"/>
                    </a:cubicBezTo>
                    <a:cubicBezTo>
                      <a:pt x="507140" y="291696"/>
                      <a:pt x="486984" y="274012"/>
                      <a:pt x="485463" y="260701"/>
                    </a:cubicBezTo>
                    <a:cubicBezTo>
                      <a:pt x="484930" y="254255"/>
                      <a:pt x="485786" y="247771"/>
                      <a:pt x="487935" y="241686"/>
                    </a:cubicBezTo>
                    <a:cubicBezTo>
                      <a:pt x="490597" y="232748"/>
                      <a:pt x="491738" y="228755"/>
                      <a:pt x="482230" y="222670"/>
                    </a:cubicBezTo>
                    <a:lnTo>
                      <a:pt x="472152" y="216015"/>
                    </a:lnTo>
                    <a:cubicBezTo>
                      <a:pt x="460515" y="206526"/>
                      <a:pt x="446748" y="200004"/>
                      <a:pt x="432030" y="196999"/>
                    </a:cubicBezTo>
                    <a:cubicBezTo>
                      <a:pt x="422655" y="196657"/>
                      <a:pt x="413280" y="197418"/>
                      <a:pt x="404077" y="199281"/>
                    </a:cubicBezTo>
                    <a:cubicBezTo>
                      <a:pt x="397289" y="200556"/>
                      <a:pt x="390424" y="201449"/>
                      <a:pt x="383540" y="201944"/>
                    </a:cubicBezTo>
                    <a:lnTo>
                      <a:pt x="376124" y="201944"/>
                    </a:lnTo>
                    <a:cubicBezTo>
                      <a:pt x="357109" y="203465"/>
                      <a:pt x="331818" y="205366"/>
                      <a:pt x="320219" y="192626"/>
                    </a:cubicBezTo>
                    <a:cubicBezTo>
                      <a:pt x="315674" y="187283"/>
                      <a:pt x="313012" y="180608"/>
                      <a:pt x="312613" y="173611"/>
                    </a:cubicBezTo>
                    <a:cubicBezTo>
                      <a:pt x="312613" y="166765"/>
                      <a:pt x="311282" y="162582"/>
                      <a:pt x="302915" y="159159"/>
                    </a:cubicBezTo>
                    <a:lnTo>
                      <a:pt x="299112" y="158018"/>
                    </a:lnTo>
                    <a:cubicBezTo>
                      <a:pt x="293179" y="156991"/>
                      <a:pt x="288844" y="151857"/>
                      <a:pt x="288844" y="145848"/>
                    </a:cubicBezTo>
                    <a:cubicBezTo>
                      <a:pt x="287874" y="137843"/>
                      <a:pt x="291373" y="129951"/>
                      <a:pt x="297971" y="125312"/>
                    </a:cubicBezTo>
                    <a:cubicBezTo>
                      <a:pt x="305520" y="118751"/>
                      <a:pt x="309894" y="109262"/>
                      <a:pt x="309951" y="99260"/>
                    </a:cubicBezTo>
                    <a:cubicBezTo>
                      <a:pt x="311092" y="92738"/>
                      <a:pt x="312936" y="86368"/>
                      <a:pt x="315465" y="80245"/>
                    </a:cubicBezTo>
                    <a:cubicBezTo>
                      <a:pt x="316872" y="77469"/>
                      <a:pt x="318451" y="74807"/>
                      <a:pt x="320219" y="72259"/>
                    </a:cubicBezTo>
                    <a:cubicBezTo>
                      <a:pt x="322938" y="69045"/>
                      <a:pt x="324764" y="65185"/>
                      <a:pt x="325543" y="61040"/>
                    </a:cubicBezTo>
                    <a:cubicBezTo>
                      <a:pt x="325448" y="56076"/>
                      <a:pt x="324212" y="51189"/>
                      <a:pt x="321930" y="46778"/>
                    </a:cubicBezTo>
                    <a:cubicBezTo>
                      <a:pt x="320124" y="42823"/>
                      <a:pt x="318774" y="38678"/>
                      <a:pt x="317937" y="34418"/>
                    </a:cubicBezTo>
                    <a:cubicBezTo>
                      <a:pt x="316093" y="23047"/>
                      <a:pt x="315142" y="11523"/>
                      <a:pt x="315085" y="0"/>
                    </a:cubicBezTo>
                    <a:cubicBezTo>
                      <a:pt x="304417" y="2016"/>
                      <a:pt x="294301" y="6294"/>
                      <a:pt x="285421" y="12550"/>
                    </a:cubicBezTo>
                    <a:cubicBezTo>
                      <a:pt x="280287" y="16353"/>
                      <a:pt x="275343" y="20917"/>
                      <a:pt x="269828" y="25861"/>
                    </a:cubicBezTo>
                    <a:cubicBezTo>
                      <a:pt x="257297" y="39305"/>
                      <a:pt x="241324" y="49041"/>
                      <a:pt x="223621" y="54004"/>
                    </a:cubicBezTo>
                    <a:cubicBezTo>
                      <a:pt x="212858" y="55677"/>
                      <a:pt x="201981" y="51646"/>
                      <a:pt x="194908" y="43355"/>
                    </a:cubicBezTo>
                    <a:cubicBezTo>
                      <a:pt x="188062" y="37080"/>
                      <a:pt x="184259" y="33657"/>
                      <a:pt x="174751" y="39362"/>
                    </a:cubicBezTo>
                    <a:cubicBezTo>
                      <a:pt x="163456" y="45276"/>
                      <a:pt x="153340" y="53205"/>
                      <a:pt x="144897" y="62751"/>
                    </a:cubicBezTo>
                    <a:cubicBezTo>
                      <a:pt x="141874" y="67695"/>
                      <a:pt x="140105" y="73323"/>
                      <a:pt x="139763" y="79104"/>
                    </a:cubicBezTo>
                    <a:cubicBezTo>
                      <a:pt x="139212" y="83002"/>
                      <a:pt x="138451" y="86881"/>
                      <a:pt x="137481" y="90703"/>
                    </a:cubicBezTo>
                    <a:cubicBezTo>
                      <a:pt x="134287" y="101276"/>
                      <a:pt x="131624" y="112001"/>
                      <a:pt x="129495" y="122840"/>
                    </a:cubicBezTo>
                    <a:cubicBezTo>
                      <a:pt x="126795" y="134116"/>
                      <a:pt x="120025" y="144004"/>
                      <a:pt x="110479" y="150602"/>
                    </a:cubicBezTo>
                    <a:lnTo>
                      <a:pt x="106486" y="154215"/>
                    </a:lnTo>
                    <a:cubicBezTo>
                      <a:pt x="86368" y="172489"/>
                      <a:pt x="69121" y="193710"/>
                      <a:pt x="55335" y="217156"/>
                    </a:cubicBezTo>
                    <a:cubicBezTo>
                      <a:pt x="48736" y="226245"/>
                      <a:pt x="46188" y="237673"/>
                      <a:pt x="48299" y="248721"/>
                    </a:cubicBezTo>
                    <a:cubicBezTo>
                      <a:pt x="49706" y="257297"/>
                      <a:pt x="47576" y="266083"/>
                      <a:pt x="42404" y="273061"/>
                    </a:cubicBezTo>
                    <a:cubicBezTo>
                      <a:pt x="40636" y="275514"/>
                      <a:pt x="39114" y="278119"/>
                      <a:pt x="37841" y="280857"/>
                    </a:cubicBezTo>
                    <a:cubicBezTo>
                      <a:pt x="35730" y="285916"/>
                      <a:pt x="34266" y="291221"/>
                      <a:pt x="33467" y="296640"/>
                    </a:cubicBezTo>
                    <a:cubicBezTo>
                      <a:pt x="32630" y="304151"/>
                      <a:pt x="30368" y="311453"/>
                      <a:pt x="26812" y="318128"/>
                    </a:cubicBezTo>
                    <a:cubicBezTo>
                      <a:pt x="22818" y="324973"/>
                      <a:pt x="18255" y="331438"/>
                      <a:pt x="13881" y="337143"/>
                    </a:cubicBezTo>
                    <a:cubicBezTo>
                      <a:pt x="9508" y="342848"/>
                      <a:pt x="5134" y="349693"/>
                      <a:pt x="1331" y="356158"/>
                    </a:cubicBezTo>
                    <a:lnTo>
                      <a:pt x="0" y="358440"/>
                    </a:lnTo>
                    <a:cubicBezTo>
                      <a:pt x="6922" y="364069"/>
                      <a:pt x="12113" y="371504"/>
                      <a:pt x="15022" y="379928"/>
                    </a:cubicBezTo>
                    <a:lnTo>
                      <a:pt x="15973" y="382780"/>
                    </a:lnTo>
                    <a:cubicBezTo>
                      <a:pt x="18179" y="393257"/>
                      <a:pt x="24226" y="402556"/>
                      <a:pt x="32897" y="408831"/>
                    </a:cubicBezTo>
                    <a:lnTo>
                      <a:pt x="43735" y="415676"/>
                    </a:lnTo>
                    <a:cubicBezTo>
                      <a:pt x="52463" y="420639"/>
                      <a:pt x="60526" y="426705"/>
                      <a:pt x="67695" y="433741"/>
                    </a:cubicBezTo>
                    <a:cubicBezTo>
                      <a:pt x="81367" y="449505"/>
                      <a:pt x="93651" y="466429"/>
                      <a:pt x="104395" y="484322"/>
                    </a:cubicBezTo>
                    <a:lnTo>
                      <a:pt x="114092" y="498964"/>
                    </a:lnTo>
                    <a:cubicBezTo>
                      <a:pt x="122060" y="509803"/>
                      <a:pt x="127346" y="522391"/>
                      <a:pt x="129495" y="535664"/>
                    </a:cubicBezTo>
                    <a:cubicBezTo>
                      <a:pt x="130122" y="546940"/>
                      <a:pt x="128107" y="558197"/>
                      <a:pt x="123600" y="568560"/>
                    </a:cubicBezTo>
                    <a:cubicBezTo>
                      <a:pt x="122459" y="571983"/>
                      <a:pt x="121128" y="575596"/>
                      <a:pt x="120177" y="579209"/>
                    </a:cubicBezTo>
                    <a:cubicBezTo>
                      <a:pt x="113408" y="606458"/>
                      <a:pt x="116032" y="635190"/>
                      <a:pt x="127593" y="660785"/>
                    </a:cubicBezTo>
                    <a:cubicBezTo>
                      <a:pt x="136797" y="683071"/>
                      <a:pt x="136454" y="708171"/>
                      <a:pt x="126643" y="730191"/>
                    </a:cubicBezTo>
                    <a:cubicBezTo>
                      <a:pt x="118466" y="756052"/>
                      <a:pt x="131776" y="763468"/>
                      <a:pt x="150031" y="773926"/>
                    </a:cubicBezTo>
                    <a:cubicBezTo>
                      <a:pt x="165567" y="780448"/>
                      <a:pt x="178098" y="792504"/>
                      <a:pt x="185210" y="807774"/>
                    </a:cubicBezTo>
                    <a:cubicBezTo>
                      <a:pt x="189241" y="820438"/>
                      <a:pt x="191371" y="833654"/>
                      <a:pt x="191485" y="846945"/>
                    </a:cubicBezTo>
                    <a:cubicBezTo>
                      <a:pt x="191808" y="857575"/>
                      <a:pt x="193139" y="868148"/>
                      <a:pt x="195478" y="878511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435" name="Полилиния: фигура 434">
                <a:extLst>
                  <a:ext uri="{FF2B5EF4-FFF2-40B4-BE49-F238E27FC236}">
                    <a16:creationId xmlns:a16="http://schemas.microsoft.com/office/drawing/2014/main" id="{7F05FF52-B39C-98BE-A6E1-57874797C6BE}"/>
                  </a:ext>
                </a:extLst>
              </p:cNvPr>
              <p:cNvSpPr/>
              <p:nvPr/>
            </p:nvSpPr>
            <p:spPr>
              <a:xfrm>
                <a:off x="4124377" y="3088613"/>
                <a:ext cx="1210209" cy="1470330"/>
              </a:xfrm>
              <a:custGeom>
                <a:avLst/>
                <a:gdLst>
                  <a:gd name="connsiteX0" fmla="*/ 749549 w 1210209"/>
                  <a:gd name="connsiteY0" fmla="*/ 212273 h 1470330"/>
                  <a:gd name="connsiteX1" fmla="*/ 730534 w 1210209"/>
                  <a:gd name="connsiteY1" fmla="*/ 238324 h 1470330"/>
                  <a:gd name="connsiteX2" fmla="*/ 743845 w 1210209"/>
                  <a:gd name="connsiteY2" fmla="*/ 261903 h 1470330"/>
                  <a:gd name="connsiteX3" fmla="*/ 745556 w 1210209"/>
                  <a:gd name="connsiteY3" fmla="*/ 304307 h 1470330"/>
                  <a:gd name="connsiteX4" fmla="*/ 757916 w 1210209"/>
                  <a:gd name="connsiteY4" fmla="*/ 339866 h 1470330"/>
                  <a:gd name="connsiteX5" fmla="*/ 743655 w 1210209"/>
                  <a:gd name="connsiteY5" fmla="*/ 369150 h 1470330"/>
                  <a:gd name="connsiteX6" fmla="*/ 724639 w 1210209"/>
                  <a:gd name="connsiteY6" fmla="*/ 398814 h 1470330"/>
                  <a:gd name="connsiteX7" fmla="*/ 711138 w 1210209"/>
                  <a:gd name="connsiteY7" fmla="*/ 426956 h 1470330"/>
                  <a:gd name="connsiteX8" fmla="*/ 696687 w 1210209"/>
                  <a:gd name="connsiteY8" fmla="*/ 454529 h 1470330"/>
                  <a:gd name="connsiteX9" fmla="*/ 701440 w 1210209"/>
                  <a:gd name="connsiteY9" fmla="*/ 489327 h 1470330"/>
                  <a:gd name="connsiteX10" fmla="*/ 707716 w 1210209"/>
                  <a:gd name="connsiteY10" fmla="*/ 537436 h 1470330"/>
                  <a:gd name="connsiteX11" fmla="*/ 733006 w 1210209"/>
                  <a:gd name="connsiteY11" fmla="*/ 547324 h 1470330"/>
                  <a:gd name="connsiteX12" fmla="*/ 764381 w 1210209"/>
                  <a:gd name="connsiteY12" fmla="*/ 536295 h 1470330"/>
                  <a:gd name="connsiteX13" fmla="*/ 794235 w 1210209"/>
                  <a:gd name="connsiteY13" fmla="*/ 541999 h 1470330"/>
                  <a:gd name="connsiteX14" fmla="*/ 830745 w 1210209"/>
                  <a:gd name="connsiteY14" fmla="*/ 569762 h 1470330"/>
                  <a:gd name="connsiteX15" fmla="*/ 850901 w 1210209"/>
                  <a:gd name="connsiteY15" fmla="*/ 587066 h 1470330"/>
                  <a:gd name="connsiteX16" fmla="*/ 859458 w 1210209"/>
                  <a:gd name="connsiteY16" fmla="*/ 618061 h 1470330"/>
                  <a:gd name="connsiteX17" fmla="*/ 860980 w 1210209"/>
                  <a:gd name="connsiteY17" fmla="*/ 654571 h 1470330"/>
                  <a:gd name="connsiteX18" fmla="*/ 855085 w 1210209"/>
                  <a:gd name="connsiteY18" fmla="*/ 679101 h 1470330"/>
                  <a:gd name="connsiteX19" fmla="*/ 824850 w 1210209"/>
                  <a:gd name="connsiteY19" fmla="*/ 723786 h 1470330"/>
                  <a:gd name="connsiteX20" fmla="*/ 868396 w 1210209"/>
                  <a:gd name="connsiteY20" fmla="*/ 758014 h 1470330"/>
                  <a:gd name="connsiteX21" fmla="*/ 891024 w 1210209"/>
                  <a:gd name="connsiteY21" fmla="*/ 766571 h 1470330"/>
                  <a:gd name="connsiteX22" fmla="*/ 867064 w 1210209"/>
                  <a:gd name="connsiteY22" fmla="*/ 771515 h 1470330"/>
                  <a:gd name="connsiteX23" fmla="*/ 809067 w 1210209"/>
                  <a:gd name="connsiteY23" fmla="*/ 733485 h 1470330"/>
                  <a:gd name="connsiteX24" fmla="*/ 820667 w 1210209"/>
                  <a:gd name="connsiteY24" fmla="*/ 699827 h 1470330"/>
                  <a:gd name="connsiteX25" fmla="*/ 829414 w 1210209"/>
                  <a:gd name="connsiteY25" fmla="*/ 660085 h 1470330"/>
                  <a:gd name="connsiteX26" fmla="*/ 826942 w 1210209"/>
                  <a:gd name="connsiteY26" fmla="*/ 627759 h 1470330"/>
                  <a:gd name="connsiteX27" fmla="*/ 810209 w 1210209"/>
                  <a:gd name="connsiteY27" fmla="*/ 592771 h 1470330"/>
                  <a:gd name="connsiteX28" fmla="*/ 796517 w 1210209"/>
                  <a:gd name="connsiteY28" fmla="*/ 571854 h 1470330"/>
                  <a:gd name="connsiteX29" fmla="*/ 758487 w 1210209"/>
                  <a:gd name="connsiteY29" fmla="*/ 572995 h 1470330"/>
                  <a:gd name="connsiteX30" fmla="*/ 742704 w 1210209"/>
                  <a:gd name="connsiteY30" fmla="*/ 580791 h 1470330"/>
                  <a:gd name="connsiteX31" fmla="*/ 723688 w 1210209"/>
                  <a:gd name="connsiteY31" fmla="*/ 582312 h 1470330"/>
                  <a:gd name="connsiteX32" fmla="*/ 701631 w 1210209"/>
                  <a:gd name="connsiteY32" fmla="*/ 608744 h 1470330"/>
                  <a:gd name="connsiteX33" fmla="*/ 694025 w 1210209"/>
                  <a:gd name="connsiteY33" fmla="*/ 640309 h 1470330"/>
                  <a:gd name="connsiteX34" fmla="*/ 701821 w 1210209"/>
                  <a:gd name="connsiteY34" fmla="*/ 678340 h 1470330"/>
                  <a:gd name="connsiteX35" fmla="*/ 690602 w 1210209"/>
                  <a:gd name="connsiteY35" fmla="*/ 717512 h 1470330"/>
                  <a:gd name="connsiteX36" fmla="*/ 661318 w 1210209"/>
                  <a:gd name="connsiteY36" fmla="*/ 742802 h 1470330"/>
                  <a:gd name="connsiteX37" fmla="*/ 646866 w 1210209"/>
                  <a:gd name="connsiteY37" fmla="*/ 750789 h 1470330"/>
                  <a:gd name="connsiteX38" fmla="*/ 643444 w 1210209"/>
                  <a:gd name="connsiteY38" fmla="*/ 768663 h 1470330"/>
                  <a:gd name="connsiteX39" fmla="*/ 622907 w 1210209"/>
                  <a:gd name="connsiteY39" fmla="*/ 798517 h 1470330"/>
                  <a:gd name="connsiteX40" fmla="*/ 558064 w 1210209"/>
                  <a:gd name="connsiteY40" fmla="*/ 832935 h 1470330"/>
                  <a:gd name="connsiteX41" fmla="*/ 536577 w 1210209"/>
                  <a:gd name="connsiteY41" fmla="*/ 849859 h 1470330"/>
                  <a:gd name="connsiteX42" fmla="*/ 519273 w 1210209"/>
                  <a:gd name="connsiteY42" fmla="*/ 870776 h 1470330"/>
                  <a:gd name="connsiteX43" fmla="*/ 494743 w 1210209"/>
                  <a:gd name="connsiteY43" fmla="*/ 853091 h 1470330"/>
                  <a:gd name="connsiteX44" fmla="*/ 455191 w 1210209"/>
                  <a:gd name="connsiteY44" fmla="*/ 836548 h 1470330"/>
                  <a:gd name="connsiteX45" fmla="*/ 427048 w 1210209"/>
                  <a:gd name="connsiteY45" fmla="*/ 823427 h 1470330"/>
                  <a:gd name="connsiteX46" fmla="*/ 427048 w 1210209"/>
                  <a:gd name="connsiteY46" fmla="*/ 804412 h 1470330"/>
                  <a:gd name="connsiteX47" fmla="*/ 404040 w 1210209"/>
                  <a:gd name="connsiteY47" fmla="*/ 795475 h 1470330"/>
                  <a:gd name="connsiteX48" fmla="*/ 370193 w 1210209"/>
                  <a:gd name="connsiteY48" fmla="*/ 781593 h 1470330"/>
                  <a:gd name="connsiteX49" fmla="*/ 356501 w 1210209"/>
                  <a:gd name="connsiteY49" fmla="*/ 762578 h 1470330"/>
                  <a:gd name="connsiteX50" fmla="*/ 405561 w 1210209"/>
                  <a:gd name="connsiteY50" fmla="*/ 762578 h 1470330"/>
                  <a:gd name="connsiteX51" fmla="*/ 422865 w 1210209"/>
                  <a:gd name="connsiteY51" fmla="*/ 773417 h 1470330"/>
                  <a:gd name="connsiteX52" fmla="*/ 434084 w 1210209"/>
                  <a:gd name="connsiteY52" fmla="*/ 775128 h 1470330"/>
                  <a:gd name="connsiteX53" fmla="*/ 445303 w 1210209"/>
                  <a:gd name="connsiteY53" fmla="*/ 788059 h 1470330"/>
                  <a:gd name="connsiteX54" fmla="*/ 475157 w 1210209"/>
                  <a:gd name="connsiteY54" fmla="*/ 786537 h 1470330"/>
                  <a:gd name="connsiteX55" fmla="*/ 514709 w 1210209"/>
                  <a:gd name="connsiteY55" fmla="*/ 778741 h 1470330"/>
                  <a:gd name="connsiteX56" fmla="*/ 571755 w 1210209"/>
                  <a:gd name="connsiteY56" fmla="*/ 729682 h 1470330"/>
                  <a:gd name="connsiteX57" fmla="*/ 598187 w 1210209"/>
                  <a:gd name="connsiteY57" fmla="*/ 702870 h 1470330"/>
                  <a:gd name="connsiteX58" fmla="*/ 612068 w 1210209"/>
                  <a:gd name="connsiteY58" fmla="*/ 698116 h 1470330"/>
                  <a:gd name="connsiteX59" fmla="*/ 617963 w 1210209"/>
                  <a:gd name="connsiteY59" fmla="*/ 682713 h 1470330"/>
                  <a:gd name="connsiteX60" fmla="*/ 626329 w 1210209"/>
                  <a:gd name="connsiteY60" fmla="*/ 648295 h 1470330"/>
                  <a:gd name="connsiteX61" fmla="*/ 652381 w 1210209"/>
                  <a:gd name="connsiteY61" fmla="*/ 614068 h 1470330"/>
                  <a:gd name="connsiteX62" fmla="*/ 637168 w 1210209"/>
                  <a:gd name="connsiteY62" fmla="*/ 558543 h 1470330"/>
                  <a:gd name="connsiteX63" fmla="*/ 626139 w 1210209"/>
                  <a:gd name="connsiteY63" fmla="*/ 522414 h 1470330"/>
                  <a:gd name="connsiteX64" fmla="*/ 643253 w 1210209"/>
                  <a:gd name="connsiteY64" fmla="*/ 492369 h 1470330"/>
                  <a:gd name="connsiteX65" fmla="*/ 653522 w 1210209"/>
                  <a:gd name="connsiteY65" fmla="*/ 455289 h 1470330"/>
                  <a:gd name="connsiteX66" fmla="*/ 663980 w 1210209"/>
                  <a:gd name="connsiteY66" fmla="*/ 408702 h 1470330"/>
                  <a:gd name="connsiteX67" fmla="*/ 667593 w 1210209"/>
                  <a:gd name="connsiteY67" fmla="*/ 372382 h 1470330"/>
                  <a:gd name="connsiteX68" fmla="*/ 686609 w 1210209"/>
                  <a:gd name="connsiteY68" fmla="*/ 345761 h 1470330"/>
                  <a:gd name="connsiteX69" fmla="*/ 700109 w 1210209"/>
                  <a:gd name="connsiteY69" fmla="*/ 269699 h 1470330"/>
                  <a:gd name="connsiteX70" fmla="*/ 685087 w 1210209"/>
                  <a:gd name="connsiteY70" fmla="*/ 212653 h 1470330"/>
                  <a:gd name="connsiteX71" fmla="*/ 705053 w 1210209"/>
                  <a:gd name="connsiteY71" fmla="*/ 193638 h 1470330"/>
                  <a:gd name="connsiteX72" fmla="*/ 720266 w 1210209"/>
                  <a:gd name="connsiteY72" fmla="*/ 167967 h 1470330"/>
                  <a:gd name="connsiteX73" fmla="*/ 752592 w 1210209"/>
                  <a:gd name="connsiteY73" fmla="*/ 93046 h 1470330"/>
                  <a:gd name="connsiteX74" fmla="*/ 752592 w 1210209"/>
                  <a:gd name="connsiteY74" fmla="*/ 57297 h 1470330"/>
                  <a:gd name="connsiteX75" fmla="*/ 724639 w 1210209"/>
                  <a:gd name="connsiteY75" fmla="*/ 43606 h 1470330"/>
                  <a:gd name="connsiteX76" fmla="*/ 708286 w 1210209"/>
                  <a:gd name="connsiteY76" fmla="*/ 26873 h 1470330"/>
                  <a:gd name="connsiteX77" fmla="*/ 662459 w 1210209"/>
                  <a:gd name="connsiteY77" fmla="*/ 16985 h 1470330"/>
                  <a:gd name="connsiteX78" fmla="*/ 639640 w 1210209"/>
                  <a:gd name="connsiteY78" fmla="*/ 61 h 1470330"/>
                  <a:gd name="connsiteX79" fmla="*/ 622907 w 1210209"/>
                  <a:gd name="connsiteY79" fmla="*/ 21168 h 1470330"/>
                  <a:gd name="connsiteX80" fmla="*/ 608645 w 1210209"/>
                  <a:gd name="connsiteY80" fmla="*/ 41134 h 1470330"/>
                  <a:gd name="connsiteX81" fmla="*/ 590581 w 1210209"/>
                  <a:gd name="connsiteY81" fmla="*/ 79165 h 1470330"/>
                  <a:gd name="connsiteX82" fmla="*/ 549127 w 1210209"/>
                  <a:gd name="connsiteY82" fmla="*/ 147240 h 1470330"/>
                  <a:gd name="connsiteX83" fmla="*/ 512428 w 1210209"/>
                  <a:gd name="connsiteY83" fmla="*/ 169868 h 1470330"/>
                  <a:gd name="connsiteX84" fmla="*/ 477439 w 1210209"/>
                  <a:gd name="connsiteY84" fmla="*/ 182228 h 1470330"/>
                  <a:gd name="connsiteX85" fmla="*/ 464509 w 1210209"/>
                  <a:gd name="connsiteY85" fmla="*/ 194208 h 1470330"/>
                  <a:gd name="connsiteX86" fmla="*/ 462227 w 1210209"/>
                  <a:gd name="connsiteY86" fmla="*/ 207329 h 1470330"/>
                  <a:gd name="connsiteX87" fmla="*/ 448726 w 1210209"/>
                  <a:gd name="connsiteY87" fmla="*/ 230908 h 1470330"/>
                  <a:gd name="connsiteX88" fmla="*/ 467741 w 1210209"/>
                  <a:gd name="connsiteY88" fmla="*/ 238514 h 1470330"/>
                  <a:gd name="connsiteX89" fmla="*/ 472875 w 1210209"/>
                  <a:gd name="connsiteY89" fmla="*/ 249353 h 1470330"/>
                  <a:gd name="connsiteX90" fmla="*/ 471735 w 1210209"/>
                  <a:gd name="connsiteY90" fmla="*/ 258100 h 1470330"/>
                  <a:gd name="connsiteX91" fmla="*/ 462037 w 1210209"/>
                  <a:gd name="connsiteY91" fmla="*/ 272742 h 1470330"/>
                  <a:gd name="connsiteX92" fmla="*/ 457663 w 1210209"/>
                  <a:gd name="connsiteY92" fmla="*/ 291757 h 1470330"/>
                  <a:gd name="connsiteX93" fmla="*/ 447965 w 1210209"/>
                  <a:gd name="connsiteY93" fmla="*/ 302976 h 1470330"/>
                  <a:gd name="connsiteX94" fmla="*/ 444733 w 1210209"/>
                  <a:gd name="connsiteY94" fmla="*/ 324083 h 1470330"/>
                  <a:gd name="connsiteX95" fmla="*/ 422104 w 1210209"/>
                  <a:gd name="connsiteY95" fmla="*/ 341197 h 1470330"/>
                  <a:gd name="connsiteX96" fmla="*/ 404610 w 1210209"/>
                  <a:gd name="connsiteY96" fmla="*/ 366488 h 1470330"/>
                  <a:gd name="connsiteX97" fmla="*/ 403089 w 1210209"/>
                  <a:gd name="connsiteY97" fmla="*/ 387405 h 1470330"/>
                  <a:gd name="connsiteX98" fmla="*/ 426097 w 1210209"/>
                  <a:gd name="connsiteY98" fmla="*/ 386073 h 1470330"/>
                  <a:gd name="connsiteX99" fmla="*/ 443782 w 1210209"/>
                  <a:gd name="connsiteY99" fmla="*/ 405089 h 1470330"/>
                  <a:gd name="connsiteX100" fmla="*/ 456332 w 1210209"/>
                  <a:gd name="connsiteY100" fmla="*/ 425245 h 1470330"/>
                  <a:gd name="connsiteX101" fmla="*/ 447585 w 1210209"/>
                  <a:gd name="connsiteY101" fmla="*/ 436654 h 1470330"/>
                  <a:gd name="connsiteX102" fmla="*/ 447585 w 1210209"/>
                  <a:gd name="connsiteY102" fmla="*/ 455670 h 1470330"/>
                  <a:gd name="connsiteX103" fmla="*/ 454621 w 1210209"/>
                  <a:gd name="connsiteY103" fmla="*/ 488376 h 1470330"/>
                  <a:gd name="connsiteX104" fmla="*/ 471735 w 1210209"/>
                  <a:gd name="connsiteY104" fmla="*/ 505300 h 1470330"/>
                  <a:gd name="connsiteX105" fmla="*/ 451198 w 1210209"/>
                  <a:gd name="connsiteY105" fmla="*/ 539528 h 1470330"/>
                  <a:gd name="connsiteX106" fmla="*/ 429901 w 1210209"/>
                  <a:gd name="connsiteY106" fmla="*/ 568051 h 1470330"/>
                  <a:gd name="connsiteX107" fmla="*/ 416742 w 1210209"/>
                  <a:gd name="connsiteY107" fmla="*/ 567214 h 1470330"/>
                  <a:gd name="connsiteX108" fmla="*/ 416210 w 1210209"/>
                  <a:gd name="connsiteY108" fmla="*/ 566529 h 1470330"/>
                  <a:gd name="connsiteX109" fmla="*/ 414878 w 1210209"/>
                  <a:gd name="connsiteY109" fmla="*/ 550176 h 1470330"/>
                  <a:gd name="connsiteX110" fmla="*/ 398716 w 1210209"/>
                  <a:gd name="connsiteY110" fmla="*/ 526407 h 1470330"/>
                  <a:gd name="connsiteX111" fmla="*/ 384834 w 1210209"/>
                  <a:gd name="connsiteY111" fmla="*/ 484383 h 1470330"/>
                  <a:gd name="connsiteX112" fmla="*/ 361445 w 1210209"/>
                  <a:gd name="connsiteY112" fmla="*/ 457191 h 1470330"/>
                  <a:gd name="connsiteX113" fmla="*/ 344522 w 1210209"/>
                  <a:gd name="connsiteY113" fmla="*/ 430569 h 1470330"/>
                  <a:gd name="connsiteX114" fmla="*/ 328168 w 1210209"/>
                  <a:gd name="connsiteY114" fmla="*/ 411554 h 1470330"/>
                  <a:gd name="connsiteX115" fmla="*/ 320942 w 1210209"/>
                  <a:gd name="connsiteY115" fmla="*/ 405849 h 1470330"/>
                  <a:gd name="connsiteX116" fmla="*/ 313146 w 1210209"/>
                  <a:gd name="connsiteY116" fmla="*/ 411934 h 1470330"/>
                  <a:gd name="connsiteX117" fmla="*/ 306301 w 1210209"/>
                  <a:gd name="connsiteY117" fmla="*/ 416878 h 1470330"/>
                  <a:gd name="connsiteX118" fmla="*/ 291088 w 1210209"/>
                  <a:gd name="connsiteY118" fmla="*/ 431330 h 1470330"/>
                  <a:gd name="connsiteX119" fmla="*/ 298885 w 1210209"/>
                  <a:gd name="connsiteY119" fmla="*/ 442549 h 1470330"/>
                  <a:gd name="connsiteX120" fmla="*/ 301167 w 1210209"/>
                  <a:gd name="connsiteY120" fmla="*/ 444070 h 1470330"/>
                  <a:gd name="connsiteX121" fmla="*/ 317900 w 1210209"/>
                  <a:gd name="connsiteY121" fmla="*/ 470882 h 1470330"/>
                  <a:gd name="connsiteX122" fmla="*/ 312386 w 1210209"/>
                  <a:gd name="connsiteY122" fmla="*/ 505490 h 1470330"/>
                  <a:gd name="connsiteX123" fmla="*/ 306491 w 1210209"/>
                  <a:gd name="connsiteY123" fmla="*/ 515378 h 1470330"/>
                  <a:gd name="connsiteX124" fmla="*/ 299645 w 1210209"/>
                  <a:gd name="connsiteY124" fmla="*/ 524886 h 1470330"/>
                  <a:gd name="connsiteX125" fmla="*/ 290518 w 1210209"/>
                  <a:gd name="connsiteY125" fmla="*/ 537816 h 1470330"/>
                  <a:gd name="connsiteX126" fmla="*/ 290518 w 1210209"/>
                  <a:gd name="connsiteY126" fmla="*/ 539147 h 1470330"/>
                  <a:gd name="connsiteX127" fmla="*/ 283863 w 1210209"/>
                  <a:gd name="connsiteY127" fmla="*/ 561776 h 1470330"/>
                  <a:gd name="connsiteX128" fmla="*/ 291088 w 1210209"/>
                  <a:gd name="connsiteY128" fmla="*/ 565579 h 1470330"/>
                  <a:gd name="connsiteX129" fmla="*/ 301737 w 1210209"/>
                  <a:gd name="connsiteY129" fmla="*/ 570523 h 1470330"/>
                  <a:gd name="connsiteX130" fmla="*/ 305730 w 1210209"/>
                  <a:gd name="connsiteY130" fmla="*/ 606462 h 1470330"/>
                  <a:gd name="connsiteX131" fmla="*/ 300596 w 1210209"/>
                  <a:gd name="connsiteY131" fmla="*/ 613688 h 1470330"/>
                  <a:gd name="connsiteX132" fmla="*/ 298124 w 1210209"/>
                  <a:gd name="connsiteY132" fmla="*/ 616350 h 1470330"/>
                  <a:gd name="connsiteX133" fmla="*/ 296032 w 1210209"/>
                  <a:gd name="connsiteY133" fmla="*/ 621674 h 1470330"/>
                  <a:gd name="connsiteX134" fmla="*/ 296032 w 1210209"/>
                  <a:gd name="connsiteY134" fmla="*/ 628520 h 1470330"/>
                  <a:gd name="connsiteX135" fmla="*/ 258002 w 1210209"/>
                  <a:gd name="connsiteY135" fmla="*/ 657043 h 1470330"/>
                  <a:gd name="connsiteX136" fmla="*/ 236704 w 1210209"/>
                  <a:gd name="connsiteY136" fmla="*/ 667121 h 1470330"/>
                  <a:gd name="connsiteX137" fmla="*/ 227767 w 1210209"/>
                  <a:gd name="connsiteY137" fmla="*/ 676818 h 1470330"/>
                  <a:gd name="connsiteX138" fmla="*/ 215597 w 1210209"/>
                  <a:gd name="connsiteY138" fmla="*/ 689369 h 1470330"/>
                  <a:gd name="connsiteX139" fmla="*/ 180799 w 1210209"/>
                  <a:gd name="connsiteY139" fmla="*/ 699827 h 1470330"/>
                  <a:gd name="connsiteX140" fmla="*/ 174144 w 1210209"/>
                  <a:gd name="connsiteY140" fmla="*/ 699827 h 1470330"/>
                  <a:gd name="connsiteX141" fmla="*/ 103216 w 1210209"/>
                  <a:gd name="connsiteY141" fmla="*/ 725688 h 1470330"/>
                  <a:gd name="connsiteX142" fmla="*/ 85912 w 1210209"/>
                  <a:gd name="connsiteY142" fmla="*/ 743563 h 1470330"/>
                  <a:gd name="connsiteX143" fmla="*/ 59101 w 1210209"/>
                  <a:gd name="connsiteY143" fmla="*/ 766381 h 1470330"/>
                  <a:gd name="connsiteX144" fmla="*/ 30958 w 1210209"/>
                  <a:gd name="connsiteY144" fmla="*/ 772656 h 1470330"/>
                  <a:gd name="connsiteX145" fmla="*/ 26584 w 1210209"/>
                  <a:gd name="connsiteY145" fmla="*/ 772656 h 1470330"/>
                  <a:gd name="connsiteX146" fmla="*/ 29247 w 1210209"/>
                  <a:gd name="connsiteY146" fmla="*/ 807454 h 1470330"/>
                  <a:gd name="connsiteX147" fmla="*/ 32479 w 1210209"/>
                  <a:gd name="connsiteY147" fmla="*/ 817342 h 1470330"/>
                  <a:gd name="connsiteX148" fmla="*/ 36853 w 1210209"/>
                  <a:gd name="connsiteY148" fmla="*/ 836358 h 1470330"/>
                  <a:gd name="connsiteX149" fmla="*/ 29817 w 1210209"/>
                  <a:gd name="connsiteY149" fmla="*/ 852521 h 1470330"/>
                  <a:gd name="connsiteX150" fmla="*/ 26014 w 1210209"/>
                  <a:gd name="connsiteY150" fmla="*/ 858986 h 1470330"/>
                  <a:gd name="connsiteX151" fmla="*/ 21260 w 1210209"/>
                  <a:gd name="connsiteY151" fmla="*/ 875910 h 1470330"/>
                  <a:gd name="connsiteX152" fmla="*/ 11562 w 1210209"/>
                  <a:gd name="connsiteY152" fmla="*/ 902151 h 1470330"/>
                  <a:gd name="connsiteX153" fmla="*/ 6048 w 1210209"/>
                  <a:gd name="connsiteY153" fmla="*/ 907856 h 1470330"/>
                  <a:gd name="connsiteX154" fmla="*/ 153 w 1210209"/>
                  <a:gd name="connsiteY154" fmla="*/ 919075 h 1470330"/>
                  <a:gd name="connsiteX155" fmla="*/ 153 w 1210209"/>
                  <a:gd name="connsiteY155" fmla="*/ 921737 h 1470330"/>
                  <a:gd name="connsiteX156" fmla="*/ 1864 w 1210209"/>
                  <a:gd name="connsiteY156" fmla="*/ 921737 h 1470330"/>
                  <a:gd name="connsiteX157" fmla="*/ 6999 w 1210209"/>
                  <a:gd name="connsiteY157" fmla="*/ 923258 h 1470330"/>
                  <a:gd name="connsiteX158" fmla="*/ 23162 w 1210209"/>
                  <a:gd name="connsiteY158" fmla="*/ 946457 h 1470330"/>
                  <a:gd name="connsiteX159" fmla="*/ 28106 w 1210209"/>
                  <a:gd name="connsiteY159" fmla="*/ 959577 h 1470330"/>
                  <a:gd name="connsiteX160" fmla="*/ 75264 w 1210209"/>
                  <a:gd name="connsiteY160" fmla="*/ 965472 h 1470330"/>
                  <a:gd name="connsiteX161" fmla="*/ 82870 w 1210209"/>
                  <a:gd name="connsiteY161" fmla="*/ 965472 h 1470330"/>
                  <a:gd name="connsiteX162" fmla="*/ 101885 w 1210209"/>
                  <a:gd name="connsiteY162" fmla="*/ 963000 h 1470330"/>
                  <a:gd name="connsiteX163" fmla="*/ 132310 w 1210209"/>
                  <a:gd name="connsiteY163" fmla="*/ 960528 h 1470330"/>
                  <a:gd name="connsiteX164" fmla="*/ 177757 w 1210209"/>
                  <a:gd name="connsiteY164" fmla="*/ 981635 h 1470330"/>
                  <a:gd name="connsiteX165" fmla="*/ 187455 w 1210209"/>
                  <a:gd name="connsiteY165" fmla="*/ 988101 h 1470330"/>
                  <a:gd name="connsiteX166" fmla="*/ 198141 w 1210209"/>
                  <a:gd name="connsiteY166" fmla="*/ 1018259 h 1470330"/>
                  <a:gd name="connsiteX167" fmla="*/ 197723 w 1210209"/>
                  <a:gd name="connsiteY167" fmla="*/ 1019095 h 1470330"/>
                  <a:gd name="connsiteX168" fmla="*/ 195631 w 1210209"/>
                  <a:gd name="connsiteY168" fmla="*/ 1033928 h 1470330"/>
                  <a:gd name="connsiteX169" fmla="*/ 214647 w 1210209"/>
                  <a:gd name="connsiteY169" fmla="*/ 1057887 h 1470330"/>
                  <a:gd name="connsiteX170" fmla="*/ 249064 w 1210209"/>
                  <a:gd name="connsiteY170" fmla="*/ 1057887 h 1470330"/>
                  <a:gd name="connsiteX171" fmla="*/ 254769 w 1210209"/>
                  <a:gd name="connsiteY171" fmla="*/ 1055985 h 1470330"/>
                  <a:gd name="connsiteX172" fmla="*/ 271883 w 1210209"/>
                  <a:gd name="connsiteY172" fmla="*/ 1052563 h 1470330"/>
                  <a:gd name="connsiteX173" fmla="*/ 279109 w 1210209"/>
                  <a:gd name="connsiteY173" fmla="*/ 1054654 h 1470330"/>
                  <a:gd name="connsiteX174" fmla="*/ 284813 w 1210209"/>
                  <a:gd name="connsiteY174" fmla="*/ 1055605 h 1470330"/>
                  <a:gd name="connsiteX175" fmla="*/ 293560 w 1210209"/>
                  <a:gd name="connsiteY175" fmla="*/ 1048760 h 1470330"/>
                  <a:gd name="connsiteX176" fmla="*/ 319421 w 1210209"/>
                  <a:gd name="connsiteY176" fmla="*/ 1040393 h 1470330"/>
                  <a:gd name="connsiteX177" fmla="*/ 347944 w 1210209"/>
                  <a:gd name="connsiteY177" fmla="*/ 1055795 h 1470330"/>
                  <a:gd name="connsiteX178" fmla="*/ 359734 w 1210209"/>
                  <a:gd name="connsiteY178" fmla="*/ 1063592 h 1470330"/>
                  <a:gd name="connsiteX179" fmla="*/ 364868 w 1210209"/>
                  <a:gd name="connsiteY179" fmla="*/ 1066444 h 1470330"/>
                  <a:gd name="connsiteX180" fmla="*/ 395293 w 1210209"/>
                  <a:gd name="connsiteY180" fmla="*/ 1092305 h 1470330"/>
                  <a:gd name="connsiteX181" fmla="*/ 392631 w 1210209"/>
                  <a:gd name="connsiteY181" fmla="*/ 1120257 h 1470330"/>
                  <a:gd name="connsiteX182" fmla="*/ 387877 w 1210209"/>
                  <a:gd name="connsiteY182" fmla="*/ 1131096 h 1470330"/>
                  <a:gd name="connsiteX183" fmla="*/ 398716 w 1210209"/>
                  <a:gd name="connsiteY183" fmla="*/ 1160950 h 1470330"/>
                  <a:gd name="connsiteX184" fmla="*/ 419062 w 1210209"/>
                  <a:gd name="connsiteY184" fmla="*/ 1197460 h 1470330"/>
                  <a:gd name="connsiteX185" fmla="*/ 419062 w 1210209"/>
                  <a:gd name="connsiteY185" fmla="*/ 1206777 h 1470330"/>
                  <a:gd name="connsiteX186" fmla="*/ 426478 w 1210209"/>
                  <a:gd name="connsiteY186" fmla="*/ 1230927 h 1470330"/>
                  <a:gd name="connsiteX187" fmla="*/ 458804 w 1210209"/>
                  <a:gd name="connsiteY187" fmla="*/ 1232448 h 1470330"/>
                  <a:gd name="connsiteX188" fmla="*/ 464509 w 1210209"/>
                  <a:gd name="connsiteY188" fmla="*/ 1229976 h 1470330"/>
                  <a:gd name="connsiteX189" fmla="*/ 496645 w 1210209"/>
                  <a:gd name="connsiteY189" fmla="*/ 1231878 h 1470330"/>
                  <a:gd name="connsiteX190" fmla="*/ 506533 w 1210209"/>
                  <a:gd name="connsiteY190" fmla="*/ 1246710 h 1470330"/>
                  <a:gd name="connsiteX191" fmla="*/ 518893 w 1210209"/>
                  <a:gd name="connsiteY191" fmla="*/ 1260401 h 1470330"/>
                  <a:gd name="connsiteX192" fmla="*/ 531443 w 1210209"/>
                  <a:gd name="connsiteY192" fmla="*/ 1265535 h 1470330"/>
                  <a:gd name="connsiteX193" fmla="*/ 557304 w 1210209"/>
                  <a:gd name="connsiteY193" fmla="*/ 1278085 h 1470330"/>
                  <a:gd name="connsiteX194" fmla="*/ 589250 w 1210209"/>
                  <a:gd name="connsiteY194" fmla="*/ 1292727 h 1470330"/>
                  <a:gd name="connsiteX195" fmla="*/ 606173 w 1210209"/>
                  <a:gd name="connsiteY195" fmla="*/ 1293678 h 1470330"/>
                  <a:gd name="connsiteX196" fmla="*/ 640211 w 1210209"/>
                  <a:gd name="connsiteY196" fmla="*/ 1300333 h 1470330"/>
                  <a:gd name="connsiteX197" fmla="*/ 652381 w 1210209"/>
                  <a:gd name="connsiteY197" fmla="*/ 1309460 h 1470330"/>
                  <a:gd name="connsiteX198" fmla="*/ 671396 w 1210209"/>
                  <a:gd name="connsiteY198" fmla="*/ 1320299 h 1470330"/>
                  <a:gd name="connsiteX199" fmla="*/ 707716 w 1210209"/>
                  <a:gd name="connsiteY199" fmla="*/ 1345780 h 1470330"/>
                  <a:gd name="connsiteX200" fmla="*/ 739471 w 1210209"/>
                  <a:gd name="connsiteY200" fmla="*/ 1383811 h 1470330"/>
                  <a:gd name="connsiteX201" fmla="*/ 776171 w 1210209"/>
                  <a:gd name="connsiteY201" fmla="*/ 1395410 h 1470330"/>
                  <a:gd name="connsiteX202" fmla="*/ 792714 w 1210209"/>
                  <a:gd name="connsiteY202" fmla="*/ 1395410 h 1470330"/>
                  <a:gd name="connsiteX203" fmla="*/ 825991 w 1210209"/>
                  <a:gd name="connsiteY203" fmla="*/ 1393699 h 1470330"/>
                  <a:gd name="connsiteX204" fmla="*/ 859268 w 1210209"/>
                  <a:gd name="connsiteY204" fmla="*/ 1378676 h 1470330"/>
                  <a:gd name="connsiteX205" fmla="*/ 864022 w 1210209"/>
                  <a:gd name="connsiteY205" fmla="*/ 1374873 h 1470330"/>
                  <a:gd name="connsiteX206" fmla="*/ 871248 w 1210209"/>
                  <a:gd name="connsiteY206" fmla="*/ 1369549 h 1470330"/>
                  <a:gd name="connsiteX207" fmla="*/ 890263 w 1210209"/>
                  <a:gd name="connsiteY207" fmla="*/ 1353386 h 1470330"/>
                  <a:gd name="connsiteX208" fmla="*/ 911751 w 1210209"/>
                  <a:gd name="connsiteY208" fmla="*/ 1341026 h 1470330"/>
                  <a:gd name="connsiteX209" fmla="*/ 941415 w 1210209"/>
                  <a:gd name="connsiteY209" fmla="*/ 1370310 h 1470330"/>
                  <a:gd name="connsiteX210" fmla="*/ 948450 w 1210209"/>
                  <a:gd name="connsiteY210" fmla="*/ 1381719 h 1470330"/>
                  <a:gd name="connsiteX211" fmla="*/ 978494 w 1210209"/>
                  <a:gd name="connsiteY211" fmla="*/ 1397692 h 1470330"/>
                  <a:gd name="connsiteX212" fmla="*/ 1021089 w 1210209"/>
                  <a:gd name="connsiteY212" fmla="*/ 1410812 h 1470330"/>
                  <a:gd name="connsiteX213" fmla="*/ 1028885 w 1210209"/>
                  <a:gd name="connsiteY213" fmla="*/ 1418228 h 1470330"/>
                  <a:gd name="connsiteX214" fmla="*/ 1050183 w 1210209"/>
                  <a:gd name="connsiteY214" fmla="*/ 1434011 h 1470330"/>
                  <a:gd name="connsiteX215" fmla="*/ 1065965 w 1210209"/>
                  <a:gd name="connsiteY215" fmla="*/ 1436293 h 1470330"/>
                  <a:gd name="connsiteX216" fmla="*/ 1080607 w 1210209"/>
                  <a:gd name="connsiteY216" fmla="*/ 1437814 h 1470330"/>
                  <a:gd name="connsiteX217" fmla="*/ 1103616 w 1210209"/>
                  <a:gd name="connsiteY217" fmla="*/ 1458161 h 1470330"/>
                  <a:gd name="connsiteX218" fmla="*/ 1110081 w 1210209"/>
                  <a:gd name="connsiteY218" fmla="*/ 1467669 h 1470330"/>
                  <a:gd name="connsiteX219" fmla="*/ 1112933 w 1210209"/>
                  <a:gd name="connsiteY219" fmla="*/ 1470331 h 1470330"/>
                  <a:gd name="connsiteX220" fmla="*/ 1125483 w 1210209"/>
                  <a:gd name="connsiteY220" fmla="*/ 1455308 h 1470330"/>
                  <a:gd name="connsiteX221" fmla="*/ 1132329 w 1210209"/>
                  <a:gd name="connsiteY221" fmla="*/ 1447892 h 1470330"/>
                  <a:gd name="connsiteX222" fmla="*/ 1147161 w 1210209"/>
                  <a:gd name="connsiteY222" fmla="*/ 1426976 h 1470330"/>
                  <a:gd name="connsiteX223" fmla="*/ 1161232 w 1210209"/>
                  <a:gd name="connsiteY223" fmla="*/ 1407009 h 1470330"/>
                  <a:gd name="connsiteX224" fmla="*/ 1163324 w 1210209"/>
                  <a:gd name="connsiteY224" fmla="*/ 1404347 h 1470330"/>
                  <a:gd name="connsiteX225" fmla="*/ 1175114 w 1210209"/>
                  <a:gd name="connsiteY225" fmla="*/ 1385332 h 1470330"/>
                  <a:gd name="connsiteX226" fmla="*/ 1176445 w 1210209"/>
                  <a:gd name="connsiteY226" fmla="*/ 1371451 h 1470330"/>
                  <a:gd name="connsiteX227" fmla="*/ 1177396 w 1210209"/>
                  <a:gd name="connsiteY227" fmla="*/ 1359471 h 1470330"/>
                  <a:gd name="connsiteX228" fmla="*/ 1171120 w 1210209"/>
                  <a:gd name="connsiteY228" fmla="*/ 1340456 h 1470330"/>
                  <a:gd name="connsiteX229" fmla="*/ 1161993 w 1210209"/>
                  <a:gd name="connsiteY229" fmla="*/ 1328666 h 1470330"/>
                  <a:gd name="connsiteX230" fmla="*/ 1170930 w 1210209"/>
                  <a:gd name="connsiteY230" fmla="*/ 1289494 h 1470330"/>
                  <a:gd name="connsiteX231" fmla="*/ 1177015 w 1210209"/>
                  <a:gd name="connsiteY231" fmla="*/ 1280937 h 1470330"/>
                  <a:gd name="connsiteX232" fmla="*/ 1192418 w 1210209"/>
                  <a:gd name="connsiteY232" fmla="*/ 1265535 h 1470330"/>
                  <a:gd name="connsiteX233" fmla="*/ 1206109 w 1210209"/>
                  <a:gd name="connsiteY233" fmla="*/ 1249942 h 1470330"/>
                  <a:gd name="connsiteX234" fmla="*/ 1209341 w 1210209"/>
                  <a:gd name="connsiteY234" fmla="*/ 1209440 h 1470330"/>
                  <a:gd name="connsiteX235" fmla="*/ 1209341 w 1210209"/>
                  <a:gd name="connsiteY235" fmla="*/ 1198411 h 1470330"/>
                  <a:gd name="connsiteX236" fmla="*/ 1209341 w 1210209"/>
                  <a:gd name="connsiteY236" fmla="*/ 1191945 h 1470330"/>
                  <a:gd name="connsiteX237" fmla="*/ 1204397 w 1210209"/>
                  <a:gd name="connsiteY237" fmla="*/ 1168366 h 1470330"/>
                  <a:gd name="connsiteX238" fmla="*/ 1194509 w 1210209"/>
                  <a:gd name="connsiteY238" fmla="*/ 1167035 h 1470330"/>
                  <a:gd name="connsiteX239" fmla="*/ 1166557 w 1210209"/>
                  <a:gd name="connsiteY239" fmla="*/ 1158098 h 1470330"/>
                  <a:gd name="connsiteX240" fmla="*/ 1151725 w 1210209"/>
                  <a:gd name="connsiteY240" fmla="*/ 1150872 h 1470330"/>
                  <a:gd name="connsiteX241" fmla="*/ 1148682 w 1210209"/>
                  <a:gd name="connsiteY241" fmla="*/ 1150872 h 1470330"/>
                  <a:gd name="connsiteX242" fmla="*/ 1138034 w 1210209"/>
                  <a:gd name="connsiteY242" fmla="*/ 1149161 h 1470330"/>
                  <a:gd name="connsiteX243" fmla="*/ 1140125 w 1210209"/>
                  <a:gd name="connsiteY243" fmla="*/ 1105045 h 1470330"/>
                  <a:gd name="connsiteX244" fmla="*/ 1141457 w 1210209"/>
                  <a:gd name="connsiteY244" fmla="*/ 1102193 h 1470330"/>
                  <a:gd name="connsiteX245" fmla="*/ 1142407 w 1210209"/>
                  <a:gd name="connsiteY245" fmla="*/ 1062451 h 1470330"/>
                  <a:gd name="connsiteX246" fmla="*/ 1120349 w 1210209"/>
                  <a:gd name="connsiteY246" fmla="*/ 1039252 h 1470330"/>
                  <a:gd name="connsiteX247" fmla="*/ 1095819 w 1210209"/>
                  <a:gd name="connsiteY247" fmla="*/ 986960 h 1470330"/>
                  <a:gd name="connsiteX248" fmla="*/ 1095819 w 1210209"/>
                  <a:gd name="connsiteY248" fmla="*/ 985248 h 1470330"/>
                  <a:gd name="connsiteX249" fmla="*/ 1095819 w 1210209"/>
                  <a:gd name="connsiteY249" fmla="*/ 966233 h 1470330"/>
                  <a:gd name="connsiteX250" fmla="*/ 1091066 w 1210209"/>
                  <a:gd name="connsiteY250" fmla="*/ 958627 h 1470330"/>
                  <a:gd name="connsiteX251" fmla="*/ 1083840 w 1210209"/>
                  <a:gd name="connsiteY251" fmla="*/ 943985 h 1470330"/>
                  <a:gd name="connsiteX252" fmla="*/ 1087453 w 1210209"/>
                  <a:gd name="connsiteY252" fmla="*/ 927061 h 1470330"/>
                  <a:gd name="connsiteX253" fmla="*/ 1090495 w 1210209"/>
                  <a:gd name="connsiteY253" fmla="*/ 919645 h 1470330"/>
                  <a:gd name="connsiteX254" fmla="*/ 1088784 w 1210209"/>
                  <a:gd name="connsiteY254" fmla="*/ 900630 h 1470330"/>
                  <a:gd name="connsiteX255" fmla="*/ 1071290 w 1210209"/>
                  <a:gd name="connsiteY255" fmla="*/ 876290 h 1470330"/>
                  <a:gd name="connsiteX256" fmla="*/ 1057789 w 1210209"/>
                  <a:gd name="connsiteY256" fmla="*/ 860317 h 1470330"/>
                  <a:gd name="connsiteX257" fmla="*/ 1054176 w 1210209"/>
                  <a:gd name="connsiteY257" fmla="*/ 822286 h 1470330"/>
                  <a:gd name="connsiteX258" fmla="*/ 1055887 w 1210209"/>
                  <a:gd name="connsiteY258" fmla="*/ 814870 h 1470330"/>
                  <a:gd name="connsiteX259" fmla="*/ 1049802 w 1210209"/>
                  <a:gd name="connsiteY259" fmla="*/ 790340 h 1470330"/>
                  <a:gd name="connsiteX260" fmla="*/ 1041626 w 1210209"/>
                  <a:gd name="connsiteY260" fmla="*/ 771325 h 1470330"/>
                  <a:gd name="connsiteX261" fmla="*/ 1058359 w 1210209"/>
                  <a:gd name="connsiteY261" fmla="*/ 746225 h 1470330"/>
                  <a:gd name="connsiteX262" fmla="*/ 1069198 w 1210209"/>
                  <a:gd name="connsiteY262" fmla="*/ 739760 h 1470330"/>
                  <a:gd name="connsiteX263" fmla="*/ 1074903 w 1210209"/>
                  <a:gd name="connsiteY263" fmla="*/ 728921 h 1470330"/>
                  <a:gd name="connsiteX264" fmla="*/ 1080037 w 1210209"/>
                  <a:gd name="connsiteY264" fmla="*/ 718082 h 1470330"/>
                  <a:gd name="connsiteX265" fmla="*/ 1082509 w 1210209"/>
                  <a:gd name="connsiteY265" fmla="*/ 714469 h 1470330"/>
                  <a:gd name="connsiteX266" fmla="*/ 1086122 w 1210209"/>
                  <a:gd name="connsiteY266" fmla="*/ 708764 h 1470330"/>
                  <a:gd name="connsiteX267" fmla="*/ 1088403 w 1210209"/>
                  <a:gd name="connsiteY267" fmla="*/ 697736 h 1470330"/>
                  <a:gd name="connsiteX268" fmla="*/ 1087263 w 1210209"/>
                  <a:gd name="connsiteY268" fmla="*/ 693362 h 1470330"/>
                  <a:gd name="connsiteX269" fmla="*/ 1086122 w 1210209"/>
                  <a:gd name="connsiteY269" fmla="*/ 678720 h 1470330"/>
                  <a:gd name="connsiteX270" fmla="*/ 1092777 w 1210209"/>
                  <a:gd name="connsiteY270" fmla="*/ 668832 h 1470330"/>
                  <a:gd name="connsiteX271" fmla="*/ 1095629 w 1210209"/>
                  <a:gd name="connsiteY271" fmla="*/ 665599 h 1470330"/>
                  <a:gd name="connsiteX272" fmla="*/ 1092587 w 1210209"/>
                  <a:gd name="connsiteY272" fmla="*/ 641450 h 1470330"/>
                  <a:gd name="connsiteX273" fmla="*/ 1087643 w 1210209"/>
                  <a:gd name="connsiteY273" fmla="*/ 630231 h 1470330"/>
                  <a:gd name="connsiteX274" fmla="*/ 1085361 w 1210209"/>
                  <a:gd name="connsiteY274" fmla="*/ 619012 h 1470330"/>
                  <a:gd name="connsiteX275" fmla="*/ 1082889 w 1210209"/>
                  <a:gd name="connsiteY275" fmla="*/ 608553 h 1470330"/>
                  <a:gd name="connsiteX276" fmla="*/ 1080607 w 1210209"/>
                  <a:gd name="connsiteY276" fmla="*/ 605131 h 1470330"/>
                  <a:gd name="connsiteX277" fmla="*/ 1077184 w 1210209"/>
                  <a:gd name="connsiteY277" fmla="*/ 602278 h 1470330"/>
                  <a:gd name="connsiteX278" fmla="*/ 1074142 w 1210209"/>
                  <a:gd name="connsiteY278" fmla="*/ 599426 h 1470330"/>
                  <a:gd name="connsiteX279" fmla="*/ 1066346 w 1210209"/>
                  <a:gd name="connsiteY279" fmla="*/ 588207 h 1470330"/>
                  <a:gd name="connsiteX280" fmla="*/ 1065015 w 1210209"/>
                  <a:gd name="connsiteY280" fmla="*/ 582122 h 1470330"/>
                  <a:gd name="connsiteX281" fmla="*/ 1062733 w 1210209"/>
                  <a:gd name="connsiteY281" fmla="*/ 577178 h 1470330"/>
                  <a:gd name="connsiteX282" fmla="*/ 1049042 w 1210209"/>
                  <a:gd name="connsiteY282" fmla="*/ 582122 h 1470330"/>
                  <a:gd name="connsiteX283" fmla="*/ 1035921 w 1210209"/>
                  <a:gd name="connsiteY283" fmla="*/ 587827 h 1470330"/>
                  <a:gd name="connsiteX284" fmla="*/ 1010440 w 1210209"/>
                  <a:gd name="connsiteY284" fmla="*/ 576417 h 1470330"/>
                  <a:gd name="connsiteX285" fmla="*/ 999031 w 1210209"/>
                  <a:gd name="connsiteY285" fmla="*/ 567670 h 1470330"/>
                  <a:gd name="connsiteX286" fmla="*/ 967656 w 1210209"/>
                  <a:gd name="connsiteY286" fmla="*/ 537436 h 1470330"/>
                  <a:gd name="connsiteX287" fmla="*/ 958528 w 1210209"/>
                  <a:gd name="connsiteY287" fmla="*/ 522604 h 1470330"/>
                  <a:gd name="connsiteX288" fmla="*/ 946929 w 1210209"/>
                  <a:gd name="connsiteY288" fmla="*/ 502257 h 1470330"/>
                  <a:gd name="connsiteX289" fmla="*/ 969367 w 1210209"/>
                  <a:gd name="connsiteY289" fmla="*/ 457381 h 1470330"/>
                  <a:gd name="connsiteX290" fmla="*/ 1013673 w 1210209"/>
                  <a:gd name="connsiteY290" fmla="*/ 427147 h 1470330"/>
                  <a:gd name="connsiteX291" fmla="*/ 1036111 w 1210209"/>
                  <a:gd name="connsiteY291" fmla="*/ 400335 h 1470330"/>
                  <a:gd name="connsiteX292" fmla="*/ 1017096 w 1210209"/>
                  <a:gd name="connsiteY292" fmla="*/ 334161 h 1470330"/>
                  <a:gd name="connsiteX293" fmla="*/ 1013103 w 1210209"/>
                  <a:gd name="connsiteY293" fmla="*/ 331689 h 1470330"/>
                  <a:gd name="connsiteX294" fmla="*/ 988193 w 1210209"/>
                  <a:gd name="connsiteY294" fmla="*/ 299553 h 1470330"/>
                  <a:gd name="connsiteX295" fmla="*/ 1015765 w 1210209"/>
                  <a:gd name="connsiteY295" fmla="*/ 265706 h 1470330"/>
                  <a:gd name="connsiteX296" fmla="*/ 1018237 w 1210209"/>
                  <a:gd name="connsiteY296" fmla="*/ 263995 h 1470330"/>
                  <a:gd name="connsiteX297" fmla="*/ 1037252 w 1210209"/>
                  <a:gd name="connsiteY297" fmla="*/ 235091 h 1470330"/>
                  <a:gd name="connsiteX298" fmla="*/ 1018237 w 1210209"/>
                  <a:gd name="connsiteY298" fmla="*/ 216076 h 1470330"/>
                  <a:gd name="connsiteX299" fmla="*/ 1009870 w 1210209"/>
                  <a:gd name="connsiteY299" fmla="*/ 211892 h 1470330"/>
                  <a:gd name="connsiteX300" fmla="*/ 983819 w 1210209"/>
                  <a:gd name="connsiteY300" fmla="*/ 176334 h 1470330"/>
                  <a:gd name="connsiteX301" fmla="*/ 979445 w 1210209"/>
                  <a:gd name="connsiteY301" fmla="*/ 152945 h 1470330"/>
                  <a:gd name="connsiteX302" fmla="*/ 933238 w 1210209"/>
                  <a:gd name="connsiteY302" fmla="*/ 170439 h 1470330"/>
                  <a:gd name="connsiteX303" fmla="*/ 952253 w 1210209"/>
                  <a:gd name="connsiteY303" fmla="*/ 194018 h 1470330"/>
                  <a:gd name="connsiteX304" fmla="*/ 930386 w 1210209"/>
                  <a:gd name="connsiteY304" fmla="*/ 217597 h 1470330"/>
                  <a:gd name="connsiteX305" fmla="*/ 882277 w 1210209"/>
                  <a:gd name="connsiteY305" fmla="*/ 188504 h 1470330"/>
                  <a:gd name="connsiteX306" fmla="*/ 870677 w 1210209"/>
                  <a:gd name="connsiteY306" fmla="*/ 240606 h 1470330"/>
                  <a:gd name="connsiteX307" fmla="*/ 917075 w 1210209"/>
                  <a:gd name="connsiteY307" fmla="*/ 283961 h 1470330"/>
                  <a:gd name="connsiteX308" fmla="*/ 943506 w 1210209"/>
                  <a:gd name="connsiteY308" fmla="*/ 307159 h 1470330"/>
                  <a:gd name="connsiteX309" fmla="*/ 948070 w 1210209"/>
                  <a:gd name="connsiteY309" fmla="*/ 322752 h 1470330"/>
                  <a:gd name="connsiteX310" fmla="*/ 944077 w 1210209"/>
                  <a:gd name="connsiteY310" fmla="*/ 337394 h 1470330"/>
                  <a:gd name="connsiteX311" fmla="*/ 957768 w 1210209"/>
                  <a:gd name="connsiteY311" fmla="*/ 335683 h 1470330"/>
                  <a:gd name="connsiteX312" fmla="*/ 963663 w 1210209"/>
                  <a:gd name="connsiteY312" fmla="*/ 348043 h 1470330"/>
                  <a:gd name="connsiteX313" fmla="*/ 924491 w 1210209"/>
                  <a:gd name="connsiteY313" fmla="*/ 328076 h 1470330"/>
                  <a:gd name="connsiteX314" fmla="*/ 909659 w 1210209"/>
                  <a:gd name="connsiteY314" fmla="*/ 304688 h 1470330"/>
                  <a:gd name="connsiteX315" fmla="*/ 895778 w 1210209"/>
                  <a:gd name="connsiteY315" fmla="*/ 304688 h 1470330"/>
                  <a:gd name="connsiteX316" fmla="*/ 884939 w 1210209"/>
                  <a:gd name="connsiteY316" fmla="*/ 308871 h 1470330"/>
                  <a:gd name="connsiteX317" fmla="*/ 872959 w 1210209"/>
                  <a:gd name="connsiteY317" fmla="*/ 291187 h 1470330"/>
                  <a:gd name="connsiteX318" fmla="*/ 841394 w 1210209"/>
                  <a:gd name="connsiteY318" fmla="*/ 279397 h 1470330"/>
                  <a:gd name="connsiteX319" fmla="*/ 836640 w 1210209"/>
                  <a:gd name="connsiteY319" fmla="*/ 229767 h 1470330"/>
                  <a:gd name="connsiteX320" fmla="*/ 839492 w 1210209"/>
                  <a:gd name="connsiteY320" fmla="*/ 191736 h 1470330"/>
                  <a:gd name="connsiteX321" fmla="*/ 850901 w 1210209"/>
                  <a:gd name="connsiteY321" fmla="*/ 177475 h 1470330"/>
                  <a:gd name="connsiteX322" fmla="*/ 858698 w 1210209"/>
                  <a:gd name="connsiteY322" fmla="*/ 157318 h 1470330"/>
                  <a:gd name="connsiteX323" fmla="*/ 868205 w 1210209"/>
                  <a:gd name="connsiteY323" fmla="*/ 130887 h 1470330"/>
                  <a:gd name="connsiteX324" fmla="*/ 868205 w 1210209"/>
                  <a:gd name="connsiteY324" fmla="*/ 100652 h 1470330"/>
                  <a:gd name="connsiteX325" fmla="*/ 861930 w 1210209"/>
                  <a:gd name="connsiteY325" fmla="*/ 76313 h 1470330"/>
                  <a:gd name="connsiteX326" fmla="*/ 845197 w 1210209"/>
                  <a:gd name="connsiteY326" fmla="*/ 82778 h 1470330"/>
                  <a:gd name="connsiteX327" fmla="*/ 845197 w 1210209"/>
                  <a:gd name="connsiteY327" fmla="*/ 103315 h 1470330"/>
                  <a:gd name="connsiteX328" fmla="*/ 841013 w 1210209"/>
                  <a:gd name="connsiteY328" fmla="*/ 122330 h 1470330"/>
                  <a:gd name="connsiteX329" fmla="*/ 837020 w 1210209"/>
                  <a:gd name="connsiteY329" fmla="*/ 154656 h 1470330"/>
                  <a:gd name="connsiteX330" fmla="*/ 809258 w 1210209"/>
                  <a:gd name="connsiteY330" fmla="*/ 176143 h 1470330"/>
                  <a:gd name="connsiteX331" fmla="*/ 771227 w 1210209"/>
                  <a:gd name="connsiteY331" fmla="*/ 186222 h 1470330"/>
                  <a:gd name="connsiteX332" fmla="*/ 749549 w 1210209"/>
                  <a:gd name="connsiteY332" fmla="*/ 212273 h 1470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</a:cxnLst>
                <a:rect l="l" t="t" r="r" b="b"/>
                <a:pathLst>
                  <a:path w="1210209" h="1470330">
                    <a:moveTo>
                      <a:pt x="749549" y="212273"/>
                    </a:moveTo>
                    <a:cubicBezTo>
                      <a:pt x="741943" y="220069"/>
                      <a:pt x="725210" y="224823"/>
                      <a:pt x="730534" y="238324"/>
                    </a:cubicBezTo>
                    <a:cubicBezTo>
                      <a:pt x="733957" y="246691"/>
                      <a:pt x="740993" y="252205"/>
                      <a:pt x="743845" y="261903"/>
                    </a:cubicBezTo>
                    <a:cubicBezTo>
                      <a:pt x="746032" y="275917"/>
                      <a:pt x="746602" y="290160"/>
                      <a:pt x="745556" y="304307"/>
                    </a:cubicBezTo>
                    <a:cubicBezTo>
                      <a:pt x="745556" y="318188"/>
                      <a:pt x="755634" y="327126"/>
                      <a:pt x="757916" y="339866"/>
                    </a:cubicBezTo>
                    <a:cubicBezTo>
                      <a:pt x="760198" y="352606"/>
                      <a:pt x="751831" y="358881"/>
                      <a:pt x="743655" y="369150"/>
                    </a:cubicBezTo>
                    <a:cubicBezTo>
                      <a:pt x="735478" y="379418"/>
                      <a:pt x="732816" y="389496"/>
                      <a:pt x="724639" y="398814"/>
                    </a:cubicBezTo>
                    <a:cubicBezTo>
                      <a:pt x="718859" y="407523"/>
                      <a:pt x="714314" y="416993"/>
                      <a:pt x="711138" y="426956"/>
                    </a:cubicBezTo>
                    <a:cubicBezTo>
                      <a:pt x="707335" y="436084"/>
                      <a:pt x="697447" y="444641"/>
                      <a:pt x="696687" y="454529"/>
                    </a:cubicBezTo>
                    <a:cubicBezTo>
                      <a:pt x="695926" y="464417"/>
                      <a:pt x="705624" y="475826"/>
                      <a:pt x="701440" y="489327"/>
                    </a:cubicBezTo>
                    <a:cubicBezTo>
                      <a:pt x="695546" y="508342"/>
                      <a:pt x="669875" y="538577"/>
                      <a:pt x="707716" y="537436"/>
                    </a:cubicBezTo>
                    <a:cubicBezTo>
                      <a:pt x="719885" y="537436"/>
                      <a:pt x="722738" y="543711"/>
                      <a:pt x="733006" y="547324"/>
                    </a:cubicBezTo>
                    <a:cubicBezTo>
                      <a:pt x="743274" y="550937"/>
                      <a:pt x="755064" y="540859"/>
                      <a:pt x="764381" y="536295"/>
                    </a:cubicBezTo>
                    <a:cubicBezTo>
                      <a:pt x="776741" y="530210"/>
                      <a:pt x="779594" y="532872"/>
                      <a:pt x="794235" y="541999"/>
                    </a:cubicBezTo>
                    <a:cubicBezTo>
                      <a:pt x="807242" y="550100"/>
                      <a:pt x="819469" y="559399"/>
                      <a:pt x="830745" y="569762"/>
                    </a:cubicBezTo>
                    <a:cubicBezTo>
                      <a:pt x="837210" y="575847"/>
                      <a:pt x="844056" y="580791"/>
                      <a:pt x="850901" y="587066"/>
                    </a:cubicBezTo>
                    <a:cubicBezTo>
                      <a:pt x="858089" y="595680"/>
                      <a:pt x="861208" y="606975"/>
                      <a:pt x="859458" y="618061"/>
                    </a:cubicBezTo>
                    <a:cubicBezTo>
                      <a:pt x="858717" y="630250"/>
                      <a:pt x="859230" y="642477"/>
                      <a:pt x="860980" y="654571"/>
                    </a:cubicBezTo>
                    <a:cubicBezTo>
                      <a:pt x="863642" y="666740"/>
                      <a:pt x="866874" y="673586"/>
                      <a:pt x="855085" y="679101"/>
                    </a:cubicBezTo>
                    <a:cubicBezTo>
                      <a:pt x="835613" y="684843"/>
                      <a:pt x="822930" y="703573"/>
                      <a:pt x="824850" y="723786"/>
                    </a:cubicBezTo>
                    <a:cubicBezTo>
                      <a:pt x="827132" y="744133"/>
                      <a:pt x="851282" y="753070"/>
                      <a:pt x="868396" y="758014"/>
                    </a:cubicBezTo>
                    <a:cubicBezTo>
                      <a:pt x="874480" y="759726"/>
                      <a:pt x="887411" y="760867"/>
                      <a:pt x="891024" y="766571"/>
                    </a:cubicBezTo>
                    <a:cubicBezTo>
                      <a:pt x="898820" y="777600"/>
                      <a:pt x="872959" y="772466"/>
                      <a:pt x="867064" y="771515"/>
                    </a:cubicBezTo>
                    <a:cubicBezTo>
                      <a:pt x="848049" y="768663"/>
                      <a:pt x="812300" y="754401"/>
                      <a:pt x="809067" y="733485"/>
                    </a:cubicBezTo>
                    <a:cubicBezTo>
                      <a:pt x="807356" y="722266"/>
                      <a:pt x="817434" y="710095"/>
                      <a:pt x="820667" y="699827"/>
                    </a:cubicBezTo>
                    <a:cubicBezTo>
                      <a:pt x="825040" y="685185"/>
                      <a:pt x="820667" y="673015"/>
                      <a:pt x="829414" y="660085"/>
                    </a:cubicBezTo>
                    <a:cubicBezTo>
                      <a:pt x="838161" y="647155"/>
                      <a:pt x="835499" y="639548"/>
                      <a:pt x="826942" y="627759"/>
                    </a:cubicBezTo>
                    <a:cubicBezTo>
                      <a:pt x="819051" y="617357"/>
                      <a:pt x="813346" y="605454"/>
                      <a:pt x="810209" y="592771"/>
                    </a:cubicBezTo>
                    <a:cubicBezTo>
                      <a:pt x="807926" y="582692"/>
                      <a:pt x="807546" y="574896"/>
                      <a:pt x="796517" y="571854"/>
                    </a:cubicBezTo>
                    <a:cubicBezTo>
                      <a:pt x="783986" y="568583"/>
                      <a:pt x="770789" y="568982"/>
                      <a:pt x="758487" y="572995"/>
                    </a:cubicBezTo>
                    <a:cubicBezTo>
                      <a:pt x="753448" y="575999"/>
                      <a:pt x="748161" y="578623"/>
                      <a:pt x="742704" y="580791"/>
                    </a:cubicBezTo>
                    <a:cubicBezTo>
                      <a:pt x="736429" y="582122"/>
                      <a:pt x="729964" y="580791"/>
                      <a:pt x="723688" y="582312"/>
                    </a:cubicBezTo>
                    <a:cubicBezTo>
                      <a:pt x="708096" y="585735"/>
                      <a:pt x="704673" y="594862"/>
                      <a:pt x="701631" y="608744"/>
                    </a:cubicBezTo>
                    <a:cubicBezTo>
                      <a:pt x="698588" y="622625"/>
                      <a:pt x="689271" y="627759"/>
                      <a:pt x="694025" y="640309"/>
                    </a:cubicBezTo>
                    <a:cubicBezTo>
                      <a:pt x="700471" y="651890"/>
                      <a:pt x="703190" y="665162"/>
                      <a:pt x="701821" y="678340"/>
                    </a:cubicBezTo>
                    <a:cubicBezTo>
                      <a:pt x="701060" y="692069"/>
                      <a:pt x="697238" y="705456"/>
                      <a:pt x="690602" y="717512"/>
                    </a:cubicBezTo>
                    <a:cubicBezTo>
                      <a:pt x="682482" y="727666"/>
                      <a:pt x="672556" y="736242"/>
                      <a:pt x="661318" y="742802"/>
                    </a:cubicBezTo>
                    <a:cubicBezTo>
                      <a:pt x="655803" y="745654"/>
                      <a:pt x="650669" y="744704"/>
                      <a:pt x="646866" y="750789"/>
                    </a:cubicBezTo>
                    <a:cubicBezTo>
                      <a:pt x="644946" y="756569"/>
                      <a:pt x="643786" y="762578"/>
                      <a:pt x="643444" y="768663"/>
                    </a:cubicBezTo>
                    <a:cubicBezTo>
                      <a:pt x="640021" y="780585"/>
                      <a:pt x="632814" y="791063"/>
                      <a:pt x="622907" y="798517"/>
                    </a:cubicBezTo>
                    <a:cubicBezTo>
                      <a:pt x="603454" y="813653"/>
                      <a:pt x="581510" y="825310"/>
                      <a:pt x="558064" y="832935"/>
                    </a:cubicBezTo>
                    <a:cubicBezTo>
                      <a:pt x="546275" y="836548"/>
                      <a:pt x="541521" y="838069"/>
                      <a:pt x="536577" y="849859"/>
                    </a:cubicBezTo>
                    <a:cubicBezTo>
                      <a:pt x="532774" y="858796"/>
                      <a:pt x="531443" y="870395"/>
                      <a:pt x="519273" y="870776"/>
                    </a:cubicBezTo>
                    <a:cubicBezTo>
                      <a:pt x="507103" y="871156"/>
                      <a:pt x="501779" y="859366"/>
                      <a:pt x="494743" y="853091"/>
                    </a:cubicBezTo>
                    <a:cubicBezTo>
                      <a:pt x="483600" y="843583"/>
                      <a:pt x="469776" y="837803"/>
                      <a:pt x="455191" y="836548"/>
                    </a:cubicBezTo>
                    <a:cubicBezTo>
                      <a:pt x="444200" y="837156"/>
                      <a:pt x="433647" y="832231"/>
                      <a:pt x="427048" y="823427"/>
                    </a:cubicBezTo>
                    <a:cubicBezTo>
                      <a:pt x="416590" y="811638"/>
                      <a:pt x="429140" y="816011"/>
                      <a:pt x="427048" y="804412"/>
                    </a:cubicBezTo>
                    <a:cubicBezTo>
                      <a:pt x="425907" y="797566"/>
                      <a:pt x="409744" y="797566"/>
                      <a:pt x="404040" y="795475"/>
                    </a:cubicBezTo>
                    <a:cubicBezTo>
                      <a:pt x="392631" y="791291"/>
                      <a:pt x="382172" y="784826"/>
                      <a:pt x="370193" y="781593"/>
                    </a:cubicBezTo>
                    <a:cubicBezTo>
                      <a:pt x="358213" y="778361"/>
                      <a:pt x="333112" y="774748"/>
                      <a:pt x="356501" y="762578"/>
                    </a:cubicBezTo>
                    <a:cubicBezTo>
                      <a:pt x="371809" y="754287"/>
                      <a:pt x="390254" y="754287"/>
                      <a:pt x="405561" y="762578"/>
                    </a:cubicBezTo>
                    <a:cubicBezTo>
                      <a:pt x="412977" y="766571"/>
                      <a:pt x="414878" y="772276"/>
                      <a:pt x="422865" y="773417"/>
                    </a:cubicBezTo>
                    <a:cubicBezTo>
                      <a:pt x="430851" y="774558"/>
                      <a:pt x="428760" y="770945"/>
                      <a:pt x="434084" y="775128"/>
                    </a:cubicBezTo>
                    <a:cubicBezTo>
                      <a:pt x="439409" y="779312"/>
                      <a:pt x="439789" y="784636"/>
                      <a:pt x="445303" y="788059"/>
                    </a:cubicBezTo>
                    <a:cubicBezTo>
                      <a:pt x="457663" y="795475"/>
                      <a:pt x="462987" y="789390"/>
                      <a:pt x="475157" y="786537"/>
                    </a:cubicBezTo>
                    <a:cubicBezTo>
                      <a:pt x="487327" y="783685"/>
                      <a:pt x="501399" y="781023"/>
                      <a:pt x="514709" y="778741"/>
                    </a:cubicBezTo>
                    <a:cubicBezTo>
                      <a:pt x="541901" y="773987"/>
                      <a:pt x="552740" y="745654"/>
                      <a:pt x="571755" y="729682"/>
                    </a:cubicBezTo>
                    <a:cubicBezTo>
                      <a:pt x="581263" y="722075"/>
                      <a:pt x="587919" y="708955"/>
                      <a:pt x="598187" y="702870"/>
                    </a:cubicBezTo>
                    <a:cubicBezTo>
                      <a:pt x="602370" y="700398"/>
                      <a:pt x="608455" y="700778"/>
                      <a:pt x="612068" y="698116"/>
                    </a:cubicBezTo>
                    <a:cubicBezTo>
                      <a:pt x="615681" y="695454"/>
                      <a:pt x="615681" y="688989"/>
                      <a:pt x="617963" y="682713"/>
                    </a:cubicBezTo>
                    <a:cubicBezTo>
                      <a:pt x="622336" y="670924"/>
                      <a:pt x="622907" y="660275"/>
                      <a:pt x="626329" y="648295"/>
                    </a:cubicBezTo>
                    <a:cubicBezTo>
                      <a:pt x="632225" y="635023"/>
                      <a:pt x="641143" y="623290"/>
                      <a:pt x="652381" y="614068"/>
                    </a:cubicBezTo>
                    <a:cubicBezTo>
                      <a:pt x="671396" y="592010"/>
                      <a:pt x="650099" y="577178"/>
                      <a:pt x="637168" y="558543"/>
                    </a:cubicBezTo>
                    <a:cubicBezTo>
                      <a:pt x="629486" y="548103"/>
                      <a:pt x="625607" y="535363"/>
                      <a:pt x="626139" y="522414"/>
                    </a:cubicBezTo>
                    <a:cubicBezTo>
                      <a:pt x="627471" y="509293"/>
                      <a:pt x="637739" y="503398"/>
                      <a:pt x="643253" y="492369"/>
                    </a:cubicBezTo>
                    <a:cubicBezTo>
                      <a:pt x="647494" y="480257"/>
                      <a:pt x="650936" y="467858"/>
                      <a:pt x="653522" y="455289"/>
                    </a:cubicBezTo>
                    <a:cubicBezTo>
                      <a:pt x="658884" y="440248"/>
                      <a:pt x="662402" y="424599"/>
                      <a:pt x="663980" y="408702"/>
                    </a:cubicBezTo>
                    <a:cubicBezTo>
                      <a:pt x="663657" y="396494"/>
                      <a:pt x="664874" y="384286"/>
                      <a:pt x="667593" y="372382"/>
                    </a:cubicBezTo>
                    <a:cubicBezTo>
                      <a:pt x="671206" y="361544"/>
                      <a:pt x="681855" y="355839"/>
                      <a:pt x="686609" y="345761"/>
                    </a:cubicBezTo>
                    <a:cubicBezTo>
                      <a:pt x="696649" y="321706"/>
                      <a:pt x="701250" y="295731"/>
                      <a:pt x="700109" y="269699"/>
                    </a:cubicBezTo>
                    <a:cubicBezTo>
                      <a:pt x="700109" y="247261"/>
                      <a:pt x="669114" y="235852"/>
                      <a:pt x="685087" y="212653"/>
                    </a:cubicBezTo>
                    <a:cubicBezTo>
                      <a:pt x="690221" y="204857"/>
                      <a:pt x="699158" y="200293"/>
                      <a:pt x="705053" y="193638"/>
                    </a:cubicBezTo>
                    <a:cubicBezTo>
                      <a:pt x="710948" y="186982"/>
                      <a:pt x="713230" y="175763"/>
                      <a:pt x="720266" y="167967"/>
                    </a:cubicBezTo>
                    <a:cubicBezTo>
                      <a:pt x="738159" y="146708"/>
                      <a:pt x="749397" y="120657"/>
                      <a:pt x="752592" y="93046"/>
                    </a:cubicBezTo>
                    <a:cubicBezTo>
                      <a:pt x="754303" y="81637"/>
                      <a:pt x="761149" y="67566"/>
                      <a:pt x="752592" y="57297"/>
                    </a:cubicBezTo>
                    <a:cubicBezTo>
                      <a:pt x="744035" y="47029"/>
                      <a:pt x="733577" y="50832"/>
                      <a:pt x="724639" y="43606"/>
                    </a:cubicBezTo>
                    <a:cubicBezTo>
                      <a:pt x="715702" y="36380"/>
                      <a:pt x="716843" y="30296"/>
                      <a:pt x="708286" y="26873"/>
                    </a:cubicBezTo>
                    <a:cubicBezTo>
                      <a:pt x="693834" y="20788"/>
                      <a:pt x="677291" y="24020"/>
                      <a:pt x="662459" y="16985"/>
                    </a:cubicBezTo>
                    <a:cubicBezTo>
                      <a:pt x="656374" y="14132"/>
                      <a:pt x="646106" y="-1080"/>
                      <a:pt x="639640" y="61"/>
                    </a:cubicBezTo>
                    <a:cubicBezTo>
                      <a:pt x="633175" y="1202"/>
                      <a:pt x="628802" y="16604"/>
                      <a:pt x="622907" y="21168"/>
                    </a:cubicBezTo>
                    <a:cubicBezTo>
                      <a:pt x="615890" y="25865"/>
                      <a:pt x="610813" y="32977"/>
                      <a:pt x="608645" y="41134"/>
                    </a:cubicBezTo>
                    <a:cubicBezTo>
                      <a:pt x="603568" y="54236"/>
                      <a:pt x="597540" y="66957"/>
                      <a:pt x="590581" y="79165"/>
                    </a:cubicBezTo>
                    <a:cubicBezTo>
                      <a:pt x="580312" y="103828"/>
                      <a:pt x="566336" y="126799"/>
                      <a:pt x="549127" y="147240"/>
                    </a:cubicBezTo>
                    <a:cubicBezTo>
                      <a:pt x="538307" y="156881"/>
                      <a:pt x="525890" y="164544"/>
                      <a:pt x="512428" y="169868"/>
                    </a:cubicBezTo>
                    <a:cubicBezTo>
                      <a:pt x="500524" y="173272"/>
                      <a:pt x="488848" y="177399"/>
                      <a:pt x="477439" y="182228"/>
                    </a:cubicBezTo>
                    <a:cubicBezTo>
                      <a:pt x="472438" y="185404"/>
                      <a:pt x="468046" y="189454"/>
                      <a:pt x="464509" y="194208"/>
                    </a:cubicBezTo>
                    <a:cubicBezTo>
                      <a:pt x="460516" y="200293"/>
                      <a:pt x="464509" y="201814"/>
                      <a:pt x="462227" y="207329"/>
                    </a:cubicBezTo>
                    <a:cubicBezTo>
                      <a:pt x="459945" y="212843"/>
                      <a:pt x="448346" y="223682"/>
                      <a:pt x="448726" y="230908"/>
                    </a:cubicBezTo>
                    <a:cubicBezTo>
                      <a:pt x="448726" y="242888"/>
                      <a:pt x="461086" y="234901"/>
                      <a:pt x="467741" y="238514"/>
                    </a:cubicBezTo>
                    <a:cubicBezTo>
                      <a:pt x="469072" y="242298"/>
                      <a:pt x="470784" y="245930"/>
                      <a:pt x="472875" y="249353"/>
                    </a:cubicBezTo>
                    <a:cubicBezTo>
                      <a:pt x="474587" y="256008"/>
                      <a:pt x="475348" y="250874"/>
                      <a:pt x="471735" y="258100"/>
                    </a:cubicBezTo>
                    <a:cubicBezTo>
                      <a:pt x="468122" y="265326"/>
                      <a:pt x="464128" y="266467"/>
                      <a:pt x="462037" y="272742"/>
                    </a:cubicBezTo>
                    <a:cubicBezTo>
                      <a:pt x="461010" y="279169"/>
                      <a:pt x="459546" y="285520"/>
                      <a:pt x="457663" y="291757"/>
                    </a:cubicBezTo>
                    <a:cubicBezTo>
                      <a:pt x="455191" y="296321"/>
                      <a:pt x="450628" y="298603"/>
                      <a:pt x="447965" y="302976"/>
                    </a:cubicBezTo>
                    <a:cubicBezTo>
                      <a:pt x="443592" y="310202"/>
                      <a:pt x="445874" y="316287"/>
                      <a:pt x="444733" y="324083"/>
                    </a:cubicBezTo>
                    <a:cubicBezTo>
                      <a:pt x="442261" y="341577"/>
                      <a:pt x="433323" y="335112"/>
                      <a:pt x="422104" y="341197"/>
                    </a:cubicBezTo>
                    <a:cubicBezTo>
                      <a:pt x="414061" y="347871"/>
                      <a:pt x="408014" y="356619"/>
                      <a:pt x="404610" y="366488"/>
                    </a:cubicBezTo>
                    <a:cubicBezTo>
                      <a:pt x="402709" y="371241"/>
                      <a:pt x="397955" y="383221"/>
                      <a:pt x="403089" y="387405"/>
                    </a:cubicBezTo>
                    <a:cubicBezTo>
                      <a:pt x="408223" y="391588"/>
                      <a:pt x="415829" y="377707"/>
                      <a:pt x="426097" y="386073"/>
                    </a:cubicBezTo>
                    <a:cubicBezTo>
                      <a:pt x="432373" y="391017"/>
                      <a:pt x="437317" y="399194"/>
                      <a:pt x="443782" y="405089"/>
                    </a:cubicBezTo>
                    <a:cubicBezTo>
                      <a:pt x="450247" y="410983"/>
                      <a:pt x="459184" y="416118"/>
                      <a:pt x="456332" y="425245"/>
                    </a:cubicBezTo>
                    <a:cubicBezTo>
                      <a:pt x="455191" y="428668"/>
                      <a:pt x="449106" y="431710"/>
                      <a:pt x="447585" y="436654"/>
                    </a:cubicBezTo>
                    <a:cubicBezTo>
                      <a:pt x="446558" y="442948"/>
                      <a:pt x="446558" y="449375"/>
                      <a:pt x="447585" y="455670"/>
                    </a:cubicBezTo>
                    <a:cubicBezTo>
                      <a:pt x="447224" y="466984"/>
                      <a:pt x="449639" y="478203"/>
                      <a:pt x="454621" y="488376"/>
                    </a:cubicBezTo>
                    <a:cubicBezTo>
                      <a:pt x="462987" y="497123"/>
                      <a:pt x="476488" y="488376"/>
                      <a:pt x="471735" y="505300"/>
                    </a:cubicBezTo>
                    <a:cubicBezTo>
                      <a:pt x="467779" y="518211"/>
                      <a:pt x="460724" y="529963"/>
                      <a:pt x="451198" y="539528"/>
                    </a:cubicBezTo>
                    <a:cubicBezTo>
                      <a:pt x="444542" y="547134"/>
                      <a:pt x="438267" y="562726"/>
                      <a:pt x="429901" y="568051"/>
                    </a:cubicBezTo>
                    <a:cubicBezTo>
                      <a:pt x="426041" y="571455"/>
                      <a:pt x="420146" y="571074"/>
                      <a:pt x="416742" y="567214"/>
                    </a:cubicBezTo>
                    <a:cubicBezTo>
                      <a:pt x="416552" y="566986"/>
                      <a:pt x="416381" y="566758"/>
                      <a:pt x="416210" y="566529"/>
                    </a:cubicBezTo>
                    <a:cubicBezTo>
                      <a:pt x="411075" y="560825"/>
                      <a:pt x="416210" y="555881"/>
                      <a:pt x="414878" y="550176"/>
                    </a:cubicBezTo>
                    <a:cubicBezTo>
                      <a:pt x="413357" y="540669"/>
                      <a:pt x="403469" y="534774"/>
                      <a:pt x="398716" y="526407"/>
                    </a:cubicBezTo>
                    <a:cubicBezTo>
                      <a:pt x="392878" y="512830"/>
                      <a:pt x="388219" y="498778"/>
                      <a:pt x="384834" y="484383"/>
                    </a:cubicBezTo>
                    <a:cubicBezTo>
                      <a:pt x="380651" y="472403"/>
                      <a:pt x="370002" y="465367"/>
                      <a:pt x="361445" y="457191"/>
                    </a:cubicBezTo>
                    <a:cubicBezTo>
                      <a:pt x="354676" y="449090"/>
                      <a:pt x="348990" y="440134"/>
                      <a:pt x="344522" y="430569"/>
                    </a:cubicBezTo>
                    <a:cubicBezTo>
                      <a:pt x="340414" y="423191"/>
                      <a:pt x="334843" y="416726"/>
                      <a:pt x="328168" y="411554"/>
                    </a:cubicBezTo>
                    <a:cubicBezTo>
                      <a:pt x="325639" y="409824"/>
                      <a:pt x="323224" y="407903"/>
                      <a:pt x="320942" y="405849"/>
                    </a:cubicBezTo>
                    <a:lnTo>
                      <a:pt x="313146" y="411934"/>
                    </a:lnTo>
                    <a:lnTo>
                      <a:pt x="306301" y="416878"/>
                    </a:lnTo>
                    <a:cubicBezTo>
                      <a:pt x="300216" y="420872"/>
                      <a:pt x="292610" y="426006"/>
                      <a:pt x="291088" y="431330"/>
                    </a:cubicBezTo>
                    <a:cubicBezTo>
                      <a:pt x="289567" y="436654"/>
                      <a:pt x="291088" y="437985"/>
                      <a:pt x="298885" y="442549"/>
                    </a:cubicBezTo>
                    <a:lnTo>
                      <a:pt x="301167" y="444070"/>
                    </a:lnTo>
                    <a:cubicBezTo>
                      <a:pt x="310807" y="449718"/>
                      <a:pt x="317063" y="459739"/>
                      <a:pt x="317900" y="470882"/>
                    </a:cubicBezTo>
                    <a:cubicBezTo>
                      <a:pt x="320068" y="482710"/>
                      <a:pt x="318128" y="494917"/>
                      <a:pt x="312386" y="505490"/>
                    </a:cubicBezTo>
                    <a:cubicBezTo>
                      <a:pt x="310484" y="508913"/>
                      <a:pt x="308583" y="512145"/>
                      <a:pt x="306491" y="515378"/>
                    </a:cubicBezTo>
                    <a:lnTo>
                      <a:pt x="299645" y="524886"/>
                    </a:lnTo>
                    <a:cubicBezTo>
                      <a:pt x="296603" y="529069"/>
                      <a:pt x="293560" y="533253"/>
                      <a:pt x="290518" y="537816"/>
                    </a:cubicBezTo>
                    <a:lnTo>
                      <a:pt x="290518" y="539147"/>
                    </a:lnTo>
                    <a:cubicBezTo>
                      <a:pt x="285954" y="546183"/>
                      <a:pt x="279869" y="555691"/>
                      <a:pt x="283863" y="561776"/>
                    </a:cubicBezTo>
                    <a:cubicBezTo>
                      <a:pt x="285003" y="563867"/>
                      <a:pt x="287285" y="564438"/>
                      <a:pt x="291088" y="565579"/>
                    </a:cubicBezTo>
                    <a:cubicBezTo>
                      <a:pt x="294987" y="566339"/>
                      <a:pt x="298638" y="568032"/>
                      <a:pt x="301737" y="570523"/>
                    </a:cubicBezTo>
                    <a:cubicBezTo>
                      <a:pt x="310541" y="580449"/>
                      <a:pt x="312138" y="594843"/>
                      <a:pt x="305730" y="606462"/>
                    </a:cubicBezTo>
                    <a:cubicBezTo>
                      <a:pt x="304418" y="609124"/>
                      <a:pt x="302669" y="611558"/>
                      <a:pt x="300596" y="613688"/>
                    </a:cubicBezTo>
                    <a:lnTo>
                      <a:pt x="298124" y="616350"/>
                    </a:lnTo>
                    <a:cubicBezTo>
                      <a:pt x="296850" y="617833"/>
                      <a:pt x="296108" y="619715"/>
                      <a:pt x="296032" y="621674"/>
                    </a:cubicBezTo>
                    <a:cubicBezTo>
                      <a:pt x="296318" y="623956"/>
                      <a:pt x="296318" y="626238"/>
                      <a:pt x="296032" y="628520"/>
                    </a:cubicBezTo>
                    <a:cubicBezTo>
                      <a:pt x="292039" y="644112"/>
                      <a:pt x="274165" y="650958"/>
                      <a:pt x="258002" y="657043"/>
                    </a:cubicBezTo>
                    <a:cubicBezTo>
                      <a:pt x="250510" y="659496"/>
                      <a:pt x="243341" y="662880"/>
                      <a:pt x="236704" y="667121"/>
                    </a:cubicBezTo>
                    <a:cubicBezTo>
                      <a:pt x="233301" y="669935"/>
                      <a:pt x="230296" y="673206"/>
                      <a:pt x="227767" y="676818"/>
                    </a:cubicBezTo>
                    <a:cubicBezTo>
                      <a:pt x="224459" y="681667"/>
                      <a:pt x="220351" y="685927"/>
                      <a:pt x="215597" y="689369"/>
                    </a:cubicBezTo>
                    <a:cubicBezTo>
                      <a:pt x="204987" y="695549"/>
                      <a:pt x="193064" y="699124"/>
                      <a:pt x="180799" y="699827"/>
                    </a:cubicBezTo>
                    <a:lnTo>
                      <a:pt x="174144" y="699827"/>
                    </a:lnTo>
                    <a:cubicBezTo>
                      <a:pt x="149100" y="703935"/>
                      <a:pt x="125027" y="712701"/>
                      <a:pt x="103216" y="725688"/>
                    </a:cubicBezTo>
                    <a:cubicBezTo>
                      <a:pt x="96352" y="730480"/>
                      <a:pt x="90476" y="736546"/>
                      <a:pt x="85912" y="743563"/>
                    </a:cubicBezTo>
                    <a:cubicBezTo>
                      <a:pt x="79599" y="753812"/>
                      <a:pt x="70225" y="761798"/>
                      <a:pt x="59101" y="766381"/>
                    </a:cubicBezTo>
                    <a:cubicBezTo>
                      <a:pt x="49916" y="769252"/>
                      <a:pt x="40504" y="771344"/>
                      <a:pt x="30958" y="772656"/>
                    </a:cubicBezTo>
                    <a:lnTo>
                      <a:pt x="26584" y="772656"/>
                    </a:lnTo>
                    <a:cubicBezTo>
                      <a:pt x="26566" y="784312"/>
                      <a:pt x="27459" y="795950"/>
                      <a:pt x="29247" y="807454"/>
                    </a:cubicBezTo>
                    <a:cubicBezTo>
                      <a:pt x="30026" y="810839"/>
                      <a:pt x="31110" y="814148"/>
                      <a:pt x="32479" y="817342"/>
                    </a:cubicBezTo>
                    <a:cubicBezTo>
                      <a:pt x="35502" y="823218"/>
                      <a:pt x="37005" y="829759"/>
                      <a:pt x="36853" y="836358"/>
                    </a:cubicBezTo>
                    <a:cubicBezTo>
                      <a:pt x="35940" y="842253"/>
                      <a:pt x="33506" y="847824"/>
                      <a:pt x="29817" y="852521"/>
                    </a:cubicBezTo>
                    <a:cubicBezTo>
                      <a:pt x="28372" y="854555"/>
                      <a:pt x="27098" y="856723"/>
                      <a:pt x="26014" y="858986"/>
                    </a:cubicBezTo>
                    <a:cubicBezTo>
                      <a:pt x="23694" y="864386"/>
                      <a:pt x="22097" y="870091"/>
                      <a:pt x="21260" y="875910"/>
                    </a:cubicBezTo>
                    <a:cubicBezTo>
                      <a:pt x="20157" y="885303"/>
                      <a:pt x="16829" y="894298"/>
                      <a:pt x="11562" y="902151"/>
                    </a:cubicBezTo>
                    <a:cubicBezTo>
                      <a:pt x="9870" y="904185"/>
                      <a:pt x="8025" y="906087"/>
                      <a:pt x="6048" y="907856"/>
                    </a:cubicBezTo>
                    <a:cubicBezTo>
                      <a:pt x="1484" y="912229"/>
                      <a:pt x="-607" y="914131"/>
                      <a:pt x="153" y="919075"/>
                    </a:cubicBezTo>
                    <a:cubicBezTo>
                      <a:pt x="20" y="919949"/>
                      <a:pt x="20" y="920862"/>
                      <a:pt x="153" y="921737"/>
                    </a:cubicBezTo>
                    <a:lnTo>
                      <a:pt x="1864" y="921737"/>
                    </a:lnTo>
                    <a:cubicBezTo>
                      <a:pt x="3614" y="922117"/>
                      <a:pt x="5325" y="922630"/>
                      <a:pt x="6999" y="923258"/>
                    </a:cubicBezTo>
                    <a:cubicBezTo>
                      <a:pt x="16791" y="926757"/>
                      <a:pt x="23276" y="936074"/>
                      <a:pt x="23162" y="946457"/>
                    </a:cubicBezTo>
                    <a:cubicBezTo>
                      <a:pt x="23371" y="951249"/>
                      <a:pt x="25101" y="955850"/>
                      <a:pt x="28106" y="959577"/>
                    </a:cubicBezTo>
                    <a:cubicBezTo>
                      <a:pt x="36092" y="968324"/>
                      <a:pt x="60622" y="966613"/>
                      <a:pt x="75264" y="965472"/>
                    </a:cubicBezTo>
                    <a:lnTo>
                      <a:pt x="82870" y="965472"/>
                    </a:lnTo>
                    <a:cubicBezTo>
                      <a:pt x="89240" y="964978"/>
                      <a:pt x="95591" y="964160"/>
                      <a:pt x="101885" y="963000"/>
                    </a:cubicBezTo>
                    <a:cubicBezTo>
                      <a:pt x="111906" y="961023"/>
                      <a:pt x="122099" y="960205"/>
                      <a:pt x="132310" y="960528"/>
                    </a:cubicBezTo>
                    <a:cubicBezTo>
                      <a:pt x="149005" y="963609"/>
                      <a:pt x="164636" y="970872"/>
                      <a:pt x="177757" y="981635"/>
                    </a:cubicBezTo>
                    <a:lnTo>
                      <a:pt x="187455" y="988101"/>
                    </a:lnTo>
                    <a:cubicBezTo>
                      <a:pt x="198731" y="993482"/>
                      <a:pt x="203523" y="1006983"/>
                      <a:pt x="198141" y="1018259"/>
                    </a:cubicBezTo>
                    <a:cubicBezTo>
                      <a:pt x="198008" y="1018544"/>
                      <a:pt x="197875" y="1018829"/>
                      <a:pt x="197723" y="1019095"/>
                    </a:cubicBezTo>
                    <a:cubicBezTo>
                      <a:pt x="196050" y="1023849"/>
                      <a:pt x="195346" y="1028889"/>
                      <a:pt x="195631" y="1033928"/>
                    </a:cubicBezTo>
                    <a:cubicBezTo>
                      <a:pt x="199834" y="1043397"/>
                      <a:pt x="206375" y="1051650"/>
                      <a:pt x="214647" y="1057887"/>
                    </a:cubicBezTo>
                    <a:cubicBezTo>
                      <a:pt x="224725" y="1066634"/>
                      <a:pt x="235944" y="1062831"/>
                      <a:pt x="249064" y="1057887"/>
                    </a:cubicBezTo>
                    <a:lnTo>
                      <a:pt x="254769" y="1055985"/>
                    </a:lnTo>
                    <a:cubicBezTo>
                      <a:pt x="260131" y="1053532"/>
                      <a:pt x="265988" y="1052353"/>
                      <a:pt x="271883" y="1052563"/>
                    </a:cubicBezTo>
                    <a:cubicBezTo>
                      <a:pt x="274355" y="1052981"/>
                      <a:pt x="276789" y="1053684"/>
                      <a:pt x="279109" y="1054654"/>
                    </a:cubicBezTo>
                    <a:cubicBezTo>
                      <a:pt x="281771" y="1055605"/>
                      <a:pt x="283102" y="1056176"/>
                      <a:pt x="284813" y="1055605"/>
                    </a:cubicBezTo>
                    <a:cubicBezTo>
                      <a:pt x="288350" y="1054236"/>
                      <a:pt x="291393" y="1051859"/>
                      <a:pt x="293560" y="1048760"/>
                    </a:cubicBezTo>
                    <a:cubicBezTo>
                      <a:pt x="299227" y="1040355"/>
                      <a:pt x="309895" y="1036913"/>
                      <a:pt x="319421" y="1040393"/>
                    </a:cubicBezTo>
                    <a:cubicBezTo>
                      <a:pt x="329671" y="1044006"/>
                      <a:pt x="339293" y="1049216"/>
                      <a:pt x="347944" y="1055795"/>
                    </a:cubicBezTo>
                    <a:lnTo>
                      <a:pt x="359734" y="1063592"/>
                    </a:lnTo>
                    <a:lnTo>
                      <a:pt x="364868" y="1066444"/>
                    </a:lnTo>
                    <a:cubicBezTo>
                      <a:pt x="377361" y="1071844"/>
                      <a:pt x="387953" y="1080839"/>
                      <a:pt x="395293" y="1092305"/>
                    </a:cubicBezTo>
                    <a:cubicBezTo>
                      <a:pt x="399571" y="1101413"/>
                      <a:pt x="398544" y="1112119"/>
                      <a:pt x="392631" y="1120257"/>
                    </a:cubicBezTo>
                    <a:cubicBezTo>
                      <a:pt x="390615" y="1123661"/>
                      <a:pt x="389018" y="1127312"/>
                      <a:pt x="387877" y="1131096"/>
                    </a:cubicBezTo>
                    <a:cubicBezTo>
                      <a:pt x="382838" y="1142334"/>
                      <a:pt x="387629" y="1155550"/>
                      <a:pt x="398716" y="1160950"/>
                    </a:cubicBezTo>
                    <a:cubicBezTo>
                      <a:pt x="411798" y="1168347"/>
                      <a:pt x="419651" y="1182438"/>
                      <a:pt x="419062" y="1197460"/>
                    </a:cubicBezTo>
                    <a:cubicBezTo>
                      <a:pt x="419252" y="1200560"/>
                      <a:pt x="419252" y="1203678"/>
                      <a:pt x="419062" y="1206777"/>
                    </a:cubicBezTo>
                    <a:cubicBezTo>
                      <a:pt x="418111" y="1218567"/>
                      <a:pt x="417921" y="1225793"/>
                      <a:pt x="426478" y="1230927"/>
                    </a:cubicBezTo>
                    <a:cubicBezTo>
                      <a:pt x="436537" y="1236042"/>
                      <a:pt x="448307" y="1236593"/>
                      <a:pt x="458804" y="1232448"/>
                    </a:cubicBezTo>
                    <a:lnTo>
                      <a:pt x="464509" y="1229976"/>
                    </a:lnTo>
                    <a:cubicBezTo>
                      <a:pt x="474321" y="1222902"/>
                      <a:pt x="487745" y="1223701"/>
                      <a:pt x="496645" y="1231878"/>
                    </a:cubicBezTo>
                    <a:cubicBezTo>
                      <a:pt x="500885" y="1236118"/>
                      <a:pt x="504232" y="1241157"/>
                      <a:pt x="506533" y="1246710"/>
                    </a:cubicBezTo>
                    <a:cubicBezTo>
                      <a:pt x="508624" y="1252757"/>
                      <a:pt x="513093" y="1257701"/>
                      <a:pt x="518893" y="1260401"/>
                    </a:cubicBezTo>
                    <a:lnTo>
                      <a:pt x="531443" y="1265535"/>
                    </a:lnTo>
                    <a:cubicBezTo>
                      <a:pt x="540513" y="1268749"/>
                      <a:pt x="549184" y="1272951"/>
                      <a:pt x="557304" y="1278085"/>
                    </a:cubicBezTo>
                    <a:cubicBezTo>
                      <a:pt x="566906" y="1284969"/>
                      <a:pt x="577764" y="1289951"/>
                      <a:pt x="589250" y="1292727"/>
                    </a:cubicBezTo>
                    <a:cubicBezTo>
                      <a:pt x="594859" y="1293526"/>
                      <a:pt x="600507" y="1293849"/>
                      <a:pt x="606173" y="1293678"/>
                    </a:cubicBezTo>
                    <a:cubicBezTo>
                      <a:pt x="617925" y="1292689"/>
                      <a:pt x="629714" y="1294990"/>
                      <a:pt x="640211" y="1300333"/>
                    </a:cubicBezTo>
                    <a:cubicBezTo>
                      <a:pt x="644508" y="1303033"/>
                      <a:pt x="648578" y="1306095"/>
                      <a:pt x="652381" y="1309460"/>
                    </a:cubicBezTo>
                    <a:cubicBezTo>
                      <a:pt x="657591" y="1314766"/>
                      <a:pt x="664170" y="1318512"/>
                      <a:pt x="671396" y="1320299"/>
                    </a:cubicBezTo>
                    <a:cubicBezTo>
                      <a:pt x="686951" y="1322315"/>
                      <a:pt x="700528" y="1331842"/>
                      <a:pt x="707716" y="1345780"/>
                    </a:cubicBezTo>
                    <a:cubicBezTo>
                      <a:pt x="716310" y="1360003"/>
                      <a:pt x="727016" y="1372820"/>
                      <a:pt x="739471" y="1383811"/>
                    </a:cubicBezTo>
                    <a:cubicBezTo>
                      <a:pt x="748903" y="1393699"/>
                      <a:pt x="762765" y="1398091"/>
                      <a:pt x="776171" y="1395410"/>
                    </a:cubicBezTo>
                    <a:cubicBezTo>
                      <a:pt x="781628" y="1395410"/>
                      <a:pt x="787143" y="1395410"/>
                      <a:pt x="792714" y="1395410"/>
                    </a:cubicBezTo>
                    <a:cubicBezTo>
                      <a:pt x="803933" y="1395410"/>
                      <a:pt x="814962" y="1395410"/>
                      <a:pt x="825991" y="1393699"/>
                    </a:cubicBezTo>
                    <a:cubicBezTo>
                      <a:pt x="838522" y="1392843"/>
                      <a:pt x="850331" y="1387500"/>
                      <a:pt x="859268" y="1378676"/>
                    </a:cubicBezTo>
                    <a:lnTo>
                      <a:pt x="864022" y="1374873"/>
                    </a:lnTo>
                    <a:lnTo>
                      <a:pt x="871248" y="1369549"/>
                    </a:lnTo>
                    <a:cubicBezTo>
                      <a:pt x="878398" y="1365195"/>
                      <a:pt x="884806" y="1359737"/>
                      <a:pt x="890263" y="1353386"/>
                    </a:cubicBezTo>
                    <a:cubicBezTo>
                      <a:pt x="894827" y="1345856"/>
                      <a:pt x="902947" y="1341178"/>
                      <a:pt x="911751" y="1341026"/>
                    </a:cubicBezTo>
                    <a:cubicBezTo>
                      <a:pt x="924871" y="1341977"/>
                      <a:pt x="933618" y="1356999"/>
                      <a:pt x="941415" y="1370310"/>
                    </a:cubicBezTo>
                    <a:cubicBezTo>
                      <a:pt x="943563" y="1374227"/>
                      <a:pt x="945902" y="1378049"/>
                      <a:pt x="948450" y="1381719"/>
                    </a:cubicBezTo>
                    <a:cubicBezTo>
                      <a:pt x="954383" y="1392558"/>
                      <a:pt x="966191" y="1398833"/>
                      <a:pt x="978494" y="1397692"/>
                    </a:cubicBezTo>
                    <a:cubicBezTo>
                      <a:pt x="994030" y="1394003"/>
                      <a:pt x="1010326" y="1399023"/>
                      <a:pt x="1021089" y="1410812"/>
                    </a:cubicBezTo>
                    <a:cubicBezTo>
                      <a:pt x="1023941" y="1413285"/>
                      <a:pt x="1026413" y="1415756"/>
                      <a:pt x="1028885" y="1418228"/>
                    </a:cubicBezTo>
                    <a:cubicBezTo>
                      <a:pt x="1034742" y="1424979"/>
                      <a:pt x="1042025" y="1430360"/>
                      <a:pt x="1050183" y="1434011"/>
                    </a:cubicBezTo>
                    <a:cubicBezTo>
                      <a:pt x="1055241" y="1435799"/>
                      <a:pt x="1060603" y="1436559"/>
                      <a:pt x="1065965" y="1436293"/>
                    </a:cubicBezTo>
                    <a:cubicBezTo>
                      <a:pt x="1070890" y="1436274"/>
                      <a:pt x="1075796" y="1436787"/>
                      <a:pt x="1080607" y="1437814"/>
                    </a:cubicBezTo>
                    <a:cubicBezTo>
                      <a:pt x="1090914" y="1440838"/>
                      <a:pt x="1099356" y="1448292"/>
                      <a:pt x="1103616" y="1458161"/>
                    </a:cubicBezTo>
                    <a:cubicBezTo>
                      <a:pt x="1105498" y="1461507"/>
                      <a:pt x="1107666" y="1464683"/>
                      <a:pt x="1110081" y="1467669"/>
                    </a:cubicBezTo>
                    <a:cubicBezTo>
                      <a:pt x="1110937" y="1468657"/>
                      <a:pt x="1111887" y="1469551"/>
                      <a:pt x="1112933" y="1470331"/>
                    </a:cubicBezTo>
                    <a:cubicBezTo>
                      <a:pt x="1116641" y="1464949"/>
                      <a:pt x="1120844" y="1459929"/>
                      <a:pt x="1125483" y="1455308"/>
                    </a:cubicBezTo>
                    <a:cubicBezTo>
                      <a:pt x="1127765" y="1452837"/>
                      <a:pt x="1130237" y="1450365"/>
                      <a:pt x="1132329" y="1447892"/>
                    </a:cubicBezTo>
                    <a:cubicBezTo>
                      <a:pt x="1137653" y="1441237"/>
                      <a:pt x="1142407" y="1434011"/>
                      <a:pt x="1147161" y="1426976"/>
                    </a:cubicBezTo>
                    <a:cubicBezTo>
                      <a:pt x="1151915" y="1419940"/>
                      <a:pt x="1156098" y="1413475"/>
                      <a:pt x="1161232" y="1407009"/>
                    </a:cubicBezTo>
                    <a:lnTo>
                      <a:pt x="1163324" y="1404347"/>
                    </a:lnTo>
                    <a:cubicBezTo>
                      <a:pt x="1168648" y="1398985"/>
                      <a:pt x="1172661" y="1392482"/>
                      <a:pt x="1175114" y="1385332"/>
                    </a:cubicBezTo>
                    <a:cubicBezTo>
                      <a:pt x="1176140" y="1380787"/>
                      <a:pt x="1176597" y="1376109"/>
                      <a:pt x="1176445" y="1371451"/>
                    </a:cubicBezTo>
                    <a:cubicBezTo>
                      <a:pt x="1176445" y="1367457"/>
                      <a:pt x="1176445" y="1363274"/>
                      <a:pt x="1177396" y="1359471"/>
                    </a:cubicBezTo>
                    <a:cubicBezTo>
                      <a:pt x="1179088" y="1352454"/>
                      <a:pt x="1176654" y="1345095"/>
                      <a:pt x="1171120" y="1340456"/>
                    </a:cubicBezTo>
                    <a:cubicBezTo>
                      <a:pt x="1167603" y="1336919"/>
                      <a:pt x="1164541" y="1332964"/>
                      <a:pt x="1161993" y="1328666"/>
                    </a:cubicBezTo>
                    <a:cubicBezTo>
                      <a:pt x="1153056" y="1313263"/>
                      <a:pt x="1161993" y="1300143"/>
                      <a:pt x="1170930" y="1289494"/>
                    </a:cubicBezTo>
                    <a:cubicBezTo>
                      <a:pt x="1173022" y="1286642"/>
                      <a:pt x="1175304" y="1283790"/>
                      <a:pt x="1177015" y="1280937"/>
                    </a:cubicBezTo>
                    <a:cubicBezTo>
                      <a:pt x="1180989" y="1274757"/>
                      <a:pt x="1186238" y="1269509"/>
                      <a:pt x="1192418" y="1265535"/>
                    </a:cubicBezTo>
                    <a:cubicBezTo>
                      <a:pt x="1198541" y="1261941"/>
                      <a:pt x="1203351" y="1256484"/>
                      <a:pt x="1206109" y="1249942"/>
                    </a:cubicBezTo>
                    <a:cubicBezTo>
                      <a:pt x="1210083" y="1236841"/>
                      <a:pt x="1211186" y="1223017"/>
                      <a:pt x="1209341" y="1209440"/>
                    </a:cubicBezTo>
                    <a:cubicBezTo>
                      <a:pt x="1209341" y="1206017"/>
                      <a:pt x="1209341" y="1202214"/>
                      <a:pt x="1209341" y="1198411"/>
                    </a:cubicBezTo>
                    <a:lnTo>
                      <a:pt x="1209341" y="1191945"/>
                    </a:lnTo>
                    <a:cubicBezTo>
                      <a:pt x="1209341" y="1183389"/>
                      <a:pt x="1209341" y="1172930"/>
                      <a:pt x="1204397" y="1168366"/>
                    </a:cubicBezTo>
                    <a:cubicBezTo>
                      <a:pt x="1199453" y="1163803"/>
                      <a:pt x="1199453" y="1166465"/>
                      <a:pt x="1194509" y="1167035"/>
                    </a:cubicBezTo>
                    <a:cubicBezTo>
                      <a:pt x="1184260" y="1169526"/>
                      <a:pt x="1173459" y="1166085"/>
                      <a:pt x="1166557" y="1158098"/>
                    </a:cubicBezTo>
                    <a:cubicBezTo>
                      <a:pt x="1162849" y="1153724"/>
                      <a:pt x="1157467" y="1151100"/>
                      <a:pt x="1151725" y="1150872"/>
                    </a:cubicBezTo>
                    <a:lnTo>
                      <a:pt x="1148682" y="1150872"/>
                    </a:lnTo>
                    <a:cubicBezTo>
                      <a:pt x="1145050" y="1151405"/>
                      <a:pt x="1141323" y="1150815"/>
                      <a:pt x="1138034" y="1149161"/>
                    </a:cubicBezTo>
                    <a:cubicBezTo>
                      <a:pt x="1121871" y="1139463"/>
                      <a:pt x="1134231" y="1116074"/>
                      <a:pt x="1140125" y="1105045"/>
                    </a:cubicBezTo>
                    <a:lnTo>
                      <a:pt x="1141457" y="1102193"/>
                    </a:lnTo>
                    <a:cubicBezTo>
                      <a:pt x="1149215" y="1090175"/>
                      <a:pt x="1149595" y="1074830"/>
                      <a:pt x="1142407" y="1062451"/>
                    </a:cubicBezTo>
                    <a:cubicBezTo>
                      <a:pt x="1136645" y="1053342"/>
                      <a:pt x="1129153" y="1045470"/>
                      <a:pt x="1120349" y="1039252"/>
                    </a:cubicBezTo>
                    <a:cubicBezTo>
                      <a:pt x="1105327" y="1027082"/>
                      <a:pt x="1088213" y="1013391"/>
                      <a:pt x="1095819" y="986960"/>
                    </a:cubicBezTo>
                    <a:lnTo>
                      <a:pt x="1095819" y="985248"/>
                    </a:lnTo>
                    <a:cubicBezTo>
                      <a:pt x="1098349" y="979163"/>
                      <a:pt x="1098349" y="972318"/>
                      <a:pt x="1095819" y="966233"/>
                    </a:cubicBezTo>
                    <a:cubicBezTo>
                      <a:pt x="1094545" y="963514"/>
                      <a:pt x="1092948" y="960966"/>
                      <a:pt x="1091066" y="958627"/>
                    </a:cubicBezTo>
                    <a:cubicBezTo>
                      <a:pt x="1087472" y="954424"/>
                      <a:pt x="1084981" y="949385"/>
                      <a:pt x="1083840" y="943985"/>
                    </a:cubicBezTo>
                    <a:cubicBezTo>
                      <a:pt x="1083250" y="938109"/>
                      <a:pt x="1084505" y="932195"/>
                      <a:pt x="1087453" y="927061"/>
                    </a:cubicBezTo>
                    <a:cubicBezTo>
                      <a:pt x="1088784" y="924741"/>
                      <a:pt x="1089811" y="922231"/>
                      <a:pt x="1090495" y="919645"/>
                    </a:cubicBezTo>
                    <a:cubicBezTo>
                      <a:pt x="1091693" y="913275"/>
                      <a:pt x="1091104" y="906696"/>
                      <a:pt x="1088784" y="900630"/>
                    </a:cubicBezTo>
                    <a:cubicBezTo>
                      <a:pt x="1084714" y="891388"/>
                      <a:pt x="1078763" y="883078"/>
                      <a:pt x="1071290" y="876290"/>
                    </a:cubicBezTo>
                    <a:cubicBezTo>
                      <a:pt x="1066403" y="871308"/>
                      <a:pt x="1061877" y="865965"/>
                      <a:pt x="1057789" y="860317"/>
                    </a:cubicBezTo>
                    <a:cubicBezTo>
                      <a:pt x="1050373" y="849022"/>
                      <a:pt x="1049023" y="834779"/>
                      <a:pt x="1054176" y="822286"/>
                    </a:cubicBezTo>
                    <a:lnTo>
                      <a:pt x="1055887" y="814870"/>
                    </a:lnTo>
                    <a:cubicBezTo>
                      <a:pt x="1057599" y="806199"/>
                      <a:pt x="1055355" y="797205"/>
                      <a:pt x="1049802" y="790340"/>
                    </a:cubicBezTo>
                    <a:cubicBezTo>
                      <a:pt x="1046018" y="784503"/>
                      <a:pt x="1043261" y="778076"/>
                      <a:pt x="1041626" y="771325"/>
                    </a:cubicBezTo>
                    <a:cubicBezTo>
                      <a:pt x="1038393" y="754972"/>
                      <a:pt x="1049993" y="749838"/>
                      <a:pt x="1058359" y="746225"/>
                    </a:cubicBezTo>
                    <a:cubicBezTo>
                      <a:pt x="1062390" y="744875"/>
                      <a:pt x="1066079" y="742669"/>
                      <a:pt x="1069198" y="739760"/>
                    </a:cubicBezTo>
                    <a:cubicBezTo>
                      <a:pt x="1071632" y="736451"/>
                      <a:pt x="1073553" y="732800"/>
                      <a:pt x="1074903" y="728921"/>
                    </a:cubicBezTo>
                    <a:cubicBezTo>
                      <a:pt x="1076348" y="725194"/>
                      <a:pt x="1078059" y="721562"/>
                      <a:pt x="1080037" y="718082"/>
                    </a:cubicBezTo>
                    <a:lnTo>
                      <a:pt x="1082509" y="714469"/>
                    </a:lnTo>
                    <a:cubicBezTo>
                      <a:pt x="1083878" y="712682"/>
                      <a:pt x="1085076" y="710761"/>
                      <a:pt x="1086122" y="708764"/>
                    </a:cubicBezTo>
                    <a:lnTo>
                      <a:pt x="1088403" y="697736"/>
                    </a:lnTo>
                    <a:lnTo>
                      <a:pt x="1087263" y="693362"/>
                    </a:lnTo>
                    <a:cubicBezTo>
                      <a:pt x="1085437" y="688703"/>
                      <a:pt x="1085038" y="683607"/>
                      <a:pt x="1086122" y="678720"/>
                    </a:cubicBezTo>
                    <a:cubicBezTo>
                      <a:pt x="1087320" y="674841"/>
                      <a:pt x="1089639" y="671399"/>
                      <a:pt x="1092777" y="668832"/>
                    </a:cubicBezTo>
                    <a:cubicBezTo>
                      <a:pt x="1093823" y="667843"/>
                      <a:pt x="1094774" y="666759"/>
                      <a:pt x="1095629" y="665599"/>
                    </a:cubicBezTo>
                    <a:cubicBezTo>
                      <a:pt x="1100764" y="658564"/>
                      <a:pt x="1097911" y="651908"/>
                      <a:pt x="1092587" y="641450"/>
                    </a:cubicBezTo>
                    <a:cubicBezTo>
                      <a:pt x="1090742" y="637799"/>
                      <a:pt x="1089088" y="634053"/>
                      <a:pt x="1087643" y="630231"/>
                    </a:cubicBezTo>
                    <a:cubicBezTo>
                      <a:pt x="1086483" y="626580"/>
                      <a:pt x="1085722" y="622815"/>
                      <a:pt x="1085361" y="619012"/>
                    </a:cubicBezTo>
                    <a:cubicBezTo>
                      <a:pt x="1085076" y="615418"/>
                      <a:pt x="1084239" y="611900"/>
                      <a:pt x="1082889" y="608553"/>
                    </a:cubicBezTo>
                    <a:cubicBezTo>
                      <a:pt x="1081748" y="606082"/>
                      <a:pt x="1081558" y="605891"/>
                      <a:pt x="1080607" y="605131"/>
                    </a:cubicBezTo>
                    <a:cubicBezTo>
                      <a:pt x="1079352" y="604332"/>
                      <a:pt x="1078192" y="603362"/>
                      <a:pt x="1077184" y="602278"/>
                    </a:cubicBezTo>
                    <a:lnTo>
                      <a:pt x="1074142" y="599426"/>
                    </a:lnTo>
                    <a:cubicBezTo>
                      <a:pt x="1070396" y="596631"/>
                      <a:pt x="1067658" y="592694"/>
                      <a:pt x="1066346" y="588207"/>
                    </a:cubicBezTo>
                    <a:cubicBezTo>
                      <a:pt x="1065680" y="586229"/>
                      <a:pt x="1065243" y="584195"/>
                      <a:pt x="1065015" y="582122"/>
                    </a:cubicBezTo>
                    <a:cubicBezTo>
                      <a:pt x="1065015" y="578129"/>
                      <a:pt x="1064064" y="577748"/>
                      <a:pt x="1062733" y="577178"/>
                    </a:cubicBezTo>
                    <a:cubicBezTo>
                      <a:pt x="1061402" y="576608"/>
                      <a:pt x="1053986" y="579079"/>
                      <a:pt x="1049042" y="582122"/>
                    </a:cubicBezTo>
                    <a:cubicBezTo>
                      <a:pt x="1045067" y="584841"/>
                      <a:pt x="1040618" y="586781"/>
                      <a:pt x="1035921" y="587827"/>
                    </a:cubicBezTo>
                    <a:cubicBezTo>
                      <a:pt x="1026052" y="588511"/>
                      <a:pt x="1016506" y="584233"/>
                      <a:pt x="1010440" y="576417"/>
                    </a:cubicBezTo>
                    <a:cubicBezTo>
                      <a:pt x="1007170" y="572881"/>
                      <a:pt x="1003310" y="569914"/>
                      <a:pt x="999031" y="567670"/>
                    </a:cubicBezTo>
                    <a:cubicBezTo>
                      <a:pt x="983838" y="564077"/>
                      <a:pt x="971820" y="552477"/>
                      <a:pt x="967656" y="537436"/>
                    </a:cubicBezTo>
                    <a:cubicBezTo>
                      <a:pt x="965279" y="532112"/>
                      <a:pt x="962198" y="527129"/>
                      <a:pt x="958528" y="522604"/>
                    </a:cubicBezTo>
                    <a:cubicBezTo>
                      <a:pt x="953337" y="516671"/>
                      <a:pt x="949401" y="509749"/>
                      <a:pt x="946929" y="502257"/>
                    </a:cubicBezTo>
                    <a:cubicBezTo>
                      <a:pt x="942555" y="483242"/>
                      <a:pt x="960050" y="466508"/>
                      <a:pt x="969367" y="457381"/>
                    </a:cubicBezTo>
                    <a:cubicBezTo>
                      <a:pt x="982545" y="445154"/>
                      <a:pt x="997491" y="434962"/>
                      <a:pt x="1013673" y="427147"/>
                    </a:cubicBezTo>
                    <a:cubicBezTo>
                      <a:pt x="1024759" y="421974"/>
                      <a:pt x="1032974" y="412162"/>
                      <a:pt x="1036111" y="400335"/>
                    </a:cubicBezTo>
                    <a:cubicBezTo>
                      <a:pt x="1045942" y="376547"/>
                      <a:pt x="1038051" y="349107"/>
                      <a:pt x="1017096" y="334161"/>
                    </a:cubicBezTo>
                    <a:lnTo>
                      <a:pt x="1013103" y="331689"/>
                    </a:lnTo>
                    <a:cubicBezTo>
                      <a:pt x="1002074" y="325414"/>
                      <a:pt x="987051" y="316857"/>
                      <a:pt x="988193" y="299553"/>
                    </a:cubicBezTo>
                    <a:cubicBezTo>
                      <a:pt x="989333" y="282249"/>
                      <a:pt x="1003975" y="273122"/>
                      <a:pt x="1015765" y="265706"/>
                    </a:cubicBezTo>
                    <a:lnTo>
                      <a:pt x="1018237" y="263995"/>
                    </a:lnTo>
                    <a:cubicBezTo>
                      <a:pt x="1032308" y="255248"/>
                      <a:pt x="1038393" y="246120"/>
                      <a:pt x="1037252" y="235091"/>
                    </a:cubicBezTo>
                    <a:cubicBezTo>
                      <a:pt x="1036111" y="224062"/>
                      <a:pt x="1029456" y="221971"/>
                      <a:pt x="1018237" y="216076"/>
                    </a:cubicBezTo>
                    <a:cubicBezTo>
                      <a:pt x="1015384" y="214745"/>
                      <a:pt x="1012532" y="213414"/>
                      <a:pt x="1009870" y="211892"/>
                    </a:cubicBezTo>
                    <a:cubicBezTo>
                      <a:pt x="997129" y="203640"/>
                      <a:pt x="987850" y="190975"/>
                      <a:pt x="983819" y="176334"/>
                    </a:cubicBezTo>
                    <a:cubicBezTo>
                      <a:pt x="980738" y="168937"/>
                      <a:pt x="979236" y="160969"/>
                      <a:pt x="979445" y="152945"/>
                    </a:cubicBezTo>
                    <a:cubicBezTo>
                      <a:pt x="962046" y="150340"/>
                      <a:pt x="944552" y="156976"/>
                      <a:pt x="933238" y="170439"/>
                    </a:cubicBezTo>
                    <a:cubicBezTo>
                      <a:pt x="916885" y="189454"/>
                      <a:pt x="942746" y="187553"/>
                      <a:pt x="952253" y="194018"/>
                    </a:cubicBezTo>
                    <a:cubicBezTo>
                      <a:pt x="966515" y="203335"/>
                      <a:pt x="944077" y="226154"/>
                      <a:pt x="930386" y="217597"/>
                    </a:cubicBezTo>
                    <a:cubicBezTo>
                      <a:pt x="913082" y="206948"/>
                      <a:pt x="909088" y="179566"/>
                      <a:pt x="882277" y="188504"/>
                    </a:cubicBezTo>
                    <a:cubicBezTo>
                      <a:pt x="860980" y="195539"/>
                      <a:pt x="865163" y="223872"/>
                      <a:pt x="870677" y="240606"/>
                    </a:cubicBezTo>
                    <a:cubicBezTo>
                      <a:pt x="879557" y="260800"/>
                      <a:pt x="896329" y="276469"/>
                      <a:pt x="917075" y="283961"/>
                    </a:cubicBezTo>
                    <a:cubicBezTo>
                      <a:pt x="933048" y="289285"/>
                      <a:pt x="937421" y="290996"/>
                      <a:pt x="943506" y="307159"/>
                    </a:cubicBezTo>
                    <a:cubicBezTo>
                      <a:pt x="945883" y="312066"/>
                      <a:pt x="947423" y="317333"/>
                      <a:pt x="948070" y="322752"/>
                    </a:cubicBezTo>
                    <a:cubicBezTo>
                      <a:pt x="948070" y="326745"/>
                      <a:pt x="943126" y="333781"/>
                      <a:pt x="944077" y="337394"/>
                    </a:cubicBezTo>
                    <a:cubicBezTo>
                      <a:pt x="946929" y="347853"/>
                      <a:pt x="952444" y="337394"/>
                      <a:pt x="957768" y="335683"/>
                    </a:cubicBezTo>
                    <a:cubicBezTo>
                      <a:pt x="967275" y="332640"/>
                      <a:pt x="970508" y="341577"/>
                      <a:pt x="963663" y="348043"/>
                    </a:cubicBezTo>
                    <a:cubicBezTo>
                      <a:pt x="945788" y="364586"/>
                      <a:pt x="929815" y="342908"/>
                      <a:pt x="924491" y="328076"/>
                    </a:cubicBezTo>
                    <a:cubicBezTo>
                      <a:pt x="921448" y="319900"/>
                      <a:pt x="918596" y="309061"/>
                      <a:pt x="909659" y="304688"/>
                    </a:cubicBezTo>
                    <a:cubicBezTo>
                      <a:pt x="905190" y="302938"/>
                      <a:pt x="900246" y="302938"/>
                      <a:pt x="895778" y="304688"/>
                    </a:cubicBezTo>
                    <a:cubicBezTo>
                      <a:pt x="892298" y="306418"/>
                      <a:pt x="888666" y="307806"/>
                      <a:pt x="884939" y="308871"/>
                    </a:cubicBezTo>
                    <a:cubicBezTo>
                      <a:pt x="878854" y="306969"/>
                      <a:pt x="879805" y="294990"/>
                      <a:pt x="872959" y="291187"/>
                    </a:cubicBezTo>
                    <a:cubicBezTo>
                      <a:pt x="866113" y="287383"/>
                      <a:pt x="851472" y="285292"/>
                      <a:pt x="841394" y="279397"/>
                    </a:cubicBezTo>
                    <a:cubicBezTo>
                      <a:pt x="812110" y="262093"/>
                      <a:pt x="835309" y="253726"/>
                      <a:pt x="836640" y="229767"/>
                    </a:cubicBezTo>
                    <a:cubicBezTo>
                      <a:pt x="836640" y="214935"/>
                      <a:pt x="829414" y="204286"/>
                      <a:pt x="839492" y="191736"/>
                    </a:cubicBezTo>
                    <a:cubicBezTo>
                      <a:pt x="843599" y="187229"/>
                      <a:pt x="847422" y="182476"/>
                      <a:pt x="850901" y="177475"/>
                    </a:cubicBezTo>
                    <a:cubicBezTo>
                      <a:pt x="854514" y="171199"/>
                      <a:pt x="855465" y="163783"/>
                      <a:pt x="858698" y="157318"/>
                    </a:cubicBezTo>
                    <a:cubicBezTo>
                      <a:pt x="864421" y="149655"/>
                      <a:pt x="867730" y="140452"/>
                      <a:pt x="868205" y="130887"/>
                    </a:cubicBezTo>
                    <a:cubicBezTo>
                      <a:pt x="868205" y="120809"/>
                      <a:pt x="868205" y="110731"/>
                      <a:pt x="868205" y="100652"/>
                    </a:cubicBezTo>
                    <a:cubicBezTo>
                      <a:pt x="868795" y="92077"/>
                      <a:pt x="866608" y="83539"/>
                      <a:pt x="861930" y="76313"/>
                    </a:cubicBezTo>
                    <a:cubicBezTo>
                      <a:pt x="852993" y="66615"/>
                      <a:pt x="846528" y="72129"/>
                      <a:pt x="845197" y="82778"/>
                    </a:cubicBezTo>
                    <a:cubicBezTo>
                      <a:pt x="845197" y="89433"/>
                      <a:pt x="846718" y="96469"/>
                      <a:pt x="845197" y="103315"/>
                    </a:cubicBezTo>
                    <a:cubicBezTo>
                      <a:pt x="844227" y="109742"/>
                      <a:pt x="842820" y="116093"/>
                      <a:pt x="841013" y="122330"/>
                    </a:cubicBezTo>
                    <a:cubicBezTo>
                      <a:pt x="839112" y="133549"/>
                      <a:pt x="843675" y="144388"/>
                      <a:pt x="837020" y="154656"/>
                    </a:cubicBezTo>
                    <a:cubicBezTo>
                      <a:pt x="829984" y="164297"/>
                      <a:pt x="820344" y="171732"/>
                      <a:pt x="809258" y="176143"/>
                    </a:cubicBezTo>
                    <a:cubicBezTo>
                      <a:pt x="796517" y="180897"/>
                      <a:pt x="781115" y="176143"/>
                      <a:pt x="771227" y="186222"/>
                    </a:cubicBezTo>
                    <a:cubicBezTo>
                      <a:pt x="758867" y="193257"/>
                      <a:pt x="757155" y="203906"/>
                      <a:pt x="749549" y="212273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436" name="Полилиния: фигура 435">
                <a:extLst>
                  <a:ext uri="{FF2B5EF4-FFF2-40B4-BE49-F238E27FC236}">
                    <a16:creationId xmlns:a16="http://schemas.microsoft.com/office/drawing/2014/main" id="{DAEDCCE4-E6BF-02FD-8808-CCBDDCE75022}"/>
                  </a:ext>
                </a:extLst>
              </p:cNvPr>
              <p:cNvSpPr/>
              <p:nvPr/>
            </p:nvSpPr>
            <p:spPr>
              <a:xfrm>
                <a:off x="4791144" y="3027800"/>
                <a:ext cx="66405" cy="61951"/>
              </a:xfrm>
              <a:custGeom>
                <a:avLst/>
                <a:gdLst>
                  <a:gd name="connsiteX0" fmla="*/ 50265 w 66405"/>
                  <a:gd name="connsiteY0" fmla="*/ 6870 h 61951"/>
                  <a:gd name="connsiteX1" fmla="*/ 21932 w 66405"/>
                  <a:gd name="connsiteY1" fmla="*/ 1926 h 61951"/>
                  <a:gd name="connsiteX2" fmla="*/ 8431 w 66405"/>
                  <a:gd name="connsiteY2" fmla="*/ 25696 h 61951"/>
                  <a:gd name="connsiteX3" fmla="*/ 64 w 66405"/>
                  <a:gd name="connsiteY3" fmla="*/ 47183 h 61951"/>
                  <a:gd name="connsiteX4" fmla="*/ 57111 w 66405"/>
                  <a:gd name="connsiteY4" fmla="*/ 57641 h 61951"/>
                  <a:gd name="connsiteX5" fmla="*/ 66048 w 66405"/>
                  <a:gd name="connsiteY5" fmla="*/ 43760 h 61951"/>
                  <a:gd name="connsiteX6" fmla="*/ 58822 w 66405"/>
                  <a:gd name="connsiteY6" fmla="*/ 38626 h 61951"/>
                  <a:gd name="connsiteX7" fmla="*/ 51406 w 66405"/>
                  <a:gd name="connsiteY7" fmla="*/ 26266 h 61951"/>
                  <a:gd name="connsiteX8" fmla="*/ 50265 w 66405"/>
                  <a:gd name="connsiteY8" fmla="*/ 6870 h 61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405" h="61951">
                    <a:moveTo>
                      <a:pt x="50265" y="6870"/>
                    </a:moveTo>
                    <a:cubicBezTo>
                      <a:pt x="42488" y="44"/>
                      <a:pt x="31554" y="-1877"/>
                      <a:pt x="21932" y="1926"/>
                    </a:cubicBezTo>
                    <a:cubicBezTo>
                      <a:pt x="11093" y="6870"/>
                      <a:pt x="10903" y="15427"/>
                      <a:pt x="8431" y="25696"/>
                    </a:cubicBezTo>
                    <a:cubicBezTo>
                      <a:pt x="6720" y="33112"/>
                      <a:pt x="825" y="39767"/>
                      <a:pt x="64" y="47183"/>
                    </a:cubicBezTo>
                    <a:cubicBezTo>
                      <a:pt x="-2027" y="67339"/>
                      <a:pt x="47413" y="62585"/>
                      <a:pt x="57111" y="57641"/>
                    </a:cubicBezTo>
                    <a:cubicBezTo>
                      <a:pt x="61864" y="55360"/>
                      <a:pt x="67950" y="49845"/>
                      <a:pt x="66048" y="43760"/>
                    </a:cubicBezTo>
                    <a:cubicBezTo>
                      <a:pt x="64146" y="37675"/>
                      <a:pt x="64337" y="41669"/>
                      <a:pt x="58822" y="38626"/>
                    </a:cubicBezTo>
                    <a:cubicBezTo>
                      <a:pt x="53308" y="35584"/>
                      <a:pt x="46272" y="37295"/>
                      <a:pt x="51406" y="26266"/>
                    </a:cubicBezTo>
                    <a:cubicBezTo>
                      <a:pt x="56540" y="15237"/>
                      <a:pt x="61104" y="16188"/>
                      <a:pt x="50265" y="6870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437" name="Полилиния: фигура 436">
                <a:extLst>
                  <a:ext uri="{FF2B5EF4-FFF2-40B4-BE49-F238E27FC236}">
                    <a16:creationId xmlns:a16="http://schemas.microsoft.com/office/drawing/2014/main" id="{A7D6A637-40DA-AA03-C248-21E97ED20E4E}"/>
                  </a:ext>
                </a:extLst>
              </p:cNvPr>
              <p:cNvSpPr/>
              <p:nvPr/>
            </p:nvSpPr>
            <p:spPr>
              <a:xfrm>
                <a:off x="4998803" y="3067234"/>
                <a:ext cx="51511" cy="24603"/>
              </a:xfrm>
              <a:custGeom>
                <a:avLst/>
                <a:gdLst>
                  <a:gd name="connsiteX0" fmla="*/ 12224 w 51511"/>
                  <a:gd name="connsiteY0" fmla="*/ 22961 h 24603"/>
                  <a:gd name="connsiteX1" fmla="*/ 20590 w 51511"/>
                  <a:gd name="connsiteY1" fmla="*/ 19348 h 24603"/>
                  <a:gd name="connsiteX2" fmla="*/ 21922 w 51511"/>
                  <a:gd name="connsiteY2" fmla="*/ 16306 h 24603"/>
                  <a:gd name="connsiteX3" fmla="*/ 27626 w 51511"/>
                  <a:gd name="connsiteY3" fmla="*/ 15165 h 24603"/>
                  <a:gd name="connsiteX4" fmla="*/ 43409 w 51511"/>
                  <a:gd name="connsiteY4" fmla="*/ 22010 h 24603"/>
                  <a:gd name="connsiteX5" fmla="*/ 45501 w 51511"/>
                  <a:gd name="connsiteY5" fmla="*/ 24102 h 24603"/>
                  <a:gd name="connsiteX6" fmla="*/ 50939 w 51511"/>
                  <a:gd name="connsiteY6" fmla="*/ 22543 h 24603"/>
                  <a:gd name="connsiteX7" fmla="*/ 51015 w 51511"/>
                  <a:gd name="connsiteY7" fmla="*/ 22391 h 24603"/>
                  <a:gd name="connsiteX8" fmla="*/ 48353 w 51511"/>
                  <a:gd name="connsiteY8" fmla="*/ 14214 h 24603"/>
                  <a:gd name="connsiteX9" fmla="*/ 43979 w 51511"/>
                  <a:gd name="connsiteY9" fmla="*/ 12503 h 24603"/>
                  <a:gd name="connsiteX10" fmla="*/ 40747 w 51511"/>
                  <a:gd name="connsiteY10" fmla="*/ 9841 h 24603"/>
                  <a:gd name="connsiteX11" fmla="*/ 32000 w 51511"/>
                  <a:gd name="connsiteY11" fmla="*/ 1664 h 24603"/>
                  <a:gd name="connsiteX12" fmla="*/ 29718 w 51511"/>
                  <a:gd name="connsiteY12" fmla="*/ 143 h 24603"/>
                  <a:gd name="connsiteX13" fmla="*/ 27626 w 51511"/>
                  <a:gd name="connsiteY13" fmla="*/ 143 h 24603"/>
                  <a:gd name="connsiteX14" fmla="*/ 10322 w 51511"/>
                  <a:gd name="connsiteY14" fmla="*/ 4136 h 24603"/>
                  <a:gd name="connsiteX15" fmla="*/ 1955 w 51511"/>
                  <a:gd name="connsiteY15" fmla="*/ 9080 h 24603"/>
                  <a:gd name="connsiteX16" fmla="*/ 12224 w 51511"/>
                  <a:gd name="connsiteY16" fmla="*/ 22961 h 24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1511" h="24603">
                    <a:moveTo>
                      <a:pt x="12224" y="22961"/>
                    </a:moveTo>
                    <a:cubicBezTo>
                      <a:pt x="15456" y="22961"/>
                      <a:pt x="19260" y="22961"/>
                      <a:pt x="20590" y="19348"/>
                    </a:cubicBezTo>
                    <a:cubicBezTo>
                      <a:pt x="21922" y="15735"/>
                      <a:pt x="20590" y="17066"/>
                      <a:pt x="21922" y="16306"/>
                    </a:cubicBezTo>
                    <a:cubicBezTo>
                      <a:pt x="23253" y="15545"/>
                      <a:pt x="25535" y="14784"/>
                      <a:pt x="27626" y="15165"/>
                    </a:cubicBezTo>
                    <a:cubicBezTo>
                      <a:pt x="33502" y="15602"/>
                      <a:pt x="39073" y="17998"/>
                      <a:pt x="43409" y="22010"/>
                    </a:cubicBezTo>
                    <a:cubicBezTo>
                      <a:pt x="43960" y="22847"/>
                      <a:pt x="44664" y="23550"/>
                      <a:pt x="45501" y="24102"/>
                    </a:cubicBezTo>
                    <a:cubicBezTo>
                      <a:pt x="47421" y="25167"/>
                      <a:pt x="49855" y="24482"/>
                      <a:pt x="50939" y="22543"/>
                    </a:cubicBezTo>
                    <a:cubicBezTo>
                      <a:pt x="50958" y="22505"/>
                      <a:pt x="50996" y="22448"/>
                      <a:pt x="51015" y="22391"/>
                    </a:cubicBezTo>
                    <a:cubicBezTo>
                      <a:pt x="52251" y="19386"/>
                      <a:pt x="51110" y="15925"/>
                      <a:pt x="48353" y="14214"/>
                    </a:cubicBezTo>
                    <a:cubicBezTo>
                      <a:pt x="46851" y="13758"/>
                      <a:pt x="45387" y="13187"/>
                      <a:pt x="43979" y="12503"/>
                    </a:cubicBezTo>
                    <a:lnTo>
                      <a:pt x="40747" y="9841"/>
                    </a:lnTo>
                    <a:lnTo>
                      <a:pt x="32000" y="1664"/>
                    </a:lnTo>
                    <a:cubicBezTo>
                      <a:pt x="31410" y="941"/>
                      <a:pt x="30612" y="409"/>
                      <a:pt x="29718" y="143"/>
                    </a:cubicBezTo>
                    <a:cubicBezTo>
                      <a:pt x="29033" y="-48"/>
                      <a:pt x="28311" y="-48"/>
                      <a:pt x="27626" y="143"/>
                    </a:cubicBezTo>
                    <a:lnTo>
                      <a:pt x="10322" y="4136"/>
                    </a:lnTo>
                    <a:cubicBezTo>
                      <a:pt x="6937" y="4478"/>
                      <a:pt x="3895" y="6285"/>
                      <a:pt x="1955" y="9080"/>
                    </a:cubicBezTo>
                    <a:cubicBezTo>
                      <a:pt x="-3179" y="19919"/>
                      <a:pt x="2336" y="24482"/>
                      <a:pt x="12224" y="22961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438" name="Полилиния: фигура 437">
                <a:extLst>
                  <a:ext uri="{FF2B5EF4-FFF2-40B4-BE49-F238E27FC236}">
                    <a16:creationId xmlns:a16="http://schemas.microsoft.com/office/drawing/2014/main" id="{A1C74894-CB6D-6D6C-0196-F395A5D31AE5}"/>
                  </a:ext>
                </a:extLst>
              </p:cNvPr>
              <p:cNvSpPr/>
              <p:nvPr/>
            </p:nvSpPr>
            <p:spPr>
              <a:xfrm>
                <a:off x="5112436" y="3157986"/>
                <a:ext cx="35311" cy="52263"/>
              </a:xfrm>
              <a:custGeom>
                <a:avLst/>
                <a:gdLst>
                  <a:gd name="connsiteX0" fmla="*/ 9451 w 35311"/>
                  <a:gd name="connsiteY0" fmla="*/ 40597 h 52263"/>
                  <a:gd name="connsiteX1" fmla="*/ 21811 w 35311"/>
                  <a:gd name="connsiteY1" fmla="*/ 51436 h 52263"/>
                  <a:gd name="connsiteX2" fmla="*/ 35064 w 35311"/>
                  <a:gd name="connsiteY2" fmla="*/ 46188 h 52263"/>
                  <a:gd name="connsiteX3" fmla="*/ 35312 w 35311"/>
                  <a:gd name="connsiteY3" fmla="*/ 45541 h 52263"/>
                  <a:gd name="connsiteX4" fmla="*/ 30748 w 35311"/>
                  <a:gd name="connsiteY4" fmla="*/ 23293 h 52263"/>
                  <a:gd name="connsiteX5" fmla="*/ 23522 w 35311"/>
                  <a:gd name="connsiteY5" fmla="*/ 855 h 52263"/>
                  <a:gd name="connsiteX6" fmla="*/ 10401 w 35311"/>
                  <a:gd name="connsiteY6" fmla="*/ 4278 h 52263"/>
                  <a:gd name="connsiteX7" fmla="*/ 2605 w 35311"/>
                  <a:gd name="connsiteY7" fmla="*/ 20251 h 52263"/>
                  <a:gd name="connsiteX8" fmla="*/ 513 w 35311"/>
                  <a:gd name="connsiteY8" fmla="*/ 22152 h 52263"/>
                  <a:gd name="connsiteX9" fmla="*/ 513 w 35311"/>
                  <a:gd name="connsiteY9" fmla="*/ 26146 h 52263"/>
                  <a:gd name="connsiteX10" fmla="*/ 9451 w 35311"/>
                  <a:gd name="connsiteY10" fmla="*/ 40597 h 52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311" h="52263">
                    <a:moveTo>
                      <a:pt x="9451" y="40597"/>
                    </a:moveTo>
                    <a:cubicBezTo>
                      <a:pt x="12512" y="45256"/>
                      <a:pt x="16791" y="49002"/>
                      <a:pt x="21811" y="51436"/>
                    </a:cubicBezTo>
                    <a:cubicBezTo>
                      <a:pt x="26926" y="53642"/>
                      <a:pt x="32859" y="51284"/>
                      <a:pt x="35064" y="46188"/>
                    </a:cubicBezTo>
                    <a:cubicBezTo>
                      <a:pt x="35160" y="45979"/>
                      <a:pt x="35236" y="45750"/>
                      <a:pt x="35312" y="45541"/>
                    </a:cubicBezTo>
                    <a:cubicBezTo>
                      <a:pt x="34836" y="37954"/>
                      <a:pt x="33296" y="30462"/>
                      <a:pt x="30748" y="23293"/>
                    </a:cubicBezTo>
                    <a:cubicBezTo>
                      <a:pt x="30254" y="15326"/>
                      <a:pt x="27782" y="7606"/>
                      <a:pt x="23522" y="855"/>
                    </a:cubicBezTo>
                    <a:cubicBezTo>
                      <a:pt x="18882" y="-1065"/>
                      <a:pt x="13520" y="323"/>
                      <a:pt x="10401" y="4278"/>
                    </a:cubicBezTo>
                    <a:cubicBezTo>
                      <a:pt x="6788" y="9032"/>
                      <a:pt x="7359" y="16448"/>
                      <a:pt x="2605" y="20251"/>
                    </a:cubicBezTo>
                    <a:cubicBezTo>
                      <a:pt x="1787" y="20726"/>
                      <a:pt x="1065" y="21373"/>
                      <a:pt x="513" y="22152"/>
                    </a:cubicBezTo>
                    <a:cubicBezTo>
                      <a:pt x="-171" y="23388"/>
                      <a:pt x="-171" y="24910"/>
                      <a:pt x="513" y="26146"/>
                    </a:cubicBezTo>
                    <a:cubicBezTo>
                      <a:pt x="2757" y="31375"/>
                      <a:pt x="5762" y="36262"/>
                      <a:pt x="9451" y="40597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439" name="Полилиния: фигура 438">
                <a:extLst>
                  <a:ext uri="{FF2B5EF4-FFF2-40B4-BE49-F238E27FC236}">
                    <a16:creationId xmlns:a16="http://schemas.microsoft.com/office/drawing/2014/main" id="{AFBC0AC6-663C-3D1A-AE6D-91E658440FDA}"/>
                  </a:ext>
                </a:extLst>
              </p:cNvPr>
              <p:cNvSpPr/>
              <p:nvPr/>
            </p:nvSpPr>
            <p:spPr>
              <a:xfrm>
                <a:off x="4942741" y="3113957"/>
                <a:ext cx="32864" cy="35376"/>
              </a:xfrm>
              <a:custGeom>
                <a:avLst/>
                <a:gdLst>
                  <a:gd name="connsiteX0" fmla="*/ 21698 w 32864"/>
                  <a:gd name="connsiteY0" fmla="*/ 959 h 35376"/>
                  <a:gd name="connsiteX1" fmla="*/ 10669 w 32864"/>
                  <a:gd name="connsiteY1" fmla="*/ 2290 h 35376"/>
                  <a:gd name="connsiteX2" fmla="*/ 4204 w 32864"/>
                  <a:gd name="connsiteY2" fmla="*/ 8945 h 35376"/>
                  <a:gd name="connsiteX3" fmla="*/ 21 w 32864"/>
                  <a:gd name="connsiteY3" fmla="*/ 13129 h 35376"/>
                  <a:gd name="connsiteX4" fmla="*/ 2113 w 32864"/>
                  <a:gd name="connsiteY4" fmla="*/ 17692 h 35376"/>
                  <a:gd name="connsiteX5" fmla="*/ 10099 w 32864"/>
                  <a:gd name="connsiteY5" fmla="*/ 26439 h 35376"/>
                  <a:gd name="connsiteX6" fmla="*/ 12761 w 32864"/>
                  <a:gd name="connsiteY6" fmla="*/ 30052 h 35376"/>
                  <a:gd name="connsiteX7" fmla="*/ 15423 w 32864"/>
                  <a:gd name="connsiteY7" fmla="*/ 34806 h 35376"/>
                  <a:gd name="connsiteX8" fmla="*/ 19226 w 32864"/>
                  <a:gd name="connsiteY8" fmla="*/ 34806 h 35376"/>
                  <a:gd name="connsiteX9" fmla="*/ 21128 w 32864"/>
                  <a:gd name="connsiteY9" fmla="*/ 31383 h 35376"/>
                  <a:gd name="connsiteX10" fmla="*/ 21128 w 32864"/>
                  <a:gd name="connsiteY10" fmla="*/ 28721 h 35376"/>
                  <a:gd name="connsiteX11" fmla="*/ 31777 w 32864"/>
                  <a:gd name="connsiteY11" fmla="*/ 14460 h 35376"/>
                  <a:gd name="connsiteX12" fmla="*/ 26642 w 32864"/>
                  <a:gd name="connsiteY12" fmla="*/ 6854 h 35376"/>
                  <a:gd name="connsiteX13" fmla="*/ 21698 w 32864"/>
                  <a:gd name="connsiteY13" fmla="*/ 959 h 35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864" h="35376">
                    <a:moveTo>
                      <a:pt x="21698" y="959"/>
                    </a:moveTo>
                    <a:cubicBezTo>
                      <a:pt x="18067" y="-695"/>
                      <a:pt x="13807" y="-182"/>
                      <a:pt x="10669" y="2290"/>
                    </a:cubicBezTo>
                    <a:cubicBezTo>
                      <a:pt x="7817" y="4001"/>
                      <a:pt x="6866" y="7044"/>
                      <a:pt x="4204" y="8945"/>
                    </a:cubicBezTo>
                    <a:cubicBezTo>
                      <a:pt x="1542" y="10847"/>
                      <a:pt x="211" y="11037"/>
                      <a:pt x="21" y="13129"/>
                    </a:cubicBezTo>
                    <a:cubicBezTo>
                      <a:pt x="-169" y="15220"/>
                      <a:pt x="972" y="16361"/>
                      <a:pt x="2113" y="17692"/>
                    </a:cubicBezTo>
                    <a:lnTo>
                      <a:pt x="10099" y="26439"/>
                    </a:lnTo>
                    <a:cubicBezTo>
                      <a:pt x="11145" y="27523"/>
                      <a:pt x="12039" y="28721"/>
                      <a:pt x="12761" y="30052"/>
                    </a:cubicBezTo>
                    <a:cubicBezTo>
                      <a:pt x="12761" y="31764"/>
                      <a:pt x="13902" y="33855"/>
                      <a:pt x="15423" y="34806"/>
                    </a:cubicBezTo>
                    <a:cubicBezTo>
                      <a:pt x="16583" y="35567"/>
                      <a:pt x="18067" y="35567"/>
                      <a:pt x="19226" y="34806"/>
                    </a:cubicBezTo>
                    <a:cubicBezTo>
                      <a:pt x="20329" y="33989"/>
                      <a:pt x="21014" y="32752"/>
                      <a:pt x="21128" y="31383"/>
                    </a:cubicBezTo>
                    <a:cubicBezTo>
                      <a:pt x="21223" y="30490"/>
                      <a:pt x="21223" y="29615"/>
                      <a:pt x="21128" y="28721"/>
                    </a:cubicBezTo>
                    <a:cubicBezTo>
                      <a:pt x="22269" y="21686"/>
                      <a:pt x="36911" y="22256"/>
                      <a:pt x="31777" y="14460"/>
                    </a:cubicBezTo>
                    <a:lnTo>
                      <a:pt x="26642" y="6854"/>
                    </a:lnTo>
                    <a:cubicBezTo>
                      <a:pt x="25597" y="4458"/>
                      <a:pt x="23885" y="2404"/>
                      <a:pt x="21698" y="959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440" name="Полилиния: фигура 439">
                <a:extLst>
                  <a:ext uri="{FF2B5EF4-FFF2-40B4-BE49-F238E27FC236}">
                    <a16:creationId xmlns:a16="http://schemas.microsoft.com/office/drawing/2014/main" id="{09B08589-0C84-3AAD-4BC5-11F378DCADB0}"/>
                  </a:ext>
                </a:extLst>
              </p:cNvPr>
              <p:cNvSpPr/>
              <p:nvPr/>
            </p:nvSpPr>
            <p:spPr>
              <a:xfrm>
                <a:off x="5036771" y="3205901"/>
                <a:ext cx="51538" cy="44650"/>
              </a:xfrm>
              <a:custGeom>
                <a:avLst/>
                <a:gdLst>
                  <a:gd name="connsiteX0" fmla="*/ 497 w 51538"/>
                  <a:gd name="connsiteY0" fmla="*/ 37939 h 44650"/>
                  <a:gd name="connsiteX1" fmla="*/ 16470 w 51538"/>
                  <a:gd name="connsiteY1" fmla="*/ 43453 h 44650"/>
                  <a:gd name="connsiteX2" fmla="*/ 29210 w 51538"/>
                  <a:gd name="connsiteY2" fmla="*/ 31093 h 44650"/>
                  <a:gd name="connsiteX3" fmla="*/ 42711 w 51538"/>
                  <a:gd name="connsiteY3" fmla="*/ 27861 h 44650"/>
                  <a:gd name="connsiteX4" fmla="*/ 51458 w 51538"/>
                  <a:gd name="connsiteY4" fmla="*/ 18353 h 44650"/>
                  <a:gd name="connsiteX5" fmla="*/ 50317 w 51538"/>
                  <a:gd name="connsiteY5" fmla="*/ 14930 h 44650"/>
                  <a:gd name="connsiteX6" fmla="*/ 34914 w 51538"/>
                  <a:gd name="connsiteY6" fmla="*/ 98 h 44650"/>
                  <a:gd name="connsiteX7" fmla="*/ 18942 w 51538"/>
                  <a:gd name="connsiteY7" fmla="*/ 6183 h 44650"/>
                  <a:gd name="connsiteX8" fmla="*/ 7342 w 51538"/>
                  <a:gd name="connsiteY8" fmla="*/ 19494 h 44650"/>
                  <a:gd name="connsiteX9" fmla="*/ 497 w 51538"/>
                  <a:gd name="connsiteY9" fmla="*/ 37939 h 44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538" h="44650">
                    <a:moveTo>
                      <a:pt x="497" y="37939"/>
                    </a:moveTo>
                    <a:cubicBezTo>
                      <a:pt x="3406" y="43852"/>
                      <a:pt x="10537" y="46325"/>
                      <a:pt x="16470" y="43453"/>
                    </a:cubicBezTo>
                    <a:cubicBezTo>
                      <a:pt x="21604" y="40601"/>
                      <a:pt x="24076" y="34136"/>
                      <a:pt x="29210" y="31093"/>
                    </a:cubicBezTo>
                    <a:cubicBezTo>
                      <a:pt x="33546" y="29420"/>
                      <a:pt x="38090" y="28336"/>
                      <a:pt x="42711" y="27861"/>
                    </a:cubicBezTo>
                    <a:cubicBezTo>
                      <a:pt x="47465" y="26720"/>
                      <a:pt x="52219" y="22917"/>
                      <a:pt x="51458" y="18353"/>
                    </a:cubicBezTo>
                    <a:cubicBezTo>
                      <a:pt x="51401" y="17136"/>
                      <a:pt x="51002" y="15938"/>
                      <a:pt x="50317" y="14930"/>
                    </a:cubicBezTo>
                    <a:cubicBezTo>
                      <a:pt x="47693" y="7913"/>
                      <a:pt x="42026" y="2456"/>
                      <a:pt x="34914" y="98"/>
                    </a:cubicBezTo>
                    <a:cubicBezTo>
                      <a:pt x="28925" y="-510"/>
                      <a:pt x="23011" y="1733"/>
                      <a:pt x="18942" y="6183"/>
                    </a:cubicBezTo>
                    <a:cubicBezTo>
                      <a:pt x="14568" y="10176"/>
                      <a:pt x="11336" y="15120"/>
                      <a:pt x="7342" y="19494"/>
                    </a:cubicBezTo>
                    <a:cubicBezTo>
                      <a:pt x="3349" y="23867"/>
                      <a:pt x="-1595" y="30903"/>
                      <a:pt x="497" y="37939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</p:grp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48B3EFFC-4980-1FAF-5872-9A68C9488A2C}"/>
              </a:ext>
            </a:extLst>
          </p:cNvPr>
          <p:cNvGrpSpPr/>
          <p:nvPr/>
        </p:nvGrpSpPr>
        <p:grpSpPr>
          <a:xfrm>
            <a:off x="3171439" y="3859833"/>
            <a:ext cx="1238256" cy="1702691"/>
            <a:chOff x="3171439" y="4164201"/>
            <a:chExt cx="1238256" cy="1702691"/>
          </a:xfrm>
          <a:solidFill>
            <a:schemeClr val="bg2"/>
          </a:solidFill>
        </p:grpSpPr>
        <p:sp>
          <p:nvSpPr>
            <p:cNvPr id="459" name="Полилиния: фигура 458">
              <a:extLst>
                <a:ext uri="{FF2B5EF4-FFF2-40B4-BE49-F238E27FC236}">
                  <a16:creationId xmlns:a16="http://schemas.microsoft.com/office/drawing/2014/main" id="{3D2777FD-758E-6E69-5B01-47E45AC61A0F}"/>
                </a:ext>
              </a:extLst>
            </p:cNvPr>
            <p:cNvSpPr/>
            <p:nvPr/>
          </p:nvSpPr>
          <p:spPr>
            <a:xfrm>
              <a:off x="3768538" y="4392850"/>
              <a:ext cx="205413" cy="263492"/>
            </a:xfrm>
            <a:custGeom>
              <a:avLst/>
              <a:gdLst>
                <a:gd name="connsiteX0" fmla="*/ 104480 w 225984"/>
                <a:gd name="connsiteY0" fmla="*/ 221339 h 289033"/>
                <a:gd name="connsiteX1" fmla="*/ 113227 w 225984"/>
                <a:gd name="connsiteY1" fmla="*/ 229325 h 289033"/>
                <a:gd name="connsiteX2" fmla="*/ 135285 w 225984"/>
                <a:gd name="connsiteY2" fmla="*/ 260321 h 289033"/>
                <a:gd name="connsiteX3" fmla="*/ 135285 w 225984"/>
                <a:gd name="connsiteY3" fmla="*/ 262602 h 289033"/>
                <a:gd name="connsiteX4" fmla="*/ 144602 w 225984"/>
                <a:gd name="connsiteY4" fmla="*/ 281618 h 289033"/>
                <a:gd name="connsiteX5" fmla="*/ 150117 w 225984"/>
                <a:gd name="connsiteY5" fmla="*/ 286562 h 289033"/>
                <a:gd name="connsiteX6" fmla="*/ 153159 w 225984"/>
                <a:gd name="connsiteY6" fmla="*/ 289034 h 289033"/>
                <a:gd name="connsiteX7" fmla="*/ 162096 w 225984"/>
                <a:gd name="connsiteY7" fmla="*/ 282188 h 289033"/>
                <a:gd name="connsiteX8" fmla="*/ 171604 w 225984"/>
                <a:gd name="connsiteY8" fmla="*/ 268497 h 289033"/>
                <a:gd name="connsiteX9" fmla="*/ 179210 w 225984"/>
                <a:gd name="connsiteY9" fmla="*/ 254046 h 289033"/>
                <a:gd name="connsiteX10" fmla="*/ 186816 w 225984"/>
                <a:gd name="connsiteY10" fmla="*/ 245679 h 289033"/>
                <a:gd name="connsiteX11" fmla="*/ 205832 w 225984"/>
                <a:gd name="connsiteY11" fmla="*/ 218487 h 289033"/>
                <a:gd name="connsiteX12" fmla="*/ 205832 w 225984"/>
                <a:gd name="connsiteY12" fmla="*/ 205556 h 289033"/>
                <a:gd name="connsiteX13" fmla="*/ 209445 w 225984"/>
                <a:gd name="connsiteY13" fmla="*/ 181407 h 289033"/>
                <a:gd name="connsiteX14" fmla="*/ 218952 w 225984"/>
                <a:gd name="connsiteY14" fmla="*/ 172850 h 289033"/>
                <a:gd name="connsiteX15" fmla="*/ 224847 w 225984"/>
                <a:gd name="connsiteY15" fmla="*/ 161631 h 289033"/>
                <a:gd name="connsiteX16" fmla="*/ 220093 w 225984"/>
                <a:gd name="connsiteY16" fmla="*/ 156877 h 289033"/>
                <a:gd name="connsiteX17" fmla="*/ 213628 w 225984"/>
                <a:gd name="connsiteY17" fmla="*/ 136531 h 289033"/>
                <a:gd name="connsiteX18" fmla="*/ 220664 w 225984"/>
                <a:gd name="connsiteY18" fmla="*/ 128734 h 289033"/>
                <a:gd name="connsiteX19" fmla="*/ 224847 w 225984"/>
                <a:gd name="connsiteY19" fmla="*/ 124170 h 289033"/>
                <a:gd name="connsiteX20" fmla="*/ 224847 w 225984"/>
                <a:gd name="connsiteY20" fmla="*/ 117705 h 289033"/>
                <a:gd name="connsiteX21" fmla="*/ 224847 w 225984"/>
                <a:gd name="connsiteY21" fmla="*/ 117705 h 289033"/>
                <a:gd name="connsiteX22" fmla="*/ 224847 w 225984"/>
                <a:gd name="connsiteY22" fmla="*/ 117705 h 289033"/>
                <a:gd name="connsiteX23" fmla="*/ 215530 w 225984"/>
                <a:gd name="connsiteY23" fmla="*/ 98690 h 289033"/>
                <a:gd name="connsiteX24" fmla="*/ 214389 w 225984"/>
                <a:gd name="connsiteY24" fmla="*/ 94506 h 289033"/>
                <a:gd name="connsiteX25" fmla="*/ 211156 w 225984"/>
                <a:gd name="connsiteY25" fmla="*/ 84999 h 289033"/>
                <a:gd name="connsiteX26" fmla="*/ 199176 w 225984"/>
                <a:gd name="connsiteY26" fmla="*/ 76062 h 289033"/>
                <a:gd name="connsiteX27" fmla="*/ 194993 w 225984"/>
                <a:gd name="connsiteY27" fmla="*/ 73589 h 289033"/>
                <a:gd name="connsiteX28" fmla="*/ 175978 w 225984"/>
                <a:gd name="connsiteY28" fmla="*/ 62751 h 289033"/>
                <a:gd name="connsiteX29" fmla="*/ 156962 w 225984"/>
                <a:gd name="connsiteY29" fmla="*/ 56666 h 289033"/>
                <a:gd name="connsiteX30" fmla="*/ 149166 w 225984"/>
                <a:gd name="connsiteY30" fmla="*/ 56666 h 289033"/>
                <a:gd name="connsiteX31" fmla="*/ 135095 w 225984"/>
                <a:gd name="connsiteY31" fmla="*/ 56666 h 289033"/>
                <a:gd name="connsiteX32" fmla="*/ 123305 w 225984"/>
                <a:gd name="connsiteY32" fmla="*/ 51722 h 289033"/>
                <a:gd name="connsiteX33" fmla="*/ 101818 w 225984"/>
                <a:gd name="connsiteY33" fmla="*/ 35939 h 289033"/>
                <a:gd name="connsiteX34" fmla="*/ 95923 w 225984"/>
                <a:gd name="connsiteY34" fmla="*/ 27002 h 289033"/>
                <a:gd name="connsiteX35" fmla="*/ 91930 w 225984"/>
                <a:gd name="connsiteY35" fmla="*/ 20537 h 289033"/>
                <a:gd name="connsiteX36" fmla="*/ 81661 w 225984"/>
                <a:gd name="connsiteY36" fmla="*/ 14452 h 289033"/>
                <a:gd name="connsiteX37" fmla="*/ 76717 w 225984"/>
                <a:gd name="connsiteY37" fmla="*/ 16163 h 289033"/>
                <a:gd name="connsiteX38" fmla="*/ 73675 w 225984"/>
                <a:gd name="connsiteY38" fmla="*/ 17494 h 289033"/>
                <a:gd name="connsiteX39" fmla="*/ 44201 w 225984"/>
                <a:gd name="connsiteY39" fmla="*/ 13501 h 289033"/>
                <a:gd name="connsiteX40" fmla="*/ 37926 w 225984"/>
                <a:gd name="connsiteY40" fmla="*/ 7416 h 289033"/>
                <a:gd name="connsiteX41" fmla="*/ 35834 w 225984"/>
                <a:gd name="connsiteY41" fmla="*/ 5134 h 289033"/>
                <a:gd name="connsiteX42" fmla="*/ 29749 w 225984"/>
                <a:gd name="connsiteY42" fmla="*/ 0 h 289033"/>
                <a:gd name="connsiteX43" fmla="*/ 16058 w 225984"/>
                <a:gd name="connsiteY43" fmla="*/ 16163 h 289033"/>
                <a:gd name="connsiteX44" fmla="*/ 1036 w 225984"/>
                <a:gd name="connsiteY44" fmla="*/ 37080 h 289033"/>
                <a:gd name="connsiteX45" fmla="*/ 11495 w 225984"/>
                <a:gd name="connsiteY45" fmla="*/ 60089 h 289033"/>
                <a:gd name="connsiteX46" fmla="*/ 22904 w 225984"/>
                <a:gd name="connsiteY46" fmla="*/ 72259 h 289033"/>
                <a:gd name="connsiteX47" fmla="*/ 32982 w 225984"/>
                <a:gd name="connsiteY47" fmla="*/ 91274 h 289033"/>
                <a:gd name="connsiteX48" fmla="*/ 47624 w 225984"/>
                <a:gd name="connsiteY48" fmla="*/ 115233 h 289033"/>
                <a:gd name="connsiteX49" fmla="*/ 77288 w 225984"/>
                <a:gd name="connsiteY49" fmla="*/ 133108 h 289033"/>
                <a:gd name="connsiteX50" fmla="*/ 87936 w 225984"/>
                <a:gd name="connsiteY50" fmla="*/ 138242 h 289033"/>
                <a:gd name="connsiteX51" fmla="*/ 105912 w 225984"/>
                <a:gd name="connsiteY51" fmla="*/ 177623 h 289033"/>
                <a:gd name="connsiteX52" fmla="*/ 104099 w 225984"/>
                <a:gd name="connsiteY52" fmla="*/ 181597 h 289033"/>
                <a:gd name="connsiteX53" fmla="*/ 104480 w 225984"/>
                <a:gd name="connsiteY53" fmla="*/ 221339 h 28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25984" h="289033">
                  <a:moveTo>
                    <a:pt x="104480" y="221339"/>
                  </a:moveTo>
                  <a:cubicBezTo>
                    <a:pt x="107522" y="224382"/>
                    <a:pt x="110565" y="226854"/>
                    <a:pt x="113227" y="229325"/>
                  </a:cubicBezTo>
                  <a:cubicBezTo>
                    <a:pt x="123609" y="237122"/>
                    <a:pt x="131316" y="247961"/>
                    <a:pt x="135285" y="260321"/>
                  </a:cubicBezTo>
                  <a:lnTo>
                    <a:pt x="135285" y="262602"/>
                  </a:lnTo>
                  <a:cubicBezTo>
                    <a:pt x="136528" y="269695"/>
                    <a:pt x="139759" y="276294"/>
                    <a:pt x="144602" y="281618"/>
                  </a:cubicBezTo>
                  <a:cubicBezTo>
                    <a:pt x="146504" y="283519"/>
                    <a:pt x="148405" y="285041"/>
                    <a:pt x="150117" y="286562"/>
                  </a:cubicBezTo>
                  <a:lnTo>
                    <a:pt x="153159" y="289034"/>
                  </a:lnTo>
                  <a:cubicBezTo>
                    <a:pt x="155983" y="286562"/>
                    <a:pt x="158970" y="284261"/>
                    <a:pt x="162096" y="282188"/>
                  </a:cubicBezTo>
                  <a:cubicBezTo>
                    <a:pt x="166839" y="278956"/>
                    <a:pt x="170224" y="274069"/>
                    <a:pt x="171604" y="268497"/>
                  </a:cubicBezTo>
                  <a:cubicBezTo>
                    <a:pt x="173184" y="263230"/>
                    <a:pt x="175767" y="258324"/>
                    <a:pt x="179210" y="254046"/>
                  </a:cubicBezTo>
                  <a:lnTo>
                    <a:pt x="186816" y="245679"/>
                  </a:lnTo>
                  <a:cubicBezTo>
                    <a:pt x="195337" y="238358"/>
                    <a:pt x="201877" y="229002"/>
                    <a:pt x="205832" y="218487"/>
                  </a:cubicBezTo>
                  <a:cubicBezTo>
                    <a:pt x="206777" y="214227"/>
                    <a:pt x="206777" y="209816"/>
                    <a:pt x="205832" y="205556"/>
                  </a:cubicBezTo>
                  <a:cubicBezTo>
                    <a:pt x="203242" y="197380"/>
                    <a:pt x="204575" y="188461"/>
                    <a:pt x="209445" y="181407"/>
                  </a:cubicBezTo>
                  <a:cubicBezTo>
                    <a:pt x="212133" y="178060"/>
                    <a:pt x="215343" y="175170"/>
                    <a:pt x="218952" y="172850"/>
                  </a:cubicBezTo>
                  <a:cubicBezTo>
                    <a:pt x="226368" y="167525"/>
                    <a:pt x="227129" y="166195"/>
                    <a:pt x="224847" y="161631"/>
                  </a:cubicBezTo>
                  <a:cubicBezTo>
                    <a:pt x="223459" y="159862"/>
                    <a:pt x="221864" y="158265"/>
                    <a:pt x="220093" y="156877"/>
                  </a:cubicBezTo>
                  <a:cubicBezTo>
                    <a:pt x="212742" y="152998"/>
                    <a:pt x="209863" y="143947"/>
                    <a:pt x="213628" y="136531"/>
                  </a:cubicBezTo>
                  <a:cubicBezTo>
                    <a:pt x="215362" y="133431"/>
                    <a:pt x="217766" y="130769"/>
                    <a:pt x="220664" y="128734"/>
                  </a:cubicBezTo>
                  <a:cubicBezTo>
                    <a:pt x="222946" y="127023"/>
                    <a:pt x="224277" y="126072"/>
                    <a:pt x="224847" y="124170"/>
                  </a:cubicBezTo>
                  <a:cubicBezTo>
                    <a:pt x="225587" y="122079"/>
                    <a:pt x="225587" y="119797"/>
                    <a:pt x="224847" y="117705"/>
                  </a:cubicBezTo>
                  <a:lnTo>
                    <a:pt x="224847" y="117705"/>
                  </a:lnTo>
                  <a:lnTo>
                    <a:pt x="224847" y="117705"/>
                  </a:lnTo>
                  <a:cubicBezTo>
                    <a:pt x="220103" y="112305"/>
                    <a:pt x="216885" y="105745"/>
                    <a:pt x="215530" y="98690"/>
                  </a:cubicBezTo>
                  <a:cubicBezTo>
                    <a:pt x="215530" y="96979"/>
                    <a:pt x="215530" y="95838"/>
                    <a:pt x="214389" y="94506"/>
                  </a:cubicBezTo>
                  <a:cubicBezTo>
                    <a:pt x="213866" y="91179"/>
                    <a:pt x="212772" y="87965"/>
                    <a:pt x="211156" y="84999"/>
                  </a:cubicBezTo>
                  <a:cubicBezTo>
                    <a:pt x="207667" y="81405"/>
                    <a:pt x="203622" y="78382"/>
                    <a:pt x="199176" y="76062"/>
                  </a:cubicBezTo>
                  <a:lnTo>
                    <a:pt x="194993" y="73589"/>
                  </a:lnTo>
                  <a:cubicBezTo>
                    <a:pt x="188718" y="69596"/>
                    <a:pt x="182253" y="65983"/>
                    <a:pt x="175978" y="62751"/>
                  </a:cubicBezTo>
                  <a:cubicBezTo>
                    <a:pt x="170073" y="59556"/>
                    <a:pt x="163623" y="57503"/>
                    <a:pt x="156962" y="56666"/>
                  </a:cubicBezTo>
                  <a:cubicBezTo>
                    <a:pt x="154370" y="56381"/>
                    <a:pt x="151758" y="56381"/>
                    <a:pt x="149166" y="56666"/>
                  </a:cubicBezTo>
                  <a:cubicBezTo>
                    <a:pt x="144498" y="57313"/>
                    <a:pt x="139763" y="57313"/>
                    <a:pt x="135095" y="56666"/>
                  </a:cubicBezTo>
                  <a:cubicBezTo>
                    <a:pt x="131002" y="55430"/>
                    <a:pt x="127051" y="53776"/>
                    <a:pt x="123305" y="51722"/>
                  </a:cubicBezTo>
                  <a:cubicBezTo>
                    <a:pt x="115165" y="47938"/>
                    <a:pt x="107859" y="42575"/>
                    <a:pt x="101818" y="35939"/>
                  </a:cubicBezTo>
                  <a:cubicBezTo>
                    <a:pt x="99593" y="33144"/>
                    <a:pt x="97621" y="30140"/>
                    <a:pt x="95923" y="27002"/>
                  </a:cubicBezTo>
                  <a:cubicBezTo>
                    <a:pt x="94774" y="24739"/>
                    <a:pt x="93439" y="22571"/>
                    <a:pt x="91930" y="20537"/>
                  </a:cubicBezTo>
                  <a:cubicBezTo>
                    <a:pt x="89458" y="17114"/>
                    <a:pt x="85464" y="13691"/>
                    <a:pt x="81661" y="14452"/>
                  </a:cubicBezTo>
                  <a:cubicBezTo>
                    <a:pt x="79950" y="14813"/>
                    <a:pt x="78292" y="15402"/>
                    <a:pt x="76717" y="16163"/>
                  </a:cubicBezTo>
                  <a:lnTo>
                    <a:pt x="73675" y="17494"/>
                  </a:lnTo>
                  <a:cubicBezTo>
                    <a:pt x="63812" y="21278"/>
                    <a:pt x="52703" y="19776"/>
                    <a:pt x="44201" y="13501"/>
                  </a:cubicBezTo>
                  <a:cubicBezTo>
                    <a:pt x="41972" y="11619"/>
                    <a:pt x="39875" y="9584"/>
                    <a:pt x="37926" y="7416"/>
                  </a:cubicBezTo>
                  <a:lnTo>
                    <a:pt x="35834" y="5134"/>
                  </a:lnTo>
                  <a:cubicBezTo>
                    <a:pt x="33942" y="3271"/>
                    <a:pt x="31908" y="1559"/>
                    <a:pt x="29749" y="0"/>
                  </a:cubicBezTo>
                  <a:cubicBezTo>
                    <a:pt x="25813" y="5895"/>
                    <a:pt x="21221" y="11314"/>
                    <a:pt x="16058" y="16163"/>
                  </a:cubicBezTo>
                  <a:cubicBezTo>
                    <a:pt x="9486" y="21868"/>
                    <a:pt x="4341" y="29037"/>
                    <a:pt x="1036" y="37080"/>
                  </a:cubicBezTo>
                  <a:cubicBezTo>
                    <a:pt x="-2197" y="47158"/>
                    <a:pt x="2367" y="51912"/>
                    <a:pt x="11495" y="60089"/>
                  </a:cubicBezTo>
                  <a:cubicBezTo>
                    <a:pt x="15771" y="63683"/>
                    <a:pt x="19601" y="67752"/>
                    <a:pt x="22904" y="72259"/>
                  </a:cubicBezTo>
                  <a:cubicBezTo>
                    <a:pt x="26842" y="78267"/>
                    <a:pt x="30215" y="84638"/>
                    <a:pt x="32982" y="91274"/>
                  </a:cubicBezTo>
                  <a:cubicBezTo>
                    <a:pt x="36076" y="100230"/>
                    <a:pt x="41071" y="108388"/>
                    <a:pt x="47624" y="115233"/>
                  </a:cubicBezTo>
                  <a:cubicBezTo>
                    <a:pt x="56544" y="122668"/>
                    <a:pt x="66548" y="128696"/>
                    <a:pt x="77288" y="133108"/>
                  </a:cubicBezTo>
                  <a:lnTo>
                    <a:pt x="87936" y="138242"/>
                  </a:lnTo>
                  <a:cubicBezTo>
                    <a:pt x="103776" y="144156"/>
                    <a:pt x="111825" y="161783"/>
                    <a:pt x="105912" y="177623"/>
                  </a:cubicBezTo>
                  <a:cubicBezTo>
                    <a:pt x="105402" y="178992"/>
                    <a:pt x="104797" y="180323"/>
                    <a:pt x="104099" y="181597"/>
                  </a:cubicBezTo>
                  <a:cubicBezTo>
                    <a:pt x="96683" y="198521"/>
                    <a:pt x="94021" y="210500"/>
                    <a:pt x="104480" y="22133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60" name="Полилиния: фигура 459">
              <a:extLst>
                <a:ext uri="{FF2B5EF4-FFF2-40B4-BE49-F238E27FC236}">
                  <a16:creationId xmlns:a16="http://schemas.microsoft.com/office/drawing/2014/main" id="{33230BB7-C3ED-DA5E-5518-331AF6CE24FE}"/>
                </a:ext>
              </a:extLst>
            </p:cNvPr>
            <p:cNvSpPr/>
            <p:nvPr/>
          </p:nvSpPr>
          <p:spPr>
            <a:xfrm>
              <a:off x="3772165" y="4249376"/>
              <a:ext cx="248803" cy="233269"/>
            </a:xfrm>
            <a:custGeom>
              <a:avLst/>
              <a:gdLst>
                <a:gd name="connsiteX0" fmla="*/ 119505 w 273719"/>
                <a:gd name="connsiteY0" fmla="*/ 3546 h 255880"/>
                <a:gd name="connsiteX1" fmla="*/ 112470 w 273719"/>
                <a:gd name="connsiteY1" fmla="*/ 3546 h 255880"/>
                <a:gd name="connsiteX2" fmla="*/ 100490 w 273719"/>
                <a:gd name="connsiteY2" fmla="*/ 2025 h 255880"/>
                <a:gd name="connsiteX3" fmla="*/ 97067 w 273719"/>
                <a:gd name="connsiteY3" fmla="*/ 884 h 255880"/>
                <a:gd name="connsiteX4" fmla="*/ 86609 w 273719"/>
                <a:gd name="connsiteY4" fmla="*/ 884 h 255880"/>
                <a:gd name="connsiteX5" fmla="*/ 81474 w 273719"/>
                <a:gd name="connsiteY5" fmla="*/ 2025 h 255880"/>
                <a:gd name="connsiteX6" fmla="*/ 76530 w 273719"/>
                <a:gd name="connsiteY6" fmla="*/ 6018 h 255880"/>
                <a:gd name="connsiteX7" fmla="*/ 60177 w 273719"/>
                <a:gd name="connsiteY7" fmla="*/ 10772 h 255880"/>
                <a:gd name="connsiteX8" fmla="*/ 54473 w 273719"/>
                <a:gd name="connsiteY8" fmla="*/ 10772 h 255880"/>
                <a:gd name="connsiteX9" fmla="*/ 51240 w 273719"/>
                <a:gd name="connsiteY9" fmla="*/ 20660 h 255880"/>
                <a:gd name="connsiteX10" fmla="*/ 32225 w 273719"/>
                <a:gd name="connsiteY10" fmla="*/ 27125 h 255880"/>
                <a:gd name="connsiteX11" fmla="*/ 25379 w 273719"/>
                <a:gd name="connsiteY11" fmla="*/ 27125 h 255880"/>
                <a:gd name="connsiteX12" fmla="*/ 2180 w 273719"/>
                <a:gd name="connsiteY12" fmla="*/ 52416 h 255880"/>
                <a:gd name="connsiteX13" fmla="*/ 10167 w 273719"/>
                <a:gd name="connsiteY13" fmla="*/ 74664 h 255880"/>
                <a:gd name="connsiteX14" fmla="*/ 21956 w 273719"/>
                <a:gd name="connsiteY14" fmla="*/ 88355 h 255880"/>
                <a:gd name="connsiteX15" fmla="*/ 28041 w 273719"/>
                <a:gd name="connsiteY15" fmla="*/ 145401 h 255880"/>
                <a:gd name="connsiteX16" fmla="*/ 37359 w 273719"/>
                <a:gd name="connsiteY16" fmla="*/ 153197 h 255880"/>
                <a:gd name="connsiteX17" fmla="*/ 39641 w 273719"/>
                <a:gd name="connsiteY17" fmla="*/ 155669 h 255880"/>
                <a:gd name="connsiteX18" fmla="*/ 44775 w 273719"/>
                <a:gd name="connsiteY18" fmla="*/ 160613 h 255880"/>
                <a:gd name="connsiteX19" fmla="*/ 63790 w 273719"/>
                <a:gd name="connsiteY19" fmla="*/ 163275 h 255880"/>
                <a:gd name="connsiteX20" fmla="*/ 66262 w 273719"/>
                <a:gd name="connsiteY20" fmla="*/ 162135 h 255880"/>
                <a:gd name="connsiteX21" fmla="*/ 74249 w 273719"/>
                <a:gd name="connsiteY21" fmla="*/ 159282 h 255880"/>
                <a:gd name="connsiteX22" fmla="*/ 94595 w 273719"/>
                <a:gd name="connsiteY22" fmla="*/ 169741 h 255880"/>
                <a:gd name="connsiteX23" fmla="*/ 99539 w 273719"/>
                <a:gd name="connsiteY23" fmla="*/ 177347 h 255880"/>
                <a:gd name="connsiteX24" fmla="*/ 104293 w 273719"/>
                <a:gd name="connsiteY24" fmla="*/ 184953 h 255880"/>
                <a:gd name="connsiteX25" fmla="*/ 123308 w 273719"/>
                <a:gd name="connsiteY25" fmla="*/ 197884 h 255880"/>
                <a:gd name="connsiteX26" fmla="*/ 132436 w 273719"/>
                <a:gd name="connsiteY26" fmla="*/ 201877 h 255880"/>
                <a:gd name="connsiteX27" fmla="*/ 143465 w 273719"/>
                <a:gd name="connsiteY27" fmla="*/ 201877 h 255880"/>
                <a:gd name="connsiteX28" fmla="*/ 152592 w 273719"/>
                <a:gd name="connsiteY28" fmla="*/ 201877 h 255880"/>
                <a:gd name="connsiteX29" fmla="*/ 175791 w 273719"/>
                <a:gd name="connsiteY29" fmla="*/ 209293 h 255880"/>
                <a:gd name="connsiteX30" fmla="*/ 195947 w 273719"/>
                <a:gd name="connsiteY30" fmla="*/ 220512 h 255880"/>
                <a:gd name="connsiteX31" fmla="*/ 199560 w 273719"/>
                <a:gd name="connsiteY31" fmla="*/ 222794 h 255880"/>
                <a:gd name="connsiteX32" fmla="*/ 214772 w 273719"/>
                <a:gd name="connsiteY32" fmla="*/ 234583 h 255880"/>
                <a:gd name="connsiteX33" fmla="*/ 220097 w 273719"/>
                <a:gd name="connsiteY33" fmla="*/ 248084 h 255880"/>
                <a:gd name="connsiteX34" fmla="*/ 220097 w 273719"/>
                <a:gd name="connsiteY34" fmla="*/ 251317 h 255880"/>
                <a:gd name="connsiteX35" fmla="*/ 221428 w 273719"/>
                <a:gd name="connsiteY35" fmla="*/ 255881 h 255880"/>
                <a:gd name="connsiteX36" fmla="*/ 226562 w 273719"/>
                <a:gd name="connsiteY36" fmla="*/ 249415 h 255880"/>
                <a:gd name="connsiteX37" fmla="*/ 232076 w 273719"/>
                <a:gd name="connsiteY37" fmla="*/ 240858 h 255880"/>
                <a:gd name="connsiteX38" fmla="*/ 232076 w 273719"/>
                <a:gd name="connsiteY38" fmla="*/ 238576 h 255880"/>
                <a:gd name="connsiteX39" fmla="*/ 242345 w 273719"/>
                <a:gd name="connsiteY39" fmla="*/ 223364 h 255880"/>
                <a:gd name="connsiteX40" fmla="*/ 257557 w 273719"/>
                <a:gd name="connsiteY40" fmla="*/ 225836 h 255880"/>
                <a:gd name="connsiteX41" fmla="*/ 263642 w 273719"/>
                <a:gd name="connsiteY41" fmla="*/ 230400 h 255880"/>
                <a:gd name="connsiteX42" fmla="*/ 263642 w 273719"/>
                <a:gd name="connsiteY42" fmla="*/ 230400 h 255880"/>
                <a:gd name="connsiteX43" fmla="*/ 265543 w 273719"/>
                <a:gd name="connsiteY43" fmla="*/ 230400 h 255880"/>
                <a:gd name="connsiteX44" fmla="*/ 269346 w 273719"/>
                <a:gd name="connsiteY44" fmla="*/ 224125 h 255880"/>
                <a:gd name="connsiteX45" fmla="*/ 273720 w 273719"/>
                <a:gd name="connsiteY45" fmla="*/ 216899 h 255880"/>
                <a:gd name="connsiteX46" fmla="*/ 269537 w 273719"/>
                <a:gd name="connsiteY46" fmla="*/ 213286 h 255880"/>
                <a:gd name="connsiteX47" fmla="*/ 263642 w 273719"/>
                <a:gd name="connsiteY47" fmla="*/ 211384 h 255880"/>
                <a:gd name="connsiteX48" fmla="*/ 251852 w 273719"/>
                <a:gd name="connsiteY48" fmla="*/ 205680 h 255880"/>
                <a:gd name="connsiteX49" fmla="*/ 246718 w 273719"/>
                <a:gd name="connsiteY49" fmla="*/ 189136 h 255880"/>
                <a:gd name="connsiteX50" fmla="*/ 246718 w 273719"/>
                <a:gd name="connsiteY50" fmla="*/ 184763 h 255880"/>
                <a:gd name="connsiteX51" fmla="*/ 246718 w 273719"/>
                <a:gd name="connsiteY51" fmla="*/ 178868 h 255880"/>
                <a:gd name="connsiteX52" fmla="*/ 213251 w 273719"/>
                <a:gd name="connsiteY52" fmla="*/ 147873 h 255880"/>
                <a:gd name="connsiteX53" fmla="*/ 207166 w 273719"/>
                <a:gd name="connsiteY53" fmla="*/ 134943 h 255880"/>
                <a:gd name="connsiteX54" fmla="*/ 195186 w 273719"/>
                <a:gd name="connsiteY54" fmla="*/ 91397 h 255880"/>
                <a:gd name="connsiteX55" fmla="*/ 195186 w 273719"/>
                <a:gd name="connsiteY55" fmla="*/ 86834 h 255880"/>
                <a:gd name="connsiteX56" fmla="*/ 193095 w 273719"/>
                <a:gd name="connsiteY56" fmla="*/ 69910 h 255880"/>
                <a:gd name="connsiteX57" fmla="*/ 183397 w 273719"/>
                <a:gd name="connsiteY57" fmla="*/ 65346 h 255880"/>
                <a:gd name="connsiteX58" fmla="*/ 169516 w 273719"/>
                <a:gd name="connsiteY58" fmla="*/ 58311 h 255880"/>
                <a:gd name="connsiteX59" fmla="*/ 156585 w 273719"/>
                <a:gd name="connsiteY59" fmla="*/ 37013 h 255880"/>
                <a:gd name="connsiteX60" fmla="*/ 142514 w 273719"/>
                <a:gd name="connsiteY60" fmla="*/ 17998 h 255880"/>
                <a:gd name="connsiteX61" fmla="*/ 134337 w 273719"/>
                <a:gd name="connsiteY61" fmla="*/ 14765 h 255880"/>
                <a:gd name="connsiteX62" fmla="*/ 119886 w 273719"/>
                <a:gd name="connsiteY62" fmla="*/ 7730 h 255880"/>
                <a:gd name="connsiteX63" fmla="*/ 119505 w 273719"/>
                <a:gd name="connsiteY63" fmla="*/ 3546 h 25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273719" h="255880">
                  <a:moveTo>
                    <a:pt x="119505" y="3546"/>
                  </a:moveTo>
                  <a:cubicBezTo>
                    <a:pt x="117176" y="3927"/>
                    <a:pt x="114799" y="3927"/>
                    <a:pt x="112470" y="3546"/>
                  </a:cubicBezTo>
                  <a:cubicBezTo>
                    <a:pt x="108427" y="3565"/>
                    <a:pt x="104399" y="3052"/>
                    <a:pt x="100490" y="2025"/>
                  </a:cubicBezTo>
                  <a:lnTo>
                    <a:pt x="97067" y="884"/>
                  </a:lnTo>
                  <a:cubicBezTo>
                    <a:pt x="93680" y="-295"/>
                    <a:pt x="89995" y="-295"/>
                    <a:pt x="86609" y="884"/>
                  </a:cubicBezTo>
                  <a:cubicBezTo>
                    <a:pt x="84853" y="1017"/>
                    <a:pt x="83125" y="1417"/>
                    <a:pt x="81474" y="2025"/>
                  </a:cubicBezTo>
                  <a:cubicBezTo>
                    <a:pt x="79921" y="3470"/>
                    <a:pt x="78270" y="4801"/>
                    <a:pt x="76530" y="6018"/>
                  </a:cubicBezTo>
                  <a:cubicBezTo>
                    <a:pt x="71508" y="8813"/>
                    <a:pt x="65918" y="10449"/>
                    <a:pt x="60177" y="10772"/>
                  </a:cubicBezTo>
                  <a:cubicBezTo>
                    <a:pt x="58281" y="10962"/>
                    <a:pt x="56370" y="10962"/>
                    <a:pt x="54473" y="10772"/>
                  </a:cubicBezTo>
                  <a:cubicBezTo>
                    <a:pt x="54336" y="14309"/>
                    <a:pt x="53216" y="17732"/>
                    <a:pt x="51240" y="20660"/>
                  </a:cubicBezTo>
                  <a:cubicBezTo>
                    <a:pt x="46650" y="26251"/>
                    <a:pt x="39277" y="28761"/>
                    <a:pt x="32225" y="27125"/>
                  </a:cubicBezTo>
                  <a:cubicBezTo>
                    <a:pt x="29952" y="26840"/>
                    <a:pt x="27651" y="26840"/>
                    <a:pt x="25379" y="27125"/>
                  </a:cubicBezTo>
                  <a:cubicBezTo>
                    <a:pt x="18914" y="28646"/>
                    <a:pt x="10167" y="38154"/>
                    <a:pt x="2180" y="52416"/>
                  </a:cubicBezTo>
                  <a:cubicBezTo>
                    <a:pt x="-2764" y="61733"/>
                    <a:pt x="1039" y="65917"/>
                    <a:pt x="10167" y="74664"/>
                  </a:cubicBezTo>
                  <a:cubicBezTo>
                    <a:pt x="14719" y="78657"/>
                    <a:pt x="18689" y="83259"/>
                    <a:pt x="21956" y="88355"/>
                  </a:cubicBezTo>
                  <a:cubicBezTo>
                    <a:pt x="32365" y="105526"/>
                    <a:pt x="34596" y="126424"/>
                    <a:pt x="28041" y="145401"/>
                  </a:cubicBezTo>
                  <a:cubicBezTo>
                    <a:pt x="31361" y="147740"/>
                    <a:pt x="34478" y="150345"/>
                    <a:pt x="37359" y="153197"/>
                  </a:cubicBezTo>
                  <a:lnTo>
                    <a:pt x="39641" y="155669"/>
                  </a:lnTo>
                  <a:cubicBezTo>
                    <a:pt x="41257" y="157419"/>
                    <a:pt x="42972" y="159054"/>
                    <a:pt x="44775" y="160613"/>
                  </a:cubicBezTo>
                  <a:cubicBezTo>
                    <a:pt x="50257" y="164664"/>
                    <a:pt x="57409" y="165652"/>
                    <a:pt x="63790" y="163275"/>
                  </a:cubicBezTo>
                  <a:lnTo>
                    <a:pt x="66262" y="162135"/>
                  </a:lnTo>
                  <a:cubicBezTo>
                    <a:pt x="68778" y="160822"/>
                    <a:pt x="71465" y="159853"/>
                    <a:pt x="74249" y="159282"/>
                  </a:cubicBezTo>
                  <a:cubicBezTo>
                    <a:pt x="82423" y="158826"/>
                    <a:pt x="90204" y="162838"/>
                    <a:pt x="94595" y="169741"/>
                  </a:cubicBezTo>
                  <a:cubicBezTo>
                    <a:pt x="96419" y="172156"/>
                    <a:pt x="98069" y="174704"/>
                    <a:pt x="99539" y="177347"/>
                  </a:cubicBezTo>
                  <a:cubicBezTo>
                    <a:pt x="100872" y="180028"/>
                    <a:pt x="102464" y="182576"/>
                    <a:pt x="104293" y="184953"/>
                  </a:cubicBezTo>
                  <a:cubicBezTo>
                    <a:pt x="109688" y="190506"/>
                    <a:pt x="116159" y="194917"/>
                    <a:pt x="123308" y="197884"/>
                  </a:cubicBezTo>
                  <a:cubicBezTo>
                    <a:pt x="126163" y="199614"/>
                    <a:pt x="129232" y="200945"/>
                    <a:pt x="132436" y="201877"/>
                  </a:cubicBezTo>
                  <a:cubicBezTo>
                    <a:pt x="136096" y="202352"/>
                    <a:pt x="139804" y="202352"/>
                    <a:pt x="143465" y="201877"/>
                  </a:cubicBezTo>
                  <a:cubicBezTo>
                    <a:pt x="146503" y="201687"/>
                    <a:pt x="149553" y="201687"/>
                    <a:pt x="152592" y="201877"/>
                  </a:cubicBezTo>
                  <a:cubicBezTo>
                    <a:pt x="160748" y="202751"/>
                    <a:pt x="168641" y="205280"/>
                    <a:pt x="175791" y="209293"/>
                  </a:cubicBezTo>
                  <a:cubicBezTo>
                    <a:pt x="182707" y="212658"/>
                    <a:pt x="189436" y="216405"/>
                    <a:pt x="195947" y="220512"/>
                  </a:cubicBezTo>
                  <a:lnTo>
                    <a:pt x="199560" y="222794"/>
                  </a:lnTo>
                  <a:cubicBezTo>
                    <a:pt x="205354" y="225684"/>
                    <a:pt x="210522" y="229696"/>
                    <a:pt x="214772" y="234583"/>
                  </a:cubicBezTo>
                  <a:cubicBezTo>
                    <a:pt x="217482" y="238653"/>
                    <a:pt x="219296" y="243254"/>
                    <a:pt x="220097" y="248084"/>
                  </a:cubicBezTo>
                  <a:lnTo>
                    <a:pt x="220097" y="251317"/>
                  </a:lnTo>
                  <a:cubicBezTo>
                    <a:pt x="220452" y="252857"/>
                    <a:pt x="220897" y="254378"/>
                    <a:pt x="221428" y="255881"/>
                  </a:cubicBezTo>
                  <a:cubicBezTo>
                    <a:pt x="222890" y="253542"/>
                    <a:pt x="224611" y="251374"/>
                    <a:pt x="226562" y="249415"/>
                  </a:cubicBezTo>
                  <a:cubicBezTo>
                    <a:pt x="228979" y="246981"/>
                    <a:pt x="230857" y="244072"/>
                    <a:pt x="232076" y="240858"/>
                  </a:cubicBezTo>
                  <a:lnTo>
                    <a:pt x="232076" y="238576"/>
                  </a:lnTo>
                  <a:cubicBezTo>
                    <a:pt x="234168" y="232301"/>
                    <a:pt x="236260" y="225836"/>
                    <a:pt x="242345" y="223364"/>
                  </a:cubicBezTo>
                  <a:cubicBezTo>
                    <a:pt x="247528" y="221843"/>
                    <a:pt x="253121" y="222756"/>
                    <a:pt x="257557" y="225836"/>
                  </a:cubicBezTo>
                  <a:cubicBezTo>
                    <a:pt x="259805" y="227034"/>
                    <a:pt x="261856" y="228574"/>
                    <a:pt x="263642" y="230400"/>
                  </a:cubicBezTo>
                  <a:lnTo>
                    <a:pt x="263642" y="230400"/>
                  </a:lnTo>
                  <a:lnTo>
                    <a:pt x="265543" y="230400"/>
                  </a:lnTo>
                  <a:cubicBezTo>
                    <a:pt x="267080" y="228479"/>
                    <a:pt x="268358" y="226369"/>
                    <a:pt x="269346" y="224125"/>
                  </a:cubicBezTo>
                  <a:cubicBezTo>
                    <a:pt x="270419" y="221501"/>
                    <a:pt x="271895" y="219067"/>
                    <a:pt x="273720" y="216899"/>
                  </a:cubicBezTo>
                  <a:cubicBezTo>
                    <a:pt x="272509" y="215492"/>
                    <a:pt x="271100" y="214275"/>
                    <a:pt x="269537" y="213286"/>
                  </a:cubicBezTo>
                  <a:cubicBezTo>
                    <a:pt x="267673" y="212373"/>
                    <a:pt x="265688" y="211727"/>
                    <a:pt x="263642" y="211384"/>
                  </a:cubicBezTo>
                  <a:cubicBezTo>
                    <a:pt x="259264" y="210605"/>
                    <a:pt x="255188" y="208627"/>
                    <a:pt x="251852" y="205680"/>
                  </a:cubicBezTo>
                  <a:cubicBezTo>
                    <a:pt x="247808" y="201173"/>
                    <a:pt x="245933" y="195126"/>
                    <a:pt x="246718" y="189136"/>
                  </a:cubicBezTo>
                  <a:lnTo>
                    <a:pt x="246718" y="184763"/>
                  </a:lnTo>
                  <a:cubicBezTo>
                    <a:pt x="246718" y="182671"/>
                    <a:pt x="246718" y="180770"/>
                    <a:pt x="246718" y="178868"/>
                  </a:cubicBezTo>
                  <a:cubicBezTo>
                    <a:pt x="231302" y="174380"/>
                    <a:pt x="218902" y="162895"/>
                    <a:pt x="213251" y="147873"/>
                  </a:cubicBezTo>
                  <a:cubicBezTo>
                    <a:pt x="211540" y="143690"/>
                    <a:pt x="209258" y="139316"/>
                    <a:pt x="207166" y="134943"/>
                  </a:cubicBezTo>
                  <a:cubicBezTo>
                    <a:pt x="198856" y="121974"/>
                    <a:pt x="194679" y="106800"/>
                    <a:pt x="195186" y="91397"/>
                  </a:cubicBezTo>
                  <a:lnTo>
                    <a:pt x="195186" y="86834"/>
                  </a:lnTo>
                  <a:cubicBezTo>
                    <a:pt x="196327" y="79037"/>
                    <a:pt x="196898" y="73903"/>
                    <a:pt x="193095" y="69910"/>
                  </a:cubicBezTo>
                  <a:cubicBezTo>
                    <a:pt x="190313" y="67571"/>
                    <a:pt x="186972" y="65993"/>
                    <a:pt x="183397" y="65346"/>
                  </a:cubicBezTo>
                  <a:cubicBezTo>
                    <a:pt x="178293" y="64091"/>
                    <a:pt x="173545" y="61676"/>
                    <a:pt x="169516" y="58311"/>
                  </a:cubicBezTo>
                  <a:cubicBezTo>
                    <a:pt x="163737" y="52207"/>
                    <a:pt x="159329" y="44962"/>
                    <a:pt x="156585" y="37013"/>
                  </a:cubicBezTo>
                  <a:cubicBezTo>
                    <a:pt x="154136" y="29293"/>
                    <a:pt x="149184" y="22600"/>
                    <a:pt x="142514" y="17998"/>
                  </a:cubicBezTo>
                  <a:cubicBezTo>
                    <a:pt x="139884" y="16686"/>
                    <a:pt x="137148" y="15621"/>
                    <a:pt x="134337" y="14765"/>
                  </a:cubicBezTo>
                  <a:cubicBezTo>
                    <a:pt x="129099" y="13415"/>
                    <a:pt x="124185" y="11019"/>
                    <a:pt x="119886" y="7730"/>
                  </a:cubicBezTo>
                  <a:cubicBezTo>
                    <a:pt x="119615" y="6360"/>
                    <a:pt x="119488" y="4954"/>
                    <a:pt x="119505" y="354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61" name="Полилиния: фигура 460">
              <a:extLst>
                <a:ext uri="{FF2B5EF4-FFF2-40B4-BE49-F238E27FC236}">
                  <a16:creationId xmlns:a16="http://schemas.microsoft.com/office/drawing/2014/main" id="{E3054C0D-F4B1-25F3-9E23-3375EA2173E8}"/>
                </a:ext>
              </a:extLst>
            </p:cNvPr>
            <p:cNvSpPr/>
            <p:nvPr/>
          </p:nvSpPr>
          <p:spPr>
            <a:xfrm>
              <a:off x="3891335" y="4187082"/>
              <a:ext cx="189956" cy="219015"/>
            </a:xfrm>
            <a:custGeom>
              <a:avLst/>
              <a:gdLst>
                <a:gd name="connsiteX0" fmla="*/ 72829 w 208979"/>
                <a:gd name="connsiteY0" fmla="*/ 22438 h 240244"/>
                <a:gd name="connsiteX1" fmla="*/ 56666 w 208979"/>
                <a:gd name="connsiteY1" fmla="*/ 21297 h 240244"/>
                <a:gd name="connsiteX2" fmla="*/ 54574 w 208979"/>
                <a:gd name="connsiteY2" fmla="*/ 21297 h 240244"/>
                <a:gd name="connsiteX3" fmla="*/ 39172 w 208979"/>
                <a:gd name="connsiteY3" fmla="*/ 21297 h 240244"/>
                <a:gd name="connsiteX4" fmla="*/ 38031 w 208979"/>
                <a:gd name="connsiteY4" fmla="*/ 22818 h 240244"/>
                <a:gd name="connsiteX5" fmla="*/ 38031 w 208979"/>
                <a:gd name="connsiteY5" fmla="*/ 28523 h 240244"/>
                <a:gd name="connsiteX6" fmla="*/ 33087 w 208979"/>
                <a:gd name="connsiteY6" fmla="*/ 44876 h 240244"/>
                <a:gd name="connsiteX7" fmla="*/ 8367 w 208979"/>
                <a:gd name="connsiteY7" fmla="*/ 58567 h 240244"/>
                <a:gd name="connsiteX8" fmla="*/ 1711 w 208979"/>
                <a:gd name="connsiteY8" fmla="*/ 60849 h 240244"/>
                <a:gd name="connsiteX9" fmla="*/ 1711 w 208979"/>
                <a:gd name="connsiteY9" fmla="*/ 62370 h 240244"/>
                <a:gd name="connsiteX10" fmla="*/ 1711 w 208979"/>
                <a:gd name="connsiteY10" fmla="*/ 64843 h 240244"/>
                <a:gd name="connsiteX11" fmla="*/ 0 w 208979"/>
                <a:gd name="connsiteY11" fmla="*/ 67124 h 240244"/>
                <a:gd name="connsiteX12" fmla="*/ 1331 w 208979"/>
                <a:gd name="connsiteY12" fmla="*/ 68265 h 240244"/>
                <a:gd name="connsiteX13" fmla="*/ 12360 w 208979"/>
                <a:gd name="connsiteY13" fmla="*/ 73399 h 240244"/>
                <a:gd name="connsiteX14" fmla="*/ 22628 w 208979"/>
                <a:gd name="connsiteY14" fmla="*/ 77583 h 240244"/>
                <a:gd name="connsiteX15" fmla="*/ 41644 w 208979"/>
                <a:gd name="connsiteY15" fmla="*/ 102683 h 240244"/>
                <a:gd name="connsiteX16" fmla="*/ 52102 w 208979"/>
                <a:gd name="connsiteY16" fmla="*/ 120367 h 240244"/>
                <a:gd name="connsiteX17" fmla="*/ 61800 w 208979"/>
                <a:gd name="connsiteY17" fmla="*/ 124931 h 240244"/>
                <a:gd name="connsiteX18" fmla="*/ 76252 w 208979"/>
                <a:gd name="connsiteY18" fmla="*/ 132347 h 240244"/>
                <a:gd name="connsiteX19" fmla="*/ 81006 w 208979"/>
                <a:gd name="connsiteY19" fmla="*/ 158398 h 240244"/>
                <a:gd name="connsiteX20" fmla="*/ 81006 w 208979"/>
                <a:gd name="connsiteY20" fmla="*/ 162391 h 240244"/>
                <a:gd name="connsiteX21" fmla="*/ 92034 w 208979"/>
                <a:gd name="connsiteY21" fmla="*/ 200422 h 240244"/>
                <a:gd name="connsiteX22" fmla="*/ 98500 w 208979"/>
                <a:gd name="connsiteY22" fmla="*/ 213923 h 240244"/>
                <a:gd name="connsiteX23" fmla="*/ 117515 w 208979"/>
                <a:gd name="connsiteY23" fmla="*/ 236361 h 240244"/>
                <a:gd name="connsiteX24" fmla="*/ 128924 w 208979"/>
                <a:gd name="connsiteY24" fmla="*/ 239594 h 240244"/>
                <a:gd name="connsiteX25" fmla="*/ 129875 w 208979"/>
                <a:gd name="connsiteY25" fmla="*/ 239594 h 240244"/>
                <a:gd name="connsiteX26" fmla="*/ 158493 w 208979"/>
                <a:gd name="connsiteY26" fmla="*/ 221967 h 240244"/>
                <a:gd name="connsiteX27" fmla="*/ 158778 w 208979"/>
                <a:gd name="connsiteY27" fmla="*/ 220578 h 240244"/>
                <a:gd name="connsiteX28" fmla="*/ 208979 w 208979"/>
                <a:gd name="connsiteY28" fmla="*/ 156877 h 240244"/>
                <a:gd name="connsiteX29" fmla="*/ 207268 w 208979"/>
                <a:gd name="connsiteY29" fmla="*/ 153834 h 240244"/>
                <a:gd name="connsiteX30" fmla="*/ 205366 w 208979"/>
                <a:gd name="connsiteY30" fmla="*/ 130255 h 240244"/>
                <a:gd name="connsiteX31" fmla="*/ 199471 w 208979"/>
                <a:gd name="connsiteY31" fmla="*/ 106106 h 240244"/>
                <a:gd name="connsiteX32" fmla="*/ 196619 w 208979"/>
                <a:gd name="connsiteY32" fmla="*/ 103253 h 240244"/>
                <a:gd name="connsiteX33" fmla="*/ 172660 w 208979"/>
                <a:gd name="connsiteY33" fmla="*/ 66364 h 240244"/>
                <a:gd name="connsiteX34" fmla="*/ 169807 w 208979"/>
                <a:gd name="connsiteY34" fmla="*/ 57046 h 240244"/>
                <a:gd name="connsiteX35" fmla="*/ 160680 w 208979"/>
                <a:gd name="connsiteY35" fmla="*/ 13121 h 240244"/>
                <a:gd name="connsiteX36" fmla="*/ 149651 w 208979"/>
                <a:gd name="connsiteY36" fmla="*/ 9888 h 240244"/>
                <a:gd name="connsiteX37" fmla="*/ 147179 w 208979"/>
                <a:gd name="connsiteY37" fmla="*/ 9888 h 240244"/>
                <a:gd name="connsiteX38" fmla="*/ 136721 w 208979"/>
                <a:gd name="connsiteY38" fmla="*/ 7226 h 240244"/>
                <a:gd name="connsiteX39" fmla="*/ 131967 w 208979"/>
                <a:gd name="connsiteY39" fmla="*/ 4754 h 240244"/>
                <a:gd name="connsiteX40" fmla="*/ 127593 w 208979"/>
                <a:gd name="connsiteY40" fmla="*/ 2662 h 240244"/>
                <a:gd name="connsiteX41" fmla="*/ 113902 w 208979"/>
                <a:gd name="connsiteY41" fmla="*/ 3803 h 240244"/>
                <a:gd name="connsiteX42" fmla="*/ 96598 w 208979"/>
                <a:gd name="connsiteY42" fmla="*/ 5324 h 240244"/>
                <a:gd name="connsiteX43" fmla="*/ 84238 w 208979"/>
                <a:gd name="connsiteY43" fmla="*/ 0 h 240244"/>
                <a:gd name="connsiteX44" fmla="*/ 84238 w 208979"/>
                <a:gd name="connsiteY44" fmla="*/ 1141 h 240244"/>
                <a:gd name="connsiteX45" fmla="*/ 84238 w 208979"/>
                <a:gd name="connsiteY45" fmla="*/ 6655 h 240244"/>
                <a:gd name="connsiteX46" fmla="*/ 84238 w 208979"/>
                <a:gd name="connsiteY46" fmla="*/ 11029 h 240244"/>
                <a:gd name="connsiteX47" fmla="*/ 72829 w 208979"/>
                <a:gd name="connsiteY47" fmla="*/ 22438 h 240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08979" h="240244">
                  <a:moveTo>
                    <a:pt x="72829" y="22438"/>
                  </a:moveTo>
                  <a:cubicBezTo>
                    <a:pt x="67541" y="24492"/>
                    <a:pt x="61614" y="24073"/>
                    <a:pt x="56666" y="21297"/>
                  </a:cubicBezTo>
                  <a:lnTo>
                    <a:pt x="54574" y="21297"/>
                  </a:lnTo>
                  <a:cubicBezTo>
                    <a:pt x="49567" y="19681"/>
                    <a:pt x="44178" y="19681"/>
                    <a:pt x="39172" y="21297"/>
                  </a:cubicBezTo>
                  <a:cubicBezTo>
                    <a:pt x="38519" y="21525"/>
                    <a:pt x="38069" y="22134"/>
                    <a:pt x="38031" y="22818"/>
                  </a:cubicBezTo>
                  <a:cubicBezTo>
                    <a:pt x="38031" y="24720"/>
                    <a:pt x="38031" y="26621"/>
                    <a:pt x="38031" y="28523"/>
                  </a:cubicBezTo>
                  <a:cubicBezTo>
                    <a:pt x="37510" y="34247"/>
                    <a:pt x="35827" y="39818"/>
                    <a:pt x="33087" y="44876"/>
                  </a:cubicBezTo>
                  <a:cubicBezTo>
                    <a:pt x="27154" y="52730"/>
                    <a:pt x="18173" y="57712"/>
                    <a:pt x="8367" y="58567"/>
                  </a:cubicBezTo>
                  <a:cubicBezTo>
                    <a:pt x="5895" y="58567"/>
                    <a:pt x="2472" y="59518"/>
                    <a:pt x="1711" y="60849"/>
                  </a:cubicBezTo>
                  <a:cubicBezTo>
                    <a:pt x="1652" y="61362"/>
                    <a:pt x="1652" y="61857"/>
                    <a:pt x="1711" y="62370"/>
                  </a:cubicBezTo>
                  <a:cubicBezTo>
                    <a:pt x="1711" y="62370"/>
                    <a:pt x="1711" y="64082"/>
                    <a:pt x="1711" y="64843"/>
                  </a:cubicBezTo>
                  <a:cubicBezTo>
                    <a:pt x="1337" y="65736"/>
                    <a:pt x="749" y="66516"/>
                    <a:pt x="0" y="67124"/>
                  </a:cubicBezTo>
                  <a:lnTo>
                    <a:pt x="1331" y="68265"/>
                  </a:lnTo>
                  <a:cubicBezTo>
                    <a:pt x="4632" y="70680"/>
                    <a:pt x="8380" y="72429"/>
                    <a:pt x="12360" y="73399"/>
                  </a:cubicBezTo>
                  <a:cubicBezTo>
                    <a:pt x="15908" y="74464"/>
                    <a:pt x="19346" y="75871"/>
                    <a:pt x="22628" y="77583"/>
                  </a:cubicBezTo>
                  <a:cubicBezTo>
                    <a:pt x="31756" y="83420"/>
                    <a:pt x="38499" y="92320"/>
                    <a:pt x="41644" y="102683"/>
                  </a:cubicBezTo>
                  <a:cubicBezTo>
                    <a:pt x="43887" y="109224"/>
                    <a:pt x="47447" y="115252"/>
                    <a:pt x="52102" y="120367"/>
                  </a:cubicBezTo>
                  <a:cubicBezTo>
                    <a:pt x="55019" y="122478"/>
                    <a:pt x="58309" y="124037"/>
                    <a:pt x="61800" y="124931"/>
                  </a:cubicBezTo>
                  <a:cubicBezTo>
                    <a:pt x="67204" y="126034"/>
                    <a:pt x="72201" y="128601"/>
                    <a:pt x="76252" y="132347"/>
                  </a:cubicBezTo>
                  <a:cubicBezTo>
                    <a:pt x="82078" y="139687"/>
                    <a:pt x="83860" y="149461"/>
                    <a:pt x="81006" y="158398"/>
                  </a:cubicBezTo>
                  <a:lnTo>
                    <a:pt x="81006" y="162391"/>
                  </a:lnTo>
                  <a:cubicBezTo>
                    <a:pt x="80844" y="175873"/>
                    <a:pt x="84681" y="189108"/>
                    <a:pt x="92034" y="200422"/>
                  </a:cubicBezTo>
                  <a:cubicBezTo>
                    <a:pt x="94316" y="204986"/>
                    <a:pt x="96598" y="209550"/>
                    <a:pt x="98500" y="213923"/>
                  </a:cubicBezTo>
                  <a:cubicBezTo>
                    <a:pt x="101898" y="223469"/>
                    <a:pt x="108658" y="231436"/>
                    <a:pt x="117515" y="236361"/>
                  </a:cubicBezTo>
                  <a:cubicBezTo>
                    <a:pt x="121126" y="238034"/>
                    <a:pt x="124975" y="239118"/>
                    <a:pt x="128924" y="239594"/>
                  </a:cubicBezTo>
                  <a:lnTo>
                    <a:pt x="129875" y="239594"/>
                  </a:lnTo>
                  <a:cubicBezTo>
                    <a:pt x="142648" y="242636"/>
                    <a:pt x="155460" y="234726"/>
                    <a:pt x="158493" y="221967"/>
                  </a:cubicBezTo>
                  <a:cubicBezTo>
                    <a:pt x="158602" y="221510"/>
                    <a:pt x="158697" y="221035"/>
                    <a:pt x="158778" y="220578"/>
                  </a:cubicBezTo>
                  <a:cubicBezTo>
                    <a:pt x="170022" y="195535"/>
                    <a:pt x="187264" y="173667"/>
                    <a:pt x="208979" y="156877"/>
                  </a:cubicBezTo>
                  <a:cubicBezTo>
                    <a:pt x="208230" y="155983"/>
                    <a:pt x="207650" y="154937"/>
                    <a:pt x="207268" y="153834"/>
                  </a:cubicBezTo>
                  <a:cubicBezTo>
                    <a:pt x="204615" y="146266"/>
                    <a:pt x="203961" y="138147"/>
                    <a:pt x="205366" y="130255"/>
                  </a:cubicBezTo>
                  <a:cubicBezTo>
                    <a:pt x="207806" y="121736"/>
                    <a:pt x="205564" y="112552"/>
                    <a:pt x="199471" y="106106"/>
                  </a:cubicBezTo>
                  <a:lnTo>
                    <a:pt x="196619" y="103253"/>
                  </a:lnTo>
                  <a:cubicBezTo>
                    <a:pt x="184984" y="93746"/>
                    <a:pt x="176607" y="80853"/>
                    <a:pt x="172660" y="66364"/>
                  </a:cubicBezTo>
                  <a:lnTo>
                    <a:pt x="169807" y="57046"/>
                  </a:lnTo>
                  <a:cubicBezTo>
                    <a:pt x="164738" y="42899"/>
                    <a:pt x="161665" y="28124"/>
                    <a:pt x="160680" y="13121"/>
                  </a:cubicBezTo>
                  <a:cubicBezTo>
                    <a:pt x="157101" y="11733"/>
                    <a:pt x="153412" y="10649"/>
                    <a:pt x="149651" y="9888"/>
                  </a:cubicBezTo>
                  <a:lnTo>
                    <a:pt x="147179" y="9888"/>
                  </a:lnTo>
                  <a:cubicBezTo>
                    <a:pt x="143618" y="9337"/>
                    <a:pt x="140115" y="8443"/>
                    <a:pt x="136721" y="7226"/>
                  </a:cubicBezTo>
                  <a:cubicBezTo>
                    <a:pt x="135042" y="6598"/>
                    <a:pt x="133446" y="5762"/>
                    <a:pt x="131967" y="4754"/>
                  </a:cubicBezTo>
                  <a:cubicBezTo>
                    <a:pt x="130630" y="3822"/>
                    <a:pt x="129154" y="3119"/>
                    <a:pt x="127593" y="2662"/>
                  </a:cubicBezTo>
                  <a:cubicBezTo>
                    <a:pt x="122999" y="2111"/>
                    <a:pt x="118340" y="2491"/>
                    <a:pt x="113902" y="3803"/>
                  </a:cubicBezTo>
                  <a:cubicBezTo>
                    <a:pt x="108312" y="5552"/>
                    <a:pt x="102407" y="6066"/>
                    <a:pt x="96598" y="5324"/>
                  </a:cubicBezTo>
                  <a:cubicBezTo>
                    <a:pt x="92130" y="4507"/>
                    <a:pt x="87906" y="2681"/>
                    <a:pt x="84238" y="0"/>
                  </a:cubicBezTo>
                  <a:cubicBezTo>
                    <a:pt x="84156" y="380"/>
                    <a:pt x="84156" y="760"/>
                    <a:pt x="84238" y="1141"/>
                  </a:cubicBezTo>
                  <a:cubicBezTo>
                    <a:pt x="84126" y="2985"/>
                    <a:pt x="84126" y="4811"/>
                    <a:pt x="84238" y="6655"/>
                  </a:cubicBezTo>
                  <a:cubicBezTo>
                    <a:pt x="84329" y="8120"/>
                    <a:pt x="84329" y="9565"/>
                    <a:pt x="84238" y="11029"/>
                  </a:cubicBezTo>
                  <a:cubicBezTo>
                    <a:pt x="82932" y="16695"/>
                    <a:pt x="78501" y="21126"/>
                    <a:pt x="72829" y="22438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64" name="Полилиния: фигура 463">
              <a:extLst>
                <a:ext uri="{FF2B5EF4-FFF2-40B4-BE49-F238E27FC236}">
                  <a16:creationId xmlns:a16="http://schemas.microsoft.com/office/drawing/2014/main" id="{ED23D79C-C06B-60B2-B43F-4A4CE1881D8A}"/>
                </a:ext>
              </a:extLst>
            </p:cNvPr>
            <p:cNvSpPr/>
            <p:nvPr/>
          </p:nvSpPr>
          <p:spPr>
            <a:xfrm>
              <a:off x="4008738" y="4337204"/>
              <a:ext cx="202531" cy="199700"/>
            </a:xfrm>
            <a:custGeom>
              <a:avLst/>
              <a:gdLst>
                <a:gd name="connsiteX0" fmla="*/ 191249 w 222814"/>
                <a:gd name="connsiteY0" fmla="*/ 113522 h 219057"/>
                <a:gd name="connsiteX1" fmla="*/ 207222 w 222814"/>
                <a:gd name="connsiteY1" fmla="*/ 103063 h 219057"/>
                <a:gd name="connsiteX2" fmla="*/ 222815 w 222814"/>
                <a:gd name="connsiteY2" fmla="*/ 78153 h 219057"/>
                <a:gd name="connsiteX3" fmla="*/ 219582 w 222814"/>
                <a:gd name="connsiteY3" fmla="*/ 73019 h 219057"/>
                <a:gd name="connsiteX4" fmla="*/ 218251 w 222814"/>
                <a:gd name="connsiteY4" fmla="*/ 70547 h 219057"/>
                <a:gd name="connsiteX5" fmla="*/ 212166 w 222814"/>
                <a:gd name="connsiteY5" fmla="*/ 63321 h 219057"/>
                <a:gd name="connsiteX6" fmla="*/ 206081 w 222814"/>
                <a:gd name="connsiteY6" fmla="*/ 56095 h 219057"/>
                <a:gd name="connsiteX7" fmla="*/ 196954 w 222814"/>
                <a:gd name="connsiteY7" fmla="*/ 34037 h 219057"/>
                <a:gd name="connsiteX8" fmla="*/ 194102 w 222814"/>
                <a:gd name="connsiteY8" fmla="*/ 24340 h 219057"/>
                <a:gd name="connsiteX9" fmla="*/ 186876 w 222814"/>
                <a:gd name="connsiteY9" fmla="*/ 8557 h 219057"/>
                <a:gd name="connsiteX10" fmla="*/ 184214 w 222814"/>
                <a:gd name="connsiteY10" fmla="*/ 3233 h 219057"/>
                <a:gd name="connsiteX11" fmla="*/ 181361 w 222814"/>
                <a:gd name="connsiteY11" fmla="*/ 4373 h 219057"/>
                <a:gd name="connsiteX12" fmla="*/ 172234 w 222814"/>
                <a:gd name="connsiteY12" fmla="*/ 4373 h 219057"/>
                <a:gd name="connsiteX13" fmla="*/ 164818 w 222814"/>
                <a:gd name="connsiteY13" fmla="*/ 5324 h 219057"/>
                <a:gd name="connsiteX14" fmla="*/ 161585 w 222814"/>
                <a:gd name="connsiteY14" fmla="*/ 7036 h 219057"/>
                <a:gd name="connsiteX15" fmla="*/ 146373 w 222814"/>
                <a:gd name="connsiteY15" fmla="*/ 15402 h 219057"/>
                <a:gd name="connsiteX16" fmla="*/ 138957 w 222814"/>
                <a:gd name="connsiteY16" fmla="*/ 21868 h 219057"/>
                <a:gd name="connsiteX17" fmla="*/ 128118 w 222814"/>
                <a:gd name="connsiteY17" fmla="*/ 30805 h 219057"/>
                <a:gd name="connsiteX18" fmla="*/ 117279 w 222814"/>
                <a:gd name="connsiteY18" fmla="*/ 34227 h 219057"/>
                <a:gd name="connsiteX19" fmla="*/ 113476 w 222814"/>
                <a:gd name="connsiteY19" fmla="*/ 34227 h 219057"/>
                <a:gd name="connsiteX20" fmla="*/ 102447 w 222814"/>
                <a:gd name="connsiteY20" fmla="*/ 20536 h 219057"/>
                <a:gd name="connsiteX21" fmla="*/ 89897 w 222814"/>
                <a:gd name="connsiteY21" fmla="*/ 5895 h 219057"/>
                <a:gd name="connsiteX22" fmla="*/ 83812 w 222814"/>
                <a:gd name="connsiteY22" fmla="*/ 0 h 219057"/>
                <a:gd name="connsiteX23" fmla="*/ 37225 w 222814"/>
                <a:gd name="connsiteY23" fmla="*/ 59138 h 219057"/>
                <a:gd name="connsiteX24" fmla="*/ 3377 w 222814"/>
                <a:gd name="connsiteY24" fmla="*/ 84808 h 219057"/>
                <a:gd name="connsiteX25" fmla="*/ 145 w 222814"/>
                <a:gd name="connsiteY25" fmla="*/ 84808 h 219057"/>
                <a:gd name="connsiteX26" fmla="*/ 145 w 222814"/>
                <a:gd name="connsiteY26" fmla="*/ 90323 h 219057"/>
                <a:gd name="connsiteX27" fmla="*/ 145 w 222814"/>
                <a:gd name="connsiteY27" fmla="*/ 94316 h 219057"/>
                <a:gd name="connsiteX28" fmla="*/ 2046 w 222814"/>
                <a:gd name="connsiteY28" fmla="*/ 102493 h 219057"/>
                <a:gd name="connsiteX29" fmla="*/ 8892 w 222814"/>
                <a:gd name="connsiteY29" fmla="*/ 105345 h 219057"/>
                <a:gd name="connsiteX30" fmla="*/ 17449 w 222814"/>
                <a:gd name="connsiteY30" fmla="*/ 108388 h 219057"/>
                <a:gd name="connsiteX31" fmla="*/ 24675 w 222814"/>
                <a:gd name="connsiteY31" fmla="*/ 114472 h 219057"/>
                <a:gd name="connsiteX32" fmla="*/ 24675 w 222814"/>
                <a:gd name="connsiteY32" fmla="*/ 114472 h 219057"/>
                <a:gd name="connsiteX33" fmla="*/ 56050 w 222814"/>
                <a:gd name="connsiteY33" fmla="*/ 115994 h 219057"/>
                <a:gd name="connsiteX34" fmla="*/ 65177 w 222814"/>
                <a:gd name="connsiteY34" fmla="*/ 131396 h 219057"/>
                <a:gd name="connsiteX35" fmla="*/ 74114 w 222814"/>
                <a:gd name="connsiteY35" fmla="*/ 141094 h 219057"/>
                <a:gd name="connsiteX36" fmla="*/ 96363 w 222814"/>
                <a:gd name="connsiteY36" fmla="*/ 169047 h 219057"/>
                <a:gd name="connsiteX37" fmla="*/ 96363 w 222814"/>
                <a:gd name="connsiteY37" fmla="*/ 171899 h 219057"/>
                <a:gd name="connsiteX38" fmla="*/ 99975 w 222814"/>
                <a:gd name="connsiteY38" fmla="*/ 184069 h 219057"/>
                <a:gd name="connsiteX39" fmla="*/ 106821 w 222814"/>
                <a:gd name="connsiteY39" fmla="*/ 187111 h 219057"/>
                <a:gd name="connsiteX40" fmla="*/ 114807 w 222814"/>
                <a:gd name="connsiteY40" fmla="*/ 189964 h 219057"/>
                <a:gd name="connsiteX41" fmla="*/ 130780 w 222814"/>
                <a:gd name="connsiteY41" fmla="*/ 204225 h 219057"/>
                <a:gd name="connsiteX42" fmla="*/ 141999 w 222814"/>
                <a:gd name="connsiteY42" fmla="*/ 214874 h 219057"/>
                <a:gd name="connsiteX43" fmla="*/ 149796 w 222814"/>
                <a:gd name="connsiteY43" fmla="*/ 219057 h 219057"/>
                <a:gd name="connsiteX44" fmla="*/ 156071 w 222814"/>
                <a:gd name="connsiteY44" fmla="*/ 211831 h 219057"/>
                <a:gd name="connsiteX45" fmla="*/ 162916 w 222814"/>
                <a:gd name="connsiteY45" fmla="*/ 206697 h 219057"/>
                <a:gd name="connsiteX46" fmla="*/ 172424 w 222814"/>
                <a:gd name="connsiteY46" fmla="*/ 197189 h 219057"/>
                <a:gd name="connsiteX47" fmla="*/ 172424 w 222814"/>
                <a:gd name="connsiteY47" fmla="*/ 188823 h 219057"/>
                <a:gd name="connsiteX48" fmla="*/ 168621 w 222814"/>
                <a:gd name="connsiteY48" fmla="*/ 182167 h 219057"/>
                <a:gd name="connsiteX49" fmla="*/ 163297 w 222814"/>
                <a:gd name="connsiteY49" fmla="*/ 148510 h 219057"/>
                <a:gd name="connsiteX50" fmla="*/ 191249 w 222814"/>
                <a:gd name="connsiteY50" fmla="*/ 113522 h 21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22814" h="219057">
                  <a:moveTo>
                    <a:pt x="191249" y="113522"/>
                  </a:moveTo>
                  <a:cubicBezTo>
                    <a:pt x="196904" y="110574"/>
                    <a:pt x="202255" y="107076"/>
                    <a:pt x="207222" y="103063"/>
                  </a:cubicBezTo>
                  <a:cubicBezTo>
                    <a:pt x="214347" y="96142"/>
                    <a:pt x="219696" y="87585"/>
                    <a:pt x="222815" y="78153"/>
                  </a:cubicBezTo>
                  <a:cubicBezTo>
                    <a:pt x="221512" y="76594"/>
                    <a:pt x="220425" y="74864"/>
                    <a:pt x="219582" y="73019"/>
                  </a:cubicBezTo>
                  <a:lnTo>
                    <a:pt x="218251" y="70547"/>
                  </a:lnTo>
                  <a:cubicBezTo>
                    <a:pt x="216450" y="67961"/>
                    <a:pt x="214414" y="65546"/>
                    <a:pt x="212166" y="63321"/>
                  </a:cubicBezTo>
                  <a:cubicBezTo>
                    <a:pt x="209882" y="61134"/>
                    <a:pt x="207842" y="58719"/>
                    <a:pt x="206081" y="56095"/>
                  </a:cubicBezTo>
                  <a:cubicBezTo>
                    <a:pt x="201746" y="49345"/>
                    <a:pt x="198654" y="41872"/>
                    <a:pt x="196954" y="34037"/>
                  </a:cubicBezTo>
                  <a:cubicBezTo>
                    <a:pt x="196954" y="30805"/>
                    <a:pt x="195242" y="27572"/>
                    <a:pt x="194102" y="24340"/>
                  </a:cubicBezTo>
                  <a:cubicBezTo>
                    <a:pt x="192010" y="18939"/>
                    <a:pt x="189597" y="13672"/>
                    <a:pt x="186876" y="8557"/>
                  </a:cubicBezTo>
                  <a:lnTo>
                    <a:pt x="184214" y="3233"/>
                  </a:lnTo>
                  <a:cubicBezTo>
                    <a:pt x="183335" y="3784"/>
                    <a:pt x="182371" y="4164"/>
                    <a:pt x="181361" y="4373"/>
                  </a:cubicBezTo>
                  <a:cubicBezTo>
                    <a:pt x="178336" y="4849"/>
                    <a:pt x="175259" y="4849"/>
                    <a:pt x="172234" y="4373"/>
                  </a:cubicBezTo>
                  <a:cubicBezTo>
                    <a:pt x="169724" y="3898"/>
                    <a:pt x="167128" y="4240"/>
                    <a:pt x="164818" y="5324"/>
                  </a:cubicBezTo>
                  <a:lnTo>
                    <a:pt x="161585" y="7036"/>
                  </a:lnTo>
                  <a:cubicBezTo>
                    <a:pt x="156641" y="9698"/>
                    <a:pt x="150937" y="12550"/>
                    <a:pt x="146373" y="15402"/>
                  </a:cubicBezTo>
                  <a:cubicBezTo>
                    <a:pt x="143631" y="17228"/>
                    <a:pt x="141138" y="19395"/>
                    <a:pt x="138957" y="21868"/>
                  </a:cubicBezTo>
                  <a:cubicBezTo>
                    <a:pt x="135930" y="25499"/>
                    <a:pt x="132254" y="28523"/>
                    <a:pt x="128118" y="30805"/>
                  </a:cubicBezTo>
                  <a:cubicBezTo>
                    <a:pt x="124851" y="32839"/>
                    <a:pt x="121122" y="34018"/>
                    <a:pt x="117279" y="34227"/>
                  </a:cubicBezTo>
                  <a:cubicBezTo>
                    <a:pt x="116019" y="34418"/>
                    <a:pt x="114737" y="34418"/>
                    <a:pt x="113476" y="34227"/>
                  </a:cubicBezTo>
                  <a:cubicBezTo>
                    <a:pt x="107772" y="32326"/>
                    <a:pt x="105300" y="26811"/>
                    <a:pt x="102447" y="20536"/>
                  </a:cubicBezTo>
                  <a:cubicBezTo>
                    <a:pt x="99202" y="14927"/>
                    <a:pt x="94946" y="9964"/>
                    <a:pt x="89897" y="5895"/>
                  </a:cubicBezTo>
                  <a:cubicBezTo>
                    <a:pt x="87806" y="3993"/>
                    <a:pt x="85714" y="2092"/>
                    <a:pt x="83812" y="0"/>
                  </a:cubicBezTo>
                  <a:cubicBezTo>
                    <a:pt x="63757" y="15688"/>
                    <a:pt x="47776" y="35977"/>
                    <a:pt x="37225" y="59138"/>
                  </a:cubicBezTo>
                  <a:cubicBezTo>
                    <a:pt x="33260" y="74502"/>
                    <a:pt x="19248" y="85132"/>
                    <a:pt x="3377" y="84808"/>
                  </a:cubicBezTo>
                  <a:lnTo>
                    <a:pt x="145" y="84808"/>
                  </a:lnTo>
                  <a:cubicBezTo>
                    <a:pt x="238" y="86653"/>
                    <a:pt x="238" y="88479"/>
                    <a:pt x="145" y="90323"/>
                  </a:cubicBezTo>
                  <a:cubicBezTo>
                    <a:pt x="52" y="91654"/>
                    <a:pt x="52" y="92985"/>
                    <a:pt x="145" y="94316"/>
                  </a:cubicBezTo>
                  <a:cubicBezTo>
                    <a:pt x="-325" y="97187"/>
                    <a:pt x="360" y="100116"/>
                    <a:pt x="2046" y="102493"/>
                  </a:cubicBezTo>
                  <a:cubicBezTo>
                    <a:pt x="4083" y="103957"/>
                    <a:pt x="6424" y="104927"/>
                    <a:pt x="8892" y="105345"/>
                  </a:cubicBezTo>
                  <a:cubicBezTo>
                    <a:pt x="11894" y="105878"/>
                    <a:pt x="14787" y="106904"/>
                    <a:pt x="17449" y="108388"/>
                  </a:cubicBezTo>
                  <a:cubicBezTo>
                    <a:pt x="20174" y="110004"/>
                    <a:pt x="22613" y="112057"/>
                    <a:pt x="24675" y="114472"/>
                  </a:cubicBezTo>
                  <a:lnTo>
                    <a:pt x="24675" y="114472"/>
                  </a:lnTo>
                  <a:cubicBezTo>
                    <a:pt x="34397" y="108274"/>
                    <a:pt x="46972" y="108882"/>
                    <a:pt x="56050" y="115994"/>
                  </a:cubicBezTo>
                  <a:cubicBezTo>
                    <a:pt x="60615" y="120063"/>
                    <a:pt x="63806" y="125444"/>
                    <a:pt x="65177" y="131396"/>
                  </a:cubicBezTo>
                  <a:cubicBezTo>
                    <a:pt x="66889" y="136720"/>
                    <a:pt x="67649" y="139573"/>
                    <a:pt x="74114" y="141094"/>
                  </a:cubicBezTo>
                  <a:cubicBezTo>
                    <a:pt x="91038" y="145468"/>
                    <a:pt x="94271" y="151552"/>
                    <a:pt x="96363" y="169047"/>
                  </a:cubicBezTo>
                  <a:lnTo>
                    <a:pt x="96363" y="171899"/>
                  </a:lnTo>
                  <a:cubicBezTo>
                    <a:pt x="96313" y="176234"/>
                    <a:pt x="97574" y="180475"/>
                    <a:pt x="99975" y="184069"/>
                  </a:cubicBezTo>
                  <a:cubicBezTo>
                    <a:pt x="101858" y="185818"/>
                    <a:pt x="104265" y="186883"/>
                    <a:pt x="106821" y="187111"/>
                  </a:cubicBezTo>
                  <a:cubicBezTo>
                    <a:pt x="109609" y="187663"/>
                    <a:pt x="112299" y="188633"/>
                    <a:pt x="114807" y="189964"/>
                  </a:cubicBezTo>
                  <a:cubicBezTo>
                    <a:pt x="120984" y="193672"/>
                    <a:pt x="126405" y="198502"/>
                    <a:pt x="130780" y="204225"/>
                  </a:cubicBezTo>
                  <a:cubicBezTo>
                    <a:pt x="134087" y="208199"/>
                    <a:pt x="137852" y="211774"/>
                    <a:pt x="141999" y="214874"/>
                  </a:cubicBezTo>
                  <a:cubicBezTo>
                    <a:pt x="144471" y="216490"/>
                    <a:pt x="147080" y="217897"/>
                    <a:pt x="149796" y="219057"/>
                  </a:cubicBezTo>
                  <a:cubicBezTo>
                    <a:pt x="151602" y="216414"/>
                    <a:pt x="153707" y="213999"/>
                    <a:pt x="156071" y="211831"/>
                  </a:cubicBezTo>
                  <a:cubicBezTo>
                    <a:pt x="158223" y="209949"/>
                    <a:pt x="160513" y="208237"/>
                    <a:pt x="162916" y="206697"/>
                  </a:cubicBezTo>
                  <a:cubicBezTo>
                    <a:pt x="166841" y="204377"/>
                    <a:pt x="170114" y="201107"/>
                    <a:pt x="172424" y="197189"/>
                  </a:cubicBezTo>
                  <a:cubicBezTo>
                    <a:pt x="174326" y="193196"/>
                    <a:pt x="173755" y="192246"/>
                    <a:pt x="172424" y="188823"/>
                  </a:cubicBezTo>
                  <a:cubicBezTo>
                    <a:pt x="170952" y="186731"/>
                    <a:pt x="169680" y="184506"/>
                    <a:pt x="168621" y="182167"/>
                  </a:cubicBezTo>
                  <a:cubicBezTo>
                    <a:pt x="164862" y="171347"/>
                    <a:pt x="163059" y="159957"/>
                    <a:pt x="163297" y="148510"/>
                  </a:cubicBezTo>
                  <a:cubicBezTo>
                    <a:pt x="162346" y="129685"/>
                    <a:pt x="177748" y="121128"/>
                    <a:pt x="191249" y="11352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65" name="Полилиния: фигура 464">
              <a:extLst>
                <a:ext uri="{FF2B5EF4-FFF2-40B4-BE49-F238E27FC236}">
                  <a16:creationId xmlns:a16="http://schemas.microsoft.com/office/drawing/2014/main" id="{9DB561F5-6969-FED5-5EF8-128E7BFAAF21}"/>
                </a:ext>
              </a:extLst>
            </p:cNvPr>
            <p:cNvSpPr/>
            <p:nvPr/>
          </p:nvSpPr>
          <p:spPr>
            <a:xfrm>
              <a:off x="3915706" y="4447505"/>
              <a:ext cx="304772" cy="301212"/>
            </a:xfrm>
            <a:custGeom>
              <a:avLst/>
              <a:gdLst>
                <a:gd name="connsiteX0" fmla="*/ 6465 w 335293"/>
                <a:gd name="connsiteY0" fmla="*/ 262739 h 330409"/>
                <a:gd name="connsiteX1" fmla="*/ 15402 w 335293"/>
                <a:gd name="connsiteY1" fmla="*/ 289360 h 330409"/>
                <a:gd name="connsiteX2" fmla="*/ 22438 w 335293"/>
                <a:gd name="connsiteY2" fmla="*/ 292403 h 330409"/>
                <a:gd name="connsiteX3" fmla="*/ 35939 w 335293"/>
                <a:gd name="connsiteY3" fmla="*/ 300959 h 330409"/>
                <a:gd name="connsiteX4" fmla="*/ 37650 w 335293"/>
                <a:gd name="connsiteY4" fmla="*/ 304763 h 330409"/>
                <a:gd name="connsiteX5" fmla="*/ 42024 w 335293"/>
                <a:gd name="connsiteY5" fmla="*/ 306474 h 330409"/>
                <a:gd name="connsiteX6" fmla="*/ 57426 w 335293"/>
                <a:gd name="connsiteY6" fmla="*/ 315982 h 330409"/>
                <a:gd name="connsiteX7" fmla="*/ 85950 w 335293"/>
                <a:gd name="connsiteY7" fmla="*/ 329482 h 330409"/>
                <a:gd name="connsiteX8" fmla="*/ 103063 w 335293"/>
                <a:gd name="connsiteY8" fmla="*/ 329482 h 330409"/>
                <a:gd name="connsiteX9" fmla="*/ 110289 w 335293"/>
                <a:gd name="connsiteY9" fmla="*/ 324919 h 330409"/>
                <a:gd name="connsiteX10" fmla="*/ 123030 w 335293"/>
                <a:gd name="connsiteY10" fmla="*/ 318073 h 330409"/>
                <a:gd name="connsiteX11" fmla="*/ 135390 w 335293"/>
                <a:gd name="connsiteY11" fmla="*/ 318073 h 330409"/>
                <a:gd name="connsiteX12" fmla="*/ 145278 w 335293"/>
                <a:gd name="connsiteY12" fmla="*/ 318073 h 330409"/>
                <a:gd name="connsiteX13" fmla="*/ 149081 w 335293"/>
                <a:gd name="connsiteY13" fmla="*/ 316362 h 330409"/>
                <a:gd name="connsiteX14" fmla="*/ 157257 w 335293"/>
                <a:gd name="connsiteY14" fmla="*/ 311418 h 330409"/>
                <a:gd name="connsiteX15" fmla="*/ 158588 w 335293"/>
                <a:gd name="connsiteY15" fmla="*/ 311418 h 330409"/>
                <a:gd name="connsiteX16" fmla="*/ 166194 w 335293"/>
                <a:gd name="connsiteY16" fmla="*/ 306664 h 330409"/>
                <a:gd name="connsiteX17" fmla="*/ 174561 w 335293"/>
                <a:gd name="connsiteY17" fmla="*/ 299058 h 330409"/>
                <a:gd name="connsiteX18" fmla="*/ 177033 w 335293"/>
                <a:gd name="connsiteY18" fmla="*/ 295635 h 330409"/>
                <a:gd name="connsiteX19" fmla="*/ 183498 w 335293"/>
                <a:gd name="connsiteY19" fmla="*/ 288790 h 330409"/>
                <a:gd name="connsiteX20" fmla="*/ 188442 w 335293"/>
                <a:gd name="connsiteY20" fmla="*/ 284036 h 330409"/>
                <a:gd name="connsiteX21" fmla="*/ 191105 w 335293"/>
                <a:gd name="connsiteY21" fmla="*/ 272056 h 330409"/>
                <a:gd name="connsiteX22" fmla="*/ 206127 w 335293"/>
                <a:gd name="connsiteY22" fmla="*/ 249618 h 330409"/>
                <a:gd name="connsiteX23" fmla="*/ 225142 w 335293"/>
                <a:gd name="connsiteY23" fmla="*/ 249618 h 330409"/>
                <a:gd name="connsiteX24" fmla="*/ 231988 w 335293"/>
                <a:gd name="connsiteY24" fmla="*/ 249618 h 330409"/>
                <a:gd name="connsiteX25" fmla="*/ 248341 w 335293"/>
                <a:gd name="connsiteY25" fmla="*/ 246195 h 330409"/>
                <a:gd name="connsiteX26" fmla="*/ 253665 w 335293"/>
                <a:gd name="connsiteY26" fmla="*/ 244294 h 330409"/>
                <a:gd name="connsiteX27" fmla="*/ 272681 w 335293"/>
                <a:gd name="connsiteY27" fmla="*/ 244294 h 330409"/>
                <a:gd name="connsiteX28" fmla="*/ 279526 w 335293"/>
                <a:gd name="connsiteY28" fmla="*/ 254562 h 330409"/>
                <a:gd name="connsiteX29" fmla="*/ 282569 w 335293"/>
                <a:gd name="connsiteY29" fmla="*/ 260076 h 330409"/>
                <a:gd name="connsiteX30" fmla="*/ 291886 w 335293"/>
                <a:gd name="connsiteY30" fmla="*/ 263879 h 330409"/>
                <a:gd name="connsiteX31" fmla="*/ 298732 w 335293"/>
                <a:gd name="connsiteY31" fmla="*/ 266162 h 330409"/>
                <a:gd name="connsiteX32" fmla="*/ 313564 w 335293"/>
                <a:gd name="connsiteY32" fmla="*/ 273768 h 330409"/>
                <a:gd name="connsiteX33" fmla="*/ 320599 w 335293"/>
                <a:gd name="connsiteY33" fmla="*/ 277951 h 330409"/>
                <a:gd name="connsiteX34" fmla="*/ 326494 w 335293"/>
                <a:gd name="connsiteY34" fmla="*/ 281944 h 330409"/>
                <a:gd name="connsiteX35" fmla="*/ 329917 w 335293"/>
                <a:gd name="connsiteY35" fmla="*/ 277381 h 330409"/>
                <a:gd name="connsiteX36" fmla="*/ 334671 w 335293"/>
                <a:gd name="connsiteY36" fmla="*/ 246956 h 330409"/>
                <a:gd name="connsiteX37" fmla="*/ 334671 w 335293"/>
                <a:gd name="connsiteY37" fmla="*/ 239350 h 330409"/>
                <a:gd name="connsiteX38" fmla="*/ 334671 w 335293"/>
                <a:gd name="connsiteY38" fmla="*/ 239350 h 330409"/>
                <a:gd name="connsiteX39" fmla="*/ 296640 w 335293"/>
                <a:gd name="connsiteY39" fmla="*/ 201319 h 330409"/>
                <a:gd name="connsiteX40" fmla="*/ 292266 w 335293"/>
                <a:gd name="connsiteY40" fmla="*/ 188769 h 330409"/>
                <a:gd name="connsiteX41" fmla="*/ 287132 w 335293"/>
                <a:gd name="connsiteY41" fmla="*/ 176409 h 330409"/>
                <a:gd name="connsiteX42" fmla="*/ 271730 w 335293"/>
                <a:gd name="connsiteY42" fmla="*/ 166711 h 330409"/>
                <a:gd name="connsiteX43" fmla="*/ 268117 w 335293"/>
                <a:gd name="connsiteY43" fmla="*/ 165380 h 330409"/>
                <a:gd name="connsiteX44" fmla="*/ 254046 w 335293"/>
                <a:gd name="connsiteY44" fmla="*/ 144653 h 330409"/>
                <a:gd name="connsiteX45" fmla="*/ 254046 w 335293"/>
                <a:gd name="connsiteY45" fmla="*/ 142942 h 330409"/>
                <a:gd name="connsiteX46" fmla="*/ 254046 w 335293"/>
                <a:gd name="connsiteY46" fmla="*/ 137998 h 330409"/>
                <a:gd name="connsiteX47" fmla="*/ 252144 w 335293"/>
                <a:gd name="connsiteY47" fmla="*/ 125828 h 330409"/>
                <a:gd name="connsiteX48" fmla="*/ 248341 w 335293"/>
                <a:gd name="connsiteY48" fmla="*/ 109665 h 330409"/>
                <a:gd name="connsiteX49" fmla="*/ 237882 w 335293"/>
                <a:gd name="connsiteY49" fmla="*/ 104150 h 330409"/>
                <a:gd name="connsiteX50" fmla="*/ 224762 w 335293"/>
                <a:gd name="connsiteY50" fmla="*/ 91600 h 330409"/>
                <a:gd name="connsiteX51" fmla="*/ 211641 w 335293"/>
                <a:gd name="connsiteY51" fmla="*/ 79811 h 330409"/>
                <a:gd name="connsiteX52" fmla="*/ 206127 w 335293"/>
                <a:gd name="connsiteY52" fmla="*/ 77909 h 330409"/>
                <a:gd name="connsiteX53" fmla="*/ 193957 w 335293"/>
                <a:gd name="connsiteY53" fmla="*/ 71824 h 330409"/>
                <a:gd name="connsiteX54" fmla="*/ 187682 w 335293"/>
                <a:gd name="connsiteY54" fmla="*/ 52809 h 330409"/>
                <a:gd name="connsiteX55" fmla="*/ 187682 w 335293"/>
                <a:gd name="connsiteY55" fmla="*/ 49576 h 330409"/>
                <a:gd name="connsiteX56" fmla="*/ 173610 w 335293"/>
                <a:gd name="connsiteY56" fmla="*/ 30561 h 330409"/>
                <a:gd name="connsiteX57" fmla="*/ 157067 w 335293"/>
                <a:gd name="connsiteY57" fmla="*/ 13447 h 330409"/>
                <a:gd name="connsiteX58" fmla="*/ 151172 w 335293"/>
                <a:gd name="connsiteY58" fmla="*/ 3369 h 330409"/>
                <a:gd name="connsiteX59" fmla="*/ 134058 w 335293"/>
                <a:gd name="connsiteY59" fmla="*/ 1657 h 330409"/>
                <a:gd name="connsiteX60" fmla="*/ 126642 w 335293"/>
                <a:gd name="connsiteY60" fmla="*/ 6601 h 330409"/>
                <a:gd name="connsiteX61" fmla="*/ 125502 w 335293"/>
                <a:gd name="connsiteY61" fmla="*/ 8313 h 330409"/>
                <a:gd name="connsiteX62" fmla="*/ 123410 w 335293"/>
                <a:gd name="connsiteY62" fmla="*/ 12306 h 330409"/>
                <a:gd name="connsiteX63" fmla="*/ 115043 w 335293"/>
                <a:gd name="connsiteY63" fmla="*/ 23335 h 330409"/>
                <a:gd name="connsiteX64" fmla="*/ 99831 w 335293"/>
                <a:gd name="connsiteY64" fmla="*/ 21433 h 330409"/>
                <a:gd name="connsiteX65" fmla="*/ 96218 w 335293"/>
                <a:gd name="connsiteY65" fmla="*/ 18771 h 330409"/>
                <a:gd name="connsiteX66" fmla="*/ 90133 w 335293"/>
                <a:gd name="connsiteY66" fmla="*/ 16870 h 330409"/>
                <a:gd name="connsiteX67" fmla="*/ 86140 w 335293"/>
                <a:gd name="connsiteY67" fmla="*/ 25427 h 330409"/>
                <a:gd name="connsiteX68" fmla="*/ 85189 w 335293"/>
                <a:gd name="connsiteY68" fmla="*/ 27898 h 330409"/>
                <a:gd name="connsiteX69" fmla="*/ 77583 w 335293"/>
                <a:gd name="connsiteY69" fmla="*/ 40068 h 330409"/>
                <a:gd name="connsiteX70" fmla="*/ 72639 w 335293"/>
                <a:gd name="connsiteY70" fmla="*/ 50337 h 330409"/>
                <a:gd name="connsiteX71" fmla="*/ 72639 w 335293"/>
                <a:gd name="connsiteY71" fmla="*/ 51858 h 330409"/>
                <a:gd name="connsiteX72" fmla="*/ 72639 w 335293"/>
                <a:gd name="connsiteY72" fmla="*/ 55281 h 330409"/>
                <a:gd name="connsiteX73" fmla="*/ 72639 w 335293"/>
                <a:gd name="connsiteY73" fmla="*/ 64598 h 330409"/>
                <a:gd name="connsiteX74" fmla="*/ 72639 w 335293"/>
                <a:gd name="connsiteY74" fmla="*/ 68021 h 330409"/>
                <a:gd name="connsiteX75" fmla="*/ 64842 w 335293"/>
                <a:gd name="connsiteY75" fmla="*/ 77719 h 330409"/>
                <a:gd name="connsiteX76" fmla="*/ 61039 w 335293"/>
                <a:gd name="connsiteY76" fmla="*/ 81712 h 330409"/>
                <a:gd name="connsiteX77" fmla="*/ 64462 w 335293"/>
                <a:gd name="connsiteY77" fmla="*/ 88938 h 330409"/>
                <a:gd name="connsiteX78" fmla="*/ 71878 w 335293"/>
                <a:gd name="connsiteY78" fmla="*/ 97114 h 330409"/>
                <a:gd name="connsiteX79" fmla="*/ 62751 w 335293"/>
                <a:gd name="connsiteY79" fmla="*/ 122025 h 330409"/>
                <a:gd name="connsiteX80" fmla="*/ 56666 w 335293"/>
                <a:gd name="connsiteY80" fmla="*/ 126969 h 330409"/>
                <a:gd name="connsiteX81" fmla="*/ 54954 w 335293"/>
                <a:gd name="connsiteY81" fmla="*/ 142942 h 330409"/>
                <a:gd name="connsiteX82" fmla="*/ 54954 w 335293"/>
                <a:gd name="connsiteY82" fmla="*/ 160436 h 330409"/>
                <a:gd name="connsiteX83" fmla="*/ 34228 w 335293"/>
                <a:gd name="connsiteY83" fmla="*/ 192191 h 330409"/>
                <a:gd name="connsiteX84" fmla="*/ 27192 w 335293"/>
                <a:gd name="connsiteY84" fmla="*/ 200178 h 330409"/>
                <a:gd name="connsiteX85" fmla="*/ 21297 w 335293"/>
                <a:gd name="connsiteY85" fmla="*/ 211587 h 330409"/>
                <a:gd name="connsiteX86" fmla="*/ 7796 w 335293"/>
                <a:gd name="connsiteY86" fmla="*/ 230603 h 330409"/>
                <a:gd name="connsiteX87" fmla="*/ 0 w 335293"/>
                <a:gd name="connsiteY87" fmla="*/ 236497 h 330409"/>
                <a:gd name="connsiteX88" fmla="*/ 1902 w 335293"/>
                <a:gd name="connsiteY88" fmla="*/ 240110 h 330409"/>
                <a:gd name="connsiteX89" fmla="*/ 6465 w 335293"/>
                <a:gd name="connsiteY89" fmla="*/ 262739 h 330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335293" h="330409">
                  <a:moveTo>
                    <a:pt x="6465" y="262739"/>
                  </a:moveTo>
                  <a:cubicBezTo>
                    <a:pt x="6437" y="272360"/>
                    <a:pt x="9578" y="281716"/>
                    <a:pt x="15402" y="289360"/>
                  </a:cubicBezTo>
                  <a:cubicBezTo>
                    <a:pt x="17534" y="290805"/>
                    <a:pt x="19921" y="291851"/>
                    <a:pt x="22438" y="292403"/>
                  </a:cubicBezTo>
                  <a:cubicBezTo>
                    <a:pt x="27863" y="293429"/>
                    <a:pt x="32693" y="296491"/>
                    <a:pt x="35939" y="300959"/>
                  </a:cubicBezTo>
                  <a:cubicBezTo>
                    <a:pt x="36665" y="302157"/>
                    <a:pt x="37242" y="303432"/>
                    <a:pt x="37650" y="304763"/>
                  </a:cubicBezTo>
                  <a:cubicBezTo>
                    <a:pt x="39168" y="305162"/>
                    <a:pt x="40636" y="305732"/>
                    <a:pt x="42024" y="306474"/>
                  </a:cubicBezTo>
                  <a:cubicBezTo>
                    <a:pt x="47327" y="309364"/>
                    <a:pt x="52471" y="312540"/>
                    <a:pt x="57426" y="315982"/>
                  </a:cubicBezTo>
                  <a:cubicBezTo>
                    <a:pt x="65774" y="322599"/>
                    <a:pt x="75533" y="327220"/>
                    <a:pt x="85950" y="329482"/>
                  </a:cubicBezTo>
                  <a:cubicBezTo>
                    <a:pt x="91588" y="330719"/>
                    <a:pt x="97425" y="330719"/>
                    <a:pt x="103063" y="329482"/>
                  </a:cubicBezTo>
                  <a:cubicBezTo>
                    <a:pt x="105689" y="328342"/>
                    <a:pt x="108125" y="326801"/>
                    <a:pt x="110289" y="324919"/>
                  </a:cubicBezTo>
                  <a:cubicBezTo>
                    <a:pt x="113919" y="321648"/>
                    <a:pt x="118291" y="319290"/>
                    <a:pt x="123030" y="318073"/>
                  </a:cubicBezTo>
                  <a:cubicBezTo>
                    <a:pt x="127122" y="317408"/>
                    <a:pt x="131297" y="317408"/>
                    <a:pt x="135390" y="318073"/>
                  </a:cubicBezTo>
                  <a:cubicBezTo>
                    <a:pt x="138660" y="318644"/>
                    <a:pt x="142007" y="318644"/>
                    <a:pt x="145278" y="318073"/>
                  </a:cubicBezTo>
                  <a:cubicBezTo>
                    <a:pt x="146612" y="317655"/>
                    <a:pt x="147890" y="317085"/>
                    <a:pt x="149081" y="316362"/>
                  </a:cubicBezTo>
                  <a:cubicBezTo>
                    <a:pt x="151889" y="314860"/>
                    <a:pt x="154618" y="313206"/>
                    <a:pt x="157257" y="311418"/>
                  </a:cubicBezTo>
                  <a:lnTo>
                    <a:pt x="158588" y="311418"/>
                  </a:lnTo>
                  <a:cubicBezTo>
                    <a:pt x="161009" y="309649"/>
                    <a:pt x="163549" y="308071"/>
                    <a:pt x="166194" y="306664"/>
                  </a:cubicBezTo>
                  <a:cubicBezTo>
                    <a:pt x="169756" y="305143"/>
                    <a:pt x="172703" y="302462"/>
                    <a:pt x="174561" y="299058"/>
                  </a:cubicBezTo>
                  <a:lnTo>
                    <a:pt x="177033" y="295635"/>
                  </a:lnTo>
                  <a:cubicBezTo>
                    <a:pt x="178939" y="293125"/>
                    <a:pt x="181106" y="290843"/>
                    <a:pt x="183498" y="288790"/>
                  </a:cubicBezTo>
                  <a:cubicBezTo>
                    <a:pt x="185278" y="287345"/>
                    <a:pt x="186933" y="285766"/>
                    <a:pt x="188442" y="284036"/>
                  </a:cubicBezTo>
                  <a:cubicBezTo>
                    <a:pt x="190407" y="280366"/>
                    <a:pt x="191327" y="276220"/>
                    <a:pt x="191105" y="272056"/>
                  </a:cubicBezTo>
                  <a:cubicBezTo>
                    <a:pt x="189884" y="261902"/>
                    <a:pt x="196265" y="252356"/>
                    <a:pt x="206127" y="249618"/>
                  </a:cubicBezTo>
                  <a:cubicBezTo>
                    <a:pt x="212371" y="248078"/>
                    <a:pt x="218898" y="248078"/>
                    <a:pt x="225142" y="249618"/>
                  </a:cubicBezTo>
                  <a:cubicBezTo>
                    <a:pt x="227420" y="249808"/>
                    <a:pt x="229710" y="249808"/>
                    <a:pt x="231988" y="249618"/>
                  </a:cubicBezTo>
                  <a:cubicBezTo>
                    <a:pt x="237645" y="249922"/>
                    <a:pt x="243281" y="248743"/>
                    <a:pt x="248341" y="246195"/>
                  </a:cubicBezTo>
                  <a:lnTo>
                    <a:pt x="253665" y="244294"/>
                  </a:lnTo>
                  <a:cubicBezTo>
                    <a:pt x="259549" y="240890"/>
                    <a:pt x="266797" y="240890"/>
                    <a:pt x="272681" y="244294"/>
                  </a:cubicBezTo>
                  <a:cubicBezTo>
                    <a:pt x="276041" y="246861"/>
                    <a:pt x="278450" y="250474"/>
                    <a:pt x="279526" y="254562"/>
                  </a:cubicBezTo>
                  <a:cubicBezTo>
                    <a:pt x="280138" y="256597"/>
                    <a:pt x="281177" y="258479"/>
                    <a:pt x="282569" y="260076"/>
                  </a:cubicBezTo>
                  <a:cubicBezTo>
                    <a:pt x="285379" y="261978"/>
                    <a:pt x="288551" y="263271"/>
                    <a:pt x="291886" y="263879"/>
                  </a:cubicBezTo>
                  <a:cubicBezTo>
                    <a:pt x="294214" y="264488"/>
                    <a:pt x="296501" y="265249"/>
                    <a:pt x="298732" y="266162"/>
                  </a:cubicBezTo>
                  <a:cubicBezTo>
                    <a:pt x="303845" y="268348"/>
                    <a:pt x="308800" y="270896"/>
                    <a:pt x="313564" y="273768"/>
                  </a:cubicBezTo>
                  <a:lnTo>
                    <a:pt x="320599" y="277951"/>
                  </a:lnTo>
                  <a:cubicBezTo>
                    <a:pt x="322733" y="279016"/>
                    <a:pt x="324716" y="280366"/>
                    <a:pt x="326494" y="281944"/>
                  </a:cubicBezTo>
                  <a:cubicBezTo>
                    <a:pt x="327755" y="280518"/>
                    <a:pt x="328900" y="278997"/>
                    <a:pt x="329917" y="277381"/>
                  </a:cubicBezTo>
                  <a:cubicBezTo>
                    <a:pt x="334661" y="267987"/>
                    <a:pt x="336325" y="257338"/>
                    <a:pt x="334671" y="246956"/>
                  </a:cubicBezTo>
                  <a:cubicBezTo>
                    <a:pt x="334671" y="244294"/>
                    <a:pt x="334671" y="241822"/>
                    <a:pt x="334671" y="239350"/>
                  </a:cubicBezTo>
                  <a:lnTo>
                    <a:pt x="334671" y="239350"/>
                  </a:lnTo>
                  <a:cubicBezTo>
                    <a:pt x="317177" y="236688"/>
                    <a:pt x="301204" y="209495"/>
                    <a:pt x="296640" y="201319"/>
                  </a:cubicBezTo>
                  <a:cubicBezTo>
                    <a:pt x="294594" y="197364"/>
                    <a:pt x="293122" y="193142"/>
                    <a:pt x="292266" y="188769"/>
                  </a:cubicBezTo>
                  <a:cubicBezTo>
                    <a:pt x="291270" y="184395"/>
                    <a:pt x="289534" y="180212"/>
                    <a:pt x="287132" y="176409"/>
                  </a:cubicBezTo>
                  <a:cubicBezTo>
                    <a:pt x="283331" y="171427"/>
                    <a:pt x="277862" y="167985"/>
                    <a:pt x="271730" y="166711"/>
                  </a:cubicBezTo>
                  <a:lnTo>
                    <a:pt x="268117" y="165380"/>
                  </a:lnTo>
                  <a:cubicBezTo>
                    <a:pt x="254236" y="160436"/>
                    <a:pt x="252714" y="156633"/>
                    <a:pt x="254046" y="144653"/>
                  </a:cubicBezTo>
                  <a:lnTo>
                    <a:pt x="254046" y="142942"/>
                  </a:lnTo>
                  <a:cubicBezTo>
                    <a:pt x="254046" y="140850"/>
                    <a:pt x="254046" y="139329"/>
                    <a:pt x="254046" y="137998"/>
                  </a:cubicBezTo>
                  <a:cubicBezTo>
                    <a:pt x="255023" y="133852"/>
                    <a:pt x="254340" y="129479"/>
                    <a:pt x="252144" y="125828"/>
                  </a:cubicBezTo>
                  <a:cubicBezTo>
                    <a:pt x="249837" y="120732"/>
                    <a:pt x="248546" y="115255"/>
                    <a:pt x="248341" y="109665"/>
                  </a:cubicBezTo>
                  <a:cubicBezTo>
                    <a:pt x="244701" y="108125"/>
                    <a:pt x="241203" y="106280"/>
                    <a:pt x="237882" y="104150"/>
                  </a:cubicBezTo>
                  <a:cubicBezTo>
                    <a:pt x="233024" y="100499"/>
                    <a:pt x="228618" y="96297"/>
                    <a:pt x="224762" y="91600"/>
                  </a:cubicBezTo>
                  <a:cubicBezTo>
                    <a:pt x="221113" y="86941"/>
                    <a:pt x="216671" y="82948"/>
                    <a:pt x="211641" y="79811"/>
                  </a:cubicBezTo>
                  <a:cubicBezTo>
                    <a:pt x="209901" y="78917"/>
                    <a:pt x="208045" y="78289"/>
                    <a:pt x="206127" y="77909"/>
                  </a:cubicBezTo>
                  <a:cubicBezTo>
                    <a:pt x="201563" y="77111"/>
                    <a:pt x="197334" y="75000"/>
                    <a:pt x="193957" y="71824"/>
                  </a:cubicBezTo>
                  <a:cubicBezTo>
                    <a:pt x="189739" y="66405"/>
                    <a:pt x="187522" y="59673"/>
                    <a:pt x="187682" y="52809"/>
                  </a:cubicBezTo>
                  <a:lnTo>
                    <a:pt x="187682" y="49576"/>
                  </a:lnTo>
                  <a:cubicBezTo>
                    <a:pt x="186161" y="35505"/>
                    <a:pt x="185020" y="33793"/>
                    <a:pt x="173610" y="30561"/>
                  </a:cubicBezTo>
                  <a:cubicBezTo>
                    <a:pt x="165044" y="28906"/>
                    <a:pt x="158430" y="22061"/>
                    <a:pt x="157067" y="13447"/>
                  </a:cubicBezTo>
                  <a:cubicBezTo>
                    <a:pt x="156208" y="9549"/>
                    <a:pt x="154146" y="6031"/>
                    <a:pt x="151172" y="3369"/>
                  </a:cubicBezTo>
                  <a:cubicBezTo>
                    <a:pt x="146253" y="-396"/>
                    <a:pt x="139626" y="-1062"/>
                    <a:pt x="134058" y="1657"/>
                  </a:cubicBezTo>
                  <a:cubicBezTo>
                    <a:pt x="131313" y="2855"/>
                    <a:pt x="128803" y="4529"/>
                    <a:pt x="126642" y="6601"/>
                  </a:cubicBezTo>
                  <a:cubicBezTo>
                    <a:pt x="126642" y="6601"/>
                    <a:pt x="126642" y="6601"/>
                    <a:pt x="125502" y="8313"/>
                  </a:cubicBezTo>
                  <a:lnTo>
                    <a:pt x="123410" y="12306"/>
                  </a:lnTo>
                  <a:cubicBezTo>
                    <a:pt x="121841" y="16775"/>
                    <a:pt x="118917" y="20616"/>
                    <a:pt x="115043" y="23335"/>
                  </a:cubicBezTo>
                  <a:cubicBezTo>
                    <a:pt x="110289" y="26910"/>
                    <a:pt x="103560" y="26073"/>
                    <a:pt x="99831" y="21433"/>
                  </a:cubicBezTo>
                  <a:cubicBezTo>
                    <a:pt x="98781" y="20350"/>
                    <a:pt x="97560" y="19456"/>
                    <a:pt x="96218" y="18771"/>
                  </a:cubicBezTo>
                  <a:cubicBezTo>
                    <a:pt x="92985" y="16870"/>
                    <a:pt x="90894" y="16489"/>
                    <a:pt x="90133" y="16870"/>
                  </a:cubicBezTo>
                  <a:cubicBezTo>
                    <a:pt x="89372" y="17250"/>
                    <a:pt x="87090" y="22004"/>
                    <a:pt x="86140" y="25427"/>
                  </a:cubicBezTo>
                  <a:lnTo>
                    <a:pt x="85189" y="27898"/>
                  </a:lnTo>
                  <a:cubicBezTo>
                    <a:pt x="83537" y="32443"/>
                    <a:pt x="80945" y="36589"/>
                    <a:pt x="77583" y="40068"/>
                  </a:cubicBezTo>
                  <a:cubicBezTo>
                    <a:pt x="74479" y="42578"/>
                    <a:pt x="72664" y="46343"/>
                    <a:pt x="72639" y="50337"/>
                  </a:cubicBezTo>
                  <a:cubicBezTo>
                    <a:pt x="72557" y="50831"/>
                    <a:pt x="72557" y="51344"/>
                    <a:pt x="72639" y="51858"/>
                  </a:cubicBezTo>
                  <a:cubicBezTo>
                    <a:pt x="72548" y="52999"/>
                    <a:pt x="72548" y="54140"/>
                    <a:pt x="72639" y="55281"/>
                  </a:cubicBezTo>
                  <a:cubicBezTo>
                    <a:pt x="73333" y="58342"/>
                    <a:pt x="73333" y="61537"/>
                    <a:pt x="72639" y="64598"/>
                  </a:cubicBezTo>
                  <a:cubicBezTo>
                    <a:pt x="72817" y="65739"/>
                    <a:pt x="72817" y="66880"/>
                    <a:pt x="72639" y="68021"/>
                  </a:cubicBezTo>
                  <a:cubicBezTo>
                    <a:pt x="71201" y="72033"/>
                    <a:pt x="68455" y="75456"/>
                    <a:pt x="64842" y="77719"/>
                  </a:cubicBezTo>
                  <a:cubicBezTo>
                    <a:pt x="62941" y="79240"/>
                    <a:pt x="61610" y="80191"/>
                    <a:pt x="61039" y="81712"/>
                  </a:cubicBezTo>
                  <a:cubicBezTo>
                    <a:pt x="60469" y="83233"/>
                    <a:pt x="59708" y="85325"/>
                    <a:pt x="64462" y="88938"/>
                  </a:cubicBezTo>
                  <a:cubicBezTo>
                    <a:pt x="67446" y="91144"/>
                    <a:pt x="69965" y="93920"/>
                    <a:pt x="71878" y="97114"/>
                  </a:cubicBezTo>
                  <a:cubicBezTo>
                    <a:pt x="78914" y="110425"/>
                    <a:pt x="69216" y="117461"/>
                    <a:pt x="62751" y="122025"/>
                  </a:cubicBezTo>
                  <a:cubicBezTo>
                    <a:pt x="60530" y="123413"/>
                    <a:pt x="58487" y="125086"/>
                    <a:pt x="56666" y="126969"/>
                  </a:cubicBezTo>
                  <a:cubicBezTo>
                    <a:pt x="53053" y="131723"/>
                    <a:pt x="53623" y="135906"/>
                    <a:pt x="54954" y="142942"/>
                  </a:cubicBezTo>
                  <a:cubicBezTo>
                    <a:pt x="56198" y="148703"/>
                    <a:pt x="56198" y="154674"/>
                    <a:pt x="54954" y="160436"/>
                  </a:cubicBezTo>
                  <a:cubicBezTo>
                    <a:pt x="50898" y="172625"/>
                    <a:pt x="43758" y="183578"/>
                    <a:pt x="34228" y="192191"/>
                  </a:cubicBezTo>
                  <a:lnTo>
                    <a:pt x="27192" y="200178"/>
                  </a:lnTo>
                  <a:cubicBezTo>
                    <a:pt x="24564" y="203601"/>
                    <a:pt x="22569" y="207461"/>
                    <a:pt x="21297" y="211587"/>
                  </a:cubicBezTo>
                  <a:cubicBezTo>
                    <a:pt x="19238" y="219346"/>
                    <a:pt x="14442" y="226096"/>
                    <a:pt x="7796" y="230603"/>
                  </a:cubicBezTo>
                  <a:cubicBezTo>
                    <a:pt x="5052" y="232371"/>
                    <a:pt x="2445" y="234330"/>
                    <a:pt x="0" y="236497"/>
                  </a:cubicBezTo>
                  <a:cubicBezTo>
                    <a:pt x="745" y="237638"/>
                    <a:pt x="1382" y="238855"/>
                    <a:pt x="1902" y="240110"/>
                  </a:cubicBezTo>
                  <a:cubicBezTo>
                    <a:pt x="4566" y="247374"/>
                    <a:pt x="6104" y="254999"/>
                    <a:pt x="6465" y="26273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66" name="Полилиния: фигура 465">
              <a:extLst>
                <a:ext uri="{FF2B5EF4-FFF2-40B4-BE49-F238E27FC236}">
                  <a16:creationId xmlns:a16="http://schemas.microsoft.com/office/drawing/2014/main" id="{5772079C-154A-663F-EAFB-C01857BEE0DF}"/>
                </a:ext>
              </a:extLst>
            </p:cNvPr>
            <p:cNvSpPr/>
            <p:nvPr/>
          </p:nvSpPr>
          <p:spPr>
            <a:xfrm>
              <a:off x="4046347" y="4164201"/>
              <a:ext cx="181162" cy="194618"/>
            </a:xfrm>
            <a:custGeom>
              <a:avLst/>
              <a:gdLst>
                <a:gd name="connsiteX0" fmla="*/ 50614 w 199305"/>
                <a:gd name="connsiteY0" fmla="*/ 182358 h 213483"/>
                <a:gd name="connsiteX1" fmla="*/ 55748 w 199305"/>
                <a:gd name="connsiteY1" fmla="*/ 187302 h 213483"/>
                <a:gd name="connsiteX2" fmla="*/ 70770 w 199305"/>
                <a:gd name="connsiteY2" fmla="*/ 205366 h 213483"/>
                <a:gd name="connsiteX3" fmla="*/ 75524 w 199305"/>
                <a:gd name="connsiteY3" fmla="*/ 213353 h 213483"/>
                <a:gd name="connsiteX4" fmla="*/ 81799 w 199305"/>
                <a:gd name="connsiteY4" fmla="*/ 211261 h 213483"/>
                <a:gd name="connsiteX5" fmla="*/ 89785 w 199305"/>
                <a:gd name="connsiteY5" fmla="*/ 204415 h 213483"/>
                <a:gd name="connsiteX6" fmla="*/ 99483 w 199305"/>
                <a:gd name="connsiteY6" fmla="*/ 196049 h 213483"/>
                <a:gd name="connsiteX7" fmla="*/ 115266 w 199305"/>
                <a:gd name="connsiteY7" fmla="*/ 187492 h 213483"/>
                <a:gd name="connsiteX8" fmla="*/ 118308 w 199305"/>
                <a:gd name="connsiteY8" fmla="*/ 185780 h 213483"/>
                <a:gd name="connsiteX9" fmla="*/ 131619 w 199305"/>
                <a:gd name="connsiteY9" fmla="*/ 183689 h 213483"/>
                <a:gd name="connsiteX10" fmla="*/ 137704 w 199305"/>
                <a:gd name="connsiteY10" fmla="*/ 183689 h 213483"/>
                <a:gd name="connsiteX11" fmla="*/ 137704 w 199305"/>
                <a:gd name="connsiteY11" fmla="*/ 183689 h 213483"/>
                <a:gd name="connsiteX12" fmla="*/ 146641 w 199305"/>
                <a:gd name="connsiteY12" fmla="*/ 176083 h 213483"/>
                <a:gd name="connsiteX13" fmla="*/ 162614 w 199305"/>
                <a:gd name="connsiteY13" fmla="*/ 146989 h 213483"/>
                <a:gd name="connsiteX14" fmla="*/ 167178 w 199305"/>
                <a:gd name="connsiteY14" fmla="*/ 137481 h 213483"/>
                <a:gd name="connsiteX15" fmla="*/ 170601 w 199305"/>
                <a:gd name="connsiteY15" fmla="*/ 130256 h 213483"/>
                <a:gd name="connsiteX16" fmla="*/ 180299 w 199305"/>
                <a:gd name="connsiteY16" fmla="*/ 113141 h 213483"/>
                <a:gd name="connsiteX17" fmla="*/ 182010 w 199305"/>
                <a:gd name="connsiteY17" fmla="*/ 95838 h 213483"/>
                <a:gd name="connsiteX18" fmla="*/ 191137 w 199305"/>
                <a:gd name="connsiteY18" fmla="*/ 79294 h 213483"/>
                <a:gd name="connsiteX19" fmla="*/ 196272 w 199305"/>
                <a:gd name="connsiteY19" fmla="*/ 71688 h 213483"/>
                <a:gd name="connsiteX20" fmla="*/ 198363 w 199305"/>
                <a:gd name="connsiteY20" fmla="*/ 50201 h 213483"/>
                <a:gd name="connsiteX21" fmla="*/ 198363 w 199305"/>
                <a:gd name="connsiteY21" fmla="*/ 48679 h 213483"/>
                <a:gd name="connsiteX22" fmla="*/ 198363 w 199305"/>
                <a:gd name="connsiteY22" fmla="*/ 43735 h 213483"/>
                <a:gd name="connsiteX23" fmla="*/ 193419 w 199305"/>
                <a:gd name="connsiteY23" fmla="*/ 26622 h 213483"/>
                <a:gd name="connsiteX24" fmla="*/ 186574 w 199305"/>
                <a:gd name="connsiteY24" fmla="*/ 25100 h 213483"/>
                <a:gd name="connsiteX25" fmla="*/ 170601 w 199305"/>
                <a:gd name="connsiteY25" fmla="*/ 18825 h 213483"/>
                <a:gd name="connsiteX26" fmla="*/ 162614 w 199305"/>
                <a:gd name="connsiteY26" fmla="*/ 8367 h 213483"/>
                <a:gd name="connsiteX27" fmla="*/ 162614 w 199305"/>
                <a:gd name="connsiteY27" fmla="*/ 7036 h 213483"/>
                <a:gd name="connsiteX28" fmla="*/ 151776 w 199305"/>
                <a:gd name="connsiteY28" fmla="*/ 7036 h 213483"/>
                <a:gd name="connsiteX29" fmla="*/ 149684 w 199305"/>
                <a:gd name="connsiteY29" fmla="*/ 7036 h 213483"/>
                <a:gd name="connsiteX30" fmla="*/ 127246 w 199305"/>
                <a:gd name="connsiteY30" fmla="*/ 7036 h 213483"/>
                <a:gd name="connsiteX31" fmla="*/ 123253 w 199305"/>
                <a:gd name="connsiteY31" fmla="*/ 5515 h 213483"/>
                <a:gd name="connsiteX32" fmla="*/ 113365 w 199305"/>
                <a:gd name="connsiteY32" fmla="*/ 7416 h 213483"/>
                <a:gd name="connsiteX33" fmla="*/ 111653 w 199305"/>
                <a:gd name="connsiteY33" fmla="*/ 10839 h 213483"/>
                <a:gd name="connsiteX34" fmla="*/ 102336 w 199305"/>
                <a:gd name="connsiteY34" fmla="*/ 21107 h 213483"/>
                <a:gd name="connsiteX35" fmla="*/ 83320 w 199305"/>
                <a:gd name="connsiteY35" fmla="*/ 12931 h 213483"/>
                <a:gd name="connsiteX36" fmla="*/ 80848 w 199305"/>
                <a:gd name="connsiteY36" fmla="*/ 10078 h 213483"/>
                <a:gd name="connsiteX37" fmla="*/ 59741 w 199305"/>
                <a:gd name="connsiteY37" fmla="*/ 0 h 213483"/>
                <a:gd name="connsiteX38" fmla="*/ 38634 w 199305"/>
                <a:gd name="connsiteY38" fmla="*/ 6465 h 213483"/>
                <a:gd name="connsiteX39" fmla="*/ 28936 w 199305"/>
                <a:gd name="connsiteY39" fmla="*/ 10649 h 213483"/>
                <a:gd name="connsiteX40" fmla="*/ 603 w 199305"/>
                <a:gd name="connsiteY40" fmla="*/ 28523 h 213483"/>
                <a:gd name="connsiteX41" fmla="*/ 603 w 199305"/>
                <a:gd name="connsiteY41" fmla="*/ 30235 h 213483"/>
                <a:gd name="connsiteX42" fmla="*/ 603 w 199305"/>
                <a:gd name="connsiteY42" fmla="*/ 42024 h 213483"/>
                <a:gd name="connsiteX43" fmla="*/ 8970 w 199305"/>
                <a:gd name="connsiteY43" fmla="*/ 77963 h 213483"/>
                <a:gd name="connsiteX44" fmla="*/ 11822 w 199305"/>
                <a:gd name="connsiteY44" fmla="*/ 87661 h 213483"/>
                <a:gd name="connsiteX45" fmla="*/ 33120 w 199305"/>
                <a:gd name="connsiteY45" fmla="*/ 119607 h 213483"/>
                <a:gd name="connsiteX46" fmla="*/ 35972 w 199305"/>
                <a:gd name="connsiteY46" fmla="*/ 122269 h 213483"/>
                <a:gd name="connsiteX47" fmla="*/ 44909 w 199305"/>
                <a:gd name="connsiteY47" fmla="*/ 155166 h 213483"/>
                <a:gd name="connsiteX48" fmla="*/ 46240 w 199305"/>
                <a:gd name="connsiteY48" fmla="*/ 174181 h 213483"/>
                <a:gd name="connsiteX49" fmla="*/ 46240 w 199305"/>
                <a:gd name="connsiteY49" fmla="*/ 174181 h 213483"/>
                <a:gd name="connsiteX50" fmla="*/ 50614 w 199305"/>
                <a:gd name="connsiteY50" fmla="*/ 182358 h 213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99305" h="213483">
                  <a:moveTo>
                    <a:pt x="50614" y="182358"/>
                  </a:moveTo>
                  <a:cubicBezTo>
                    <a:pt x="52232" y="184107"/>
                    <a:pt x="53947" y="185742"/>
                    <a:pt x="55748" y="187302"/>
                  </a:cubicBezTo>
                  <a:cubicBezTo>
                    <a:pt x="61896" y="192284"/>
                    <a:pt x="66999" y="198407"/>
                    <a:pt x="70770" y="205366"/>
                  </a:cubicBezTo>
                  <a:cubicBezTo>
                    <a:pt x="72291" y="208979"/>
                    <a:pt x="74193" y="212972"/>
                    <a:pt x="75524" y="213353"/>
                  </a:cubicBezTo>
                  <a:cubicBezTo>
                    <a:pt x="76855" y="213733"/>
                    <a:pt x="77235" y="213353"/>
                    <a:pt x="81799" y="211261"/>
                  </a:cubicBezTo>
                  <a:cubicBezTo>
                    <a:pt x="84765" y="209360"/>
                    <a:pt x="87454" y="207059"/>
                    <a:pt x="89785" y="204415"/>
                  </a:cubicBezTo>
                  <a:cubicBezTo>
                    <a:pt x="92611" y="201183"/>
                    <a:pt x="95874" y="198369"/>
                    <a:pt x="99483" y="196049"/>
                  </a:cubicBezTo>
                  <a:cubicBezTo>
                    <a:pt x="104237" y="193196"/>
                    <a:pt x="109942" y="190154"/>
                    <a:pt x="115266" y="187492"/>
                  </a:cubicBezTo>
                  <a:lnTo>
                    <a:pt x="118308" y="185780"/>
                  </a:lnTo>
                  <a:cubicBezTo>
                    <a:pt x="122397" y="183651"/>
                    <a:pt x="127073" y="182909"/>
                    <a:pt x="131619" y="183689"/>
                  </a:cubicBezTo>
                  <a:cubicBezTo>
                    <a:pt x="133637" y="183974"/>
                    <a:pt x="135687" y="183974"/>
                    <a:pt x="137704" y="183689"/>
                  </a:cubicBezTo>
                  <a:lnTo>
                    <a:pt x="137704" y="183689"/>
                  </a:lnTo>
                  <a:cubicBezTo>
                    <a:pt x="141336" y="182034"/>
                    <a:pt x="144434" y="179410"/>
                    <a:pt x="146641" y="176083"/>
                  </a:cubicBezTo>
                  <a:cubicBezTo>
                    <a:pt x="152833" y="166879"/>
                    <a:pt x="158178" y="157143"/>
                    <a:pt x="162614" y="146989"/>
                  </a:cubicBezTo>
                  <a:cubicBezTo>
                    <a:pt x="164326" y="143376"/>
                    <a:pt x="165847" y="139953"/>
                    <a:pt x="167178" y="137481"/>
                  </a:cubicBezTo>
                  <a:cubicBezTo>
                    <a:pt x="168509" y="135009"/>
                    <a:pt x="169460" y="132918"/>
                    <a:pt x="170601" y="130256"/>
                  </a:cubicBezTo>
                  <a:cubicBezTo>
                    <a:pt x="173039" y="124132"/>
                    <a:pt x="176302" y="118371"/>
                    <a:pt x="180299" y="113141"/>
                  </a:cubicBezTo>
                  <a:cubicBezTo>
                    <a:pt x="180019" y="107323"/>
                    <a:pt x="180595" y="101485"/>
                    <a:pt x="182010" y="95838"/>
                  </a:cubicBezTo>
                  <a:cubicBezTo>
                    <a:pt x="183870" y="89753"/>
                    <a:pt x="186979" y="84124"/>
                    <a:pt x="191137" y="79294"/>
                  </a:cubicBezTo>
                  <a:cubicBezTo>
                    <a:pt x="193001" y="76860"/>
                    <a:pt x="194714" y="74331"/>
                    <a:pt x="196272" y="71688"/>
                  </a:cubicBezTo>
                  <a:cubicBezTo>
                    <a:pt x="199396" y="64976"/>
                    <a:pt x="200134" y="57389"/>
                    <a:pt x="198363" y="50201"/>
                  </a:cubicBezTo>
                  <a:lnTo>
                    <a:pt x="198363" y="48679"/>
                  </a:lnTo>
                  <a:cubicBezTo>
                    <a:pt x="198451" y="47025"/>
                    <a:pt x="198451" y="45390"/>
                    <a:pt x="198363" y="43735"/>
                  </a:cubicBezTo>
                  <a:cubicBezTo>
                    <a:pt x="198363" y="37270"/>
                    <a:pt x="197412" y="29094"/>
                    <a:pt x="193419" y="26622"/>
                  </a:cubicBezTo>
                  <a:cubicBezTo>
                    <a:pt x="191335" y="25462"/>
                    <a:pt x="188956" y="24929"/>
                    <a:pt x="186574" y="25100"/>
                  </a:cubicBezTo>
                  <a:cubicBezTo>
                    <a:pt x="180555" y="25671"/>
                    <a:pt x="174624" y="23332"/>
                    <a:pt x="170601" y="18825"/>
                  </a:cubicBezTo>
                  <a:cubicBezTo>
                    <a:pt x="167583" y="15631"/>
                    <a:pt x="164908" y="12113"/>
                    <a:pt x="162614" y="8367"/>
                  </a:cubicBezTo>
                  <a:lnTo>
                    <a:pt x="162614" y="7036"/>
                  </a:lnTo>
                  <a:cubicBezTo>
                    <a:pt x="160523" y="3803"/>
                    <a:pt x="159382" y="3803"/>
                    <a:pt x="151776" y="7036"/>
                  </a:cubicBezTo>
                  <a:lnTo>
                    <a:pt x="149684" y="7036"/>
                  </a:lnTo>
                  <a:cubicBezTo>
                    <a:pt x="142627" y="10592"/>
                    <a:pt x="134302" y="10592"/>
                    <a:pt x="127246" y="7036"/>
                  </a:cubicBezTo>
                  <a:lnTo>
                    <a:pt x="123253" y="5515"/>
                  </a:lnTo>
                  <a:cubicBezTo>
                    <a:pt x="117168" y="3423"/>
                    <a:pt x="117168" y="3423"/>
                    <a:pt x="113365" y="7416"/>
                  </a:cubicBezTo>
                  <a:cubicBezTo>
                    <a:pt x="112640" y="8481"/>
                    <a:pt x="112066" y="9622"/>
                    <a:pt x="111653" y="10839"/>
                  </a:cubicBezTo>
                  <a:cubicBezTo>
                    <a:pt x="110379" y="15555"/>
                    <a:pt x="106911" y="19377"/>
                    <a:pt x="102336" y="21107"/>
                  </a:cubicBezTo>
                  <a:cubicBezTo>
                    <a:pt x="94897" y="22762"/>
                    <a:pt x="87235" y="19472"/>
                    <a:pt x="83320" y="12931"/>
                  </a:cubicBezTo>
                  <a:lnTo>
                    <a:pt x="80848" y="10078"/>
                  </a:lnTo>
                  <a:cubicBezTo>
                    <a:pt x="75476" y="3993"/>
                    <a:pt x="67855" y="342"/>
                    <a:pt x="59741" y="0"/>
                  </a:cubicBezTo>
                  <a:cubicBezTo>
                    <a:pt x="52302" y="514"/>
                    <a:pt x="45082" y="2719"/>
                    <a:pt x="38634" y="6465"/>
                  </a:cubicBezTo>
                  <a:lnTo>
                    <a:pt x="28936" y="10649"/>
                  </a:lnTo>
                  <a:cubicBezTo>
                    <a:pt x="19048" y="15022"/>
                    <a:pt x="4216" y="21297"/>
                    <a:pt x="603" y="28523"/>
                  </a:cubicBezTo>
                  <a:cubicBezTo>
                    <a:pt x="523" y="29094"/>
                    <a:pt x="523" y="29664"/>
                    <a:pt x="603" y="30235"/>
                  </a:cubicBezTo>
                  <a:cubicBezTo>
                    <a:pt x="-201" y="34114"/>
                    <a:pt x="-201" y="38126"/>
                    <a:pt x="603" y="42024"/>
                  </a:cubicBezTo>
                  <a:cubicBezTo>
                    <a:pt x="2220" y="54251"/>
                    <a:pt x="5022" y="66288"/>
                    <a:pt x="8970" y="77963"/>
                  </a:cubicBezTo>
                  <a:cubicBezTo>
                    <a:pt x="10111" y="81519"/>
                    <a:pt x="11062" y="84752"/>
                    <a:pt x="11822" y="87661"/>
                  </a:cubicBezTo>
                  <a:cubicBezTo>
                    <a:pt x="15361" y="100287"/>
                    <a:pt x="22819" y="111487"/>
                    <a:pt x="33120" y="119607"/>
                  </a:cubicBezTo>
                  <a:lnTo>
                    <a:pt x="35972" y="122269"/>
                  </a:lnTo>
                  <a:cubicBezTo>
                    <a:pt x="44453" y="130940"/>
                    <a:pt x="47834" y="143395"/>
                    <a:pt x="44909" y="155166"/>
                  </a:cubicBezTo>
                  <a:cubicBezTo>
                    <a:pt x="43732" y="161517"/>
                    <a:pt x="44190" y="168058"/>
                    <a:pt x="46240" y="174181"/>
                  </a:cubicBezTo>
                  <a:lnTo>
                    <a:pt x="46240" y="174181"/>
                  </a:lnTo>
                  <a:cubicBezTo>
                    <a:pt x="47252" y="177128"/>
                    <a:pt x="48727" y="179886"/>
                    <a:pt x="50614" y="182358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467" name="Полилиния: фигура 466">
              <a:extLst>
                <a:ext uri="{FF2B5EF4-FFF2-40B4-BE49-F238E27FC236}">
                  <a16:creationId xmlns:a16="http://schemas.microsoft.com/office/drawing/2014/main" id="{E6D944D4-0D5C-79A1-6621-12BFDF56C00D}"/>
                </a:ext>
              </a:extLst>
            </p:cNvPr>
            <p:cNvSpPr/>
            <p:nvPr/>
          </p:nvSpPr>
          <p:spPr>
            <a:xfrm>
              <a:off x="4151116" y="4414001"/>
              <a:ext cx="201886" cy="241131"/>
            </a:xfrm>
            <a:custGeom>
              <a:avLst/>
              <a:gdLst>
                <a:gd name="connsiteX0" fmla="*/ 84433 w 222104"/>
                <a:gd name="connsiteY0" fmla="*/ 262032 h 264504"/>
                <a:gd name="connsiteX1" fmla="*/ 88426 w 222104"/>
                <a:gd name="connsiteY1" fmla="*/ 259560 h 264504"/>
                <a:gd name="connsiteX2" fmla="*/ 96222 w 222104"/>
                <a:gd name="connsiteY2" fmla="*/ 254996 h 264504"/>
                <a:gd name="connsiteX3" fmla="*/ 98504 w 222104"/>
                <a:gd name="connsiteY3" fmla="*/ 253856 h 264504"/>
                <a:gd name="connsiteX4" fmla="*/ 114667 w 222104"/>
                <a:gd name="connsiteY4" fmla="*/ 242636 h 264504"/>
                <a:gd name="connsiteX5" fmla="*/ 140528 w 222104"/>
                <a:gd name="connsiteY5" fmla="*/ 228755 h 264504"/>
                <a:gd name="connsiteX6" fmla="*/ 158973 w 222104"/>
                <a:gd name="connsiteY6" fmla="*/ 220769 h 264504"/>
                <a:gd name="connsiteX7" fmla="*/ 158973 w 222104"/>
                <a:gd name="connsiteY7" fmla="*/ 220769 h 264504"/>
                <a:gd name="connsiteX8" fmla="*/ 161635 w 222104"/>
                <a:gd name="connsiteY8" fmla="*/ 218867 h 264504"/>
                <a:gd name="connsiteX9" fmla="*/ 167910 w 222104"/>
                <a:gd name="connsiteY9" fmla="*/ 214494 h 264504"/>
                <a:gd name="connsiteX10" fmla="*/ 181982 w 222104"/>
                <a:gd name="connsiteY10" fmla="*/ 206127 h 264504"/>
                <a:gd name="connsiteX11" fmla="*/ 199666 w 222104"/>
                <a:gd name="connsiteY11" fmla="*/ 192056 h 264504"/>
                <a:gd name="connsiteX12" fmla="*/ 199666 w 222104"/>
                <a:gd name="connsiteY12" fmla="*/ 152694 h 264504"/>
                <a:gd name="connsiteX13" fmla="*/ 198335 w 222104"/>
                <a:gd name="connsiteY13" fmla="*/ 148891 h 264504"/>
                <a:gd name="connsiteX14" fmla="*/ 198335 w 222104"/>
                <a:gd name="connsiteY14" fmla="*/ 114853 h 264504"/>
                <a:gd name="connsiteX15" fmla="*/ 199856 w 222104"/>
                <a:gd name="connsiteY15" fmla="*/ 95837 h 264504"/>
                <a:gd name="connsiteX16" fmla="*/ 199856 w 222104"/>
                <a:gd name="connsiteY16" fmla="*/ 84238 h 264504"/>
                <a:gd name="connsiteX17" fmla="*/ 222104 w 222104"/>
                <a:gd name="connsiteY17" fmla="*/ 43545 h 264504"/>
                <a:gd name="connsiteX18" fmla="*/ 186736 w 222104"/>
                <a:gd name="connsiteY18" fmla="*/ 23009 h 264504"/>
                <a:gd name="connsiteX19" fmla="*/ 183503 w 222104"/>
                <a:gd name="connsiteY19" fmla="*/ 22058 h 264504"/>
                <a:gd name="connsiteX20" fmla="*/ 182172 w 222104"/>
                <a:gd name="connsiteY20" fmla="*/ 23769 h 264504"/>
                <a:gd name="connsiteX21" fmla="*/ 161065 w 222104"/>
                <a:gd name="connsiteY21" fmla="*/ 36319 h 264504"/>
                <a:gd name="connsiteX22" fmla="*/ 138246 w 222104"/>
                <a:gd name="connsiteY22" fmla="*/ 30615 h 264504"/>
                <a:gd name="connsiteX23" fmla="*/ 126647 w 222104"/>
                <a:gd name="connsiteY23" fmla="*/ 16924 h 264504"/>
                <a:gd name="connsiteX24" fmla="*/ 122844 w 222104"/>
                <a:gd name="connsiteY24" fmla="*/ 11599 h 264504"/>
                <a:gd name="connsiteX25" fmla="*/ 108582 w 222104"/>
                <a:gd name="connsiteY25" fmla="*/ 2662 h 264504"/>
                <a:gd name="connsiteX26" fmla="*/ 104589 w 222104"/>
                <a:gd name="connsiteY26" fmla="*/ 2662 h 264504"/>
                <a:gd name="connsiteX27" fmla="*/ 100406 w 222104"/>
                <a:gd name="connsiteY27" fmla="*/ 3803 h 264504"/>
                <a:gd name="connsiteX28" fmla="*/ 81390 w 222104"/>
                <a:gd name="connsiteY28" fmla="*/ 1902 h 264504"/>
                <a:gd name="connsiteX29" fmla="*/ 75496 w 222104"/>
                <a:gd name="connsiteY29" fmla="*/ 0 h 264504"/>
                <a:gd name="connsiteX30" fmla="*/ 58001 w 222104"/>
                <a:gd name="connsiteY30" fmla="*/ 26812 h 264504"/>
                <a:gd name="connsiteX31" fmla="*/ 40127 w 222104"/>
                <a:gd name="connsiteY31" fmla="*/ 38411 h 264504"/>
                <a:gd name="connsiteX32" fmla="*/ 16168 w 222104"/>
                <a:gd name="connsiteY32" fmla="*/ 64652 h 264504"/>
                <a:gd name="connsiteX33" fmla="*/ 20541 w 222104"/>
                <a:gd name="connsiteY33" fmla="*/ 93746 h 264504"/>
                <a:gd name="connsiteX34" fmla="*/ 23393 w 222104"/>
                <a:gd name="connsiteY34" fmla="*/ 98500 h 264504"/>
                <a:gd name="connsiteX35" fmla="*/ 25295 w 222104"/>
                <a:gd name="connsiteY35" fmla="*/ 117515 h 264504"/>
                <a:gd name="connsiteX36" fmla="*/ 12174 w 222104"/>
                <a:gd name="connsiteY36" fmla="*/ 131396 h 264504"/>
                <a:gd name="connsiteX37" fmla="*/ 6470 w 222104"/>
                <a:gd name="connsiteY37" fmla="*/ 135770 h 264504"/>
                <a:gd name="connsiteX38" fmla="*/ 3237 w 222104"/>
                <a:gd name="connsiteY38" fmla="*/ 139002 h 264504"/>
                <a:gd name="connsiteX39" fmla="*/ 385 w 222104"/>
                <a:gd name="connsiteY39" fmla="*/ 149271 h 264504"/>
                <a:gd name="connsiteX40" fmla="*/ 3237 w 222104"/>
                <a:gd name="connsiteY40" fmla="*/ 157447 h 264504"/>
                <a:gd name="connsiteX41" fmla="*/ 5709 w 222104"/>
                <a:gd name="connsiteY41" fmla="*/ 174941 h 264504"/>
                <a:gd name="connsiteX42" fmla="*/ 5709 w 222104"/>
                <a:gd name="connsiteY42" fmla="*/ 181407 h 264504"/>
                <a:gd name="connsiteX43" fmla="*/ 12745 w 222104"/>
                <a:gd name="connsiteY43" fmla="*/ 190914 h 264504"/>
                <a:gd name="connsiteX44" fmla="*/ 16168 w 222104"/>
                <a:gd name="connsiteY44" fmla="*/ 192056 h 264504"/>
                <a:gd name="connsiteX45" fmla="*/ 36894 w 222104"/>
                <a:gd name="connsiteY45" fmla="*/ 205747 h 264504"/>
                <a:gd name="connsiteX46" fmla="*/ 43550 w 222104"/>
                <a:gd name="connsiteY46" fmla="*/ 221719 h 264504"/>
                <a:gd name="connsiteX47" fmla="*/ 47163 w 222104"/>
                <a:gd name="connsiteY47" fmla="*/ 231798 h 264504"/>
                <a:gd name="connsiteX48" fmla="*/ 74355 w 222104"/>
                <a:gd name="connsiteY48" fmla="*/ 263553 h 264504"/>
                <a:gd name="connsiteX49" fmla="*/ 78158 w 222104"/>
                <a:gd name="connsiteY49" fmla="*/ 264504 h 264504"/>
                <a:gd name="connsiteX50" fmla="*/ 84433 w 222104"/>
                <a:gd name="connsiteY50" fmla="*/ 262032 h 264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22104" h="264504">
                  <a:moveTo>
                    <a:pt x="84433" y="262032"/>
                  </a:moveTo>
                  <a:lnTo>
                    <a:pt x="88426" y="259560"/>
                  </a:lnTo>
                  <a:cubicBezTo>
                    <a:pt x="90870" y="257792"/>
                    <a:pt x="93482" y="256251"/>
                    <a:pt x="96222" y="254996"/>
                  </a:cubicBezTo>
                  <a:lnTo>
                    <a:pt x="98504" y="253856"/>
                  </a:lnTo>
                  <a:cubicBezTo>
                    <a:pt x="104874" y="251783"/>
                    <a:pt x="110493" y="247884"/>
                    <a:pt x="114667" y="242636"/>
                  </a:cubicBezTo>
                  <a:cubicBezTo>
                    <a:pt x="121840" y="235715"/>
                    <a:pt x="130792" y="230904"/>
                    <a:pt x="140528" y="228755"/>
                  </a:cubicBezTo>
                  <a:cubicBezTo>
                    <a:pt x="147070" y="227120"/>
                    <a:pt x="153299" y="224420"/>
                    <a:pt x="158973" y="220769"/>
                  </a:cubicBezTo>
                  <a:lnTo>
                    <a:pt x="158973" y="220769"/>
                  </a:lnTo>
                  <a:lnTo>
                    <a:pt x="161635" y="218867"/>
                  </a:lnTo>
                  <a:lnTo>
                    <a:pt x="167910" y="214494"/>
                  </a:lnTo>
                  <a:cubicBezTo>
                    <a:pt x="172286" y="211204"/>
                    <a:pt x="177004" y="208409"/>
                    <a:pt x="181982" y="206127"/>
                  </a:cubicBezTo>
                  <a:cubicBezTo>
                    <a:pt x="189464" y="203883"/>
                    <a:pt x="195796" y="198844"/>
                    <a:pt x="199666" y="192056"/>
                  </a:cubicBezTo>
                  <a:cubicBezTo>
                    <a:pt x="206124" y="179733"/>
                    <a:pt x="206124" y="165015"/>
                    <a:pt x="199666" y="152694"/>
                  </a:cubicBezTo>
                  <a:lnTo>
                    <a:pt x="198335" y="148891"/>
                  </a:lnTo>
                  <a:cubicBezTo>
                    <a:pt x="193965" y="137957"/>
                    <a:pt x="193965" y="125787"/>
                    <a:pt x="198335" y="114853"/>
                  </a:cubicBezTo>
                  <a:cubicBezTo>
                    <a:pt x="200402" y="108730"/>
                    <a:pt x="200923" y="102208"/>
                    <a:pt x="199856" y="95837"/>
                  </a:cubicBezTo>
                  <a:cubicBezTo>
                    <a:pt x="199641" y="91978"/>
                    <a:pt x="199641" y="88098"/>
                    <a:pt x="199856" y="84238"/>
                  </a:cubicBezTo>
                  <a:cubicBezTo>
                    <a:pt x="198540" y="67467"/>
                    <a:pt x="207270" y="51494"/>
                    <a:pt x="222104" y="43545"/>
                  </a:cubicBezTo>
                  <a:cubicBezTo>
                    <a:pt x="210906" y="35730"/>
                    <a:pt x="199075" y="28865"/>
                    <a:pt x="186736" y="23009"/>
                  </a:cubicBezTo>
                  <a:cubicBezTo>
                    <a:pt x="184454" y="22058"/>
                    <a:pt x="183693" y="21868"/>
                    <a:pt x="183503" y="22058"/>
                  </a:cubicBezTo>
                  <a:cubicBezTo>
                    <a:pt x="183313" y="22248"/>
                    <a:pt x="183503" y="23199"/>
                    <a:pt x="182172" y="23769"/>
                  </a:cubicBezTo>
                  <a:cubicBezTo>
                    <a:pt x="177180" y="30691"/>
                    <a:pt x="169536" y="35235"/>
                    <a:pt x="161065" y="36319"/>
                  </a:cubicBezTo>
                  <a:cubicBezTo>
                    <a:pt x="152995" y="37708"/>
                    <a:pt x="144710" y="35635"/>
                    <a:pt x="138246" y="30615"/>
                  </a:cubicBezTo>
                  <a:cubicBezTo>
                    <a:pt x="133578" y="26793"/>
                    <a:pt x="129646" y="22153"/>
                    <a:pt x="126647" y="16924"/>
                  </a:cubicBezTo>
                  <a:lnTo>
                    <a:pt x="122844" y="11599"/>
                  </a:lnTo>
                  <a:cubicBezTo>
                    <a:pt x="120752" y="8747"/>
                    <a:pt x="115048" y="1902"/>
                    <a:pt x="108582" y="2662"/>
                  </a:cubicBezTo>
                  <a:lnTo>
                    <a:pt x="104589" y="2662"/>
                  </a:lnTo>
                  <a:lnTo>
                    <a:pt x="100406" y="3803"/>
                  </a:lnTo>
                  <a:cubicBezTo>
                    <a:pt x="94005" y="4659"/>
                    <a:pt x="87496" y="3993"/>
                    <a:pt x="81390" y="1902"/>
                  </a:cubicBezTo>
                  <a:cubicBezTo>
                    <a:pt x="79382" y="1407"/>
                    <a:pt x="77411" y="780"/>
                    <a:pt x="75496" y="0"/>
                  </a:cubicBezTo>
                  <a:cubicBezTo>
                    <a:pt x="71814" y="10173"/>
                    <a:pt x="65826" y="19339"/>
                    <a:pt x="58001" y="26812"/>
                  </a:cubicBezTo>
                  <a:cubicBezTo>
                    <a:pt x="52460" y="31280"/>
                    <a:pt x="46471" y="35179"/>
                    <a:pt x="40127" y="38411"/>
                  </a:cubicBezTo>
                  <a:cubicBezTo>
                    <a:pt x="27577" y="45637"/>
                    <a:pt x="16548" y="51722"/>
                    <a:pt x="16168" y="64652"/>
                  </a:cubicBezTo>
                  <a:cubicBezTo>
                    <a:pt x="15943" y="74521"/>
                    <a:pt x="17423" y="84371"/>
                    <a:pt x="20541" y="93746"/>
                  </a:cubicBezTo>
                  <a:cubicBezTo>
                    <a:pt x="21254" y="95457"/>
                    <a:pt x="22216" y="97055"/>
                    <a:pt x="23393" y="98500"/>
                  </a:cubicBezTo>
                  <a:cubicBezTo>
                    <a:pt x="27940" y="103824"/>
                    <a:pt x="28699" y="111411"/>
                    <a:pt x="25295" y="117515"/>
                  </a:cubicBezTo>
                  <a:cubicBezTo>
                    <a:pt x="22319" y="123296"/>
                    <a:pt x="17771" y="128107"/>
                    <a:pt x="12174" y="131396"/>
                  </a:cubicBezTo>
                  <a:cubicBezTo>
                    <a:pt x="10159" y="132708"/>
                    <a:pt x="8252" y="134154"/>
                    <a:pt x="6470" y="135770"/>
                  </a:cubicBezTo>
                  <a:lnTo>
                    <a:pt x="3237" y="139002"/>
                  </a:lnTo>
                  <a:cubicBezTo>
                    <a:pt x="446" y="141627"/>
                    <a:pt x="-653" y="145582"/>
                    <a:pt x="385" y="149271"/>
                  </a:cubicBezTo>
                  <a:cubicBezTo>
                    <a:pt x="385" y="151363"/>
                    <a:pt x="1906" y="154025"/>
                    <a:pt x="3237" y="157447"/>
                  </a:cubicBezTo>
                  <a:cubicBezTo>
                    <a:pt x="6137" y="162791"/>
                    <a:pt x="7016" y="169009"/>
                    <a:pt x="5709" y="174941"/>
                  </a:cubicBezTo>
                  <a:lnTo>
                    <a:pt x="5709" y="181407"/>
                  </a:lnTo>
                  <a:cubicBezTo>
                    <a:pt x="5709" y="188062"/>
                    <a:pt x="5709" y="188062"/>
                    <a:pt x="12745" y="190914"/>
                  </a:cubicBezTo>
                  <a:lnTo>
                    <a:pt x="16168" y="192056"/>
                  </a:lnTo>
                  <a:cubicBezTo>
                    <a:pt x="24491" y="193995"/>
                    <a:pt x="31844" y="198844"/>
                    <a:pt x="36894" y="205747"/>
                  </a:cubicBezTo>
                  <a:cubicBezTo>
                    <a:pt x="40146" y="210576"/>
                    <a:pt x="42407" y="216015"/>
                    <a:pt x="43550" y="221719"/>
                  </a:cubicBezTo>
                  <a:cubicBezTo>
                    <a:pt x="44322" y="225218"/>
                    <a:pt x="45535" y="228603"/>
                    <a:pt x="47163" y="231798"/>
                  </a:cubicBezTo>
                  <a:cubicBezTo>
                    <a:pt x="53183" y="244652"/>
                    <a:pt x="62582" y="255624"/>
                    <a:pt x="74355" y="263553"/>
                  </a:cubicBezTo>
                  <a:cubicBezTo>
                    <a:pt x="75541" y="264143"/>
                    <a:pt x="76836" y="264466"/>
                    <a:pt x="78158" y="264504"/>
                  </a:cubicBezTo>
                  <a:cubicBezTo>
                    <a:pt x="80381" y="264067"/>
                    <a:pt x="82505" y="263230"/>
                    <a:pt x="84433" y="26203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B9AA9465-5765-1079-A70B-87CEBEDBF00D}"/>
                </a:ext>
              </a:extLst>
            </p:cNvPr>
            <p:cNvGrpSpPr/>
            <p:nvPr/>
          </p:nvGrpSpPr>
          <p:grpSpPr>
            <a:xfrm>
              <a:off x="3171439" y="4662840"/>
              <a:ext cx="1238256" cy="1204052"/>
              <a:chOff x="3171439" y="4662840"/>
              <a:chExt cx="1238256" cy="1204052"/>
            </a:xfrm>
            <a:grpFill/>
          </p:grpSpPr>
          <p:grpSp>
            <p:nvGrpSpPr>
              <p:cNvPr id="329" name="Группа 328">
                <a:extLst>
                  <a:ext uri="{FF2B5EF4-FFF2-40B4-BE49-F238E27FC236}">
                    <a16:creationId xmlns:a16="http://schemas.microsoft.com/office/drawing/2014/main" id="{58D015B6-FB65-3100-24BE-DD4202AE1762}"/>
                  </a:ext>
                </a:extLst>
              </p:cNvPr>
              <p:cNvGrpSpPr/>
              <p:nvPr/>
            </p:nvGrpSpPr>
            <p:grpSpPr>
              <a:xfrm>
                <a:off x="3534412" y="5107632"/>
                <a:ext cx="473486" cy="759260"/>
                <a:chOff x="1404569" y="5191079"/>
                <a:chExt cx="520904" cy="832856"/>
              </a:xfrm>
              <a:grpFill/>
            </p:grpSpPr>
            <p:sp>
              <p:nvSpPr>
                <p:cNvPr id="507" name="Полилиния: фигура 506">
                  <a:extLst>
                    <a:ext uri="{FF2B5EF4-FFF2-40B4-BE49-F238E27FC236}">
                      <a16:creationId xmlns:a16="http://schemas.microsoft.com/office/drawing/2014/main" id="{555E3D2D-E50B-1DDD-1545-1BD6693B577E}"/>
                    </a:ext>
                  </a:extLst>
                </p:cNvPr>
                <p:cNvSpPr/>
                <p:nvPr/>
              </p:nvSpPr>
              <p:spPr>
                <a:xfrm>
                  <a:off x="1404569" y="5347702"/>
                  <a:ext cx="168666" cy="162581"/>
                </a:xfrm>
                <a:custGeom>
                  <a:avLst/>
                  <a:gdLst>
                    <a:gd name="connsiteX0" fmla="*/ 122839 w 168666"/>
                    <a:gd name="connsiteY0" fmla="*/ 133298 h 162581"/>
                    <a:gd name="connsiteX1" fmla="*/ 147559 w 168666"/>
                    <a:gd name="connsiteY1" fmla="*/ 129114 h 162581"/>
                    <a:gd name="connsiteX2" fmla="*/ 154405 w 168666"/>
                    <a:gd name="connsiteY2" fmla="*/ 129114 h 162581"/>
                    <a:gd name="connsiteX3" fmla="*/ 154405 w 168666"/>
                    <a:gd name="connsiteY3" fmla="*/ 123220 h 162581"/>
                    <a:gd name="connsiteX4" fmla="*/ 155356 w 168666"/>
                    <a:gd name="connsiteY4" fmla="*/ 115614 h 162581"/>
                    <a:gd name="connsiteX5" fmla="*/ 152123 w 168666"/>
                    <a:gd name="connsiteY5" fmla="*/ 105345 h 162581"/>
                    <a:gd name="connsiteX6" fmla="*/ 146609 w 168666"/>
                    <a:gd name="connsiteY6" fmla="*/ 98880 h 162581"/>
                    <a:gd name="connsiteX7" fmla="*/ 143376 w 168666"/>
                    <a:gd name="connsiteY7" fmla="*/ 82527 h 162581"/>
                    <a:gd name="connsiteX8" fmla="*/ 152123 w 168666"/>
                    <a:gd name="connsiteY8" fmla="*/ 70737 h 162581"/>
                    <a:gd name="connsiteX9" fmla="*/ 165244 w 168666"/>
                    <a:gd name="connsiteY9" fmla="*/ 69216 h 162581"/>
                    <a:gd name="connsiteX10" fmla="*/ 168666 w 168666"/>
                    <a:gd name="connsiteY10" fmla="*/ 69216 h 162581"/>
                    <a:gd name="connsiteX11" fmla="*/ 166955 w 168666"/>
                    <a:gd name="connsiteY11" fmla="*/ 67885 h 162581"/>
                    <a:gd name="connsiteX12" fmla="*/ 164103 w 168666"/>
                    <a:gd name="connsiteY12" fmla="*/ 63131 h 162581"/>
                    <a:gd name="connsiteX13" fmla="*/ 163152 w 168666"/>
                    <a:gd name="connsiteY13" fmla="*/ 55905 h 162581"/>
                    <a:gd name="connsiteX14" fmla="*/ 163152 w 168666"/>
                    <a:gd name="connsiteY14" fmla="*/ 50771 h 162581"/>
                    <a:gd name="connsiteX15" fmla="*/ 157067 w 168666"/>
                    <a:gd name="connsiteY15" fmla="*/ 43735 h 162581"/>
                    <a:gd name="connsiteX16" fmla="*/ 147559 w 168666"/>
                    <a:gd name="connsiteY16" fmla="*/ 31566 h 162581"/>
                    <a:gd name="connsiteX17" fmla="*/ 147559 w 168666"/>
                    <a:gd name="connsiteY17" fmla="*/ 21297 h 162581"/>
                    <a:gd name="connsiteX18" fmla="*/ 147559 w 168666"/>
                    <a:gd name="connsiteY18" fmla="*/ 17494 h 162581"/>
                    <a:gd name="connsiteX19" fmla="*/ 147559 w 168666"/>
                    <a:gd name="connsiteY19" fmla="*/ 17494 h 162581"/>
                    <a:gd name="connsiteX20" fmla="*/ 146228 w 168666"/>
                    <a:gd name="connsiteY20" fmla="*/ 14071 h 162581"/>
                    <a:gd name="connsiteX21" fmla="*/ 137101 w 168666"/>
                    <a:gd name="connsiteY21" fmla="*/ 12360 h 162581"/>
                    <a:gd name="connsiteX22" fmla="*/ 130446 w 168666"/>
                    <a:gd name="connsiteY22" fmla="*/ 14832 h 162581"/>
                    <a:gd name="connsiteX23" fmla="*/ 125882 w 168666"/>
                    <a:gd name="connsiteY23" fmla="*/ 22058 h 162581"/>
                    <a:gd name="connsiteX24" fmla="*/ 113902 w 168666"/>
                    <a:gd name="connsiteY24" fmla="*/ 35559 h 162581"/>
                    <a:gd name="connsiteX25" fmla="*/ 83858 w 168666"/>
                    <a:gd name="connsiteY25" fmla="*/ 40693 h 162581"/>
                    <a:gd name="connsiteX26" fmla="*/ 74540 w 168666"/>
                    <a:gd name="connsiteY26" fmla="*/ 26621 h 162581"/>
                    <a:gd name="connsiteX27" fmla="*/ 70737 w 168666"/>
                    <a:gd name="connsiteY27" fmla="*/ 18445 h 162581"/>
                    <a:gd name="connsiteX28" fmla="*/ 67505 w 168666"/>
                    <a:gd name="connsiteY28" fmla="*/ 15402 h 162581"/>
                    <a:gd name="connsiteX29" fmla="*/ 61990 w 168666"/>
                    <a:gd name="connsiteY29" fmla="*/ 10078 h 162581"/>
                    <a:gd name="connsiteX30" fmla="*/ 58948 w 168666"/>
                    <a:gd name="connsiteY30" fmla="*/ 1711 h 162581"/>
                    <a:gd name="connsiteX31" fmla="*/ 58948 w 168666"/>
                    <a:gd name="connsiteY31" fmla="*/ 0 h 162581"/>
                    <a:gd name="connsiteX32" fmla="*/ 51722 w 168666"/>
                    <a:gd name="connsiteY32" fmla="*/ 4183 h 162581"/>
                    <a:gd name="connsiteX33" fmla="*/ 50010 w 168666"/>
                    <a:gd name="connsiteY33" fmla="*/ 5895 h 162581"/>
                    <a:gd name="connsiteX34" fmla="*/ 32706 w 168666"/>
                    <a:gd name="connsiteY34" fmla="*/ 13311 h 162581"/>
                    <a:gd name="connsiteX35" fmla="*/ 24150 w 168666"/>
                    <a:gd name="connsiteY35" fmla="*/ 15593 h 162581"/>
                    <a:gd name="connsiteX36" fmla="*/ 3042 w 168666"/>
                    <a:gd name="connsiteY36" fmla="*/ 33277 h 162581"/>
                    <a:gd name="connsiteX37" fmla="*/ 0 w 168666"/>
                    <a:gd name="connsiteY37" fmla="*/ 36700 h 162581"/>
                    <a:gd name="connsiteX38" fmla="*/ 30805 w 168666"/>
                    <a:gd name="connsiteY38" fmla="*/ 88231 h 162581"/>
                    <a:gd name="connsiteX39" fmla="*/ 40313 w 168666"/>
                    <a:gd name="connsiteY39" fmla="*/ 107247 h 162581"/>
                    <a:gd name="connsiteX40" fmla="*/ 64652 w 168666"/>
                    <a:gd name="connsiteY40" fmla="*/ 144327 h 162581"/>
                    <a:gd name="connsiteX41" fmla="*/ 79104 w 168666"/>
                    <a:gd name="connsiteY41" fmla="*/ 156497 h 162581"/>
                    <a:gd name="connsiteX42" fmla="*/ 86520 w 168666"/>
                    <a:gd name="connsiteY42" fmla="*/ 162582 h 162581"/>
                    <a:gd name="connsiteX43" fmla="*/ 98119 w 168666"/>
                    <a:gd name="connsiteY43" fmla="*/ 150982 h 162581"/>
                    <a:gd name="connsiteX44" fmla="*/ 122839 w 168666"/>
                    <a:gd name="connsiteY44" fmla="*/ 133298 h 1625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168666" h="162581">
                      <a:moveTo>
                        <a:pt x="122839" y="133298"/>
                      </a:moveTo>
                      <a:cubicBezTo>
                        <a:pt x="130870" y="130864"/>
                        <a:pt x="139176" y="129457"/>
                        <a:pt x="147559" y="129114"/>
                      </a:cubicBezTo>
                      <a:lnTo>
                        <a:pt x="154405" y="129114"/>
                      </a:lnTo>
                      <a:cubicBezTo>
                        <a:pt x="154405" y="127213"/>
                        <a:pt x="154405" y="125311"/>
                        <a:pt x="154405" y="123220"/>
                      </a:cubicBezTo>
                      <a:lnTo>
                        <a:pt x="155356" y="115614"/>
                      </a:lnTo>
                      <a:cubicBezTo>
                        <a:pt x="156565" y="111849"/>
                        <a:pt x="155268" y="107741"/>
                        <a:pt x="152123" y="105345"/>
                      </a:cubicBezTo>
                      <a:cubicBezTo>
                        <a:pt x="150161" y="103292"/>
                        <a:pt x="148320" y="101143"/>
                        <a:pt x="146609" y="98880"/>
                      </a:cubicBezTo>
                      <a:cubicBezTo>
                        <a:pt x="143332" y="94107"/>
                        <a:pt x="142165" y="88193"/>
                        <a:pt x="143376" y="82527"/>
                      </a:cubicBezTo>
                      <a:cubicBezTo>
                        <a:pt x="144597" y="77583"/>
                        <a:pt x="147748" y="73342"/>
                        <a:pt x="152123" y="70737"/>
                      </a:cubicBezTo>
                      <a:cubicBezTo>
                        <a:pt x="156236" y="68893"/>
                        <a:pt x="160817" y="68360"/>
                        <a:pt x="165244" y="69216"/>
                      </a:cubicBezTo>
                      <a:cubicBezTo>
                        <a:pt x="166377" y="69387"/>
                        <a:pt x="167533" y="69387"/>
                        <a:pt x="168666" y="69216"/>
                      </a:cubicBezTo>
                      <a:cubicBezTo>
                        <a:pt x="167952" y="69007"/>
                        <a:pt x="167343" y="68532"/>
                        <a:pt x="166955" y="67885"/>
                      </a:cubicBezTo>
                      <a:cubicBezTo>
                        <a:pt x="165681" y="66516"/>
                        <a:pt x="164709" y="64899"/>
                        <a:pt x="164103" y="63131"/>
                      </a:cubicBezTo>
                      <a:cubicBezTo>
                        <a:pt x="163542" y="60754"/>
                        <a:pt x="163222" y="58339"/>
                        <a:pt x="163152" y="55905"/>
                      </a:cubicBezTo>
                      <a:cubicBezTo>
                        <a:pt x="163384" y="54194"/>
                        <a:pt x="163384" y="52482"/>
                        <a:pt x="163152" y="50771"/>
                      </a:cubicBezTo>
                      <a:cubicBezTo>
                        <a:pt x="161737" y="47957"/>
                        <a:pt x="159647" y="45542"/>
                        <a:pt x="157067" y="43735"/>
                      </a:cubicBezTo>
                      <a:cubicBezTo>
                        <a:pt x="152697" y="40788"/>
                        <a:pt x="149372" y="36529"/>
                        <a:pt x="147559" y="31566"/>
                      </a:cubicBezTo>
                      <a:cubicBezTo>
                        <a:pt x="146823" y="28181"/>
                        <a:pt x="146823" y="24682"/>
                        <a:pt x="147559" y="21297"/>
                      </a:cubicBezTo>
                      <a:cubicBezTo>
                        <a:pt x="147656" y="20023"/>
                        <a:pt x="147656" y="18768"/>
                        <a:pt x="147559" y="17494"/>
                      </a:cubicBezTo>
                      <a:lnTo>
                        <a:pt x="147559" y="17494"/>
                      </a:lnTo>
                      <a:cubicBezTo>
                        <a:pt x="147554" y="16220"/>
                        <a:pt x="147078" y="15003"/>
                        <a:pt x="146228" y="14071"/>
                      </a:cubicBezTo>
                      <a:cubicBezTo>
                        <a:pt x="143566" y="12227"/>
                        <a:pt x="140248" y="11619"/>
                        <a:pt x="137101" y="12360"/>
                      </a:cubicBezTo>
                      <a:cubicBezTo>
                        <a:pt x="134673" y="12436"/>
                        <a:pt x="132338" y="13311"/>
                        <a:pt x="130446" y="14832"/>
                      </a:cubicBezTo>
                      <a:cubicBezTo>
                        <a:pt x="128396" y="16867"/>
                        <a:pt x="126835" y="19339"/>
                        <a:pt x="125882" y="22058"/>
                      </a:cubicBezTo>
                      <a:cubicBezTo>
                        <a:pt x="123914" y="28010"/>
                        <a:pt x="119582" y="32897"/>
                        <a:pt x="113902" y="35559"/>
                      </a:cubicBezTo>
                      <a:cubicBezTo>
                        <a:pt x="100211" y="42595"/>
                        <a:pt x="90323" y="44116"/>
                        <a:pt x="83858" y="40693"/>
                      </a:cubicBezTo>
                      <a:cubicBezTo>
                        <a:pt x="79172" y="37270"/>
                        <a:pt x="75869" y="32269"/>
                        <a:pt x="74540" y="26621"/>
                      </a:cubicBezTo>
                      <a:cubicBezTo>
                        <a:pt x="73734" y="23712"/>
                        <a:pt x="72449" y="20936"/>
                        <a:pt x="70737" y="18445"/>
                      </a:cubicBezTo>
                      <a:cubicBezTo>
                        <a:pt x="69754" y="17342"/>
                        <a:pt x="68672" y="16315"/>
                        <a:pt x="67505" y="15402"/>
                      </a:cubicBezTo>
                      <a:cubicBezTo>
                        <a:pt x="65398" y="13938"/>
                        <a:pt x="63536" y="12132"/>
                        <a:pt x="61990" y="10078"/>
                      </a:cubicBezTo>
                      <a:cubicBezTo>
                        <a:pt x="60264" y="7606"/>
                        <a:pt x="59214" y="4716"/>
                        <a:pt x="58948" y="1711"/>
                      </a:cubicBezTo>
                      <a:cubicBezTo>
                        <a:pt x="58839" y="1141"/>
                        <a:pt x="58839" y="570"/>
                        <a:pt x="58948" y="0"/>
                      </a:cubicBezTo>
                      <a:cubicBezTo>
                        <a:pt x="56856" y="0"/>
                        <a:pt x="55525" y="0"/>
                        <a:pt x="51722" y="4183"/>
                      </a:cubicBezTo>
                      <a:lnTo>
                        <a:pt x="50010" y="5895"/>
                      </a:lnTo>
                      <a:cubicBezTo>
                        <a:pt x="45131" y="10078"/>
                        <a:pt x="39094" y="12664"/>
                        <a:pt x="32706" y="13311"/>
                      </a:cubicBezTo>
                      <a:cubicBezTo>
                        <a:pt x="29778" y="13748"/>
                        <a:pt x="26909" y="14528"/>
                        <a:pt x="24150" y="15593"/>
                      </a:cubicBezTo>
                      <a:cubicBezTo>
                        <a:pt x="15916" y="19890"/>
                        <a:pt x="8713" y="25918"/>
                        <a:pt x="3042" y="33277"/>
                      </a:cubicBezTo>
                      <a:lnTo>
                        <a:pt x="0" y="36700"/>
                      </a:lnTo>
                      <a:cubicBezTo>
                        <a:pt x="10649" y="53243"/>
                        <a:pt x="20537" y="70547"/>
                        <a:pt x="30805" y="88231"/>
                      </a:cubicBezTo>
                      <a:cubicBezTo>
                        <a:pt x="34228" y="94126"/>
                        <a:pt x="37270" y="100401"/>
                        <a:pt x="40313" y="107247"/>
                      </a:cubicBezTo>
                      <a:cubicBezTo>
                        <a:pt x="45808" y="121147"/>
                        <a:pt x="54091" y="133754"/>
                        <a:pt x="64652" y="144327"/>
                      </a:cubicBezTo>
                      <a:cubicBezTo>
                        <a:pt x="69596" y="148700"/>
                        <a:pt x="74350" y="152694"/>
                        <a:pt x="79104" y="156497"/>
                      </a:cubicBezTo>
                      <a:lnTo>
                        <a:pt x="86520" y="162582"/>
                      </a:lnTo>
                      <a:cubicBezTo>
                        <a:pt x="90095" y="158436"/>
                        <a:pt x="93972" y="154557"/>
                        <a:pt x="98119" y="150982"/>
                      </a:cubicBezTo>
                      <a:cubicBezTo>
                        <a:pt x="105136" y="143547"/>
                        <a:pt x="113531" y="137538"/>
                        <a:pt x="122839" y="133298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>
                    <a:latin typeface="Arial" panose="020B0604020202020204"/>
                  </a:endParaRPr>
                </a:p>
              </p:txBody>
            </p:sp>
            <p:sp>
              <p:nvSpPr>
                <p:cNvPr id="508" name="Полилиния: фигура 507">
                  <a:extLst>
                    <a:ext uri="{FF2B5EF4-FFF2-40B4-BE49-F238E27FC236}">
                      <a16:creationId xmlns:a16="http://schemas.microsoft.com/office/drawing/2014/main" id="{43D98C2F-923D-48A4-7FF6-DBC3FE92B94C}"/>
                    </a:ext>
                  </a:extLst>
                </p:cNvPr>
                <p:cNvSpPr/>
                <p:nvPr/>
              </p:nvSpPr>
              <p:spPr>
                <a:xfrm>
                  <a:off x="1498125" y="5489794"/>
                  <a:ext cx="182695" cy="114234"/>
                </a:xfrm>
                <a:custGeom>
                  <a:avLst/>
                  <a:gdLst>
                    <a:gd name="connsiteX0" fmla="*/ 76062 w 182695"/>
                    <a:gd name="connsiteY0" fmla="*/ 105488 h 114234"/>
                    <a:gd name="connsiteX1" fmla="*/ 110670 w 182695"/>
                    <a:gd name="connsiteY1" fmla="*/ 102826 h 114234"/>
                    <a:gd name="connsiteX2" fmla="*/ 132918 w 182695"/>
                    <a:gd name="connsiteY2" fmla="*/ 107009 h 114234"/>
                    <a:gd name="connsiteX3" fmla="*/ 137481 w 182695"/>
                    <a:gd name="connsiteY3" fmla="*/ 106058 h 114234"/>
                    <a:gd name="connsiteX4" fmla="*/ 160300 w 182695"/>
                    <a:gd name="connsiteY4" fmla="*/ 104727 h 114234"/>
                    <a:gd name="connsiteX5" fmla="*/ 166575 w 182695"/>
                    <a:gd name="connsiteY5" fmla="*/ 80007 h 114234"/>
                    <a:gd name="connsiteX6" fmla="*/ 171709 w 182695"/>
                    <a:gd name="connsiteY6" fmla="*/ 73162 h 114234"/>
                    <a:gd name="connsiteX7" fmla="*/ 177604 w 182695"/>
                    <a:gd name="connsiteY7" fmla="*/ 68028 h 114234"/>
                    <a:gd name="connsiteX8" fmla="*/ 179125 w 182695"/>
                    <a:gd name="connsiteY8" fmla="*/ 66696 h 114234"/>
                    <a:gd name="connsiteX9" fmla="*/ 180076 w 182695"/>
                    <a:gd name="connsiteY9" fmla="*/ 66696 h 114234"/>
                    <a:gd name="connsiteX10" fmla="*/ 180076 w 182695"/>
                    <a:gd name="connsiteY10" fmla="*/ 66696 h 114234"/>
                    <a:gd name="connsiteX11" fmla="*/ 182548 w 182695"/>
                    <a:gd name="connsiteY11" fmla="*/ 60992 h 114234"/>
                    <a:gd name="connsiteX12" fmla="*/ 179315 w 182695"/>
                    <a:gd name="connsiteY12" fmla="*/ 58900 h 114234"/>
                    <a:gd name="connsiteX13" fmla="*/ 177604 w 182695"/>
                    <a:gd name="connsiteY13" fmla="*/ 58900 h 114234"/>
                    <a:gd name="connsiteX14" fmla="*/ 167526 w 182695"/>
                    <a:gd name="connsiteY14" fmla="*/ 49393 h 114234"/>
                    <a:gd name="connsiteX15" fmla="*/ 166004 w 182695"/>
                    <a:gd name="connsiteY15" fmla="*/ 46730 h 114234"/>
                    <a:gd name="connsiteX16" fmla="*/ 162582 w 182695"/>
                    <a:gd name="connsiteY16" fmla="*/ 42167 h 114234"/>
                    <a:gd name="connsiteX17" fmla="*/ 155166 w 182695"/>
                    <a:gd name="connsiteY17" fmla="*/ 43878 h 114234"/>
                    <a:gd name="connsiteX18" fmla="*/ 142615 w 182695"/>
                    <a:gd name="connsiteY18" fmla="*/ 46540 h 114234"/>
                    <a:gd name="connsiteX19" fmla="*/ 128354 w 182695"/>
                    <a:gd name="connsiteY19" fmla="*/ 37032 h 114234"/>
                    <a:gd name="connsiteX20" fmla="*/ 121889 w 182695"/>
                    <a:gd name="connsiteY20" fmla="*/ 31328 h 114234"/>
                    <a:gd name="connsiteX21" fmla="*/ 118276 w 182695"/>
                    <a:gd name="connsiteY21" fmla="*/ 31328 h 114234"/>
                    <a:gd name="connsiteX22" fmla="*/ 108768 w 182695"/>
                    <a:gd name="connsiteY22" fmla="*/ 27144 h 114234"/>
                    <a:gd name="connsiteX23" fmla="*/ 103634 w 182695"/>
                    <a:gd name="connsiteY23" fmla="*/ 14404 h 114234"/>
                    <a:gd name="connsiteX24" fmla="*/ 102113 w 182695"/>
                    <a:gd name="connsiteY24" fmla="*/ 8319 h 114234"/>
                    <a:gd name="connsiteX25" fmla="*/ 99260 w 182695"/>
                    <a:gd name="connsiteY25" fmla="*/ 6988 h 114234"/>
                    <a:gd name="connsiteX26" fmla="*/ 70737 w 182695"/>
                    <a:gd name="connsiteY26" fmla="*/ 143 h 114234"/>
                    <a:gd name="connsiteX27" fmla="*/ 70737 w 182695"/>
                    <a:gd name="connsiteY27" fmla="*/ 143 h 114234"/>
                    <a:gd name="connsiteX28" fmla="*/ 59898 w 182695"/>
                    <a:gd name="connsiteY28" fmla="*/ 143 h 114234"/>
                    <a:gd name="connsiteX29" fmla="*/ 55145 w 182695"/>
                    <a:gd name="connsiteY29" fmla="*/ 143 h 114234"/>
                    <a:gd name="connsiteX30" fmla="*/ 33087 w 182695"/>
                    <a:gd name="connsiteY30" fmla="*/ 3756 h 114234"/>
                    <a:gd name="connsiteX31" fmla="*/ 10458 w 182695"/>
                    <a:gd name="connsiteY31" fmla="*/ 18017 h 114234"/>
                    <a:gd name="connsiteX32" fmla="*/ 0 w 182695"/>
                    <a:gd name="connsiteY32" fmla="*/ 28666 h 114234"/>
                    <a:gd name="connsiteX33" fmla="*/ 15783 w 182695"/>
                    <a:gd name="connsiteY33" fmla="*/ 45209 h 114234"/>
                    <a:gd name="connsiteX34" fmla="*/ 40313 w 182695"/>
                    <a:gd name="connsiteY34" fmla="*/ 93889 h 114234"/>
                    <a:gd name="connsiteX35" fmla="*/ 50961 w 182695"/>
                    <a:gd name="connsiteY35" fmla="*/ 114235 h 114234"/>
                    <a:gd name="connsiteX36" fmla="*/ 66934 w 182695"/>
                    <a:gd name="connsiteY36" fmla="*/ 110051 h 114234"/>
                    <a:gd name="connsiteX37" fmla="*/ 76062 w 182695"/>
                    <a:gd name="connsiteY37" fmla="*/ 105488 h 114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82695" h="114234">
                      <a:moveTo>
                        <a:pt x="76062" y="105488"/>
                      </a:moveTo>
                      <a:cubicBezTo>
                        <a:pt x="85931" y="97520"/>
                        <a:pt x="99696" y="96456"/>
                        <a:pt x="110670" y="102826"/>
                      </a:cubicBezTo>
                      <a:cubicBezTo>
                        <a:pt x="119987" y="109671"/>
                        <a:pt x="121318" y="109291"/>
                        <a:pt x="132918" y="107009"/>
                      </a:cubicBezTo>
                      <a:lnTo>
                        <a:pt x="137481" y="106058"/>
                      </a:lnTo>
                      <a:cubicBezTo>
                        <a:pt x="144981" y="104499"/>
                        <a:pt x="152669" y="104043"/>
                        <a:pt x="160300" y="104727"/>
                      </a:cubicBezTo>
                      <a:cubicBezTo>
                        <a:pt x="160395" y="96113"/>
                        <a:pt x="162547" y="87632"/>
                        <a:pt x="166575" y="80007"/>
                      </a:cubicBezTo>
                      <a:cubicBezTo>
                        <a:pt x="168100" y="77592"/>
                        <a:pt x="169817" y="75310"/>
                        <a:pt x="171709" y="73162"/>
                      </a:cubicBezTo>
                      <a:cubicBezTo>
                        <a:pt x="173584" y="71355"/>
                        <a:pt x="175552" y="69644"/>
                        <a:pt x="177604" y="68028"/>
                      </a:cubicBezTo>
                      <a:lnTo>
                        <a:pt x="179125" y="66696"/>
                      </a:lnTo>
                      <a:lnTo>
                        <a:pt x="180076" y="66696"/>
                      </a:lnTo>
                      <a:lnTo>
                        <a:pt x="180076" y="66696"/>
                      </a:lnTo>
                      <a:cubicBezTo>
                        <a:pt x="181977" y="64605"/>
                        <a:pt x="183118" y="61943"/>
                        <a:pt x="182548" y="60992"/>
                      </a:cubicBezTo>
                      <a:cubicBezTo>
                        <a:pt x="181643" y="60060"/>
                        <a:pt x="180538" y="59338"/>
                        <a:pt x="179315" y="58900"/>
                      </a:cubicBezTo>
                      <a:lnTo>
                        <a:pt x="177604" y="58900"/>
                      </a:lnTo>
                      <a:cubicBezTo>
                        <a:pt x="173550" y="56561"/>
                        <a:pt x="170098" y="53310"/>
                        <a:pt x="167526" y="49393"/>
                      </a:cubicBezTo>
                      <a:lnTo>
                        <a:pt x="166004" y="46730"/>
                      </a:lnTo>
                      <a:cubicBezTo>
                        <a:pt x="165255" y="44943"/>
                        <a:pt x="164078" y="43384"/>
                        <a:pt x="162582" y="42167"/>
                      </a:cubicBezTo>
                      <a:cubicBezTo>
                        <a:pt x="161060" y="42167"/>
                        <a:pt x="158778" y="42167"/>
                        <a:pt x="155166" y="43878"/>
                      </a:cubicBezTo>
                      <a:cubicBezTo>
                        <a:pt x="151296" y="45875"/>
                        <a:pt x="146962" y="46787"/>
                        <a:pt x="142615" y="46540"/>
                      </a:cubicBezTo>
                      <a:cubicBezTo>
                        <a:pt x="136791" y="45380"/>
                        <a:pt x="131663" y="41957"/>
                        <a:pt x="128354" y="37032"/>
                      </a:cubicBezTo>
                      <a:cubicBezTo>
                        <a:pt x="126663" y="34656"/>
                        <a:pt x="124452" y="32716"/>
                        <a:pt x="121889" y="31328"/>
                      </a:cubicBezTo>
                      <a:cubicBezTo>
                        <a:pt x="120693" y="31138"/>
                        <a:pt x="119472" y="31138"/>
                        <a:pt x="118276" y="31328"/>
                      </a:cubicBezTo>
                      <a:cubicBezTo>
                        <a:pt x="114779" y="30833"/>
                        <a:pt x="111487" y="29388"/>
                        <a:pt x="108768" y="27144"/>
                      </a:cubicBezTo>
                      <a:cubicBezTo>
                        <a:pt x="105530" y="23684"/>
                        <a:pt x="103699" y="19139"/>
                        <a:pt x="103634" y="14404"/>
                      </a:cubicBezTo>
                      <a:cubicBezTo>
                        <a:pt x="103716" y="12274"/>
                        <a:pt x="103187" y="10164"/>
                        <a:pt x="102113" y="8319"/>
                      </a:cubicBezTo>
                      <a:lnTo>
                        <a:pt x="99260" y="6988"/>
                      </a:lnTo>
                      <a:cubicBezTo>
                        <a:pt x="90129" y="3356"/>
                        <a:pt x="80524" y="1036"/>
                        <a:pt x="70737" y="143"/>
                      </a:cubicBezTo>
                      <a:lnTo>
                        <a:pt x="70737" y="143"/>
                      </a:lnTo>
                      <a:cubicBezTo>
                        <a:pt x="67126" y="-48"/>
                        <a:pt x="63510" y="-48"/>
                        <a:pt x="59898" y="143"/>
                      </a:cubicBezTo>
                      <a:lnTo>
                        <a:pt x="55145" y="143"/>
                      </a:lnTo>
                      <a:cubicBezTo>
                        <a:pt x="47666" y="371"/>
                        <a:pt x="40248" y="1588"/>
                        <a:pt x="33087" y="3756"/>
                      </a:cubicBezTo>
                      <a:cubicBezTo>
                        <a:pt x="24644" y="6912"/>
                        <a:pt x="16943" y="11761"/>
                        <a:pt x="10458" y="18017"/>
                      </a:cubicBezTo>
                      <a:cubicBezTo>
                        <a:pt x="6735" y="21326"/>
                        <a:pt x="3242" y="24882"/>
                        <a:pt x="0" y="28666"/>
                      </a:cubicBezTo>
                      <a:cubicBezTo>
                        <a:pt x="5636" y="33800"/>
                        <a:pt x="10911" y="39333"/>
                        <a:pt x="15783" y="45209"/>
                      </a:cubicBezTo>
                      <a:cubicBezTo>
                        <a:pt x="27698" y="59262"/>
                        <a:pt x="36105" y="75957"/>
                        <a:pt x="40313" y="93889"/>
                      </a:cubicBezTo>
                      <a:cubicBezTo>
                        <a:pt x="42674" y="101229"/>
                        <a:pt x="46276" y="108112"/>
                        <a:pt x="50961" y="114235"/>
                      </a:cubicBezTo>
                      <a:cubicBezTo>
                        <a:pt x="56422" y="113417"/>
                        <a:pt x="61777" y="112029"/>
                        <a:pt x="66934" y="110051"/>
                      </a:cubicBezTo>
                      <a:cubicBezTo>
                        <a:pt x="70087" y="108759"/>
                        <a:pt x="73137" y="107237"/>
                        <a:pt x="76062" y="105488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>
                    <a:latin typeface="Arial" panose="020B0604020202020204"/>
                  </a:endParaRPr>
                </a:p>
              </p:txBody>
            </p:sp>
            <p:sp>
              <p:nvSpPr>
                <p:cNvPr id="509" name="Полилиния: фигура 508">
                  <a:extLst>
                    <a:ext uri="{FF2B5EF4-FFF2-40B4-BE49-F238E27FC236}">
                      <a16:creationId xmlns:a16="http://schemas.microsoft.com/office/drawing/2014/main" id="{C0558B3E-ECE3-7161-1B77-3B14AEFE6F9A}"/>
                    </a:ext>
                  </a:extLst>
                </p:cNvPr>
                <p:cNvSpPr/>
                <p:nvPr/>
              </p:nvSpPr>
              <p:spPr>
                <a:xfrm>
                  <a:off x="1668883" y="5571513"/>
                  <a:ext cx="31713" cy="32896"/>
                </a:xfrm>
                <a:custGeom>
                  <a:avLst/>
                  <a:gdLst>
                    <a:gd name="connsiteX0" fmla="*/ 27382 w 31713"/>
                    <a:gd name="connsiteY0" fmla="*/ 12930 h 32896"/>
                    <a:gd name="connsiteX1" fmla="*/ 11790 w 31713"/>
                    <a:gd name="connsiteY1" fmla="*/ 3043 h 32896"/>
                    <a:gd name="connsiteX2" fmla="*/ 7796 w 31713"/>
                    <a:gd name="connsiteY2" fmla="*/ 0 h 32896"/>
                    <a:gd name="connsiteX3" fmla="*/ 5324 w 31713"/>
                    <a:gd name="connsiteY3" fmla="*/ 3613 h 32896"/>
                    <a:gd name="connsiteX4" fmla="*/ 0 w 31713"/>
                    <a:gd name="connsiteY4" fmla="*/ 24340 h 32896"/>
                    <a:gd name="connsiteX5" fmla="*/ 12550 w 31713"/>
                    <a:gd name="connsiteY5" fmla="*/ 28143 h 32896"/>
                    <a:gd name="connsiteX6" fmla="*/ 31566 w 31713"/>
                    <a:gd name="connsiteY6" fmla="*/ 32897 h 32896"/>
                    <a:gd name="connsiteX7" fmla="*/ 31566 w 31713"/>
                    <a:gd name="connsiteY7" fmla="*/ 18445 h 32896"/>
                    <a:gd name="connsiteX8" fmla="*/ 31566 w 31713"/>
                    <a:gd name="connsiteY8" fmla="*/ 14832 h 32896"/>
                    <a:gd name="connsiteX9" fmla="*/ 27382 w 31713"/>
                    <a:gd name="connsiteY9" fmla="*/ 12930 h 328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1713" h="32896">
                      <a:moveTo>
                        <a:pt x="27382" y="12930"/>
                      </a:moveTo>
                      <a:lnTo>
                        <a:pt x="11790" y="3043"/>
                      </a:lnTo>
                      <a:lnTo>
                        <a:pt x="7796" y="0"/>
                      </a:lnTo>
                      <a:cubicBezTo>
                        <a:pt x="6865" y="1122"/>
                        <a:pt x="6037" y="2339"/>
                        <a:pt x="5324" y="3613"/>
                      </a:cubicBezTo>
                      <a:cubicBezTo>
                        <a:pt x="2029" y="10040"/>
                        <a:pt x="209" y="17114"/>
                        <a:pt x="0" y="24340"/>
                      </a:cubicBezTo>
                      <a:cubicBezTo>
                        <a:pt x="4282" y="25252"/>
                        <a:pt x="8479" y="26526"/>
                        <a:pt x="12550" y="28143"/>
                      </a:cubicBezTo>
                      <a:cubicBezTo>
                        <a:pt x="18665" y="30520"/>
                        <a:pt x="25053" y="32117"/>
                        <a:pt x="31566" y="32897"/>
                      </a:cubicBezTo>
                      <a:cubicBezTo>
                        <a:pt x="31566" y="28143"/>
                        <a:pt x="31566" y="23199"/>
                        <a:pt x="31566" y="18445"/>
                      </a:cubicBezTo>
                      <a:cubicBezTo>
                        <a:pt x="31763" y="17247"/>
                        <a:pt x="31763" y="16030"/>
                        <a:pt x="31566" y="14832"/>
                      </a:cubicBezTo>
                      <a:cubicBezTo>
                        <a:pt x="30286" y="13976"/>
                        <a:pt x="28873" y="13330"/>
                        <a:pt x="27382" y="12930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>
                    <a:latin typeface="Arial" panose="020B0604020202020204"/>
                  </a:endParaRPr>
                </a:p>
              </p:txBody>
            </p:sp>
            <p:sp>
              <p:nvSpPr>
                <p:cNvPr id="510" name="Полилиния: фигура 509">
                  <a:extLst>
                    <a:ext uri="{FF2B5EF4-FFF2-40B4-BE49-F238E27FC236}">
                      <a16:creationId xmlns:a16="http://schemas.microsoft.com/office/drawing/2014/main" id="{12E8F391-ED53-292D-7617-1D344BF1FDB5}"/>
                    </a:ext>
                  </a:extLst>
                </p:cNvPr>
                <p:cNvSpPr/>
                <p:nvPr/>
              </p:nvSpPr>
              <p:spPr>
                <a:xfrm>
                  <a:off x="1556502" y="5598486"/>
                  <a:ext cx="102112" cy="86073"/>
                </a:xfrm>
                <a:custGeom>
                  <a:avLst/>
                  <a:gdLst>
                    <a:gd name="connsiteX0" fmla="*/ 96028 w 102112"/>
                    <a:gd name="connsiteY0" fmla="*/ 70196 h 86073"/>
                    <a:gd name="connsiteX1" fmla="*/ 96028 w 102112"/>
                    <a:gd name="connsiteY1" fmla="*/ 51181 h 86073"/>
                    <a:gd name="connsiteX2" fmla="*/ 96028 w 102112"/>
                    <a:gd name="connsiteY2" fmla="*/ 28552 h 86073"/>
                    <a:gd name="connsiteX3" fmla="*/ 98500 w 102112"/>
                    <a:gd name="connsiteY3" fmla="*/ 18284 h 86073"/>
                    <a:gd name="connsiteX4" fmla="*/ 99641 w 102112"/>
                    <a:gd name="connsiteY4" fmla="*/ 15051 h 86073"/>
                    <a:gd name="connsiteX5" fmla="*/ 102113 w 102112"/>
                    <a:gd name="connsiteY5" fmla="*/ 7255 h 86073"/>
                    <a:gd name="connsiteX6" fmla="*/ 83097 w 102112"/>
                    <a:gd name="connsiteY6" fmla="*/ 8396 h 86073"/>
                    <a:gd name="connsiteX7" fmla="*/ 78914 w 102112"/>
                    <a:gd name="connsiteY7" fmla="*/ 8396 h 86073"/>
                    <a:gd name="connsiteX8" fmla="*/ 48109 w 102112"/>
                    <a:gd name="connsiteY8" fmla="*/ 2501 h 86073"/>
                    <a:gd name="connsiteX9" fmla="*/ 24910 w 102112"/>
                    <a:gd name="connsiteY9" fmla="*/ 5924 h 86073"/>
                    <a:gd name="connsiteX10" fmla="*/ 13311 w 102112"/>
                    <a:gd name="connsiteY10" fmla="*/ 11248 h 86073"/>
                    <a:gd name="connsiteX11" fmla="*/ 0 w 102112"/>
                    <a:gd name="connsiteY11" fmla="*/ 14861 h 86073"/>
                    <a:gd name="connsiteX12" fmla="*/ 8747 w 102112"/>
                    <a:gd name="connsiteY12" fmla="*/ 38630 h 86073"/>
                    <a:gd name="connsiteX13" fmla="*/ 7416 w 102112"/>
                    <a:gd name="connsiteY13" fmla="*/ 54223 h 86073"/>
                    <a:gd name="connsiteX14" fmla="*/ 16163 w 102112"/>
                    <a:gd name="connsiteY14" fmla="*/ 73238 h 86073"/>
                    <a:gd name="connsiteX15" fmla="*/ 30995 w 102112"/>
                    <a:gd name="connsiteY15" fmla="*/ 75330 h 86073"/>
                    <a:gd name="connsiteX16" fmla="*/ 60659 w 102112"/>
                    <a:gd name="connsiteY16" fmla="*/ 85788 h 86073"/>
                    <a:gd name="connsiteX17" fmla="*/ 73399 w 102112"/>
                    <a:gd name="connsiteY17" fmla="*/ 85788 h 86073"/>
                    <a:gd name="connsiteX18" fmla="*/ 96028 w 102112"/>
                    <a:gd name="connsiteY18" fmla="*/ 70196 h 860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02112" h="86073">
                      <a:moveTo>
                        <a:pt x="96028" y="70196"/>
                      </a:moveTo>
                      <a:cubicBezTo>
                        <a:pt x="96389" y="63864"/>
                        <a:pt x="96389" y="57513"/>
                        <a:pt x="96028" y="51181"/>
                      </a:cubicBezTo>
                      <a:cubicBezTo>
                        <a:pt x="95550" y="43650"/>
                        <a:pt x="95550" y="36082"/>
                        <a:pt x="96028" y="28552"/>
                      </a:cubicBezTo>
                      <a:cubicBezTo>
                        <a:pt x="96402" y="25034"/>
                        <a:pt x="97233" y="21593"/>
                        <a:pt x="98500" y="18284"/>
                      </a:cubicBezTo>
                      <a:lnTo>
                        <a:pt x="99641" y="15051"/>
                      </a:lnTo>
                      <a:cubicBezTo>
                        <a:pt x="99641" y="11819"/>
                        <a:pt x="101542" y="9347"/>
                        <a:pt x="102113" y="7255"/>
                      </a:cubicBezTo>
                      <a:cubicBezTo>
                        <a:pt x="95752" y="6703"/>
                        <a:pt x="89346" y="7084"/>
                        <a:pt x="83097" y="8396"/>
                      </a:cubicBezTo>
                      <a:lnTo>
                        <a:pt x="78914" y="8396"/>
                      </a:lnTo>
                      <a:cubicBezTo>
                        <a:pt x="68362" y="12465"/>
                        <a:pt x="56415" y="10183"/>
                        <a:pt x="48109" y="2501"/>
                      </a:cubicBezTo>
                      <a:cubicBezTo>
                        <a:pt x="41263" y="-2443"/>
                        <a:pt x="34798" y="600"/>
                        <a:pt x="24910" y="5924"/>
                      </a:cubicBezTo>
                      <a:cubicBezTo>
                        <a:pt x="21174" y="7978"/>
                        <a:pt x="17296" y="9746"/>
                        <a:pt x="13311" y="11248"/>
                      </a:cubicBezTo>
                      <a:cubicBezTo>
                        <a:pt x="8958" y="12750"/>
                        <a:pt x="4510" y="13948"/>
                        <a:pt x="0" y="14861"/>
                      </a:cubicBezTo>
                      <a:cubicBezTo>
                        <a:pt x="4834" y="21935"/>
                        <a:pt x="7838" y="30111"/>
                        <a:pt x="8747" y="38630"/>
                      </a:cubicBezTo>
                      <a:cubicBezTo>
                        <a:pt x="8998" y="43859"/>
                        <a:pt x="8551" y="49108"/>
                        <a:pt x="7416" y="54223"/>
                      </a:cubicBezTo>
                      <a:cubicBezTo>
                        <a:pt x="5514" y="66393"/>
                        <a:pt x="5324" y="70576"/>
                        <a:pt x="16163" y="73238"/>
                      </a:cubicBezTo>
                      <a:cubicBezTo>
                        <a:pt x="21035" y="74379"/>
                        <a:pt x="25998" y="75083"/>
                        <a:pt x="30995" y="75330"/>
                      </a:cubicBezTo>
                      <a:cubicBezTo>
                        <a:pt x="41819" y="75140"/>
                        <a:pt x="52347" y="78848"/>
                        <a:pt x="60659" y="85788"/>
                      </a:cubicBezTo>
                      <a:cubicBezTo>
                        <a:pt x="65033" y="85788"/>
                        <a:pt x="69406" y="85788"/>
                        <a:pt x="73399" y="85788"/>
                      </a:cubicBezTo>
                      <a:cubicBezTo>
                        <a:pt x="87661" y="86739"/>
                        <a:pt x="94506" y="86169"/>
                        <a:pt x="96028" y="70196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>
                    <a:latin typeface="Arial" panose="020B0604020202020204"/>
                  </a:endParaRPr>
                </a:p>
              </p:txBody>
            </p:sp>
            <p:sp>
              <p:nvSpPr>
                <p:cNvPr id="511" name="Полилиния: фигура 510">
                  <a:extLst>
                    <a:ext uri="{FF2B5EF4-FFF2-40B4-BE49-F238E27FC236}">
                      <a16:creationId xmlns:a16="http://schemas.microsoft.com/office/drawing/2014/main" id="{C69F0F33-097F-5DC2-A87C-E0E62921E2B7}"/>
                    </a:ext>
                  </a:extLst>
                </p:cNvPr>
                <p:cNvSpPr/>
                <p:nvPr/>
              </p:nvSpPr>
              <p:spPr>
                <a:xfrm>
                  <a:off x="1625147" y="5605311"/>
                  <a:ext cx="214591" cy="166923"/>
                </a:xfrm>
                <a:custGeom>
                  <a:avLst/>
                  <a:gdLst>
                    <a:gd name="connsiteX0" fmla="*/ 49060 w 214591"/>
                    <a:gd name="connsiteY0" fmla="*/ 150081 h 166923"/>
                    <a:gd name="connsiteX1" fmla="*/ 58567 w 214591"/>
                    <a:gd name="connsiteY1" fmla="*/ 166054 h 166923"/>
                    <a:gd name="connsiteX2" fmla="*/ 59898 w 214591"/>
                    <a:gd name="connsiteY2" fmla="*/ 166054 h 166923"/>
                    <a:gd name="connsiteX3" fmla="*/ 72829 w 214591"/>
                    <a:gd name="connsiteY3" fmla="*/ 166054 h 166923"/>
                    <a:gd name="connsiteX4" fmla="*/ 97929 w 214591"/>
                    <a:gd name="connsiteY4" fmla="*/ 166054 h 166923"/>
                    <a:gd name="connsiteX5" fmla="*/ 105155 w 214591"/>
                    <a:gd name="connsiteY5" fmla="*/ 162251 h 166923"/>
                    <a:gd name="connsiteX6" fmla="*/ 125311 w 214591"/>
                    <a:gd name="connsiteY6" fmla="*/ 158638 h 166923"/>
                    <a:gd name="connsiteX7" fmla="*/ 132727 w 214591"/>
                    <a:gd name="connsiteY7" fmla="*/ 162251 h 166923"/>
                    <a:gd name="connsiteX8" fmla="*/ 144707 w 214591"/>
                    <a:gd name="connsiteY8" fmla="*/ 162251 h 166923"/>
                    <a:gd name="connsiteX9" fmla="*/ 148130 w 214591"/>
                    <a:gd name="connsiteY9" fmla="*/ 151792 h 166923"/>
                    <a:gd name="connsiteX10" fmla="*/ 151553 w 214591"/>
                    <a:gd name="connsiteY10" fmla="*/ 140763 h 166923"/>
                    <a:gd name="connsiteX11" fmla="*/ 158208 w 214591"/>
                    <a:gd name="connsiteY11" fmla="*/ 130305 h 166923"/>
                    <a:gd name="connsiteX12" fmla="*/ 161060 w 214591"/>
                    <a:gd name="connsiteY12" fmla="*/ 126312 h 166923"/>
                    <a:gd name="connsiteX13" fmla="*/ 165624 w 214591"/>
                    <a:gd name="connsiteY13" fmla="*/ 116233 h 166923"/>
                    <a:gd name="connsiteX14" fmla="*/ 176082 w 214591"/>
                    <a:gd name="connsiteY14" fmla="*/ 99690 h 166923"/>
                    <a:gd name="connsiteX15" fmla="*/ 177414 w 214591"/>
                    <a:gd name="connsiteY15" fmla="*/ 98549 h 166923"/>
                    <a:gd name="connsiteX16" fmla="*/ 193006 w 214591"/>
                    <a:gd name="connsiteY16" fmla="*/ 88091 h 166923"/>
                    <a:gd name="connsiteX17" fmla="*/ 203084 w 214591"/>
                    <a:gd name="connsiteY17" fmla="*/ 85619 h 166923"/>
                    <a:gd name="connsiteX18" fmla="*/ 209550 w 214591"/>
                    <a:gd name="connsiteY18" fmla="*/ 84478 h 166923"/>
                    <a:gd name="connsiteX19" fmla="*/ 214494 w 214591"/>
                    <a:gd name="connsiteY19" fmla="*/ 73259 h 166923"/>
                    <a:gd name="connsiteX20" fmla="*/ 210500 w 214591"/>
                    <a:gd name="connsiteY20" fmla="*/ 62420 h 166923"/>
                    <a:gd name="connsiteX21" fmla="*/ 200802 w 214591"/>
                    <a:gd name="connsiteY21" fmla="*/ 61279 h 166923"/>
                    <a:gd name="connsiteX22" fmla="*/ 180456 w 214591"/>
                    <a:gd name="connsiteY22" fmla="*/ 50821 h 166923"/>
                    <a:gd name="connsiteX23" fmla="*/ 180456 w 214591"/>
                    <a:gd name="connsiteY23" fmla="*/ 41313 h 166923"/>
                    <a:gd name="connsiteX24" fmla="*/ 180456 w 214591"/>
                    <a:gd name="connsiteY24" fmla="*/ 35989 h 166923"/>
                    <a:gd name="connsiteX25" fmla="*/ 174371 w 214591"/>
                    <a:gd name="connsiteY25" fmla="*/ 30664 h 166923"/>
                    <a:gd name="connsiteX26" fmla="*/ 168666 w 214591"/>
                    <a:gd name="connsiteY26" fmla="*/ 26291 h 166923"/>
                    <a:gd name="connsiteX27" fmla="*/ 160490 w 214591"/>
                    <a:gd name="connsiteY27" fmla="*/ 19255 h 166923"/>
                    <a:gd name="connsiteX28" fmla="*/ 160490 w 214591"/>
                    <a:gd name="connsiteY28" fmla="*/ 19255 h 166923"/>
                    <a:gd name="connsiteX29" fmla="*/ 150412 w 214591"/>
                    <a:gd name="connsiteY29" fmla="*/ 12980 h 166923"/>
                    <a:gd name="connsiteX30" fmla="*/ 143186 w 214591"/>
                    <a:gd name="connsiteY30" fmla="*/ 12980 h 166923"/>
                    <a:gd name="connsiteX31" fmla="*/ 124170 w 214591"/>
                    <a:gd name="connsiteY31" fmla="*/ 6515 h 166923"/>
                    <a:gd name="connsiteX32" fmla="*/ 117705 w 214591"/>
                    <a:gd name="connsiteY32" fmla="*/ 1571 h 166923"/>
                    <a:gd name="connsiteX33" fmla="*/ 102873 w 214591"/>
                    <a:gd name="connsiteY33" fmla="*/ 3852 h 166923"/>
                    <a:gd name="connsiteX34" fmla="*/ 90703 w 214591"/>
                    <a:gd name="connsiteY34" fmla="*/ 9177 h 166923"/>
                    <a:gd name="connsiteX35" fmla="*/ 84238 w 214591"/>
                    <a:gd name="connsiteY35" fmla="*/ 10318 h 166923"/>
                    <a:gd name="connsiteX36" fmla="*/ 73399 w 214591"/>
                    <a:gd name="connsiteY36" fmla="*/ 10318 h 166923"/>
                    <a:gd name="connsiteX37" fmla="*/ 51912 w 214591"/>
                    <a:gd name="connsiteY37" fmla="*/ 4803 h 166923"/>
                    <a:gd name="connsiteX38" fmla="*/ 42594 w 214591"/>
                    <a:gd name="connsiteY38" fmla="*/ 1951 h 166923"/>
                    <a:gd name="connsiteX39" fmla="*/ 39362 w 214591"/>
                    <a:gd name="connsiteY39" fmla="*/ 11459 h 166923"/>
                    <a:gd name="connsiteX40" fmla="*/ 38221 w 214591"/>
                    <a:gd name="connsiteY40" fmla="*/ 15071 h 166923"/>
                    <a:gd name="connsiteX41" fmla="*/ 36319 w 214591"/>
                    <a:gd name="connsiteY41" fmla="*/ 22678 h 166923"/>
                    <a:gd name="connsiteX42" fmla="*/ 36319 w 214591"/>
                    <a:gd name="connsiteY42" fmla="*/ 43785 h 166923"/>
                    <a:gd name="connsiteX43" fmla="*/ 36319 w 214591"/>
                    <a:gd name="connsiteY43" fmla="*/ 64512 h 166923"/>
                    <a:gd name="connsiteX44" fmla="*/ 1331 w 214591"/>
                    <a:gd name="connsiteY44" fmla="*/ 90753 h 166923"/>
                    <a:gd name="connsiteX45" fmla="*/ 0 w 214591"/>
                    <a:gd name="connsiteY45" fmla="*/ 90753 h 166923"/>
                    <a:gd name="connsiteX46" fmla="*/ 22248 w 214591"/>
                    <a:gd name="connsiteY46" fmla="*/ 106535 h 166923"/>
                    <a:gd name="connsiteX47" fmla="*/ 37841 w 214591"/>
                    <a:gd name="connsiteY47" fmla="*/ 128784 h 166923"/>
                    <a:gd name="connsiteX48" fmla="*/ 41073 w 214591"/>
                    <a:gd name="connsiteY48" fmla="*/ 140193 h 166923"/>
                    <a:gd name="connsiteX49" fmla="*/ 49060 w 214591"/>
                    <a:gd name="connsiteY49" fmla="*/ 150081 h 166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</a:cxnLst>
                  <a:rect l="l" t="t" r="r" b="b"/>
                  <a:pathLst>
                    <a:path w="214591" h="166923">
                      <a:moveTo>
                        <a:pt x="49060" y="150081"/>
                      </a:moveTo>
                      <a:cubicBezTo>
                        <a:pt x="53447" y="154587"/>
                        <a:pt x="56706" y="160045"/>
                        <a:pt x="58567" y="166054"/>
                      </a:cubicBezTo>
                      <a:lnTo>
                        <a:pt x="59898" y="166054"/>
                      </a:lnTo>
                      <a:cubicBezTo>
                        <a:pt x="63892" y="166054"/>
                        <a:pt x="68265" y="166054"/>
                        <a:pt x="72829" y="166054"/>
                      </a:cubicBezTo>
                      <a:cubicBezTo>
                        <a:pt x="81156" y="167214"/>
                        <a:pt x="89602" y="167214"/>
                        <a:pt x="97929" y="166054"/>
                      </a:cubicBezTo>
                      <a:cubicBezTo>
                        <a:pt x="100601" y="165369"/>
                        <a:pt x="103077" y="164057"/>
                        <a:pt x="105155" y="162251"/>
                      </a:cubicBezTo>
                      <a:cubicBezTo>
                        <a:pt x="110595" y="157230"/>
                        <a:pt x="118462" y="155804"/>
                        <a:pt x="125311" y="158638"/>
                      </a:cubicBezTo>
                      <a:cubicBezTo>
                        <a:pt x="127873" y="159645"/>
                        <a:pt x="130352" y="160863"/>
                        <a:pt x="132727" y="162251"/>
                      </a:cubicBezTo>
                      <a:cubicBezTo>
                        <a:pt x="139573" y="166054"/>
                        <a:pt x="141094" y="166624"/>
                        <a:pt x="144707" y="162251"/>
                      </a:cubicBezTo>
                      <a:cubicBezTo>
                        <a:pt x="146386" y="158961"/>
                        <a:pt x="147542" y="155443"/>
                        <a:pt x="148130" y="151792"/>
                      </a:cubicBezTo>
                      <a:cubicBezTo>
                        <a:pt x="148927" y="148027"/>
                        <a:pt x="150073" y="144319"/>
                        <a:pt x="151553" y="140763"/>
                      </a:cubicBezTo>
                      <a:cubicBezTo>
                        <a:pt x="153460" y="137093"/>
                        <a:pt x="155687" y="133594"/>
                        <a:pt x="158208" y="130305"/>
                      </a:cubicBezTo>
                      <a:lnTo>
                        <a:pt x="161060" y="126312"/>
                      </a:lnTo>
                      <a:cubicBezTo>
                        <a:pt x="163082" y="123193"/>
                        <a:pt x="164620" y="119808"/>
                        <a:pt x="165624" y="116233"/>
                      </a:cubicBezTo>
                      <a:cubicBezTo>
                        <a:pt x="167294" y="109768"/>
                        <a:pt x="170952" y="103968"/>
                        <a:pt x="176082" y="99690"/>
                      </a:cubicBezTo>
                      <a:lnTo>
                        <a:pt x="177414" y="98549"/>
                      </a:lnTo>
                      <a:cubicBezTo>
                        <a:pt x="182213" y="94499"/>
                        <a:pt x="187442" y="91000"/>
                        <a:pt x="193006" y="88091"/>
                      </a:cubicBezTo>
                      <a:cubicBezTo>
                        <a:pt x="196197" y="86684"/>
                        <a:pt x="199606" y="85847"/>
                        <a:pt x="203084" y="85619"/>
                      </a:cubicBezTo>
                      <a:cubicBezTo>
                        <a:pt x="205290" y="85619"/>
                        <a:pt x="207477" y="85238"/>
                        <a:pt x="209550" y="84478"/>
                      </a:cubicBezTo>
                      <a:cubicBezTo>
                        <a:pt x="212978" y="81816"/>
                        <a:pt x="214836" y="77594"/>
                        <a:pt x="214494" y="73259"/>
                      </a:cubicBezTo>
                      <a:cubicBezTo>
                        <a:pt x="215003" y="69208"/>
                        <a:pt x="213514" y="65177"/>
                        <a:pt x="210500" y="62420"/>
                      </a:cubicBezTo>
                      <a:cubicBezTo>
                        <a:pt x="207437" y="61146"/>
                        <a:pt x="204079" y="60747"/>
                        <a:pt x="200802" y="61279"/>
                      </a:cubicBezTo>
                      <a:cubicBezTo>
                        <a:pt x="192447" y="62724"/>
                        <a:pt x="184149" y="58446"/>
                        <a:pt x="180456" y="50821"/>
                      </a:cubicBezTo>
                      <a:cubicBezTo>
                        <a:pt x="179739" y="47683"/>
                        <a:pt x="179739" y="44450"/>
                        <a:pt x="180456" y="41313"/>
                      </a:cubicBezTo>
                      <a:cubicBezTo>
                        <a:pt x="180891" y="39563"/>
                        <a:pt x="180891" y="37738"/>
                        <a:pt x="180456" y="35989"/>
                      </a:cubicBezTo>
                      <a:cubicBezTo>
                        <a:pt x="178733" y="33897"/>
                        <a:pt x="176678" y="32090"/>
                        <a:pt x="174371" y="30664"/>
                      </a:cubicBezTo>
                      <a:cubicBezTo>
                        <a:pt x="172323" y="29409"/>
                        <a:pt x="170410" y="27945"/>
                        <a:pt x="168666" y="26291"/>
                      </a:cubicBezTo>
                      <a:lnTo>
                        <a:pt x="160490" y="19255"/>
                      </a:lnTo>
                      <a:lnTo>
                        <a:pt x="160490" y="19255"/>
                      </a:lnTo>
                      <a:cubicBezTo>
                        <a:pt x="156497" y="15262"/>
                        <a:pt x="154405" y="13360"/>
                        <a:pt x="150412" y="12980"/>
                      </a:cubicBezTo>
                      <a:cubicBezTo>
                        <a:pt x="148012" y="12676"/>
                        <a:pt x="145586" y="12676"/>
                        <a:pt x="143186" y="12980"/>
                      </a:cubicBezTo>
                      <a:cubicBezTo>
                        <a:pt x="136181" y="13969"/>
                        <a:pt x="129120" y="11573"/>
                        <a:pt x="124170" y="6515"/>
                      </a:cubicBezTo>
                      <a:cubicBezTo>
                        <a:pt x="122265" y="4556"/>
                        <a:pt x="120088" y="2902"/>
                        <a:pt x="117705" y="1571"/>
                      </a:cubicBezTo>
                      <a:cubicBezTo>
                        <a:pt x="113141" y="-1472"/>
                        <a:pt x="109719" y="240"/>
                        <a:pt x="102873" y="3852"/>
                      </a:cubicBezTo>
                      <a:cubicBezTo>
                        <a:pt x="99064" y="6153"/>
                        <a:pt x="94974" y="7941"/>
                        <a:pt x="90703" y="9177"/>
                      </a:cubicBezTo>
                      <a:cubicBezTo>
                        <a:pt x="88585" y="9747"/>
                        <a:pt x="86423" y="10128"/>
                        <a:pt x="84238" y="10318"/>
                      </a:cubicBezTo>
                      <a:cubicBezTo>
                        <a:pt x="80648" y="10888"/>
                        <a:pt x="76989" y="10888"/>
                        <a:pt x="73399" y="10318"/>
                      </a:cubicBezTo>
                      <a:cubicBezTo>
                        <a:pt x="66016" y="9481"/>
                        <a:pt x="58782" y="7637"/>
                        <a:pt x="51912" y="4803"/>
                      </a:cubicBezTo>
                      <a:lnTo>
                        <a:pt x="42594" y="1951"/>
                      </a:lnTo>
                      <a:cubicBezTo>
                        <a:pt x="41644" y="4613"/>
                        <a:pt x="40313" y="8416"/>
                        <a:pt x="39362" y="11459"/>
                      </a:cubicBezTo>
                      <a:lnTo>
                        <a:pt x="38221" y="15071"/>
                      </a:lnTo>
                      <a:cubicBezTo>
                        <a:pt x="37190" y="17486"/>
                        <a:pt x="36548" y="20054"/>
                        <a:pt x="36319" y="22678"/>
                      </a:cubicBezTo>
                      <a:cubicBezTo>
                        <a:pt x="35846" y="29713"/>
                        <a:pt x="35846" y="36749"/>
                        <a:pt x="36319" y="43785"/>
                      </a:cubicBezTo>
                      <a:cubicBezTo>
                        <a:pt x="36702" y="50687"/>
                        <a:pt x="36702" y="57609"/>
                        <a:pt x="36319" y="64512"/>
                      </a:cubicBezTo>
                      <a:cubicBezTo>
                        <a:pt x="34798" y="91133"/>
                        <a:pt x="16353" y="90943"/>
                        <a:pt x="1331" y="90753"/>
                      </a:cubicBezTo>
                      <a:lnTo>
                        <a:pt x="0" y="90753"/>
                      </a:lnTo>
                      <a:cubicBezTo>
                        <a:pt x="6701" y="96952"/>
                        <a:pt x="14180" y="102257"/>
                        <a:pt x="22248" y="106535"/>
                      </a:cubicBezTo>
                      <a:cubicBezTo>
                        <a:pt x="31151" y="110510"/>
                        <a:pt x="37145" y="119067"/>
                        <a:pt x="37841" y="128784"/>
                      </a:cubicBezTo>
                      <a:cubicBezTo>
                        <a:pt x="38460" y="132701"/>
                        <a:pt x="39544" y="136523"/>
                        <a:pt x="41073" y="140193"/>
                      </a:cubicBezTo>
                      <a:cubicBezTo>
                        <a:pt x="43239" y="143863"/>
                        <a:pt x="45930" y="147190"/>
                        <a:pt x="49060" y="150081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>
                    <a:latin typeface="Arial" panose="020B0604020202020204"/>
                  </a:endParaRPr>
                </a:p>
              </p:txBody>
            </p:sp>
            <p:sp>
              <p:nvSpPr>
                <p:cNvPr id="512" name="Полилиния: фигура 511">
                  <a:extLst>
                    <a:ext uri="{FF2B5EF4-FFF2-40B4-BE49-F238E27FC236}">
                      <a16:creationId xmlns:a16="http://schemas.microsoft.com/office/drawing/2014/main" id="{BD0E5EB9-5A46-1907-43F5-FAB24F034B3A}"/>
                    </a:ext>
                  </a:extLst>
                </p:cNvPr>
                <p:cNvSpPr/>
                <p:nvPr/>
              </p:nvSpPr>
              <p:spPr>
                <a:xfrm>
                  <a:off x="1549633" y="5191079"/>
                  <a:ext cx="310310" cy="416581"/>
                </a:xfrm>
                <a:custGeom>
                  <a:avLst/>
                  <a:gdLst>
                    <a:gd name="connsiteX0" fmla="*/ 255020 w 310310"/>
                    <a:gd name="connsiteY0" fmla="*/ 147876 h 416581"/>
                    <a:gd name="connsiteX1" fmla="*/ 255020 w 310310"/>
                    <a:gd name="connsiteY1" fmla="*/ 137608 h 416581"/>
                    <a:gd name="connsiteX2" fmla="*/ 250837 w 310310"/>
                    <a:gd name="connsiteY2" fmla="*/ 131713 h 416581"/>
                    <a:gd name="connsiteX3" fmla="*/ 236385 w 310310"/>
                    <a:gd name="connsiteY3" fmla="*/ 115740 h 416581"/>
                    <a:gd name="connsiteX4" fmla="*/ 230680 w 310310"/>
                    <a:gd name="connsiteY4" fmla="*/ 108324 h 416581"/>
                    <a:gd name="connsiteX5" fmla="*/ 227067 w 310310"/>
                    <a:gd name="connsiteY5" fmla="*/ 98626 h 416581"/>
                    <a:gd name="connsiteX6" fmla="*/ 227067 w 310310"/>
                    <a:gd name="connsiteY6" fmla="*/ 97105 h 416581"/>
                    <a:gd name="connsiteX7" fmla="*/ 225927 w 310310"/>
                    <a:gd name="connsiteY7" fmla="*/ 94063 h 416581"/>
                    <a:gd name="connsiteX8" fmla="*/ 221933 w 310310"/>
                    <a:gd name="connsiteY8" fmla="*/ 83414 h 416581"/>
                    <a:gd name="connsiteX9" fmla="*/ 219081 w 310310"/>
                    <a:gd name="connsiteY9" fmla="*/ 75998 h 416581"/>
                    <a:gd name="connsiteX10" fmla="*/ 211665 w 310310"/>
                    <a:gd name="connsiteY10" fmla="*/ 65540 h 416581"/>
                    <a:gd name="connsiteX11" fmla="*/ 204629 w 310310"/>
                    <a:gd name="connsiteY11" fmla="*/ 65540 h 416581"/>
                    <a:gd name="connsiteX12" fmla="*/ 179719 w 310310"/>
                    <a:gd name="connsiteY12" fmla="*/ 65540 h 416581"/>
                    <a:gd name="connsiteX13" fmla="*/ 162986 w 310310"/>
                    <a:gd name="connsiteY13" fmla="*/ 60216 h 416581"/>
                    <a:gd name="connsiteX14" fmla="*/ 157471 w 310310"/>
                    <a:gd name="connsiteY14" fmla="*/ 49187 h 416581"/>
                    <a:gd name="connsiteX15" fmla="*/ 157471 w 310310"/>
                    <a:gd name="connsiteY15" fmla="*/ 46334 h 416581"/>
                    <a:gd name="connsiteX16" fmla="*/ 154239 w 310310"/>
                    <a:gd name="connsiteY16" fmla="*/ 42151 h 416581"/>
                    <a:gd name="connsiteX17" fmla="*/ 152527 w 310310"/>
                    <a:gd name="connsiteY17" fmla="*/ 42151 h 416581"/>
                    <a:gd name="connsiteX18" fmla="*/ 150435 w 310310"/>
                    <a:gd name="connsiteY18" fmla="*/ 42151 h 416581"/>
                    <a:gd name="connsiteX19" fmla="*/ 129138 w 310310"/>
                    <a:gd name="connsiteY19" fmla="*/ 38158 h 416581"/>
                    <a:gd name="connsiteX20" fmla="*/ 116398 w 310310"/>
                    <a:gd name="connsiteY20" fmla="*/ 24276 h 416581"/>
                    <a:gd name="connsiteX21" fmla="*/ 112215 w 310310"/>
                    <a:gd name="connsiteY21" fmla="*/ 19142 h 416581"/>
                    <a:gd name="connsiteX22" fmla="*/ 112215 w 310310"/>
                    <a:gd name="connsiteY22" fmla="*/ 18001 h 416581"/>
                    <a:gd name="connsiteX23" fmla="*/ 102897 w 310310"/>
                    <a:gd name="connsiteY23" fmla="*/ 11346 h 416581"/>
                    <a:gd name="connsiteX24" fmla="*/ 87875 w 310310"/>
                    <a:gd name="connsiteY24" fmla="*/ 1268 h 416581"/>
                    <a:gd name="connsiteX25" fmla="*/ 87875 w 310310"/>
                    <a:gd name="connsiteY25" fmla="*/ 1268 h 416581"/>
                    <a:gd name="connsiteX26" fmla="*/ 82360 w 310310"/>
                    <a:gd name="connsiteY26" fmla="*/ 127 h 416581"/>
                    <a:gd name="connsiteX27" fmla="*/ 80079 w 310310"/>
                    <a:gd name="connsiteY27" fmla="*/ 2599 h 416581"/>
                    <a:gd name="connsiteX28" fmla="*/ 76656 w 310310"/>
                    <a:gd name="connsiteY28" fmla="*/ 6782 h 416581"/>
                    <a:gd name="connsiteX29" fmla="*/ 68479 w 310310"/>
                    <a:gd name="connsiteY29" fmla="*/ 14008 h 416581"/>
                    <a:gd name="connsiteX30" fmla="*/ 49464 w 310310"/>
                    <a:gd name="connsiteY30" fmla="*/ 15529 h 416581"/>
                    <a:gd name="connsiteX31" fmla="*/ 41287 w 310310"/>
                    <a:gd name="connsiteY31" fmla="*/ 7923 h 416581"/>
                    <a:gd name="connsiteX32" fmla="*/ 35773 w 310310"/>
                    <a:gd name="connsiteY32" fmla="*/ 2979 h 416581"/>
                    <a:gd name="connsiteX33" fmla="*/ 27596 w 310310"/>
                    <a:gd name="connsiteY33" fmla="*/ 9825 h 416581"/>
                    <a:gd name="connsiteX34" fmla="*/ 25504 w 310310"/>
                    <a:gd name="connsiteY34" fmla="*/ 23706 h 416581"/>
                    <a:gd name="connsiteX35" fmla="*/ 21701 w 310310"/>
                    <a:gd name="connsiteY35" fmla="*/ 39108 h 416581"/>
                    <a:gd name="connsiteX36" fmla="*/ 20180 w 310310"/>
                    <a:gd name="connsiteY36" fmla="*/ 41390 h 416581"/>
                    <a:gd name="connsiteX37" fmla="*/ 16567 w 310310"/>
                    <a:gd name="connsiteY37" fmla="*/ 46905 h 416581"/>
                    <a:gd name="connsiteX38" fmla="*/ 17898 w 310310"/>
                    <a:gd name="connsiteY38" fmla="*/ 52419 h 416581"/>
                    <a:gd name="connsiteX39" fmla="*/ 22272 w 310310"/>
                    <a:gd name="connsiteY39" fmla="*/ 55081 h 416581"/>
                    <a:gd name="connsiteX40" fmla="*/ 29498 w 310310"/>
                    <a:gd name="connsiteY40" fmla="*/ 60216 h 416581"/>
                    <a:gd name="connsiteX41" fmla="*/ 31399 w 310310"/>
                    <a:gd name="connsiteY41" fmla="*/ 79231 h 416581"/>
                    <a:gd name="connsiteX42" fmla="*/ 27976 w 310310"/>
                    <a:gd name="connsiteY42" fmla="*/ 83604 h 416581"/>
                    <a:gd name="connsiteX43" fmla="*/ 25695 w 310310"/>
                    <a:gd name="connsiteY43" fmla="*/ 86647 h 416581"/>
                    <a:gd name="connsiteX44" fmla="*/ 26645 w 310310"/>
                    <a:gd name="connsiteY44" fmla="*/ 91971 h 416581"/>
                    <a:gd name="connsiteX45" fmla="*/ 30448 w 310310"/>
                    <a:gd name="connsiteY45" fmla="*/ 97105 h 416581"/>
                    <a:gd name="connsiteX46" fmla="*/ 32540 w 310310"/>
                    <a:gd name="connsiteY46" fmla="*/ 99387 h 416581"/>
                    <a:gd name="connsiteX47" fmla="*/ 36343 w 310310"/>
                    <a:gd name="connsiteY47" fmla="*/ 106803 h 416581"/>
                    <a:gd name="connsiteX48" fmla="*/ 30829 w 310310"/>
                    <a:gd name="connsiteY48" fmla="*/ 119543 h 416581"/>
                    <a:gd name="connsiteX49" fmla="*/ 20941 w 310310"/>
                    <a:gd name="connsiteY49" fmla="*/ 123917 h 416581"/>
                    <a:gd name="connsiteX50" fmla="*/ 18849 w 310310"/>
                    <a:gd name="connsiteY50" fmla="*/ 123917 h 416581"/>
                    <a:gd name="connsiteX51" fmla="*/ 8961 w 310310"/>
                    <a:gd name="connsiteY51" fmla="*/ 127150 h 416581"/>
                    <a:gd name="connsiteX52" fmla="*/ 1735 w 310310"/>
                    <a:gd name="connsiteY52" fmla="*/ 133615 h 416581"/>
                    <a:gd name="connsiteX53" fmla="*/ 214 w 310310"/>
                    <a:gd name="connsiteY53" fmla="*/ 141981 h 416581"/>
                    <a:gd name="connsiteX54" fmla="*/ 214 w 310310"/>
                    <a:gd name="connsiteY54" fmla="*/ 151489 h 416581"/>
                    <a:gd name="connsiteX55" fmla="*/ 1165 w 310310"/>
                    <a:gd name="connsiteY55" fmla="*/ 157004 h 416581"/>
                    <a:gd name="connsiteX56" fmla="*/ 1165 w 310310"/>
                    <a:gd name="connsiteY56" fmla="*/ 158335 h 416581"/>
                    <a:gd name="connsiteX57" fmla="*/ 7820 w 310310"/>
                    <a:gd name="connsiteY57" fmla="*/ 163469 h 416581"/>
                    <a:gd name="connsiteX58" fmla="*/ 12384 w 310310"/>
                    <a:gd name="connsiteY58" fmla="*/ 179252 h 416581"/>
                    <a:gd name="connsiteX59" fmla="*/ 12384 w 310310"/>
                    <a:gd name="connsiteY59" fmla="*/ 185527 h 416581"/>
                    <a:gd name="connsiteX60" fmla="*/ 18659 w 310310"/>
                    <a:gd name="connsiteY60" fmla="*/ 192943 h 416581"/>
                    <a:gd name="connsiteX61" fmla="*/ 27976 w 310310"/>
                    <a:gd name="connsiteY61" fmla="*/ 204162 h 416581"/>
                    <a:gd name="connsiteX62" fmla="*/ 29498 w 310310"/>
                    <a:gd name="connsiteY62" fmla="*/ 212719 h 416581"/>
                    <a:gd name="connsiteX63" fmla="*/ 29498 w 310310"/>
                    <a:gd name="connsiteY63" fmla="*/ 217473 h 416581"/>
                    <a:gd name="connsiteX64" fmla="*/ 29498 w 310310"/>
                    <a:gd name="connsiteY64" fmla="*/ 218613 h 416581"/>
                    <a:gd name="connsiteX65" fmla="*/ 33111 w 310310"/>
                    <a:gd name="connsiteY65" fmla="*/ 227551 h 416581"/>
                    <a:gd name="connsiteX66" fmla="*/ 18088 w 310310"/>
                    <a:gd name="connsiteY66" fmla="*/ 237058 h 416581"/>
                    <a:gd name="connsiteX67" fmla="*/ 11623 w 310310"/>
                    <a:gd name="connsiteY67" fmla="*/ 237058 h 416581"/>
                    <a:gd name="connsiteX68" fmla="*/ 8010 w 310310"/>
                    <a:gd name="connsiteY68" fmla="*/ 241812 h 416581"/>
                    <a:gd name="connsiteX69" fmla="*/ 9722 w 310310"/>
                    <a:gd name="connsiteY69" fmla="*/ 249419 h 416581"/>
                    <a:gd name="connsiteX70" fmla="*/ 14095 w 310310"/>
                    <a:gd name="connsiteY70" fmla="*/ 254743 h 416581"/>
                    <a:gd name="connsiteX71" fmla="*/ 20180 w 310310"/>
                    <a:gd name="connsiteY71" fmla="*/ 273758 h 416581"/>
                    <a:gd name="connsiteX72" fmla="*/ 19229 w 310310"/>
                    <a:gd name="connsiteY72" fmla="*/ 281555 h 416581"/>
                    <a:gd name="connsiteX73" fmla="*/ 19229 w 310310"/>
                    <a:gd name="connsiteY73" fmla="*/ 285738 h 416581"/>
                    <a:gd name="connsiteX74" fmla="*/ 50224 w 310310"/>
                    <a:gd name="connsiteY74" fmla="*/ 293344 h 416581"/>
                    <a:gd name="connsiteX75" fmla="*/ 56690 w 310310"/>
                    <a:gd name="connsiteY75" fmla="*/ 296767 h 416581"/>
                    <a:gd name="connsiteX76" fmla="*/ 61824 w 310310"/>
                    <a:gd name="connsiteY76" fmla="*/ 309697 h 416581"/>
                    <a:gd name="connsiteX77" fmla="*/ 64866 w 310310"/>
                    <a:gd name="connsiteY77" fmla="*/ 315592 h 416581"/>
                    <a:gd name="connsiteX78" fmla="*/ 69430 w 310310"/>
                    <a:gd name="connsiteY78" fmla="*/ 317113 h 416581"/>
                    <a:gd name="connsiteX79" fmla="*/ 74944 w 310310"/>
                    <a:gd name="connsiteY79" fmla="*/ 318635 h 416581"/>
                    <a:gd name="connsiteX80" fmla="*/ 85403 w 310310"/>
                    <a:gd name="connsiteY80" fmla="*/ 327381 h 416581"/>
                    <a:gd name="connsiteX81" fmla="*/ 92629 w 310310"/>
                    <a:gd name="connsiteY81" fmla="*/ 333276 h 416581"/>
                    <a:gd name="connsiteX82" fmla="*/ 99855 w 310310"/>
                    <a:gd name="connsiteY82" fmla="*/ 331185 h 416581"/>
                    <a:gd name="connsiteX83" fmla="*/ 116018 w 310310"/>
                    <a:gd name="connsiteY83" fmla="*/ 329854 h 416581"/>
                    <a:gd name="connsiteX84" fmla="*/ 124194 w 310310"/>
                    <a:gd name="connsiteY84" fmla="*/ 338791 h 416581"/>
                    <a:gd name="connsiteX85" fmla="*/ 125525 w 310310"/>
                    <a:gd name="connsiteY85" fmla="*/ 341073 h 416581"/>
                    <a:gd name="connsiteX86" fmla="*/ 131800 w 310310"/>
                    <a:gd name="connsiteY86" fmla="*/ 346777 h 416581"/>
                    <a:gd name="connsiteX87" fmla="*/ 133131 w 310310"/>
                    <a:gd name="connsiteY87" fmla="*/ 346777 h 416581"/>
                    <a:gd name="connsiteX88" fmla="*/ 140167 w 310310"/>
                    <a:gd name="connsiteY88" fmla="*/ 352292 h 416581"/>
                    <a:gd name="connsiteX89" fmla="*/ 135413 w 310310"/>
                    <a:gd name="connsiteY89" fmla="*/ 372828 h 416581"/>
                    <a:gd name="connsiteX90" fmla="*/ 137315 w 310310"/>
                    <a:gd name="connsiteY90" fmla="*/ 374159 h 416581"/>
                    <a:gd name="connsiteX91" fmla="*/ 152717 w 310310"/>
                    <a:gd name="connsiteY91" fmla="*/ 384048 h 416581"/>
                    <a:gd name="connsiteX92" fmla="*/ 158612 w 310310"/>
                    <a:gd name="connsiteY92" fmla="*/ 389181 h 416581"/>
                    <a:gd name="connsiteX93" fmla="*/ 160894 w 310310"/>
                    <a:gd name="connsiteY93" fmla="*/ 398119 h 416581"/>
                    <a:gd name="connsiteX94" fmla="*/ 160894 w 310310"/>
                    <a:gd name="connsiteY94" fmla="*/ 412951 h 416581"/>
                    <a:gd name="connsiteX95" fmla="*/ 164317 w 310310"/>
                    <a:gd name="connsiteY95" fmla="*/ 412951 h 416581"/>
                    <a:gd name="connsiteX96" fmla="*/ 174015 w 310310"/>
                    <a:gd name="connsiteY96" fmla="*/ 408577 h 416581"/>
                    <a:gd name="connsiteX97" fmla="*/ 199685 w 310310"/>
                    <a:gd name="connsiteY97" fmla="*/ 406486 h 416581"/>
                    <a:gd name="connsiteX98" fmla="*/ 207672 w 310310"/>
                    <a:gd name="connsiteY98" fmla="*/ 412571 h 416581"/>
                    <a:gd name="connsiteX99" fmla="*/ 218320 w 310310"/>
                    <a:gd name="connsiteY99" fmla="*/ 416374 h 416581"/>
                    <a:gd name="connsiteX100" fmla="*/ 228399 w 310310"/>
                    <a:gd name="connsiteY100" fmla="*/ 416374 h 416581"/>
                    <a:gd name="connsiteX101" fmla="*/ 228399 w 310310"/>
                    <a:gd name="connsiteY101" fmla="*/ 415423 h 416581"/>
                    <a:gd name="connsiteX102" fmla="*/ 230300 w 310310"/>
                    <a:gd name="connsiteY102" fmla="*/ 410099 h 416581"/>
                    <a:gd name="connsiteX103" fmla="*/ 230300 w 310310"/>
                    <a:gd name="connsiteY103" fmla="*/ 400020 h 416581"/>
                    <a:gd name="connsiteX104" fmla="*/ 225166 w 310310"/>
                    <a:gd name="connsiteY104" fmla="*/ 397739 h 416581"/>
                    <a:gd name="connsiteX105" fmla="*/ 212426 w 310310"/>
                    <a:gd name="connsiteY105" fmla="*/ 385759 h 416581"/>
                    <a:gd name="connsiteX106" fmla="*/ 215658 w 310310"/>
                    <a:gd name="connsiteY106" fmla="*/ 373969 h 416581"/>
                    <a:gd name="connsiteX107" fmla="*/ 229539 w 310310"/>
                    <a:gd name="connsiteY107" fmla="*/ 369596 h 416581"/>
                    <a:gd name="connsiteX108" fmla="*/ 238287 w 310310"/>
                    <a:gd name="connsiteY108" fmla="*/ 373019 h 416581"/>
                    <a:gd name="connsiteX109" fmla="*/ 243991 w 310310"/>
                    <a:gd name="connsiteY109" fmla="*/ 373019 h 416581"/>
                    <a:gd name="connsiteX110" fmla="*/ 243991 w 310310"/>
                    <a:gd name="connsiteY110" fmla="*/ 368455 h 416581"/>
                    <a:gd name="connsiteX111" fmla="*/ 241329 w 310310"/>
                    <a:gd name="connsiteY111" fmla="*/ 362180 h 416581"/>
                    <a:gd name="connsiteX112" fmla="*/ 249696 w 310310"/>
                    <a:gd name="connsiteY112" fmla="*/ 339932 h 416581"/>
                    <a:gd name="connsiteX113" fmla="*/ 266429 w 310310"/>
                    <a:gd name="connsiteY113" fmla="*/ 342784 h 416581"/>
                    <a:gd name="connsiteX114" fmla="*/ 271754 w 310310"/>
                    <a:gd name="connsiteY114" fmla="*/ 345066 h 416581"/>
                    <a:gd name="connsiteX115" fmla="*/ 287727 w 310310"/>
                    <a:gd name="connsiteY115" fmla="*/ 341643 h 416581"/>
                    <a:gd name="connsiteX116" fmla="*/ 294572 w 310310"/>
                    <a:gd name="connsiteY116" fmla="*/ 337080 h 416581"/>
                    <a:gd name="connsiteX117" fmla="*/ 301608 w 310310"/>
                    <a:gd name="connsiteY117" fmla="*/ 331755 h 416581"/>
                    <a:gd name="connsiteX118" fmla="*/ 310165 w 310310"/>
                    <a:gd name="connsiteY118" fmla="*/ 328142 h 416581"/>
                    <a:gd name="connsiteX119" fmla="*/ 310165 w 310310"/>
                    <a:gd name="connsiteY119" fmla="*/ 306084 h 416581"/>
                    <a:gd name="connsiteX120" fmla="*/ 310165 w 310310"/>
                    <a:gd name="connsiteY120" fmla="*/ 298478 h 416581"/>
                    <a:gd name="connsiteX121" fmla="*/ 305031 w 310310"/>
                    <a:gd name="connsiteY121" fmla="*/ 286689 h 416581"/>
                    <a:gd name="connsiteX122" fmla="*/ 303509 w 310310"/>
                    <a:gd name="connsiteY122" fmla="*/ 283836 h 416581"/>
                    <a:gd name="connsiteX123" fmla="*/ 290769 w 310310"/>
                    <a:gd name="connsiteY123" fmla="*/ 253032 h 416581"/>
                    <a:gd name="connsiteX124" fmla="*/ 269092 w 310310"/>
                    <a:gd name="connsiteY124" fmla="*/ 220515 h 416581"/>
                    <a:gd name="connsiteX125" fmla="*/ 264528 w 310310"/>
                    <a:gd name="connsiteY125" fmla="*/ 215191 h 416581"/>
                    <a:gd name="connsiteX126" fmla="*/ 263007 w 310310"/>
                    <a:gd name="connsiteY126" fmla="*/ 211007 h 416581"/>
                    <a:gd name="connsiteX127" fmla="*/ 260154 w 310310"/>
                    <a:gd name="connsiteY127" fmla="*/ 204922 h 416581"/>
                    <a:gd name="connsiteX128" fmla="*/ 258253 w 310310"/>
                    <a:gd name="connsiteY128" fmla="*/ 201500 h 416581"/>
                    <a:gd name="connsiteX129" fmla="*/ 254069 w 310310"/>
                    <a:gd name="connsiteY129" fmla="*/ 171645 h 4165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</a:cxnLst>
                  <a:rect l="l" t="t" r="r" b="b"/>
                  <a:pathLst>
                    <a:path w="310310" h="416581">
                      <a:moveTo>
                        <a:pt x="255020" y="147876"/>
                      </a:moveTo>
                      <a:cubicBezTo>
                        <a:pt x="255499" y="144473"/>
                        <a:pt x="255499" y="141012"/>
                        <a:pt x="255020" y="137608"/>
                      </a:cubicBezTo>
                      <a:cubicBezTo>
                        <a:pt x="254065" y="135364"/>
                        <a:pt x="252639" y="133349"/>
                        <a:pt x="250837" y="131713"/>
                      </a:cubicBezTo>
                      <a:lnTo>
                        <a:pt x="236385" y="115740"/>
                      </a:lnTo>
                      <a:cubicBezTo>
                        <a:pt x="234200" y="113496"/>
                        <a:pt x="232285" y="111005"/>
                        <a:pt x="230680" y="108324"/>
                      </a:cubicBezTo>
                      <a:cubicBezTo>
                        <a:pt x="229115" y="105244"/>
                        <a:pt x="227904" y="101992"/>
                        <a:pt x="227067" y="98626"/>
                      </a:cubicBezTo>
                      <a:lnTo>
                        <a:pt x="227067" y="97105"/>
                      </a:lnTo>
                      <a:cubicBezTo>
                        <a:pt x="226775" y="96059"/>
                        <a:pt x="226392" y="95051"/>
                        <a:pt x="225927" y="94063"/>
                      </a:cubicBezTo>
                      <a:cubicBezTo>
                        <a:pt x="224879" y="90412"/>
                        <a:pt x="223544" y="86856"/>
                        <a:pt x="221933" y="83414"/>
                      </a:cubicBezTo>
                      <a:cubicBezTo>
                        <a:pt x="221933" y="80942"/>
                        <a:pt x="220032" y="78470"/>
                        <a:pt x="219081" y="75998"/>
                      </a:cubicBezTo>
                      <a:cubicBezTo>
                        <a:pt x="218130" y="73526"/>
                        <a:pt x="215088" y="66871"/>
                        <a:pt x="211665" y="65540"/>
                      </a:cubicBezTo>
                      <a:cubicBezTo>
                        <a:pt x="209347" y="65045"/>
                        <a:pt x="206947" y="65045"/>
                        <a:pt x="204629" y="65540"/>
                      </a:cubicBezTo>
                      <a:lnTo>
                        <a:pt x="179719" y="65540"/>
                      </a:lnTo>
                      <a:cubicBezTo>
                        <a:pt x="173665" y="65977"/>
                        <a:pt x="167669" y="64075"/>
                        <a:pt x="162986" y="60216"/>
                      </a:cubicBezTo>
                      <a:cubicBezTo>
                        <a:pt x="160118" y="57154"/>
                        <a:pt x="158203" y="53313"/>
                        <a:pt x="157471" y="49187"/>
                      </a:cubicBezTo>
                      <a:cubicBezTo>
                        <a:pt x="157471" y="49187"/>
                        <a:pt x="157471" y="47285"/>
                        <a:pt x="157471" y="46334"/>
                      </a:cubicBezTo>
                      <a:cubicBezTo>
                        <a:pt x="157471" y="45383"/>
                        <a:pt x="154999" y="42341"/>
                        <a:pt x="154239" y="42151"/>
                      </a:cubicBezTo>
                      <a:lnTo>
                        <a:pt x="152527" y="42151"/>
                      </a:lnTo>
                      <a:lnTo>
                        <a:pt x="150435" y="42151"/>
                      </a:lnTo>
                      <a:cubicBezTo>
                        <a:pt x="143143" y="44851"/>
                        <a:pt x="134961" y="43311"/>
                        <a:pt x="129138" y="38158"/>
                      </a:cubicBezTo>
                      <a:cubicBezTo>
                        <a:pt x="124263" y="34145"/>
                        <a:pt x="119975" y="29468"/>
                        <a:pt x="116398" y="24276"/>
                      </a:cubicBezTo>
                      <a:lnTo>
                        <a:pt x="112215" y="19142"/>
                      </a:lnTo>
                      <a:lnTo>
                        <a:pt x="112215" y="18001"/>
                      </a:lnTo>
                      <a:cubicBezTo>
                        <a:pt x="109339" y="15472"/>
                        <a:pt x="106219" y="13248"/>
                        <a:pt x="102897" y="11346"/>
                      </a:cubicBezTo>
                      <a:cubicBezTo>
                        <a:pt x="98385" y="7296"/>
                        <a:pt x="93328" y="3911"/>
                        <a:pt x="87875" y="1268"/>
                      </a:cubicBezTo>
                      <a:lnTo>
                        <a:pt x="87875" y="1268"/>
                      </a:lnTo>
                      <a:cubicBezTo>
                        <a:pt x="84452" y="-254"/>
                        <a:pt x="82931" y="-63"/>
                        <a:pt x="82360" y="127"/>
                      </a:cubicBezTo>
                      <a:cubicBezTo>
                        <a:pt x="81461" y="811"/>
                        <a:pt x="80689" y="1648"/>
                        <a:pt x="80079" y="2599"/>
                      </a:cubicBezTo>
                      <a:lnTo>
                        <a:pt x="76656" y="6782"/>
                      </a:lnTo>
                      <a:cubicBezTo>
                        <a:pt x="74351" y="9635"/>
                        <a:pt x="71588" y="12068"/>
                        <a:pt x="68479" y="14008"/>
                      </a:cubicBezTo>
                      <a:cubicBezTo>
                        <a:pt x="62872" y="17887"/>
                        <a:pt x="55617" y="18477"/>
                        <a:pt x="49464" y="15529"/>
                      </a:cubicBezTo>
                      <a:cubicBezTo>
                        <a:pt x="46227" y="13609"/>
                        <a:pt x="43440" y="11004"/>
                        <a:pt x="41287" y="7923"/>
                      </a:cubicBezTo>
                      <a:cubicBezTo>
                        <a:pt x="39386" y="5451"/>
                        <a:pt x="37674" y="3359"/>
                        <a:pt x="35773" y="2979"/>
                      </a:cubicBezTo>
                      <a:cubicBezTo>
                        <a:pt x="33871" y="2599"/>
                        <a:pt x="29307" y="5832"/>
                        <a:pt x="27596" y="9825"/>
                      </a:cubicBezTo>
                      <a:cubicBezTo>
                        <a:pt x="25155" y="14008"/>
                        <a:pt x="24405" y="18990"/>
                        <a:pt x="25504" y="23706"/>
                      </a:cubicBezTo>
                      <a:cubicBezTo>
                        <a:pt x="27016" y="29144"/>
                        <a:pt x="25575" y="35001"/>
                        <a:pt x="21701" y="39108"/>
                      </a:cubicBezTo>
                      <a:lnTo>
                        <a:pt x="20180" y="41390"/>
                      </a:lnTo>
                      <a:cubicBezTo>
                        <a:pt x="18568" y="42930"/>
                        <a:pt x="17330" y="44813"/>
                        <a:pt x="16567" y="46905"/>
                      </a:cubicBezTo>
                      <a:cubicBezTo>
                        <a:pt x="16001" y="48844"/>
                        <a:pt x="16506" y="50955"/>
                        <a:pt x="17898" y="52419"/>
                      </a:cubicBezTo>
                      <a:cubicBezTo>
                        <a:pt x="19229" y="53503"/>
                        <a:pt x="20701" y="54397"/>
                        <a:pt x="22272" y="55081"/>
                      </a:cubicBezTo>
                      <a:cubicBezTo>
                        <a:pt x="24934" y="56393"/>
                        <a:pt x="27374" y="58143"/>
                        <a:pt x="29498" y="60216"/>
                      </a:cubicBezTo>
                      <a:cubicBezTo>
                        <a:pt x="34333" y="65407"/>
                        <a:pt x="35111" y="73184"/>
                        <a:pt x="31399" y="79231"/>
                      </a:cubicBezTo>
                      <a:cubicBezTo>
                        <a:pt x="30509" y="80866"/>
                        <a:pt x="29353" y="82349"/>
                        <a:pt x="27976" y="83604"/>
                      </a:cubicBezTo>
                      <a:cubicBezTo>
                        <a:pt x="27081" y="84517"/>
                        <a:pt x="26314" y="85525"/>
                        <a:pt x="25695" y="86647"/>
                      </a:cubicBezTo>
                      <a:cubicBezTo>
                        <a:pt x="25217" y="88472"/>
                        <a:pt x="25565" y="90412"/>
                        <a:pt x="26645" y="91971"/>
                      </a:cubicBezTo>
                      <a:cubicBezTo>
                        <a:pt x="27741" y="93797"/>
                        <a:pt x="29015" y="95527"/>
                        <a:pt x="30448" y="97105"/>
                      </a:cubicBezTo>
                      <a:lnTo>
                        <a:pt x="32540" y="99387"/>
                      </a:lnTo>
                      <a:cubicBezTo>
                        <a:pt x="34400" y="101517"/>
                        <a:pt x="35706" y="104065"/>
                        <a:pt x="36343" y="106803"/>
                      </a:cubicBezTo>
                      <a:cubicBezTo>
                        <a:pt x="36954" y="111728"/>
                        <a:pt x="34843" y="116615"/>
                        <a:pt x="30829" y="119543"/>
                      </a:cubicBezTo>
                      <a:cubicBezTo>
                        <a:pt x="27826" y="121597"/>
                        <a:pt x="24476" y="123080"/>
                        <a:pt x="20941" y="123917"/>
                      </a:cubicBezTo>
                      <a:lnTo>
                        <a:pt x="18849" y="123917"/>
                      </a:lnTo>
                      <a:cubicBezTo>
                        <a:pt x="15474" y="124735"/>
                        <a:pt x="12169" y="125819"/>
                        <a:pt x="8961" y="127150"/>
                      </a:cubicBezTo>
                      <a:cubicBezTo>
                        <a:pt x="5888" y="128424"/>
                        <a:pt x="3340" y="130705"/>
                        <a:pt x="1735" y="133615"/>
                      </a:cubicBezTo>
                      <a:cubicBezTo>
                        <a:pt x="796" y="136315"/>
                        <a:pt x="282" y="139129"/>
                        <a:pt x="214" y="141981"/>
                      </a:cubicBezTo>
                      <a:cubicBezTo>
                        <a:pt x="-71" y="145138"/>
                        <a:pt x="-71" y="148333"/>
                        <a:pt x="214" y="151489"/>
                      </a:cubicBezTo>
                      <a:cubicBezTo>
                        <a:pt x="438" y="153334"/>
                        <a:pt x="756" y="155178"/>
                        <a:pt x="1165" y="157004"/>
                      </a:cubicBezTo>
                      <a:cubicBezTo>
                        <a:pt x="1165" y="157004"/>
                        <a:pt x="1165" y="157955"/>
                        <a:pt x="1165" y="158335"/>
                      </a:cubicBezTo>
                      <a:cubicBezTo>
                        <a:pt x="3737" y="159533"/>
                        <a:pt x="6012" y="161282"/>
                        <a:pt x="7820" y="163469"/>
                      </a:cubicBezTo>
                      <a:cubicBezTo>
                        <a:pt x="11654" y="167766"/>
                        <a:pt x="13331" y="173566"/>
                        <a:pt x="12384" y="179252"/>
                      </a:cubicBezTo>
                      <a:cubicBezTo>
                        <a:pt x="12085" y="181324"/>
                        <a:pt x="12085" y="183454"/>
                        <a:pt x="12384" y="185527"/>
                      </a:cubicBezTo>
                      <a:cubicBezTo>
                        <a:pt x="13799" y="188493"/>
                        <a:pt x="15961" y="191060"/>
                        <a:pt x="18659" y="192943"/>
                      </a:cubicBezTo>
                      <a:cubicBezTo>
                        <a:pt x="22755" y="195738"/>
                        <a:pt x="25984" y="199617"/>
                        <a:pt x="27976" y="204162"/>
                      </a:cubicBezTo>
                      <a:cubicBezTo>
                        <a:pt x="28927" y="206919"/>
                        <a:pt x="29441" y="209809"/>
                        <a:pt x="29498" y="212719"/>
                      </a:cubicBezTo>
                      <a:cubicBezTo>
                        <a:pt x="29298" y="214297"/>
                        <a:pt x="29298" y="215894"/>
                        <a:pt x="29498" y="217473"/>
                      </a:cubicBezTo>
                      <a:lnTo>
                        <a:pt x="29498" y="218613"/>
                      </a:lnTo>
                      <a:cubicBezTo>
                        <a:pt x="31920" y="220934"/>
                        <a:pt x="33234" y="224185"/>
                        <a:pt x="33111" y="227551"/>
                      </a:cubicBezTo>
                      <a:cubicBezTo>
                        <a:pt x="31399" y="238960"/>
                        <a:pt x="22082" y="237629"/>
                        <a:pt x="18088" y="237058"/>
                      </a:cubicBezTo>
                      <a:cubicBezTo>
                        <a:pt x="15976" y="236450"/>
                        <a:pt x="13736" y="236450"/>
                        <a:pt x="11623" y="237058"/>
                      </a:cubicBezTo>
                      <a:cubicBezTo>
                        <a:pt x="9805" y="238066"/>
                        <a:pt x="8495" y="239797"/>
                        <a:pt x="8010" y="241812"/>
                      </a:cubicBezTo>
                      <a:cubicBezTo>
                        <a:pt x="7537" y="244474"/>
                        <a:pt x="8155" y="247213"/>
                        <a:pt x="9722" y="249419"/>
                      </a:cubicBezTo>
                      <a:cubicBezTo>
                        <a:pt x="11047" y="251301"/>
                        <a:pt x="12509" y="253070"/>
                        <a:pt x="14095" y="254743"/>
                      </a:cubicBezTo>
                      <a:cubicBezTo>
                        <a:pt x="19556" y="259421"/>
                        <a:pt x="21910" y="266780"/>
                        <a:pt x="20180" y="273758"/>
                      </a:cubicBezTo>
                      <a:lnTo>
                        <a:pt x="19229" y="281555"/>
                      </a:lnTo>
                      <a:cubicBezTo>
                        <a:pt x="19136" y="282943"/>
                        <a:pt x="19136" y="284350"/>
                        <a:pt x="19229" y="285738"/>
                      </a:cubicBezTo>
                      <a:cubicBezTo>
                        <a:pt x="29882" y="286708"/>
                        <a:pt x="40329" y="289275"/>
                        <a:pt x="50224" y="293344"/>
                      </a:cubicBezTo>
                      <a:cubicBezTo>
                        <a:pt x="52594" y="294029"/>
                        <a:pt x="54798" y="295189"/>
                        <a:pt x="56690" y="296767"/>
                      </a:cubicBezTo>
                      <a:cubicBezTo>
                        <a:pt x="59974" y="300266"/>
                        <a:pt x="61807" y="304886"/>
                        <a:pt x="61824" y="309697"/>
                      </a:cubicBezTo>
                      <a:cubicBezTo>
                        <a:pt x="62210" y="311922"/>
                        <a:pt x="63271" y="313995"/>
                        <a:pt x="64866" y="315592"/>
                      </a:cubicBezTo>
                      <a:cubicBezTo>
                        <a:pt x="66251" y="316448"/>
                        <a:pt x="67812" y="316961"/>
                        <a:pt x="69430" y="317113"/>
                      </a:cubicBezTo>
                      <a:cubicBezTo>
                        <a:pt x="71318" y="317417"/>
                        <a:pt x="73166" y="317931"/>
                        <a:pt x="74944" y="318635"/>
                      </a:cubicBezTo>
                      <a:cubicBezTo>
                        <a:pt x="79099" y="320650"/>
                        <a:pt x="82691" y="323654"/>
                        <a:pt x="85403" y="327381"/>
                      </a:cubicBezTo>
                      <a:cubicBezTo>
                        <a:pt x="88065" y="330424"/>
                        <a:pt x="90157" y="332896"/>
                        <a:pt x="92629" y="333276"/>
                      </a:cubicBezTo>
                      <a:cubicBezTo>
                        <a:pt x="95163" y="333124"/>
                        <a:pt x="97634" y="332421"/>
                        <a:pt x="99855" y="331185"/>
                      </a:cubicBezTo>
                      <a:cubicBezTo>
                        <a:pt x="104774" y="328351"/>
                        <a:pt x="110701" y="327857"/>
                        <a:pt x="116018" y="329854"/>
                      </a:cubicBezTo>
                      <a:cubicBezTo>
                        <a:pt x="119644" y="331869"/>
                        <a:pt x="122515" y="335007"/>
                        <a:pt x="124194" y="338791"/>
                      </a:cubicBezTo>
                      <a:cubicBezTo>
                        <a:pt x="124708" y="339513"/>
                        <a:pt x="125153" y="340274"/>
                        <a:pt x="125525" y="341073"/>
                      </a:cubicBezTo>
                      <a:cubicBezTo>
                        <a:pt x="127086" y="343488"/>
                        <a:pt x="129249" y="345446"/>
                        <a:pt x="131800" y="346777"/>
                      </a:cubicBezTo>
                      <a:lnTo>
                        <a:pt x="133131" y="346777"/>
                      </a:lnTo>
                      <a:cubicBezTo>
                        <a:pt x="135923" y="347956"/>
                        <a:pt x="138351" y="349858"/>
                        <a:pt x="140167" y="352292"/>
                      </a:cubicBezTo>
                      <a:cubicBezTo>
                        <a:pt x="143879" y="359366"/>
                        <a:pt x="141858" y="368094"/>
                        <a:pt x="135413" y="372828"/>
                      </a:cubicBezTo>
                      <a:lnTo>
                        <a:pt x="137315" y="374159"/>
                      </a:lnTo>
                      <a:lnTo>
                        <a:pt x="152717" y="384048"/>
                      </a:lnTo>
                      <a:cubicBezTo>
                        <a:pt x="154995" y="385360"/>
                        <a:pt x="156998" y="387109"/>
                        <a:pt x="158612" y="389181"/>
                      </a:cubicBezTo>
                      <a:cubicBezTo>
                        <a:pt x="160095" y="391920"/>
                        <a:pt x="160879" y="395000"/>
                        <a:pt x="160894" y="398119"/>
                      </a:cubicBezTo>
                      <a:cubicBezTo>
                        <a:pt x="160894" y="403063"/>
                        <a:pt x="160894" y="408007"/>
                        <a:pt x="160894" y="412951"/>
                      </a:cubicBezTo>
                      <a:lnTo>
                        <a:pt x="164317" y="412951"/>
                      </a:lnTo>
                      <a:cubicBezTo>
                        <a:pt x="167760" y="412019"/>
                        <a:pt x="171033" y="410536"/>
                        <a:pt x="174015" y="408577"/>
                      </a:cubicBezTo>
                      <a:cubicBezTo>
                        <a:pt x="181402" y="402854"/>
                        <a:pt x="191471" y="402036"/>
                        <a:pt x="199685" y="406486"/>
                      </a:cubicBezTo>
                      <a:cubicBezTo>
                        <a:pt x="202488" y="408330"/>
                        <a:pt x="205156" y="410365"/>
                        <a:pt x="207672" y="412571"/>
                      </a:cubicBezTo>
                      <a:cubicBezTo>
                        <a:pt x="210252" y="415708"/>
                        <a:pt x="214342" y="417153"/>
                        <a:pt x="218320" y="416374"/>
                      </a:cubicBezTo>
                      <a:cubicBezTo>
                        <a:pt x="221667" y="415955"/>
                        <a:pt x="225052" y="415955"/>
                        <a:pt x="228399" y="416374"/>
                      </a:cubicBezTo>
                      <a:cubicBezTo>
                        <a:pt x="228399" y="416374"/>
                        <a:pt x="228399" y="416374"/>
                        <a:pt x="228399" y="415423"/>
                      </a:cubicBezTo>
                      <a:lnTo>
                        <a:pt x="230300" y="410099"/>
                      </a:lnTo>
                      <a:cubicBezTo>
                        <a:pt x="232772" y="404204"/>
                        <a:pt x="232962" y="402302"/>
                        <a:pt x="230300" y="400020"/>
                      </a:cubicBezTo>
                      <a:cubicBezTo>
                        <a:pt x="228733" y="398974"/>
                        <a:pt x="226995" y="398195"/>
                        <a:pt x="225166" y="397739"/>
                      </a:cubicBezTo>
                      <a:cubicBezTo>
                        <a:pt x="218868" y="396731"/>
                        <a:pt x="213823" y="391977"/>
                        <a:pt x="212426" y="385759"/>
                      </a:cubicBezTo>
                      <a:cubicBezTo>
                        <a:pt x="211460" y="381537"/>
                        <a:pt x="212675" y="377107"/>
                        <a:pt x="215658" y="373969"/>
                      </a:cubicBezTo>
                      <a:cubicBezTo>
                        <a:pt x="219330" y="370394"/>
                        <a:pt x="224481" y="368778"/>
                        <a:pt x="229539" y="369596"/>
                      </a:cubicBezTo>
                      <a:cubicBezTo>
                        <a:pt x="232669" y="370090"/>
                        <a:pt x="235657" y="371250"/>
                        <a:pt x="238287" y="373019"/>
                      </a:cubicBezTo>
                      <a:cubicBezTo>
                        <a:pt x="242090" y="375300"/>
                        <a:pt x="242280" y="375110"/>
                        <a:pt x="243991" y="373019"/>
                      </a:cubicBezTo>
                      <a:cubicBezTo>
                        <a:pt x="245703" y="370927"/>
                        <a:pt x="245703" y="371497"/>
                        <a:pt x="243991" y="368455"/>
                      </a:cubicBezTo>
                      <a:cubicBezTo>
                        <a:pt x="242808" y="366496"/>
                        <a:pt x="241913" y="364385"/>
                        <a:pt x="241329" y="362180"/>
                      </a:cubicBezTo>
                      <a:cubicBezTo>
                        <a:pt x="237716" y="348108"/>
                        <a:pt x="243801" y="342213"/>
                        <a:pt x="249696" y="339932"/>
                      </a:cubicBezTo>
                      <a:cubicBezTo>
                        <a:pt x="255421" y="338372"/>
                        <a:pt x="261542" y="339418"/>
                        <a:pt x="266429" y="342784"/>
                      </a:cubicBezTo>
                      <a:cubicBezTo>
                        <a:pt x="268086" y="343792"/>
                        <a:pt x="269879" y="344572"/>
                        <a:pt x="271754" y="345066"/>
                      </a:cubicBezTo>
                      <a:cubicBezTo>
                        <a:pt x="277270" y="345161"/>
                        <a:pt x="282733" y="343982"/>
                        <a:pt x="287727" y="341643"/>
                      </a:cubicBezTo>
                      <a:cubicBezTo>
                        <a:pt x="290254" y="340521"/>
                        <a:pt x="292570" y="338981"/>
                        <a:pt x="294572" y="337080"/>
                      </a:cubicBezTo>
                      <a:cubicBezTo>
                        <a:pt x="296738" y="335083"/>
                        <a:pt x="299094" y="333295"/>
                        <a:pt x="301608" y="331755"/>
                      </a:cubicBezTo>
                      <a:cubicBezTo>
                        <a:pt x="304228" y="330063"/>
                        <a:pt x="307124" y="328846"/>
                        <a:pt x="310165" y="328142"/>
                      </a:cubicBezTo>
                      <a:lnTo>
                        <a:pt x="310165" y="306084"/>
                      </a:lnTo>
                      <a:cubicBezTo>
                        <a:pt x="310359" y="303555"/>
                        <a:pt x="310359" y="301007"/>
                        <a:pt x="310165" y="298478"/>
                      </a:cubicBezTo>
                      <a:cubicBezTo>
                        <a:pt x="309106" y="294295"/>
                        <a:pt x="307371" y="290321"/>
                        <a:pt x="305031" y="286689"/>
                      </a:cubicBezTo>
                      <a:lnTo>
                        <a:pt x="303509" y="283836"/>
                      </a:lnTo>
                      <a:cubicBezTo>
                        <a:pt x="298402" y="273948"/>
                        <a:pt x="294140" y="263642"/>
                        <a:pt x="290769" y="253032"/>
                      </a:cubicBezTo>
                      <a:cubicBezTo>
                        <a:pt x="286498" y="240481"/>
                        <a:pt x="279025" y="229281"/>
                        <a:pt x="269092" y="220515"/>
                      </a:cubicBezTo>
                      <a:cubicBezTo>
                        <a:pt x="267283" y="219013"/>
                        <a:pt x="265741" y="217207"/>
                        <a:pt x="264528" y="215191"/>
                      </a:cubicBezTo>
                      <a:cubicBezTo>
                        <a:pt x="263914" y="213841"/>
                        <a:pt x="263406" y="212434"/>
                        <a:pt x="263007" y="211007"/>
                      </a:cubicBezTo>
                      <a:cubicBezTo>
                        <a:pt x="262404" y="208840"/>
                        <a:pt x="261440" y="206786"/>
                        <a:pt x="260154" y="204922"/>
                      </a:cubicBezTo>
                      <a:cubicBezTo>
                        <a:pt x="259449" y="203819"/>
                        <a:pt x="258814" y="202679"/>
                        <a:pt x="258253" y="201500"/>
                      </a:cubicBezTo>
                      <a:cubicBezTo>
                        <a:pt x="254206" y="192106"/>
                        <a:pt x="252761" y="181800"/>
                        <a:pt x="254069" y="171645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>
                    <a:latin typeface="Arial" panose="020B0604020202020204"/>
                  </a:endParaRPr>
                </a:p>
              </p:txBody>
            </p:sp>
            <p:sp>
              <p:nvSpPr>
                <p:cNvPr id="513" name="Полилиния: фигура 512">
                  <a:extLst>
                    <a:ext uri="{FF2B5EF4-FFF2-40B4-BE49-F238E27FC236}">
                      <a16:creationId xmlns:a16="http://schemas.microsoft.com/office/drawing/2014/main" id="{8F4121F1-8679-13A5-5E8A-8F7958F8DC5C}"/>
                    </a:ext>
                  </a:extLst>
                </p:cNvPr>
                <p:cNvSpPr/>
                <p:nvPr/>
              </p:nvSpPr>
              <p:spPr>
                <a:xfrm>
                  <a:off x="1668871" y="5530055"/>
                  <a:ext cx="256602" cy="493880"/>
                </a:xfrm>
                <a:custGeom>
                  <a:avLst/>
                  <a:gdLst>
                    <a:gd name="connsiteX0" fmla="*/ 244359 w 256602"/>
                    <a:gd name="connsiteY0" fmla="*/ 200807 h 493880"/>
                    <a:gd name="connsiteX1" fmla="*/ 251585 w 256602"/>
                    <a:gd name="connsiteY1" fmla="*/ 143761 h 493880"/>
                    <a:gd name="connsiteX2" fmla="*/ 232570 w 256602"/>
                    <a:gd name="connsiteY2" fmla="*/ 89948 h 493880"/>
                    <a:gd name="connsiteX3" fmla="*/ 251585 w 256602"/>
                    <a:gd name="connsiteY3" fmla="*/ 78728 h 493880"/>
                    <a:gd name="connsiteX4" fmla="*/ 230858 w 256602"/>
                    <a:gd name="connsiteY4" fmla="*/ 27767 h 493880"/>
                    <a:gd name="connsiteX5" fmla="*/ 217357 w 256602"/>
                    <a:gd name="connsiteY5" fmla="*/ 15978 h 493880"/>
                    <a:gd name="connsiteX6" fmla="*/ 212984 w 256602"/>
                    <a:gd name="connsiteY6" fmla="*/ 11034 h 493880"/>
                    <a:gd name="connsiteX7" fmla="*/ 202906 w 256602"/>
                    <a:gd name="connsiteY7" fmla="*/ 1526 h 493880"/>
                    <a:gd name="connsiteX8" fmla="*/ 192257 w 256602"/>
                    <a:gd name="connsiteY8" fmla="*/ 1526 h 493880"/>
                    <a:gd name="connsiteX9" fmla="*/ 189215 w 256602"/>
                    <a:gd name="connsiteY9" fmla="*/ 3047 h 493880"/>
                    <a:gd name="connsiteX10" fmla="*/ 183700 w 256602"/>
                    <a:gd name="connsiteY10" fmla="*/ 7231 h 493880"/>
                    <a:gd name="connsiteX11" fmla="*/ 174192 w 256602"/>
                    <a:gd name="connsiteY11" fmla="*/ 13506 h 493880"/>
                    <a:gd name="connsiteX12" fmla="*/ 152135 w 256602"/>
                    <a:gd name="connsiteY12" fmla="*/ 17689 h 493880"/>
                    <a:gd name="connsiteX13" fmla="*/ 143578 w 256602"/>
                    <a:gd name="connsiteY13" fmla="*/ 14266 h 493880"/>
                    <a:gd name="connsiteX14" fmla="*/ 135781 w 256602"/>
                    <a:gd name="connsiteY14" fmla="*/ 11984 h 493880"/>
                    <a:gd name="connsiteX15" fmla="*/ 133880 w 256602"/>
                    <a:gd name="connsiteY15" fmla="*/ 21492 h 493880"/>
                    <a:gd name="connsiteX16" fmla="*/ 135591 w 256602"/>
                    <a:gd name="connsiteY16" fmla="*/ 25295 h 493880"/>
                    <a:gd name="connsiteX17" fmla="*/ 133880 w 256602"/>
                    <a:gd name="connsiteY17" fmla="*/ 42599 h 493880"/>
                    <a:gd name="connsiteX18" fmla="*/ 114864 w 256602"/>
                    <a:gd name="connsiteY18" fmla="*/ 43930 h 493880"/>
                    <a:gd name="connsiteX19" fmla="*/ 110491 w 256602"/>
                    <a:gd name="connsiteY19" fmla="*/ 42029 h 493880"/>
                    <a:gd name="connsiteX20" fmla="*/ 105547 w 256602"/>
                    <a:gd name="connsiteY20" fmla="*/ 42980 h 493880"/>
                    <a:gd name="connsiteX21" fmla="*/ 105547 w 256602"/>
                    <a:gd name="connsiteY21" fmla="*/ 45642 h 493880"/>
                    <a:gd name="connsiteX22" fmla="*/ 110871 w 256602"/>
                    <a:gd name="connsiteY22" fmla="*/ 49255 h 493880"/>
                    <a:gd name="connsiteX23" fmla="*/ 120949 w 256602"/>
                    <a:gd name="connsiteY23" fmla="*/ 54769 h 493880"/>
                    <a:gd name="connsiteX24" fmla="*/ 121900 w 256602"/>
                    <a:gd name="connsiteY24" fmla="*/ 75686 h 493880"/>
                    <a:gd name="connsiteX25" fmla="*/ 120379 w 256602"/>
                    <a:gd name="connsiteY25" fmla="*/ 80250 h 493880"/>
                    <a:gd name="connsiteX26" fmla="*/ 120379 w 256602"/>
                    <a:gd name="connsiteY26" fmla="*/ 82532 h 493880"/>
                    <a:gd name="connsiteX27" fmla="*/ 127034 w 256602"/>
                    <a:gd name="connsiteY27" fmla="*/ 88616 h 493880"/>
                    <a:gd name="connsiteX28" fmla="*/ 132168 w 256602"/>
                    <a:gd name="connsiteY28" fmla="*/ 93941 h 493880"/>
                    <a:gd name="connsiteX29" fmla="*/ 136542 w 256602"/>
                    <a:gd name="connsiteY29" fmla="*/ 97364 h 493880"/>
                    <a:gd name="connsiteX30" fmla="*/ 145859 w 256602"/>
                    <a:gd name="connsiteY30" fmla="*/ 106111 h 493880"/>
                    <a:gd name="connsiteX31" fmla="*/ 147761 w 256602"/>
                    <a:gd name="connsiteY31" fmla="*/ 117520 h 493880"/>
                    <a:gd name="connsiteX32" fmla="*/ 147761 w 256602"/>
                    <a:gd name="connsiteY32" fmla="*/ 122083 h 493880"/>
                    <a:gd name="connsiteX33" fmla="*/ 157649 w 256602"/>
                    <a:gd name="connsiteY33" fmla="*/ 125887 h 493880"/>
                    <a:gd name="connsiteX34" fmla="*/ 173051 w 256602"/>
                    <a:gd name="connsiteY34" fmla="*/ 128549 h 493880"/>
                    <a:gd name="connsiteX35" fmla="*/ 182559 w 256602"/>
                    <a:gd name="connsiteY35" fmla="*/ 149085 h 493880"/>
                    <a:gd name="connsiteX36" fmla="*/ 171911 w 256602"/>
                    <a:gd name="connsiteY36" fmla="*/ 169432 h 493880"/>
                    <a:gd name="connsiteX37" fmla="*/ 161262 w 256602"/>
                    <a:gd name="connsiteY37" fmla="*/ 171904 h 493880"/>
                    <a:gd name="connsiteX38" fmla="*/ 154797 w 256602"/>
                    <a:gd name="connsiteY38" fmla="*/ 173235 h 493880"/>
                    <a:gd name="connsiteX39" fmla="*/ 141296 w 256602"/>
                    <a:gd name="connsiteY39" fmla="*/ 182552 h 493880"/>
                    <a:gd name="connsiteX40" fmla="*/ 139775 w 256602"/>
                    <a:gd name="connsiteY40" fmla="*/ 183693 h 493880"/>
                    <a:gd name="connsiteX41" fmla="*/ 133119 w 256602"/>
                    <a:gd name="connsiteY41" fmla="*/ 195293 h 493880"/>
                    <a:gd name="connsiteX42" fmla="*/ 127224 w 256602"/>
                    <a:gd name="connsiteY42" fmla="*/ 207843 h 493880"/>
                    <a:gd name="connsiteX43" fmla="*/ 123992 w 256602"/>
                    <a:gd name="connsiteY43" fmla="*/ 212216 h 493880"/>
                    <a:gd name="connsiteX44" fmla="*/ 118477 w 256602"/>
                    <a:gd name="connsiteY44" fmla="*/ 220773 h 493880"/>
                    <a:gd name="connsiteX45" fmla="*/ 115815 w 256602"/>
                    <a:gd name="connsiteY45" fmla="*/ 229520 h 493880"/>
                    <a:gd name="connsiteX46" fmla="*/ 110491 w 256602"/>
                    <a:gd name="connsiteY46" fmla="*/ 244162 h 493880"/>
                    <a:gd name="connsiteX47" fmla="*/ 86840 w 256602"/>
                    <a:gd name="connsiteY47" fmla="*/ 249296 h 493880"/>
                    <a:gd name="connsiteX48" fmla="*/ 84820 w 256602"/>
                    <a:gd name="connsiteY48" fmla="*/ 247775 h 493880"/>
                    <a:gd name="connsiteX49" fmla="*/ 78925 w 256602"/>
                    <a:gd name="connsiteY49" fmla="*/ 244923 h 493880"/>
                    <a:gd name="connsiteX50" fmla="*/ 68657 w 256602"/>
                    <a:gd name="connsiteY50" fmla="*/ 247205 h 493880"/>
                    <a:gd name="connsiteX51" fmla="*/ 57818 w 256602"/>
                    <a:gd name="connsiteY51" fmla="*/ 252529 h 493880"/>
                    <a:gd name="connsiteX52" fmla="*/ 43747 w 256602"/>
                    <a:gd name="connsiteY52" fmla="*/ 254050 h 493880"/>
                    <a:gd name="connsiteX53" fmla="*/ 29295 w 256602"/>
                    <a:gd name="connsiteY53" fmla="*/ 254050 h 493880"/>
                    <a:gd name="connsiteX54" fmla="*/ 17125 w 256602"/>
                    <a:gd name="connsiteY54" fmla="*/ 254050 h 493880"/>
                    <a:gd name="connsiteX55" fmla="*/ 17125 w 256602"/>
                    <a:gd name="connsiteY55" fmla="*/ 254050 h 493880"/>
                    <a:gd name="connsiteX56" fmla="*/ 7618 w 256602"/>
                    <a:gd name="connsiteY56" fmla="*/ 273066 h 493880"/>
                    <a:gd name="connsiteX57" fmla="*/ 11 w 256602"/>
                    <a:gd name="connsiteY57" fmla="*/ 292081 h 493880"/>
                    <a:gd name="connsiteX58" fmla="*/ 11040 w 256602"/>
                    <a:gd name="connsiteY58" fmla="*/ 313949 h 493880"/>
                    <a:gd name="connsiteX59" fmla="*/ 21689 w 256602"/>
                    <a:gd name="connsiteY59" fmla="*/ 331443 h 493880"/>
                    <a:gd name="connsiteX60" fmla="*/ 24731 w 256602"/>
                    <a:gd name="connsiteY60" fmla="*/ 341711 h 493880"/>
                    <a:gd name="connsiteX61" fmla="*/ 27774 w 256602"/>
                    <a:gd name="connsiteY61" fmla="*/ 351409 h 493880"/>
                    <a:gd name="connsiteX62" fmla="*/ 29105 w 256602"/>
                    <a:gd name="connsiteY62" fmla="*/ 354451 h 493880"/>
                    <a:gd name="connsiteX63" fmla="*/ 36141 w 256602"/>
                    <a:gd name="connsiteY63" fmla="*/ 362057 h 493880"/>
                    <a:gd name="connsiteX64" fmla="*/ 37852 w 256602"/>
                    <a:gd name="connsiteY64" fmla="*/ 363769 h 493880"/>
                    <a:gd name="connsiteX65" fmla="*/ 48120 w 256602"/>
                    <a:gd name="connsiteY65" fmla="*/ 374798 h 493880"/>
                    <a:gd name="connsiteX66" fmla="*/ 61051 w 256602"/>
                    <a:gd name="connsiteY66" fmla="*/ 431844 h 493880"/>
                    <a:gd name="connsiteX67" fmla="*/ 61051 w 256602"/>
                    <a:gd name="connsiteY67" fmla="*/ 446486 h 493880"/>
                    <a:gd name="connsiteX68" fmla="*/ 69227 w 256602"/>
                    <a:gd name="connsiteY68" fmla="*/ 484517 h 493880"/>
                    <a:gd name="connsiteX69" fmla="*/ 99842 w 256602"/>
                    <a:gd name="connsiteY69" fmla="*/ 488890 h 493880"/>
                    <a:gd name="connsiteX70" fmla="*/ 135971 w 256602"/>
                    <a:gd name="connsiteY70" fmla="*/ 484517 h 493880"/>
                    <a:gd name="connsiteX71" fmla="*/ 161832 w 256602"/>
                    <a:gd name="connsiteY71" fmla="*/ 483186 h 493880"/>
                    <a:gd name="connsiteX72" fmla="*/ 182749 w 256602"/>
                    <a:gd name="connsiteY72" fmla="*/ 473298 h 493880"/>
                    <a:gd name="connsiteX73" fmla="*/ 192447 w 256602"/>
                    <a:gd name="connsiteY73" fmla="*/ 467973 h 493880"/>
                    <a:gd name="connsiteX74" fmla="*/ 192447 w 256602"/>
                    <a:gd name="connsiteY74" fmla="*/ 464360 h 493880"/>
                    <a:gd name="connsiteX75" fmla="*/ 194349 w 256602"/>
                    <a:gd name="connsiteY75" fmla="*/ 434316 h 493880"/>
                    <a:gd name="connsiteX76" fmla="*/ 192257 w 256602"/>
                    <a:gd name="connsiteY76" fmla="*/ 397236 h 493880"/>
                    <a:gd name="connsiteX77" fmla="*/ 197391 w 256602"/>
                    <a:gd name="connsiteY77" fmla="*/ 340190 h 493880"/>
                    <a:gd name="connsiteX78" fmla="*/ 199673 w 256602"/>
                    <a:gd name="connsiteY78" fmla="*/ 269453 h 493880"/>
                    <a:gd name="connsiteX79" fmla="*/ 234281 w 256602"/>
                    <a:gd name="connsiteY79" fmla="*/ 230471 h 493880"/>
                    <a:gd name="connsiteX80" fmla="*/ 256149 w 256602"/>
                    <a:gd name="connsiteY80" fmla="*/ 217160 h 493880"/>
                    <a:gd name="connsiteX81" fmla="*/ 244359 w 256602"/>
                    <a:gd name="connsiteY81" fmla="*/ 200807 h 493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</a:cxnLst>
                  <a:rect l="l" t="t" r="r" b="b"/>
                  <a:pathLst>
                    <a:path w="256602" h="493880">
                      <a:moveTo>
                        <a:pt x="244359" y="200807"/>
                      </a:moveTo>
                      <a:cubicBezTo>
                        <a:pt x="235422" y="185215"/>
                        <a:pt x="252726" y="160495"/>
                        <a:pt x="251585" y="143761"/>
                      </a:cubicBezTo>
                      <a:cubicBezTo>
                        <a:pt x="250444" y="127028"/>
                        <a:pt x="222301" y="104589"/>
                        <a:pt x="232570" y="89948"/>
                      </a:cubicBezTo>
                      <a:cubicBezTo>
                        <a:pt x="237215" y="83882"/>
                        <a:pt x="244032" y="79869"/>
                        <a:pt x="251585" y="78728"/>
                      </a:cubicBezTo>
                      <a:cubicBezTo>
                        <a:pt x="256909" y="59009"/>
                        <a:pt x="248432" y="38169"/>
                        <a:pt x="230858" y="27767"/>
                      </a:cubicBezTo>
                      <a:cubicBezTo>
                        <a:pt x="226055" y="24192"/>
                        <a:pt x="221541" y="20256"/>
                        <a:pt x="217357" y="15978"/>
                      </a:cubicBezTo>
                      <a:cubicBezTo>
                        <a:pt x="215836" y="14266"/>
                        <a:pt x="214315" y="12745"/>
                        <a:pt x="212984" y="11034"/>
                      </a:cubicBezTo>
                      <a:cubicBezTo>
                        <a:pt x="210192" y="7307"/>
                        <a:pt x="206785" y="4093"/>
                        <a:pt x="202906" y="1526"/>
                      </a:cubicBezTo>
                      <a:cubicBezTo>
                        <a:pt x="199646" y="-509"/>
                        <a:pt x="195516" y="-509"/>
                        <a:pt x="192257" y="1526"/>
                      </a:cubicBezTo>
                      <a:lnTo>
                        <a:pt x="189215" y="3047"/>
                      </a:lnTo>
                      <a:cubicBezTo>
                        <a:pt x="187241" y="4245"/>
                        <a:pt x="185394" y="5652"/>
                        <a:pt x="183700" y="7231"/>
                      </a:cubicBezTo>
                      <a:cubicBezTo>
                        <a:pt x="180863" y="9779"/>
                        <a:pt x="177659" y="11908"/>
                        <a:pt x="174192" y="13506"/>
                      </a:cubicBezTo>
                      <a:cubicBezTo>
                        <a:pt x="167284" y="16662"/>
                        <a:pt x="159716" y="18088"/>
                        <a:pt x="152135" y="17689"/>
                      </a:cubicBezTo>
                      <a:cubicBezTo>
                        <a:pt x="149111" y="17023"/>
                        <a:pt x="146219" y="15883"/>
                        <a:pt x="143578" y="14266"/>
                      </a:cubicBezTo>
                      <a:cubicBezTo>
                        <a:pt x="139965" y="12365"/>
                        <a:pt x="137493" y="11224"/>
                        <a:pt x="135781" y="11984"/>
                      </a:cubicBezTo>
                      <a:cubicBezTo>
                        <a:pt x="134070" y="12745"/>
                        <a:pt x="131788" y="13506"/>
                        <a:pt x="133880" y="21492"/>
                      </a:cubicBezTo>
                      <a:cubicBezTo>
                        <a:pt x="134289" y="22823"/>
                        <a:pt x="134865" y="24097"/>
                        <a:pt x="135591" y="25295"/>
                      </a:cubicBezTo>
                      <a:cubicBezTo>
                        <a:pt x="139657" y="30619"/>
                        <a:pt x="138909" y="38169"/>
                        <a:pt x="133880" y="42599"/>
                      </a:cubicBezTo>
                      <a:cubicBezTo>
                        <a:pt x="128991" y="48209"/>
                        <a:pt x="120487" y="48798"/>
                        <a:pt x="114864" y="43930"/>
                      </a:cubicBezTo>
                      <a:cubicBezTo>
                        <a:pt x="113547" y="43018"/>
                        <a:pt x="112060" y="42371"/>
                        <a:pt x="110491" y="42029"/>
                      </a:cubicBezTo>
                      <a:cubicBezTo>
                        <a:pt x="108781" y="41686"/>
                        <a:pt x="107007" y="42029"/>
                        <a:pt x="105547" y="42980"/>
                      </a:cubicBezTo>
                      <a:cubicBezTo>
                        <a:pt x="105188" y="43835"/>
                        <a:pt x="105188" y="44786"/>
                        <a:pt x="105547" y="45642"/>
                      </a:cubicBezTo>
                      <a:cubicBezTo>
                        <a:pt x="105547" y="47353"/>
                        <a:pt x="105547" y="47923"/>
                        <a:pt x="110871" y="49255"/>
                      </a:cubicBezTo>
                      <a:cubicBezTo>
                        <a:pt x="114688" y="50091"/>
                        <a:pt x="118183" y="52012"/>
                        <a:pt x="120949" y="54769"/>
                      </a:cubicBezTo>
                      <a:cubicBezTo>
                        <a:pt x="125422" y="60930"/>
                        <a:pt x="125796" y="69145"/>
                        <a:pt x="121900" y="75686"/>
                      </a:cubicBezTo>
                      <a:cubicBezTo>
                        <a:pt x="121307" y="77169"/>
                        <a:pt x="120799" y="78709"/>
                        <a:pt x="120379" y="80250"/>
                      </a:cubicBezTo>
                      <a:lnTo>
                        <a:pt x="120379" y="82532"/>
                      </a:lnTo>
                      <a:cubicBezTo>
                        <a:pt x="122744" y="84395"/>
                        <a:pt x="124969" y="86430"/>
                        <a:pt x="127034" y="88616"/>
                      </a:cubicBezTo>
                      <a:lnTo>
                        <a:pt x="132168" y="93941"/>
                      </a:lnTo>
                      <a:lnTo>
                        <a:pt x="136542" y="97364"/>
                      </a:lnTo>
                      <a:cubicBezTo>
                        <a:pt x="140294" y="99512"/>
                        <a:pt x="143486" y="102498"/>
                        <a:pt x="145859" y="106111"/>
                      </a:cubicBezTo>
                      <a:cubicBezTo>
                        <a:pt x="147662" y="109628"/>
                        <a:pt x="148328" y="113603"/>
                        <a:pt x="147761" y="117520"/>
                      </a:cubicBezTo>
                      <a:cubicBezTo>
                        <a:pt x="147358" y="119022"/>
                        <a:pt x="147358" y="120581"/>
                        <a:pt x="147761" y="122083"/>
                      </a:cubicBezTo>
                      <a:cubicBezTo>
                        <a:pt x="149282" y="125887"/>
                        <a:pt x="150804" y="126267"/>
                        <a:pt x="157649" y="125887"/>
                      </a:cubicBezTo>
                      <a:cubicBezTo>
                        <a:pt x="162933" y="125221"/>
                        <a:pt x="168296" y="126153"/>
                        <a:pt x="173051" y="128549"/>
                      </a:cubicBezTo>
                      <a:cubicBezTo>
                        <a:pt x="179661" y="133208"/>
                        <a:pt x="183287" y="141042"/>
                        <a:pt x="182559" y="149085"/>
                      </a:cubicBezTo>
                      <a:cubicBezTo>
                        <a:pt x="182776" y="157262"/>
                        <a:pt x="178747" y="164944"/>
                        <a:pt x="171911" y="169432"/>
                      </a:cubicBezTo>
                      <a:cubicBezTo>
                        <a:pt x="168558" y="170953"/>
                        <a:pt x="164940" y="171790"/>
                        <a:pt x="161262" y="171904"/>
                      </a:cubicBezTo>
                      <a:cubicBezTo>
                        <a:pt x="159039" y="171904"/>
                        <a:pt x="156839" y="172360"/>
                        <a:pt x="154797" y="173235"/>
                      </a:cubicBezTo>
                      <a:cubicBezTo>
                        <a:pt x="149995" y="175878"/>
                        <a:pt x="145473" y="178997"/>
                        <a:pt x="141296" y="182552"/>
                      </a:cubicBezTo>
                      <a:lnTo>
                        <a:pt x="139775" y="183693"/>
                      </a:lnTo>
                      <a:cubicBezTo>
                        <a:pt x="136369" y="186736"/>
                        <a:pt x="134034" y="190805"/>
                        <a:pt x="133119" y="195293"/>
                      </a:cubicBezTo>
                      <a:cubicBezTo>
                        <a:pt x="131720" y="199723"/>
                        <a:pt x="129738" y="203945"/>
                        <a:pt x="127224" y="207843"/>
                      </a:cubicBezTo>
                      <a:cubicBezTo>
                        <a:pt x="127224" y="209364"/>
                        <a:pt x="125133" y="210695"/>
                        <a:pt x="123992" y="212216"/>
                      </a:cubicBezTo>
                      <a:cubicBezTo>
                        <a:pt x="121911" y="214898"/>
                        <a:pt x="120067" y="217769"/>
                        <a:pt x="118477" y="220773"/>
                      </a:cubicBezTo>
                      <a:cubicBezTo>
                        <a:pt x="117285" y="223588"/>
                        <a:pt x="116391" y="226516"/>
                        <a:pt x="115815" y="229520"/>
                      </a:cubicBezTo>
                      <a:cubicBezTo>
                        <a:pt x="115115" y="234731"/>
                        <a:pt x="113298" y="239713"/>
                        <a:pt x="110491" y="244162"/>
                      </a:cubicBezTo>
                      <a:cubicBezTo>
                        <a:pt x="105378" y="252111"/>
                        <a:pt x="94788" y="254411"/>
                        <a:pt x="86840" y="249296"/>
                      </a:cubicBezTo>
                      <a:cubicBezTo>
                        <a:pt x="86130" y="248840"/>
                        <a:pt x="85455" y="248327"/>
                        <a:pt x="84820" y="247775"/>
                      </a:cubicBezTo>
                      <a:cubicBezTo>
                        <a:pt x="82953" y="246634"/>
                        <a:pt x="80979" y="245683"/>
                        <a:pt x="78925" y="244923"/>
                      </a:cubicBezTo>
                      <a:cubicBezTo>
                        <a:pt x="74362" y="243212"/>
                        <a:pt x="72460" y="244923"/>
                        <a:pt x="68657" y="247205"/>
                      </a:cubicBezTo>
                      <a:cubicBezTo>
                        <a:pt x="65440" y="249696"/>
                        <a:pt x="61753" y="251502"/>
                        <a:pt x="57818" y="252529"/>
                      </a:cubicBezTo>
                      <a:cubicBezTo>
                        <a:pt x="53209" y="253613"/>
                        <a:pt x="48482" y="254126"/>
                        <a:pt x="43747" y="254050"/>
                      </a:cubicBezTo>
                      <a:cubicBezTo>
                        <a:pt x="38993" y="254050"/>
                        <a:pt x="34239" y="254050"/>
                        <a:pt x="29295" y="254050"/>
                      </a:cubicBezTo>
                      <a:lnTo>
                        <a:pt x="17125" y="254050"/>
                      </a:lnTo>
                      <a:lnTo>
                        <a:pt x="17125" y="254050"/>
                      </a:lnTo>
                      <a:cubicBezTo>
                        <a:pt x="15705" y="261124"/>
                        <a:pt x="12423" y="267684"/>
                        <a:pt x="7618" y="273066"/>
                      </a:cubicBezTo>
                      <a:cubicBezTo>
                        <a:pt x="2554" y="278067"/>
                        <a:pt x="-201" y="284969"/>
                        <a:pt x="11" y="292081"/>
                      </a:cubicBezTo>
                      <a:cubicBezTo>
                        <a:pt x="1645" y="300239"/>
                        <a:pt x="5456" y="307788"/>
                        <a:pt x="11040" y="313949"/>
                      </a:cubicBezTo>
                      <a:cubicBezTo>
                        <a:pt x="15275" y="319330"/>
                        <a:pt x="18850" y="325206"/>
                        <a:pt x="21689" y="331443"/>
                      </a:cubicBezTo>
                      <a:cubicBezTo>
                        <a:pt x="22877" y="334809"/>
                        <a:pt x="23893" y="338231"/>
                        <a:pt x="24731" y="341711"/>
                      </a:cubicBezTo>
                      <a:cubicBezTo>
                        <a:pt x="25401" y="345039"/>
                        <a:pt x="26422" y="348290"/>
                        <a:pt x="27774" y="351409"/>
                      </a:cubicBezTo>
                      <a:cubicBezTo>
                        <a:pt x="28019" y="352493"/>
                        <a:pt x="28472" y="353539"/>
                        <a:pt x="29105" y="354451"/>
                      </a:cubicBezTo>
                      <a:cubicBezTo>
                        <a:pt x="31092" y="357304"/>
                        <a:pt x="33460" y="359852"/>
                        <a:pt x="36141" y="362057"/>
                      </a:cubicBezTo>
                      <a:lnTo>
                        <a:pt x="37852" y="363769"/>
                      </a:lnTo>
                      <a:cubicBezTo>
                        <a:pt x="41794" y="366926"/>
                        <a:pt x="45253" y="370634"/>
                        <a:pt x="48120" y="374798"/>
                      </a:cubicBezTo>
                      <a:cubicBezTo>
                        <a:pt x="57577" y="392273"/>
                        <a:pt x="62049" y="412011"/>
                        <a:pt x="61051" y="431844"/>
                      </a:cubicBezTo>
                      <a:cubicBezTo>
                        <a:pt x="61336" y="436712"/>
                        <a:pt x="61336" y="441618"/>
                        <a:pt x="61051" y="446486"/>
                      </a:cubicBezTo>
                      <a:cubicBezTo>
                        <a:pt x="58465" y="459740"/>
                        <a:pt x="61420" y="473488"/>
                        <a:pt x="69227" y="484517"/>
                      </a:cubicBezTo>
                      <a:cubicBezTo>
                        <a:pt x="79496" y="496876"/>
                        <a:pt x="85391" y="495546"/>
                        <a:pt x="99842" y="488890"/>
                      </a:cubicBezTo>
                      <a:cubicBezTo>
                        <a:pt x="111341" y="484479"/>
                        <a:pt x="123752" y="482976"/>
                        <a:pt x="135971" y="484517"/>
                      </a:cubicBezTo>
                      <a:cubicBezTo>
                        <a:pt x="144608" y="485429"/>
                        <a:pt x="153334" y="484973"/>
                        <a:pt x="161832" y="483186"/>
                      </a:cubicBezTo>
                      <a:cubicBezTo>
                        <a:pt x="169167" y="480714"/>
                        <a:pt x="176185" y="477405"/>
                        <a:pt x="182749" y="473298"/>
                      </a:cubicBezTo>
                      <a:lnTo>
                        <a:pt x="192447" y="467973"/>
                      </a:lnTo>
                      <a:lnTo>
                        <a:pt x="192447" y="464360"/>
                      </a:lnTo>
                      <a:cubicBezTo>
                        <a:pt x="192447" y="454473"/>
                        <a:pt x="194729" y="444394"/>
                        <a:pt x="194349" y="434316"/>
                      </a:cubicBezTo>
                      <a:cubicBezTo>
                        <a:pt x="193968" y="424238"/>
                        <a:pt x="191687" y="409596"/>
                        <a:pt x="192257" y="397236"/>
                      </a:cubicBezTo>
                      <a:cubicBezTo>
                        <a:pt x="192257" y="378221"/>
                        <a:pt x="197201" y="359205"/>
                        <a:pt x="197391" y="340190"/>
                      </a:cubicBezTo>
                      <a:cubicBezTo>
                        <a:pt x="197581" y="321174"/>
                        <a:pt x="186743" y="289038"/>
                        <a:pt x="199673" y="269453"/>
                      </a:cubicBezTo>
                      <a:cubicBezTo>
                        <a:pt x="208046" y="253955"/>
                        <a:pt x="219892" y="240625"/>
                        <a:pt x="234281" y="230471"/>
                      </a:cubicBezTo>
                      <a:cubicBezTo>
                        <a:pt x="240366" y="227238"/>
                        <a:pt x="253296" y="224767"/>
                        <a:pt x="256149" y="217160"/>
                      </a:cubicBezTo>
                      <a:cubicBezTo>
                        <a:pt x="259001" y="209554"/>
                        <a:pt x="247592" y="206702"/>
                        <a:pt x="244359" y="200807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>
                    <a:latin typeface="Arial" panose="020B0604020202020204"/>
                  </a:endParaRPr>
                </a:p>
              </p:txBody>
            </p:sp>
          </p:grpSp>
          <p:grpSp>
            <p:nvGrpSpPr>
              <p:cNvPr id="334" name="Группа 333">
                <a:extLst>
                  <a:ext uri="{FF2B5EF4-FFF2-40B4-BE49-F238E27FC236}">
                    <a16:creationId xmlns:a16="http://schemas.microsoft.com/office/drawing/2014/main" id="{252712B8-2537-9174-9275-3EF3AFB1C01A}"/>
                  </a:ext>
                </a:extLst>
              </p:cNvPr>
              <p:cNvGrpSpPr/>
              <p:nvPr/>
            </p:nvGrpSpPr>
            <p:grpSpPr>
              <a:xfrm>
                <a:off x="3395959" y="4675852"/>
                <a:ext cx="1013736" cy="808066"/>
                <a:chOff x="1252250" y="4717445"/>
                <a:chExt cx="1115257" cy="886394"/>
              </a:xfrm>
              <a:grpFill/>
            </p:grpSpPr>
            <p:sp>
              <p:nvSpPr>
                <p:cNvPr id="422" name="Полилиния: фигура 421">
                  <a:extLst>
                    <a:ext uri="{FF2B5EF4-FFF2-40B4-BE49-F238E27FC236}">
                      <a16:creationId xmlns:a16="http://schemas.microsoft.com/office/drawing/2014/main" id="{8E91FAC0-D6E2-72A3-A710-A60C8CB09A2C}"/>
                    </a:ext>
                  </a:extLst>
                </p:cNvPr>
                <p:cNvSpPr/>
                <p:nvPr/>
              </p:nvSpPr>
              <p:spPr>
                <a:xfrm>
                  <a:off x="1361578" y="5123993"/>
                  <a:ext cx="142104" cy="218384"/>
                </a:xfrm>
                <a:custGeom>
                  <a:avLst/>
                  <a:gdLst>
                    <a:gd name="connsiteX0" fmla="*/ 58013 w 142104"/>
                    <a:gd name="connsiteY0" fmla="*/ 196326 h 218384"/>
                    <a:gd name="connsiteX1" fmla="*/ 59725 w 142104"/>
                    <a:gd name="connsiteY1" fmla="*/ 190812 h 218384"/>
                    <a:gd name="connsiteX2" fmla="*/ 66570 w 142104"/>
                    <a:gd name="connsiteY2" fmla="*/ 185297 h 218384"/>
                    <a:gd name="connsiteX3" fmla="*/ 72655 w 142104"/>
                    <a:gd name="connsiteY3" fmla="*/ 180734 h 218384"/>
                    <a:gd name="connsiteX4" fmla="*/ 98896 w 142104"/>
                    <a:gd name="connsiteY4" fmla="*/ 150690 h 218384"/>
                    <a:gd name="connsiteX5" fmla="*/ 99847 w 142104"/>
                    <a:gd name="connsiteY5" fmla="*/ 148598 h 218384"/>
                    <a:gd name="connsiteX6" fmla="*/ 109925 w 142104"/>
                    <a:gd name="connsiteY6" fmla="*/ 134717 h 218384"/>
                    <a:gd name="connsiteX7" fmla="*/ 113158 w 142104"/>
                    <a:gd name="connsiteY7" fmla="*/ 137569 h 218384"/>
                    <a:gd name="connsiteX8" fmla="*/ 110115 w 142104"/>
                    <a:gd name="connsiteY8" fmla="*/ 150309 h 218384"/>
                    <a:gd name="connsiteX9" fmla="*/ 105361 w 142104"/>
                    <a:gd name="connsiteY9" fmla="*/ 165902 h 218384"/>
                    <a:gd name="connsiteX10" fmla="*/ 115059 w 142104"/>
                    <a:gd name="connsiteY10" fmla="*/ 181875 h 218384"/>
                    <a:gd name="connsiteX11" fmla="*/ 135025 w 142104"/>
                    <a:gd name="connsiteY11" fmla="*/ 161909 h 218384"/>
                    <a:gd name="connsiteX12" fmla="*/ 140540 w 142104"/>
                    <a:gd name="connsiteY12" fmla="*/ 126730 h 218384"/>
                    <a:gd name="connsiteX13" fmla="*/ 140540 w 142104"/>
                    <a:gd name="connsiteY13" fmla="*/ 116462 h 218384"/>
                    <a:gd name="connsiteX14" fmla="*/ 128370 w 142104"/>
                    <a:gd name="connsiteY14" fmla="*/ 71776 h 218384"/>
                    <a:gd name="connsiteX15" fmla="*/ 121334 w 142104"/>
                    <a:gd name="connsiteY15" fmla="*/ 66451 h 218384"/>
                    <a:gd name="connsiteX16" fmla="*/ 113158 w 142104"/>
                    <a:gd name="connsiteY16" fmla="*/ 59416 h 218384"/>
                    <a:gd name="connsiteX17" fmla="*/ 110496 w 142104"/>
                    <a:gd name="connsiteY17" fmla="*/ 51619 h 218384"/>
                    <a:gd name="connsiteX18" fmla="*/ 107263 w 142104"/>
                    <a:gd name="connsiteY18" fmla="*/ 41351 h 218384"/>
                    <a:gd name="connsiteX19" fmla="*/ 72845 w 142104"/>
                    <a:gd name="connsiteY19" fmla="*/ 30512 h 218384"/>
                    <a:gd name="connsiteX20" fmla="*/ 60105 w 142104"/>
                    <a:gd name="connsiteY20" fmla="*/ 30512 h 218384"/>
                    <a:gd name="connsiteX21" fmla="*/ 49456 w 142104"/>
                    <a:gd name="connsiteY21" fmla="*/ 20434 h 218384"/>
                    <a:gd name="connsiteX22" fmla="*/ 44132 w 142104"/>
                    <a:gd name="connsiteY22" fmla="*/ 10166 h 218384"/>
                    <a:gd name="connsiteX23" fmla="*/ 21694 w 142104"/>
                    <a:gd name="connsiteY23" fmla="*/ 848 h 218384"/>
                    <a:gd name="connsiteX24" fmla="*/ 13137 w 142104"/>
                    <a:gd name="connsiteY24" fmla="*/ 21005 h 218384"/>
                    <a:gd name="connsiteX25" fmla="*/ 37096 w 142104"/>
                    <a:gd name="connsiteY25" fmla="*/ 54852 h 218384"/>
                    <a:gd name="connsiteX26" fmla="*/ 40709 w 142104"/>
                    <a:gd name="connsiteY26" fmla="*/ 57894 h 218384"/>
                    <a:gd name="connsiteX27" fmla="*/ 45273 w 142104"/>
                    <a:gd name="connsiteY27" fmla="*/ 63029 h 218384"/>
                    <a:gd name="connsiteX28" fmla="*/ 52499 w 142104"/>
                    <a:gd name="connsiteY28" fmla="*/ 70445 h 218384"/>
                    <a:gd name="connsiteX29" fmla="*/ 78550 w 142104"/>
                    <a:gd name="connsiteY29" fmla="*/ 75008 h 218384"/>
                    <a:gd name="connsiteX30" fmla="*/ 84445 w 142104"/>
                    <a:gd name="connsiteY30" fmla="*/ 75008 h 218384"/>
                    <a:gd name="connsiteX31" fmla="*/ 91480 w 142104"/>
                    <a:gd name="connsiteY31" fmla="*/ 77671 h 218384"/>
                    <a:gd name="connsiteX32" fmla="*/ 87677 w 142104"/>
                    <a:gd name="connsiteY32" fmla="*/ 90791 h 218384"/>
                    <a:gd name="connsiteX33" fmla="*/ 73796 w 142104"/>
                    <a:gd name="connsiteY33" fmla="*/ 98968 h 218384"/>
                    <a:gd name="connsiteX34" fmla="*/ 52689 w 142104"/>
                    <a:gd name="connsiteY34" fmla="*/ 114560 h 218384"/>
                    <a:gd name="connsiteX35" fmla="*/ 46984 w 142104"/>
                    <a:gd name="connsiteY35" fmla="*/ 136618 h 218384"/>
                    <a:gd name="connsiteX36" fmla="*/ 52499 w 142104"/>
                    <a:gd name="connsiteY36" fmla="*/ 146887 h 218384"/>
                    <a:gd name="connsiteX37" fmla="*/ 55921 w 142104"/>
                    <a:gd name="connsiteY37" fmla="*/ 154303 h 218384"/>
                    <a:gd name="connsiteX38" fmla="*/ 45083 w 142104"/>
                    <a:gd name="connsiteY38" fmla="*/ 161338 h 218384"/>
                    <a:gd name="connsiteX39" fmla="*/ 38237 w 142104"/>
                    <a:gd name="connsiteY39" fmla="*/ 162289 h 218384"/>
                    <a:gd name="connsiteX40" fmla="*/ 32152 w 142104"/>
                    <a:gd name="connsiteY40" fmla="*/ 160768 h 218384"/>
                    <a:gd name="connsiteX41" fmla="*/ 10094 w 142104"/>
                    <a:gd name="connsiteY41" fmla="*/ 154873 h 218384"/>
                    <a:gd name="connsiteX42" fmla="*/ 16 w 142104"/>
                    <a:gd name="connsiteY42" fmla="*/ 171226 h 218384"/>
                    <a:gd name="connsiteX43" fmla="*/ 19032 w 142104"/>
                    <a:gd name="connsiteY43" fmla="*/ 212299 h 218384"/>
                    <a:gd name="connsiteX44" fmla="*/ 30061 w 142104"/>
                    <a:gd name="connsiteY44" fmla="*/ 218384 h 218384"/>
                    <a:gd name="connsiteX45" fmla="*/ 37286 w 142104"/>
                    <a:gd name="connsiteY45" fmla="*/ 217243 h 218384"/>
                    <a:gd name="connsiteX46" fmla="*/ 53449 w 142104"/>
                    <a:gd name="connsiteY46" fmla="*/ 207545 h 218384"/>
                    <a:gd name="connsiteX47" fmla="*/ 58013 w 142104"/>
                    <a:gd name="connsiteY47" fmla="*/ 196326 h 218384"/>
                    <a:gd name="connsiteX48" fmla="*/ 47555 w 142104"/>
                    <a:gd name="connsiteY48" fmla="*/ 194045 h 218384"/>
                    <a:gd name="connsiteX49" fmla="*/ 45843 w 142104"/>
                    <a:gd name="connsiteY49" fmla="*/ 199559 h 218384"/>
                    <a:gd name="connsiteX50" fmla="*/ 33864 w 142104"/>
                    <a:gd name="connsiteY50" fmla="*/ 206785 h 218384"/>
                    <a:gd name="connsiteX51" fmla="*/ 27018 w 142104"/>
                    <a:gd name="connsiteY51" fmla="*/ 204883 h 218384"/>
                    <a:gd name="connsiteX52" fmla="*/ 11616 w 142104"/>
                    <a:gd name="connsiteY52" fmla="*/ 171226 h 218384"/>
                    <a:gd name="connsiteX53" fmla="*/ 14848 w 142104"/>
                    <a:gd name="connsiteY53" fmla="*/ 164761 h 218384"/>
                    <a:gd name="connsiteX54" fmla="*/ 17130 w 142104"/>
                    <a:gd name="connsiteY54" fmla="*/ 164761 h 218384"/>
                    <a:gd name="connsiteX55" fmla="*/ 25117 w 142104"/>
                    <a:gd name="connsiteY55" fmla="*/ 168564 h 218384"/>
                    <a:gd name="connsiteX56" fmla="*/ 48696 w 142104"/>
                    <a:gd name="connsiteY56" fmla="*/ 171987 h 218384"/>
                    <a:gd name="connsiteX57" fmla="*/ 67711 w 142104"/>
                    <a:gd name="connsiteY57" fmla="*/ 157155 h 218384"/>
                    <a:gd name="connsiteX58" fmla="*/ 62197 w 142104"/>
                    <a:gd name="connsiteY58" fmla="*/ 140421 h 218384"/>
                    <a:gd name="connsiteX59" fmla="*/ 58964 w 142104"/>
                    <a:gd name="connsiteY59" fmla="*/ 135097 h 218384"/>
                    <a:gd name="connsiteX60" fmla="*/ 63147 w 142104"/>
                    <a:gd name="connsiteY60" fmla="*/ 120455 h 218384"/>
                    <a:gd name="connsiteX61" fmla="*/ 79691 w 142104"/>
                    <a:gd name="connsiteY61" fmla="*/ 109046 h 218384"/>
                    <a:gd name="connsiteX62" fmla="*/ 96424 w 142104"/>
                    <a:gd name="connsiteY62" fmla="*/ 98778 h 218384"/>
                    <a:gd name="connsiteX63" fmla="*/ 102699 w 142104"/>
                    <a:gd name="connsiteY63" fmla="*/ 73867 h 218384"/>
                    <a:gd name="connsiteX64" fmla="*/ 84848 w 142104"/>
                    <a:gd name="connsiteY64" fmla="*/ 64474 h 218384"/>
                    <a:gd name="connsiteX65" fmla="*/ 84635 w 142104"/>
                    <a:gd name="connsiteY65" fmla="*/ 64550 h 218384"/>
                    <a:gd name="connsiteX66" fmla="*/ 78740 w 142104"/>
                    <a:gd name="connsiteY66" fmla="*/ 64550 h 218384"/>
                    <a:gd name="connsiteX67" fmla="*/ 59725 w 142104"/>
                    <a:gd name="connsiteY67" fmla="*/ 61888 h 218384"/>
                    <a:gd name="connsiteX68" fmla="*/ 54400 w 142104"/>
                    <a:gd name="connsiteY68" fmla="*/ 56373 h 218384"/>
                    <a:gd name="connsiteX69" fmla="*/ 48505 w 142104"/>
                    <a:gd name="connsiteY69" fmla="*/ 49908 h 218384"/>
                    <a:gd name="connsiteX70" fmla="*/ 44702 w 142104"/>
                    <a:gd name="connsiteY70" fmla="*/ 46865 h 218384"/>
                    <a:gd name="connsiteX71" fmla="*/ 24736 w 142104"/>
                    <a:gd name="connsiteY71" fmla="*/ 19483 h 218384"/>
                    <a:gd name="connsiteX72" fmla="*/ 26828 w 142104"/>
                    <a:gd name="connsiteY72" fmla="*/ 11307 h 218384"/>
                    <a:gd name="connsiteX73" fmla="*/ 36145 w 142104"/>
                    <a:gd name="connsiteY73" fmla="*/ 16631 h 218384"/>
                    <a:gd name="connsiteX74" fmla="*/ 40519 w 142104"/>
                    <a:gd name="connsiteY74" fmla="*/ 24998 h 218384"/>
                    <a:gd name="connsiteX75" fmla="*/ 59534 w 142104"/>
                    <a:gd name="connsiteY75" fmla="*/ 41732 h 218384"/>
                    <a:gd name="connsiteX76" fmla="*/ 74747 w 142104"/>
                    <a:gd name="connsiteY76" fmla="*/ 41732 h 218384"/>
                    <a:gd name="connsiteX77" fmla="*/ 98706 w 142104"/>
                    <a:gd name="connsiteY77" fmla="*/ 47436 h 218384"/>
                    <a:gd name="connsiteX78" fmla="*/ 100798 w 142104"/>
                    <a:gd name="connsiteY78" fmla="*/ 54281 h 218384"/>
                    <a:gd name="connsiteX79" fmla="*/ 104981 w 142104"/>
                    <a:gd name="connsiteY79" fmla="*/ 66071 h 218384"/>
                    <a:gd name="connsiteX80" fmla="*/ 116010 w 142104"/>
                    <a:gd name="connsiteY80" fmla="*/ 75959 h 218384"/>
                    <a:gd name="connsiteX81" fmla="*/ 121715 w 142104"/>
                    <a:gd name="connsiteY81" fmla="*/ 80333 h 218384"/>
                    <a:gd name="connsiteX82" fmla="*/ 130462 w 142104"/>
                    <a:gd name="connsiteY82" fmla="*/ 116081 h 218384"/>
                    <a:gd name="connsiteX83" fmla="*/ 130462 w 142104"/>
                    <a:gd name="connsiteY83" fmla="*/ 126540 h 218384"/>
                    <a:gd name="connsiteX84" fmla="*/ 125518 w 142104"/>
                    <a:gd name="connsiteY84" fmla="*/ 159437 h 218384"/>
                    <a:gd name="connsiteX85" fmla="*/ 117721 w 142104"/>
                    <a:gd name="connsiteY85" fmla="*/ 171226 h 218384"/>
                    <a:gd name="connsiteX86" fmla="*/ 117721 w 142104"/>
                    <a:gd name="connsiteY86" fmla="*/ 165902 h 218384"/>
                    <a:gd name="connsiteX87" fmla="*/ 119813 w 142104"/>
                    <a:gd name="connsiteY87" fmla="*/ 154493 h 218384"/>
                    <a:gd name="connsiteX88" fmla="*/ 122095 w 142104"/>
                    <a:gd name="connsiteY88" fmla="*/ 131104 h 218384"/>
                    <a:gd name="connsiteX89" fmla="*/ 109165 w 142104"/>
                    <a:gd name="connsiteY89" fmla="*/ 123497 h 218384"/>
                    <a:gd name="connsiteX90" fmla="*/ 90149 w 142104"/>
                    <a:gd name="connsiteY90" fmla="*/ 143464 h 218384"/>
                    <a:gd name="connsiteX91" fmla="*/ 89198 w 142104"/>
                    <a:gd name="connsiteY91" fmla="*/ 145365 h 218384"/>
                    <a:gd name="connsiteX92" fmla="*/ 65619 w 142104"/>
                    <a:gd name="connsiteY92" fmla="*/ 173508 h 218384"/>
                    <a:gd name="connsiteX93" fmla="*/ 60675 w 142104"/>
                    <a:gd name="connsiteY93" fmla="*/ 176931 h 218384"/>
                    <a:gd name="connsiteX94" fmla="*/ 50787 w 142104"/>
                    <a:gd name="connsiteY94" fmla="*/ 185488 h 218384"/>
                    <a:gd name="connsiteX95" fmla="*/ 47555 w 142104"/>
                    <a:gd name="connsiteY95" fmla="*/ 194045 h 218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</a:cxnLst>
                  <a:rect l="l" t="t" r="r" b="b"/>
                  <a:pathLst>
                    <a:path w="142104" h="218384">
                      <a:moveTo>
                        <a:pt x="58013" y="196326"/>
                      </a:moveTo>
                      <a:cubicBezTo>
                        <a:pt x="58300" y="194406"/>
                        <a:pt x="58876" y="192561"/>
                        <a:pt x="59725" y="190812"/>
                      </a:cubicBezTo>
                      <a:cubicBezTo>
                        <a:pt x="61628" y="188549"/>
                        <a:pt x="63952" y="186667"/>
                        <a:pt x="66570" y="185297"/>
                      </a:cubicBezTo>
                      <a:cubicBezTo>
                        <a:pt x="68753" y="183985"/>
                        <a:pt x="70792" y="182464"/>
                        <a:pt x="72655" y="180734"/>
                      </a:cubicBezTo>
                      <a:cubicBezTo>
                        <a:pt x="82929" y="172158"/>
                        <a:pt x="91786" y="162023"/>
                        <a:pt x="98896" y="150690"/>
                      </a:cubicBezTo>
                      <a:lnTo>
                        <a:pt x="99847" y="148598"/>
                      </a:lnTo>
                      <a:cubicBezTo>
                        <a:pt x="105932" y="136618"/>
                        <a:pt x="108784" y="134717"/>
                        <a:pt x="109925" y="134717"/>
                      </a:cubicBezTo>
                      <a:cubicBezTo>
                        <a:pt x="111066" y="134717"/>
                        <a:pt x="111446" y="134717"/>
                        <a:pt x="113158" y="137569"/>
                      </a:cubicBezTo>
                      <a:cubicBezTo>
                        <a:pt x="114869" y="140421"/>
                        <a:pt x="113158" y="145365"/>
                        <a:pt x="110115" y="150309"/>
                      </a:cubicBezTo>
                      <a:cubicBezTo>
                        <a:pt x="107284" y="155044"/>
                        <a:pt x="105652" y="160387"/>
                        <a:pt x="105361" y="165902"/>
                      </a:cubicBezTo>
                      <a:cubicBezTo>
                        <a:pt x="105361" y="178262"/>
                        <a:pt x="110876" y="181304"/>
                        <a:pt x="115059" y="181875"/>
                      </a:cubicBezTo>
                      <a:cubicBezTo>
                        <a:pt x="123616" y="183016"/>
                        <a:pt x="132173" y="171036"/>
                        <a:pt x="135025" y="161909"/>
                      </a:cubicBezTo>
                      <a:cubicBezTo>
                        <a:pt x="138207" y="150423"/>
                        <a:pt x="140057" y="138634"/>
                        <a:pt x="140540" y="126730"/>
                      </a:cubicBezTo>
                      <a:cubicBezTo>
                        <a:pt x="140540" y="123497"/>
                        <a:pt x="140540" y="120075"/>
                        <a:pt x="140540" y="116462"/>
                      </a:cubicBezTo>
                      <a:cubicBezTo>
                        <a:pt x="144820" y="100470"/>
                        <a:pt x="140173" y="83394"/>
                        <a:pt x="128370" y="71776"/>
                      </a:cubicBezTo>
                      <a:cubicBezTo>
                        <a:pt x="126143" y="69855"/>
                        <a:pt x="123793" y="68068"/>
                        <a:pt x="121334" y="66451"/>
                      </a:cubicBezTo>
                      <a:cubicBezTo>
                        <a:pt x="118212" y="64607"/>
                        <a:pt x="115443" y="62230"/>
                        <a:pt x="113158" y="59416"/>
                      </a:cubicBezTo>
                      <a:cubicBezTo>
                        <a:pt x="111711" y="57039"/>
                        <a:pt x="110802" y="54377"/>
                        <a:pt x="110496" y="51619"/>
                      </a:cubicBezTo>
                      <a:cubicBezTo>
                        <a:pt x="109952" y="48044"/>
                        <a:pt x="108860" y="44584"/>
                        <a:pt x="107263" y="41351"/>
                      </a:cubicBezTo>
                      <a:cubicBezTo>
                        <a:pt x="99086" y="27850"/>
                        <a:pt x="84635" y="29371"/>
                        <a:pt x="72845" y="30512"/>
                      </a:cubicBezTo>
                      <a:cubicBezTo>
                        <a:pt x="68607" y="30873"/>
                        <a:pt x="64343" y="30873"/>
                        <a:pt x="60105" y="30512"/>
                      </a:cubicBezTo>
                      <a:cubicBezTo>
                        <a:pt x="53259" y="30512"/>
                        <a:pt x="52118" y="26899"/>
                        <a:pt x="49456" y="20434"/>
                      </a:cubicBezTo>
                      <a:cubicBezTo>
                        <a:pt x="48021" y="16840"/>
                        <a:pt x="46237" y="13398"/>
                        <a:pt x="44132" y="10166"/>
                      </a:cubicBezTo>
                      <a:cubicBezTo>
                        <a:pt x="39871" y="2065"/>
                        <a:pt x="30441" y="-1852"/>
                        <a:pt x="21694" y="848"/>
                      </a:cubicBezTo>
                      <a:cubicBezTo>
                        <a:pt x="14354" y="4632"/>
                        <a:pt x="10754" y="13094"/>
                        <a:pt x="13137" y="21005"/>
                      </a:cubicBezTo>
                      <a:cubicBezTo>
                        <a:pt x="16470" y="34943"/>
                        <a:pt x="25052" y="47075"/>
                        <a:pt x="37096" y="54852"/>
                      </a:cubicBezTo>
                      <a:lnTo>
                        <a:pt x="40709" y="57894"/>
                      </a:lnTo>
                      <a:cubicBezTo>
                        <a:pt x="42375" y="59473"/>
                        <a:pt x="43902" y="61184"/>
                        <a:pt x="45273" y="63029"/>
                      </a:cubicBezTo>
                      <a:cubicBezTo>
                        <a:pt x="47332" y="65824"/>
                        <a:pt x="49762" y="68315"/>
                        <a:pt x="52499" y="70445"/>
                      </a:cubicBezTo>
                      <a:cubicBezTo>
                        <a:pt x="60265" y="75275"/>
                        <a:pt x="69603" y="76910"/>
                        <a:pt x="78550" y="75008"/>
                      </a:cubicBezTo>
                      <a:lnTo>
                        <a:pt x="84445" y="75008"/>
                      </a:lnTo>
                      <a:cubicBezTo>
                        <a:pt x="90149" y="75008"/>
                        <a:pt x="90149" y="75008"/>
                        <a:pt x="91480" y="77671"/>
                      </a:cubicBezTo>
                      <a:cubicBezTo>
                        <a:pt x="92963" y="82405"/>
                        <a:pt x="91467" y="87578"/>
                        <a:pt x="87677" y="90791"/>
                      </a:cubicBezTo>
                      <a:cubicBezTo>
                        <a:pt x="83507" y="94233"/>
                        <a:pt x="78824" y="96990"/>
                        <a:pt x="73796" y="98968"/>
                      </a:cubicBezTo>
                      <a:cubicBezTo>
                        <a:pt x="65359" y="101934"/>
                        <a:pt x="58006" y="107373"/>
                        <a:pt x="52689" y="114560"/>
                      </a:cubicBezTo>
                      <a:cubicBezTo>
                        <a:pt x="48960" y="121311"/>
                        <a:pt x="46999" y="128898"/>
                        <a:pt x="46984" y="136618"/>
                      </a:cubicBezTo>
                      <a:cubicBezTo>
                        <a:pt x="47842" y="140478"/>
                        <a:pt x="49749" y="144034"/>
                        <a:pt x="52499" y="146887"/>
                      </a:cubicBezTo>
                      <a:cubicBezTo>
                        <a:pt x="55161" y="150499"/>
                        <a:pt x="56492" y="152401"/>
                        <a:pt x="55921" y="154303"/>
                      </a:cubicBezTo>
                      <a:cubicBezTo>
                        <a:pt x="53478" y="158086"/>
                        <a:pt x="49534" y="160654"/>
                        <a:pt x="45083" y="161338"/>
                      </a:cubicBezTo>
                      <a:cubicBezTo>
                        <a:pt x="42862" y="162004"/>
                        <a:pt x="40553" y="162327"/>
                        <a:pt x="38237" y="162289"/>
                      </a:cubicBezTo>
                      <a:cubicBezTo>
                        <a:pt x="36094" y="162498"/>
                        <a:pt x="33943" y="161966"/>
                        <a:pt x="32152" y="160768"/>
                      </a:cubicBezTo>
                      <a:cubicBezTo>
                        <a:pt x="26564" y="154702"/>
                        <a:pt x="17969" y="152401"/>
                        <a:pt x="10094" y="154873"/>
                      </a:cubicBezTo>
                      <a:cubicBezTo>
                        <a:pt x="3703" y="157744"/>
                        <a:pt x="-288" y="164228"/>
                        <a:pt x="16" y="171226"/>
                      </a:cubicBezTo>
                      <a:cubicBezTo>
                        <a:pt x="2821" y="186286"/>
                        <a:pt x="9358" y="200415"/>
                        <a:pt x="19032" y="212299"/>
                      </a:cubicBezTo>
                      <a:cubicBezTo>
                        <a:pt x="21544" y="215950"/>
                        <a:pt x="25632" y="218213"/>
                        <a:pt x="30061" y="218384"/>
                      </a:cubicBezTo>
                      <a:cubicBezTo>
                        <a:pt x="32508" y="218327"/>
                        <a:pt x="34938" y="217928"/>
                        <a:pt x="37286" y="217243"/>
                      </a:cubicBezTo>
                      <a:cubicBezTo>
                        <a:pt x="42972" y="214543"/>
                        <a:pt x="48386" y="211292"/>
                        <a:pt x="53449" y="207545"/>
                      </a:cubicBezTo>
                      <a:cubicBezTo>
                        <a:pt x="56015" y="204313"/>
                        <a:pt x="57599" y="200434"/>
                        <a:pt x="58013" y="196326"/>
                      </a:cubicBezTo>
                      <a:close/>
                      <a:moveTo>
                        <a:pt x="47555" y="194045"/>
                      </a:moveTo>
                      <a:cubicBezTo>
                        <a:pt x="47239" y="195946"/>
                        <a:pt x="46663" y="197810"/>
                        <a:pt x="45843" y="199559"/>
                      </a:cubicBezTo>
                      <a:cubicBezTo>
                        <a:pt x="44322" y="200700"/>
                        <a:pt x="35195" y="206214"/>
                        <a:pt x="33864" y="206785"/>
                      </a:cubicBezTo>
                      <a:cubicBezTo>
                        <a:pt x="32533" y="207355"/>
                        <a:pt x="29680" y="207926"/>
                        <a:pt x="27018" y="204883"/>
                      </a:cubicBezTo>
                      <a:cubicBezTo>
                        <a:pt x="19324" y="195014"/>
                        <a:pt x="14050" y="183491"/>
                        <a:pt x="11616" y="171226"/>
                      </a:cubicBezTo>
                      <a:cubicBezTo>
                        <a:pt x="11275" y="168621"/>
                        <a:pt x="12555" y="166054"/>
                        <a:pt x="14848" y="164761"/>
                      </a:cubicBezTo>
                      <a:lnTo>
                        <a:pt x="17130" y="164761"/>
                      </a:lnTo>
                      <a:cubicBezTo>
                        <a:pt x="20212" y="164837"/>
                        <a:pt x="23116" y="166225"/>
                        <a:pt x="25117" y="168564"/>
                      </a:cubicBezTo>
                      <a:cubicBezTo>
                        <a:pt x="31939" y="173508"/>
                        <a:pt x="40751" y="174782"/>
                        <a:pt x="48696" y="171987"/>
                      </a:cubicBezTo>
                      <a:cubicBezTo>
                        <a:pt x="57241" y="170827"/>
                        <a:pt x="64503" y="165160"/>
                        <a:pt x="67711" y="157155"/>
                      </a:cubicBezTo>
                      <a:cubicBezTo>
                        <a:pt x="68725" y="151013"/>
                        <a:pt x="66663" y="144757"/>
                        <a:pt x="62197" y="140421"/>
                      </a:cubicBezTo>
                      <a:cubicBezTo>
                        <a:pt x="60763" y="138881"/>
                        <a:pt x="59662" y="137075"/>
                        <a:pt x="58964" y="135097"/>
                      </a:cubicBezTo>
                      <a:cubicBezTo>
                        <a:pt x="59388" y="129982"/>
                        <a:pt x="60808" y="125019"/>
                        <a:pt x="63147" y="120455"/>
                      </a:cubicBezTo>
                      <a:cubicBezTo>
                        <a:pt x="67500" y="115188"/>
                        <a:pt x="73227" y="111252"/>
                        <a:pt x="79691" y="109046"/>
                      </a:cubicBezTo>
                      <a:cubicBezTo>
                        <a:pt x="85772" y="106517"/>
                        <a:pt x="91417" y="103056"/>
                        <a:pt x="96424" y="98778"/>
                      </a:cubicBezTo>
                      <a:cubicBezTo>
                        <a:pt x="103483" y="92579"/>
                        <a:pt x="105979" y="82672"/>
                        <a:pt x="102699" y="73867"/>
                      </a:cubicBezTo>
                      <a:cubicBezTo>
                        <a:pt x="100360" y="66337"/>
                        <a:pt x="92368" y="62135"/>
                        <a:pt x="84848" y="64474"/>
                      </a:cubicBezTo>
                      <a:cubicBezTo>
                        <a:pt x="84775" y="64512"/>
                        <a:pt x="84705" y="64531"/>
                        <a:pt x="84635" y="64550"/>
                      </a:cubicBezTo>
                      <a:lnTo>
                        <a:pt x="78740" y="64550"/>
                      </a:lnTo>
                      <a:cubicBezTo>
                        <a:pt x="72307" y="66356"/>
                        <a:pt x="65414" y="65386"/>
                        <a:pt x="59725" y="61888"/>
                      </a:cubicBezTo>
                      <a:cubicBezTo>
                        <a:pt x="57717" y="60291"/>
                        <a:pt x="55927" y="58427"/>
                        <a:pt x="54400" y="56373"/>
                      </a:cubicBezTo>
                      <a:cubicBezTo>
                        <a:pt x="52584" y="54091"/>
                        <a:pt x="50614" y="51924"/>
                        <a:pt x="48505" y="49908"/>
                      </a:cubicBezTo>
                      <a:lnTo>
                        <a:pt x="44702" y="46865"/>
                      </a:lnTo>
                      <a:cubicBezTo>
                        <a:pt x="34858" y="40552"/>
                        <a:pt x="27735" y="30779"/>
                        <a:pt x="24736" y="19483"/>
                      </a:cubicBezTo>
                      <a:cubicBezTo>
                        <a:pt x="24736" y="15300"/>
                        <a:pt x="24736" y="12067"/>
                        <a:pt x="26828" y="11307"/>
                      </a:cubicBezTo>
                      <a:cubicBezTo>
                        <a:pt x="28920" y="10546"/>
                        <a:pt x="33103" y="11307"/>
                        <a:pt x="36145" y="16631"/>
                      </a:cubicBezTo>
                      <a:cubicBezTo>
                        <a:pt x="37935" y="19236"/>
                        <a:pt x="39405" y="22051"/>
                        <a:pt x="40519" y="24998"/>
                      </a:cubicBezTo>
                      <a:cubicBezTo>
                        <a:pt x="42704" y="34030"/>
                        <a:pt x="50306" y="40705"/>
                        <a:pt x="59534" y="41732"/>
                      </a:cubicBezTo>
                      <a:cubicBezTo>
                        <a:pt x="64589" y="42302"/>
                        <a:pt x="69692" y="42302"/>
                        <a:pt x="74747" y="41732"/>
                      </a:cubicBezTo>
                      <a:cubicBezTo>
                        <a:pt x="86726" y="40590"/>
                        <a:pt x="93762" y="40210"/>
                        <a:pt x="98706" y="47436"/>
                      </a:cubicBezTo>
                      <a:cubicBezTo>
                        <a:pt x="99682" y="49623"/>
                        <a:pt x="100385" y="51924"/>
                        <a:pt x="100798" y="54281"/>
                      </a:cubicBezTo>
                      <a:cubicBezTo>
                        <a:pt x="101304" y="58465"/>
                        <a:pt x="102732" y="62496"/>
                        <a:pt x="104981" y="66071"/>
                      </a:cubicBezTo>
                      <a:cubicBezTo>
                        <a:pt x="108037" y="70007"/>
                        <a:pt x="111772" y="73354"/>
                        <a:pt x="116010" y="75959"/>
                      </a:cubicBezTo>
                      <a:cubicBezTo>
                        <a:pt x="118102" y="77480"/>
                        <a:pt x="120003" y="78811"/>
                        <a:pt x="121715" y="80333"/>
                      </a:cubicBezTo>
                      <a:cubicBezTo>
                        <a:pt x="132363" y="90221"/>
                        <a:pt x="132173" y="99348"/>
                        <a:pt x="130462" y="116081"/>
                      </a:cubicBezTo>
                      <a:cubicBezTo>
                        <a:pt x="130462" y="119694"/>
                        <a:pt x="130462" y="123117"/>
                        <a:pt x="130462" y="126540"/>
                      </a:cubicBezTo>
                      <a:cubicBezTo>
                        <a:pt x="130121" y="137664"/>
                        <a:pt x="128463" y="148712"/>
                        <a:pt x="125518" y="159437"/>
                      </a:cubicBezTo>
                      <a:cubicBezTo>
                        <a:pt x="124065" y="164019"/>
                        <a:pt x="121365" y="168089"/>
                        <a:pt x="117721" y="171226"/>
                      </a:cubicBezTo>
                      <a:cubicBezTo>
                        <a:pt x="117581" y="169458"/>
                        <a:pt x="117581" y="167670"/>
                        <a:pt x="117721" y="165902"/>
                      </a:cubicBezTo>
                      <a:cubicBezTo>
                        <a:pt x="117526" y="161985"/>
                        <a:pt x="118241" y="158086"/>
                        <a:pt x="119813" y="154493"/>
                      </a:cubicBezTo>
                      <a:cubicBezTo>
                        <a:pt x="124797" y="147704"/>
                        <a:pt x="125674" y="138729"/>
                        <a:pt x="122095" y="131104"/>
                      </a:cubicBezTo>
                      <a:cubicBezTo>
                        <a:pt x="119421" y="126464"/>
                        <a:pt x="114512" y="123593"/>
                        <a:pt x="109165" y="123497"/>
                      </a:cubicBezTo>
                      <a:cubicBezTo>
                        <a:pt x="99847" y="123497"/>
                        <a:pt x="93762" y="136238"/>
                        <a:pt x="90149" y="143464"/>
                      </a:cubicBezTo>
                      <a:lnTo>
                        <a:pt x="89198" y="145365"/>
                      </a:lnTo>
                      <a:cubicBezTo>
                        <a:pt x="82800" y="155881"/>
                        <a:pt x="74851" y="165370"/>
                        <a:pt x="65619" y="173508"/>
                      </a:cubicBezTo>
                      <a:cubicBezTo>
                        <a:pt x="64096" y="174820"/>
                        <a:pt x="62438" y="175961"/>
                        <a:pt x="60675" y="176931"/>
                      </a:cubicBezTo>
                      <a:cubicBezTo>
                        <a:pt x="56868" y="179137"/>
                        <a:pt x="53512" y="182027"/>
                        <a:pt x="50787" y="185488"/>
                      </a:cubicBezTo>
                      <a:cubicBezTo>
                        <a:pt x="49190" y="188112"/>
                        <a:pt x="48095" y="191021"/>
                        <a:pt x="47555" y="194045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423" name="Полилиния: фигура 422">
                  <a:extLst>
                    <a:ext uri="{FF2B5EF4-FFF2-40B4-BE49-F238E27FC236}">
                      <a16:creationId xmlns:a16="http://schemas.microsoft.com/office/drawing/2014/main" id="{72D6832A-799F-E8FF-1269-C562CF086AB1}"/>
                    </a:ext>
                  </a:extLst>
                </p:cNvPr>
                <p:cNvSpPr/>
                <p:nvPr/>
              </p:nvSpPr>
              <p:spPr>
                <a:xfrm>
                  <a:off x="1669643" y="5176691"/>
                  <a:ext cx="115993" cy="97041"/>
                </a:xfrm>
                <a:custGeom>
                  <a:avLst/>
                  <a:gdLst>
                    <a:gd name="connsiteX0" fmla="*/ 114473 w 115993"/>
                    <a:gd name="connsiteY0" fmla="*/ 71181 h 97041"/>
                    <a:gd name="connsiteX1" fmla="*/ 102873 w 115993"/>
                    <a:gd name="connsiteY1" fmla="*/ 55018 h 97041"/>
                    <a:gd name="connsiteX2" fmla="*/ 83858 w 115993"/>
                    <a:gd name="connsiteY2" fmla="*/ 25164 h 97041"/>
                    <a:gd name="connsiteX3" fmla="*/ 72068 w 115993"/>
                    <a:gd name="connsiteY3" fmla="*/ 3676 h 97041"/>
                    <a:gd name="connsiteX4" fmla="*/ 64652 w 115993"/>
                    <a:gd name="connsiteY4" fmla="*/ 63 h 97041"/>
                    <a:gd name="connsiteX5" fmla="*/ 57997 w 115993"/>
                    <a:gd name="connsiteY5" fmla="*/ 9191 h 97041"/>
                    <a:gd name="connsiteX6" fmla="*/ 19966 w 115993"/>
                    <a:gd name="connsiteY6" fmla="*/ 24403 h 97041"/>
                    <a:gd name="connsiteX7" fmla="*/ 10839 w 115993"/>
                    <a:gd name="connsiteY7" fmla="*/ 17367 h 97041"/>
                    <a:gd name="connsiteX8" fmla="*/ 10839 w 115993"/>
                    <a:gd name="connsiteY8" fmla="*/ 16226 h 97041"/>
                    <a:gd name="connsiteX9" fmla="*/ 7036 w 115993"/>
                    <a:gd name="connsiteY9" fmla="*/ 18698 h 97041"/>
                    <a:gd name="connsiteX10" fmla="*/ 0 w 115993"/>
                    <a:gd name="connsiteY10" fmla="*/ 24974 h 97041"/>
                    <a:gd name="connsiteX11" fmla="*/ 0 w 115993"/>
                    <a:gd name="connsiteY11" fmla="*/ 24974 h 97041"/>
                    <a:gd name="connsiteX12" fmla="*/ 5514 w 115993"/>
                    <a:gd name="connsiteY12" fmla="*/ 32009 h 97041"/>
                    <a:gd name="connsiteX13" fmla="*/ 16353 w 115993"/>
                    <a:gd name="connsiteY13" fmla="*/ 43799 h 97041"/>
                    <a:gd name="connsiteX14" fmla="*/ 26812 w 115993"/>
                    <a:gd name="connsiteY14" fmla="*/ 46461 h 97041"/>
                    <a:gd name="connsiteX15" fmla="*/ 28143 w 115993"/>
                    <a:gd name="connsiteY15" fmla="*/ 46461 h 97041"/>
                    <a:gd name="connsiteX16" fmla="*/ 33087 w 115993"/>
                    <a:gd name="connsiteY16" fmla="*/ 44559 h 97041"/>
                    <a:gd name="connsiteX17" fmla="*/ 48109 w 115993"/>
                    <a:gd name="connsiteY17" fmla="*/ 55968 h 97041"/>
                    <a:gd name="connsiteX18" fmla="*/ 49250 w 115993"/>
                    <a:gd name="connsiteY18" fmla="*/ 59391 h 97041"/>
                    <a:gd name="connsiteX19" fmla="*/ 51912 w 115993"/>
                    <a:gd name="connsiteY19" fmla="*/ 65666 h 97041"/>
                    <a:gd name="connsiteX20" fmla="*/ 61229 w 115993"/>
                    <a:gd name="connsiteY20" fmla="*/ 67758 h 97041"/>
                    <a:gd name="connsiteX21" fmla="*/ 86140 w 115993"/>
                    <a:gd name="connsiteY21" fmla="*/ 67758 h 97041"/>
                    <a:gd name="connsiteX22" fmla="*/ 97359 w 115993"/>
                    <a:gd name="connsiteY22" fmla="*/ 69659 h 97041"/>
                    <a:gd name="connsiteX23" fmla="*/ 110289 w 115993"/>
                    <a:gd name="connsiteY23" fmla="*/ 85823 h 97041"/>
                    <a:gd name="connsiteX24" fmla="*/ 114853 w 115993"/>
                    <a:gd name="connsiteY24" fmla="*/ 97042 h 97041"/>
                    <a:gd name="connsiteX25" fmla="*/ 115994 w 115993"/>
                    <a:gd name="connsiteY25" fmla="*/ 97042 h 97041"/>
                    <a:gd name="connsiteX26" fmla="*/ 115994 w 115993"/>
                    <a:gd name="connsiteY26" fmla="*/ 87724 h 97041"/>
                    <a:gd name="connsiteX27" fmla="*/ 114473 w 115993"/>
                    <a:gd name="connsiteY27" fmla="*/ 71181 h 970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15993" h="97041">
                      <a:moveTo>
                        <a:pt x="114473" y="71181"/>
                      </a:moveTo>
                      <a:cubicBezTo>
                        <a:pt x="113332" y="60722"/>
                        <a:pt x="111620" y="59962"/>
                        <a:pt x="102873" y="55018"/>
                      </a:cubicBezTo>
                      <a:cubicBezTo>
                        <a:pt x="92449" y="48343"/>
                        <a:pt x="85491" y="37429"/>
                        <a:pt x="83858" y="25164"/>
                      </a:cubicBezTo>
                      <a:cubicBezTo>
                        <a:pt x="82506" y="16854"/>
                        <a:pt x="78345" y="9267"/>
                        <a:pt x="72068" y="3676"/>
                      </a:cubicBezTo>
                      <a:cubicBezTo>
                        <a:pt x="67124" y="-127"/>
                        <a:pt x="65223" y="-127"/>
                        <a:pt x="64652" y="63"/>
                      </a:cubicBezTo>
                      <a:cubicBezTo>
                        <a:pt x="64082" y="253"/>
                        <a:pt x="60279" y="5007"/>
                        <a:pt x="57997" y="9191"/>
                      </a:cubicBezTo>
                      <a:cubicBezTo>
                        <a:pt x="50408" y="22501"/>
                        <a:pt x="34638" y="28815"/>
                        <a:pt x="19966" y="24403"/>
                      </a:cubicBezTo>
                      <a:cubicBezTo>
                        <a:pt x="16319" y="22977"/>
                        <a:pt x="13155" y="20524"/>
                        <a:pt x="10839" y="17367"/>
                      </a:cubicBezTo>
                      <a:lnTo>
                        <a:pt x="10839" y="16226"/>
                      </a:lnTo>
                      <a:lnTo>
                        <a:pt x="7036" y="18698"/>
                      </a:lnTo>
                      <a:cubicBezTo>
                        <a:pt x="4461" y="20524"/>
                        <a:pt x="2101" y="22615"/>
                        <a:pt x="0" y="24974"/>
                      </a:cubicBezTo>
                      <a:lnTo>
                        <a:pt x="0" y="24974"/>
                      </a:lnTo>
                      <a:lnTo>
                        <a:pt x="5514" y="32009"/>
                      </a:lnTo>
                      <a:cubicBezTo>
                        <a:pt x="8572" y="36421"/>
                        <a:pt x="12219" y="40376"/>
                        <a:pt x="16353" y="43799"/>
                      </a:cubicBezTo>
                      <a:cubicBezTo>
                        <a:pt x="19137" y="46442"/>
                        <a:pt x="23100" y="47450"/>
                        <a:pt x="26812" y="46461"/>
                      </a:cubicBezTo>
                      <a:lnTo>
                        <a:pt x="28143" y="46461"/>
                      </a:lnTo>
                      <a:cubicBezTo>
                        <a:pt x="29702" y="45624"/>
                        <a:pt x="31364" y="44977"/>
                        <a:pt x="33087" y="44559"/>
                      </a:cubicBezTo>
                      <a:cubicBezTo>
                        <a:pt x="40179" y="44274"/>
                        <a:pt x="46477" y="49066"/>
                        <a:pt x="48109" y="55968"/>
                      </a:cubicBezTo>
                      <a:lnTo>
                        <a:pt x="49250" y="59391"/>
                      </a:lnTo>
                      <a:cubicBezTo>
                        <a:pt x="49594" y="61673"/>
                        <a:pt x="50511" y="63841"/>
                        <a:pt x="51912" y="65666"/>
                      </a:cubicBezTo>
                      <a:cubicBezTo>
                        <a:pt x="54707" y="67359"/>
                        <a:pt x="57980" y="68100"/>
                        <a:pt x="61229" y="67758"/>
                      </a:cubicBezTo>
                      <a:lnTo>
                        <a:pt x="86140" y="67758"/>
                      </a:lnTo>
                      <a:cubicBezTo>
                        <a:pt x="89971" y="67606"/>
                        <a:pt x="93793" y="68252"/>
                        <a:pt x="97359" y="69659"/>
                      </a:cubicBezTo>
                      <a:cubicBezTo>
                        <a:pt x="103659" y="73101"/>
                        <a:pt x="108315" y="78920"/>
                        <a:pt x="110289" y="85823"/>
                      </a:cubicBezTo>
                      <a:cubicBezTo>
                        <a:pt x="111810" y="89436"/>
                        <a:pt x="113522" y="93239"/>
                        <a:pt x="114853" y="97042"/>
                      </a:cubicBezTo>
                      <a:lnTo>
                        <a:pt x="115994" y="97042"/>
                      </a:lnTo>
                      <a:cubicBezTo>
                        <a:pt x="115994" y="93999"/>
                        <a:pt x="115994" y="90767"/>
                        <a:pt x="115994" y="87724"/>
                      </a:cubicBezTo>
                      <a:cubicBezTo>
                        <a:pt x="115994" y="84682"/>
                        <a:pt x="115994" y="76885"/>
                        <a:pt x="114473" y="71181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424" name="Полилиния: фигура 423">
                  <a:extLst>
                    <a:ext uri="{FF2B5EF4-FFF2-40B4-BE49-F238E27FC236}">
                      <a16:creationId xmlns:a16="http://schemas.microsoft.com/office/drawing/2014/main" id="{5D149560-4CB6-840A-A5CB-223FBC7EBD51}"/>
                    </a:ext>
                  </a:extLst>
                </p:cNvPr>
                <p:cNvSpPr/>
                <p:nvPr/>
              </p:nvSpPr>
              <p:spPr>
                <a:xfrm>
                  <a:off x="1371808" y="5134096"/>
                  <a:ext cx="119588" cy="196624"/>
                </a:xfrm>
                <a:custGeom>
                  <a:avLst/>
                  <a:gdLst>
                    <a:gd name="connsiteX0" fmla="*/ 50445 w 119588"/>
                    <a:gd name="connsiteY0" fmla="*/ 166068 h 196624"/>
                    <a:gd name="connsiteX1" fmla="*/ 55389 w 119588"/>
                    <a:gd name="connsiteY1" fmla="*/ 162645 h 196624"/>
                    <a:gd name="connsiteX2" fmla="*/ 79158 w 119588"/>
                    <a:gd name="connsiteY2" fmla="*/ 135643 h 196624"/>
                    <a:gd name="connsiteX3" fmla="*/ 80109 w 119588"/>
                    <a:gd name="connsiteY3" fmla="*/ 133742 h 196624"/>
                    <a:gd name="connsiteX4" fmla="*/ 99125 w 119588"/>
                    <a:gd name="connsiteY4" fmla="*/ 113775 h 196624"/>
                    <a:gd name="connsiteX5" fmla="*/ 112055 w 119588"/>
                    <a:gd name="connsiteY5" fmla="*/ 121382 h 196624"/>
                    <a:gd name="connsiteX6" fmla="*/ 109583 w 119588"/>
                    <a:gd name="connsiteY6" fmla="*/ 144390 h 196624"/>
                    <a:gd name="connsiteX7" fmla="*/ 105970 w 119588"/>
                    <a:gd name="connsiteY7" fmla="*/ 154849 h 196624"/>
                    <a:gd name="connsiteX8" fmla="*/ 105970 w 119588"/>
                    <a:gd name="connsiteY8" fmla="*/ 160173 h 196624"/>
                    <a:gd name="connsiteX9" fmla="*/ 113766 w 119588"/>
                    <a:gd name="connsiteY9" fmla="*/ 148384 h 196624"/>
                    <a:gd name="connsiteX10" fmla="*/ 118710 w 119588"/>
                    <a:gd name="connsiteY10" fmla="*/ 115487 h 196624"/>
                    <a:gd name="connsiteX11" fmla="*/ 118710 w 119588"/>
                    <a:gd name="connsiteY11" fmla="*/ 105028 h 196624"/>
                    <a:gd name="connsiteX12" fmla="*/ 109963 w 119588"/>
                    <a:gd name="connsiteY12" fmla="*/ 69280 h 196624"/>
                    <a:gd name="connsiteX13" fmla="*/ 104259 w 119588"/>
                    <a:gd name="connsiteY13" fmla="*/ 64906 h 196624"/>
                    <a:gd name="connsiteX14" fmla="*/ 93230 w 119588"/>
                    <a:gd name="connsiteY14" fmla="*/ 55018 h 196624"/>
                    <a:gd name="connsiteX15" fmla="*/ 89046 w 119588"/>
                    <a:gd name="connsiteY15" fmla="*/ 43228 h 196624"/>
                    <a:gd name="connsiteX16" fmla="*/ 86955 w 119588"/>
                    <a:gd name="connsiteY16" fmla="*/ 36383 h 196624"/>
                    <a:gd name="connsiteX17" fmla="*/ 62995 w 119588"/>
                    <a:gd name="connsiteY17" fmla="*/ 30678 h 196624"/>
                    <a:gd name="connsiteX18" fmla="*/ 47783 w 119588"/>
                    <a:gd name="connsiteY18" fmla="*/ 30678 h 196624"/>
                    <a:gd name="connsiteX19" fmla="*/ 28768 w 119588"/>
                    <a:gd name="connsiteY19" fmla="*/ 13945 h 196624"/>
                    <a:gd name="connsiteX20" fmla="*/ 24394 w 119588"/>
                    <a:gd name="connsiteY20" fmla="*/ 5578 h 196624"/>
                    <a:gd name="connsiteX21" fmla="*/ 15077 w 119588"/>
                    <a:gd name="connsiteY21" fmla="*/ 254 h 196624"/>
                    <a:gd name="connsiteX22" fmla="*/ 12985 w 119588"/>
                    <a:gd name="connsiteY22" fmla="*/ 8430 h 196624"/>
                    <a:gd name="connsiteX23" fmla="*/ 33141 w 119588"/>
                    <a:gd name="connsiteY23" fmla="*/ 36003 h 196624"/>
                    <a:gd name="connsiteX24" fmla="*/ 36944 w 119588"/>
                    <a:gd name="connsiteY24" fmla="*/ 39045 h 196624"/>
                    <a:gd name="connsiteX25" fmla="*/ 42839 w 119588"/>
                    <a:gd name="connsiteY25" fmla="*/ 45510 h 196624"/>
                    <a:gd name="connsiteX26" fmla="*/ 48163 w 119588"/>
                    <a:gd name="connsiteY26" fmla="*/ 51025 h 196624"/>
                    <a:gd name="connsiteX27" fmla="*/ 67179 w 119588"/>
                    <a:gd name="connsiteY27" fmla="*/ 53687 h 196624"/>
                    <a:gd name="connsiteX28" fmla="*/ 73073 w 119588"/>
                    <a:gd name="connsiteY28" fmla="*/ 53687 h 196624"/>
                    <a:gd name="connsiteX29" fmla="*/ 91070 w 119588"/>
                    <a:gd name="connsiteY29" fmla="*/ 62795 h 196624"/>
                    <a:gd name="connsiteX30" fmla="*/ 91138 w 119588"/>
                    <a:gd name="connsiteY30" fmla="*/ 63004 h 196624"/>
                    <a:gd name="connsiteX31" fmla="*/ 84863 w 119588"/>
                    <a:gd name="connsiteY31" fmla="*/ 87915 h 196624"/>
                    <a:gd name="connsiteX32" fmla="*/ 68129 w 119588"/>
                    <a:gd name="connsiteY32" fmla="*/ 98183 h 196624"/>
                    <a:gd name="connsiteX33" fmla="*/ 51586 w 119588"/>
                    <a:gd name="connsiteY33" fmla="*/ 109592 h 196624"/>
                    <a:gd name="connsiteX34" fmla="*/ 47403 w 119588"/>
                    <a:gd name="connsiteY34" fmla="*/ 124234 h 196624"/>
                    <a:gd name="connsiteX35" fmla="*/ 50635 w 119588"/>
                    <a:gd name="connsiteY35" fmla="*/ 129558 h 196624"/>
                    <a:gd name="connsiteX36" fmla="*/ 56150 w 119588"/>
                    <a:gd name="connsiteY36" fmla="*/ 146292 h 196624"/>
                    <a:gd name="connsiteX37" fmla="*/ 37134 w 119588"/>
                    <a:gd name="connsiteY37" fmla="*/ 161124 h 196624"/>
                    <a:gd name="connsiteX38" fmla="*/ 13555 w 119588"/>
                    <a:gd name="connsiteY38" fmla="*/ 157701 h 196624"/>
                    <a:gd name="connsiteX39" fmla="*/ 5569 w 119588"/>
                    <a:gd name="connsiteY39" fmla="*/ 153898 h 196624"/>
                    <a:gd name="connsiteX40" fmla="*/ 3287 w 119588"/>
                    <a:gd name="connsiteY40" fmla="*/ 153898 h 196624"/>
                    <a:gd name="connsiteX41" fmla="*/ 54 w 119588"/>
                    <a:gd name="connsiteY41" fmla="*/ 160363 h 196624"/>
                    <a:gd name="connsiteX42" fmla="*/ 15457 w 119588"/>
                    <a:gd name="connsiteY42" fmla="*/ 194020 h 196624"/>
                    <a:gd name="connsiteX43" fmla="*/ 22302 w 119588"/>
                    <a:gd name="connsiteY43" fmla="*/ 195922 h 196624"/>
                    <a:gd name="connsiteX44" fmla="*/ 34282 w 119588"/>
                    <a:gd name="connsiteY44" fmla="*/ 188696 h 196624"/>
                    <a:gd name="connsiteX45" fmla="*/ 35993 w 119588"/>
                    <a:gd name="connsiteY45" fmla="*/ 183182 h 196624"/>
                    <a:gd name="connsiteX46" fmla="*/ 39226 w 119588"/>
                    <a:gd name="connsiteY46" fmla="*/ 173864 h 196624"/>
                    <a:gd name="connsiteX47" fmla="*/ 50445 w 119588"/>
                    <a:gd name="connsiteY47" fmla="*/ 166068 h 1966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119588" h="196624">
                      <a:moveTo>
                        <a:pt x="50445" y="166068"/>
                      </a:moveTo>
                      <a:cubicBezTo>
                        <a:pt x="52208" y="165098"/>
                        <a:pt x="53866" y="163957"/>
                        <a:pt x="55389" y="162645"/>
                      </a:cubicBezTo>
                      <a:cubicBezTo>
                        <a:pt x="64600" y="154868"/>
                        <a:pt x="72609" y="145759"/>
                        <a:pt x="79158" y="135643"/>
                      </a:cubicBezTo>
                      <a:lnTo>
                        <a:pt x="80109" y="133742"/>
                      </a:lnTo>
                      <a:cubicBezTo>
                        <a:pt x="83532" y="126516"/>
                        <a:pt x="89617" y="114726"/>
                        <a:pt x="99125" y="113775"/>
                      </a:cubicBezTo>
                      <a:cubicBezTo>
                        <a:pt x="104472" y="113871"/>
                        <a:pt x="109381" y="116742"/>
                        <a:pt x="112055" y="121382"/>
                      </a:cubicBezTo>
                      <a:cubicBezTo>
                        <a:pt x="115428" y="128931"/>
                        <a:pt x="114485" y="137716"/>
                        <a:pt x="109583" y="144390"/>
                      </a:cubicBezTo>
                      <a:cubicBezTo>
                        <a:pt x="107621" y="147566"/>
                        <a:pt x="106388" y="151141"/>
                        <a:pt x="105970" y="154849"/>
                      </a:cubicBezTo>
                      <a:cubicBezTo>
                        <a:pt x="105829" y="156617"/>
                        <a:pt x="105829" y="158405"/>
                        <a:pt x="105970" y="160173"/>
                      </a:cubicBezTo>
                      <a:cubicBezTo>
                        <a:pt x="109613" y="157035"/>
                        <a:pt x="112314" y="152966"/>
                        <a:pt x="113766" y="148384"/>
                      </a:cubicBezTo>
                      <a:cubicBezTo>
                        <a:pt x="116712" y="137659"/>
                        <a:pt x="118370" y="126611"/>
                        <a:pt x="118710" y="115487"/>
                      </a:cubicBezTo>
                      <a:cubicBezTo>
                        <a:pt x="118710" y="112064"/>
                        <a:pt x="118710" y="108641"/>
                        <a:pt x="118710" y="105028"/>
                      </a:cubicBezTo>
                      <a:cubicBezTo>
                        <a:pt x="120422" y="88295"/>
                        <a:pt x="120612" y="79168"/>
                        <a:pt x="109963" y="69280"/>
                      </a:cubicBezTo>
                      <a:cubicBezTo>
                        <a:pt x="108252" y="67758"/>
                        <a:pt x="106350" y="66427"/>
                        <a:pt x="104259" y="64906"/>
                      </a:cubicBezTo>
                      <a:cubicBezTo>
                        <a:pt x="100020" y="62301"/>
                        <a:pt x="96286" y="58954"/>
                        <a:pt x="93230" y="55018"/>
                      </a:cubicBezTo>
                      <a:cubicBezTo>
                        <a:pt x="90980" y="51443"/>
                        <a:pt x="89552" y="47412"/>
                        <a:pt x="89046" y="43228"/>
                      </a:cubicBezTo>
                      <a:cubicBezTo>
                        <a:pt x="88634" y="40870"/>
                        <a:pt x="87930" y="38570"/>
                        <a:pt x="86955" y="36383"/>
                      </a:cubicBezTo>
                      <a:cubicBezTo>
                        <a:pt x="82771" y="29157"/>
                        <a:pt x="74975" y="29537"/>
                        <a:pt x="62995" y="30678"/>
                      </a:cubicBezTo>
                      <a:cubicBezTo>
                        <a:pt x="57941" y="31249"/>
                        <a:pt x="52837" y="31249"/>
                        <a:pt x="47783" y="30678"/>
                      </a:cubicBezTo>
                      <a:cubicBezTo>
                        <a:pt x="38555" y="29651"/>
                        <a:pt x="30952" y="22977"/>
                        <a:pt x="28768" y="13945"/>
                      </a:cubicBezTo>
                      <a:cubicBezTo>
                        <a:pt x="27653" y="10997"/>
                        <a:pt x="26183" y="8183"/>
                        <a:pt x="24394" y="5578"/>
                      </a:cubicBezTo>
                      <a:cubicBezTo>
                        <a:pt x="21352" y="1014"/>
                        <a:pt x="17168" y="-697"/>
                        <a:pt x="15077" y="254"/>
                      </a:cubicBezTo>
                      <a:cubicBezTo>
                        <a:pt x="12985" y="1204"/>
                        <a:pt x="12224" y="4247"/>
                        <a:pt x="12985" y="8430"/>
                      </a:cubicBezTo>
                      <a:cubicBezTo>
                        <a:pt x="15987" y="19839"/>
                        <a:pt x="23187" y="29690"/>
                        <a:pt x="33141" y="36003"/>
                      </a:cubicBezTo>
                      <a:lnTo>
                        <a:pt x="36944" y="39045"/>
                      </a:lnTo>
                      <a:cubicBezTo>
                        <a:pt x="39053" y="41061"/>
                        <a:pt x="41023" y="43228"/>
                        <a:pt x="42839" y="45510"/>
                      </a:cubicBezTo>
                      <a:cubicBezTo>
                        <a:pt x="44366" y="47564"/>
                        <a:pt x="46155" y="49427"/>
                        <a:pt x="48163" y="51025"/>
                      </a:cubicBezTo>
                      <a:cubicBezTo>
                        <a:pt x="53853" y="54524"/>
                        <a:pt x="60746" y="55493"/>
                        <a:pt x="67179" y="53687"/>
                      </a:cubicBezTo>
                      <a:lnTo>
                        <a:pt x="73073" y="53687"/>
                      </a:lnTo>
                      <a:cubicBezTo>
                        <a:pt x="80558" y="51234"/>
                        <a:pt x="88615" y="55303"/>
                        <a:pt x="91070" y="62795"/>
                      </a:cubicBezTo>
                      <a:cubicBezTo>
                        <a:pt x="91092" y="62871"/>
                        <a:pt x="91115" y="62928"/>
                        <a:pt x="91138" y="63004"/>
                      </a:cubicBezTo>
                      <a:cubicBezTo>
                        <a:pt x="94418" y="71809"/>
                        <a:pt x="91921" y="81715"/>
                        <a:pt x="84863" y="87915"/>
                      </a:cubicBezTo>
                      <a:cubicBezTo>
                        <a:pt x="79856" y="92193"/>
                        <a:pt x="74211" y="95654"/>
                        <a:pt x="68129" y="98183"/>
                      </a:cubicBezTo>
                      <a:cubicBezTo>
                        <a:pt x="61666" y="100389"/>
                        <a:pt x="55939" y="104325"/>
                        <a:pt x="51586" y="109592"/>
                      </a:cubicBezTo>
                      <a:cubicBezTo>
                        <a:pt x="49247" y="114156"/>
                        <a:pt x="47827" y="119119"/>
                        <a:pt x="47403" y="124234"/>
                      </a:cubicBezTo>
                      <a:cubicBezTo>
                        <a:pt x="48101" y="126212"/>
                        <a:pt x="49202" y="128018"/>
                        <a:pt x="50635" y="129558"/>
                      </a:cubicBezTo>
                      <a:cubicBezTo>
                        <a:pt x="55102" y="133894"/>
                        <a:pt x="57163" y="140150"/>
                        <a:pt x="56150" y="146292"/>
                      </a:cubicBezTo>
                      <a:cubicBezTo>
                        <a:pt x="52944" y="154297"/>
                        <a:pt x="45680" y="159964"/>
                        <a:pt x="37134" y="161124"/>
                      </a:cubicBezTo>
                      <a:cubicBezTo>
                        <a:pt x="29190" y="163919"/>
                        <a:pt x="20378" y="162645"/>
                        <a:pt x="13555" y="157701"/>
                      </a:cubicBezTo>
                      <a:cubicBezTo>
                        <a:pt x="11555" y="155362"/>
                        <a:pt x="8651" y="153974"/>
                        <a:pt x="5569" y="153898"/>
                      </a:cubicBezTo>
                      <a:lnTo>
                        <a:pt x="3287" y="153898"/>
                      </a:lnTo>
                      <a:cubicBezTo>
                        <a:pt x="994" y="155191"/>
                        <a:pt x="-286" y="157758"/>
                        <a:pt x="54" y="160363"/>
                      </a:cubicBezTo>
                      <a:cubicBezTo>
                        <a:pt x="2488" y="172628"/>
                        <a:pt x="7763" y="184151"/>
                        <a:pt x="15457" y="194020"/>
                      </a:cubicBezTo>
                      <a:cubicBezTo>
                        <a:pt x="18119" y="197063"/>
                        <a:pt x="18119" y="197063"/>
                        <a:pt x="22302" y="195922"/>
                      </a:cubicBezTo>
                      <a:cubicBezTo>
                        <a:pt x="26486" y="194781"/>
                        <a:pt x="32761" y="189837"/>
                        <a:pt x="34282" y="188696"/>
                      </a:cubicBezTo>
                      <a:cubicBezTo>
                        <a:pt x="35102" y="186947"/>
                        <a:pt x="35678" y="185083"/>
                        <a:pt x="35993" y="183182"/>
                      </a:cubicBezTo>
                      <a:cubicBezTo>
                        <a:pt x="36438" y="179892"/>
                        <a:pt x="37538" y="176716"/>
                        <a:pt x="39226" y="173864"/>
                      </a:cubicBezTo>
                      <a:cubicBezTo>
                        <a:pt x="42413" y="170556"/>
                        <a:pt x="46228" y="167893"/>
                        <a:pt x="50445" y="166068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425" name="Полилиния: фигура 424">
                  <a:extLst>
                    <a:ext uri="{FF2B5EF4-FFF2-40B4-BE49-F238E27FC236}">
                      <a16:creationId xmlns:a16="http://schemas.microsoft.com/office/drawing/2014/main" id="{F79C6FEE-B068-4CC5-54CA-C0449925EA3F}"/>
                    </a:ext>
                  </a:extLst>
                </p:cNvPr>
                <p:cNvSpPr/>
                <p:nvPr/>
              </p:nvSpPr>
              <p:spPr>
                <a:xfrm>
                  <a:off x="1252250" y="4926887"/>
                  <a:ext cx="376026" cy="452169"/>
                </a:xfrm>
                <a:custGeom>
                  <a:avLst/>
                  <a:gdLst>
                    <a:gd name="connsiteX0" fmla="*/ 170764 w 376026"/>
                    <a:gd name="connsiteY0" fmla="*/ 425949 h 452169"/>
                    <a:gd name="connsiteX1" fmla="*/ 181793 w 376026"/>
                    <a:gd name="connsiteY1" fmla="*/ 422907 h 452169"/>
                    <a:gd name="connsiteX2" fmla="*/ 193392 w 376026"/>
                    <a:gd name="connsiteY2" fmla="*/ 418533 h 452169"/>
                    <a:gd name="connsiteX3" fmla="*/ 195103 w 376026"/>
                    <a:gd name="connsiteY3" fmla="*/ 416822 h 452169"/>
                    <a:gd name="connsiteX4" fmla="*/ 215450 w 376026"/>
                    <a:gd name="connsiteY4" fmla="*/ 410927 h 452169"/>
                    <a:gd name="connsiteX5" fmla="*/ 220774 w 376026"/>
                    <a:gd name="connsiteY5" fmla="*/ 419864 h 452169"/>
                    <a:gd name="connsiteX6" fmla="*/ 221725 w 376026"/>
                    <a:gd name="connsiteY6" fmla="*/ 423667 h 452169"/>
                    <a:gd name="connsiteX7" fmla="*/ 225718 w 376026"/>
                    <a:gd name="connsiteY7" fmla="*/ 427471 h 452169"/>
                    <a:gd name="connsiteX8" fmla="*/ 230092 w 376026"/>
                    <a:gd name="connsiteY8" fmla="*/ 431464 h 452169"/>
                    <a:gd name="connsiteX9" fmla="*/ 236177 w 376026"/>
                    <a:gd name="connsiteY9" fmla="*/ 443253 h 452169"/>
                    <a:gd name="connsiteX10" fmla="*/ 240360 w 376026"/>
                    <a:gd name="connsiteY10" fmla="*/ 451430 h 452169"/>
                    <a:gd name="connsiteX11" fmla="*/ 260516 w 376026"/>
                    <a:gd name="connsiteY11" fmla="*/ 446106 h 452169"/>
                    <a:gd name="connsiteX12" fmla="*/ 267362 w 376026"/>
                    <a:gd name="connsiteY12" fmla="*/ 437929 h 452169"/>
                    <a:gd name="connsiteX13" fmla="*/ 274207 w 376026"/>
                    <a:gd name="connsiteY13" fmla="*/ 427280 h 452169"/>
                    <a:gd name="connsiteX14" fmla="*/ 286948 w 376026"/>
                    <a:gd name="connsiteY14" fmla="*/ 421956 h 452169"/>
                    <a:gd name="connsiteX15" fmla="*/ 285997 w 376026"/>
                    <a:gd name="connsiteY15" fmla="*/ 417012 h 452169"/>
                    <a:gd name="connsiteX16" fmla="*/ 285997 w 376026"/>
                    <a:gd name="connsiteY16" fmla="*/ 405413 h 452169"/>
                    <a:gd name="connsiteX17" fmla="*/ 288469 w 376026"/>
                    <a:gd name="connsiteY17" fmla="*/ 393053 h 452169"/>
                    <a:gd name="connsiteX18" fmla="*/ 300829 w 376026"/>
                    <a:gd name="connsiteY18" fmla="*/ 381643 h 452169"/>
                    <a:gd name="connsiteX19" fmla="*/ 312428 w 376026"/>
                    <a:gd name="connsiteY19" fmla="*/ 377650 h 452169"/>
                    <a:gd name="connsiteX20" fmla="*/ 314520 w 376026"/>
                    <a:gd name="connsiteY20" fmla="*/ 377650 h 452169"/>
                    <a:gd name="connsiteX21" fmla="*/ 320605 w 376026"/>
                    <a:gd name="connsiteY21" fmla="*/ 375178 h 452169"/>
                    <a:gd name="connsiteX22" fmla="*/ 322126 w 376026"/>
                    <a:gd name="connsiteY22" fmla="*/ 372896 h 452169"/>
                    <a:gd name="connsiteX23" fmla="*/ 320605 w 376026"/>
                    <a:gd name="connsiteY23" fmla="*/ 370424 h 452169"/>
                    <a:gd name="connsiteX24" fmla="*/ 318703 w 376026"/>
                    <a:gd name="connsiteY24" fmla="*/ 368333 h 452169"/>
                    <a:gd name="connsiteX25" fmla="*/ 313569 w 376026"/>
                    <a:gd name="connsiteY25" fmla="*/ 361487 h 452169"/>
                    <a:gd name="connsiteX26" fmla="*/ 312238 w 376026"/>
                    <a:gd name="connsiteY26" fmla="*/ 346655 h 452169"/>
                    <a:gd name="connsiteX27" fmla="*/ 316422 w 376026"/>
                    <a:gd name="connsiteY27" fmla="*/ 340570 h 452169"/>
                    <a:gd name="connsiteX28" fmla="*/ 318513 w 376026"/>
                    <a:gd name="connsiteY28" fmla="*/ 337908 h 452169"/>
                    <a:gd name="connsiteX29" fmla="*/ 318513 w 376026"/>
                    <a:gd name="connsiteY29" fmla="*/ 332013 h 452169"/>
                    <a:gd name="connsiteX30" fmla="*/ 314140 w 376026"/>
                    <a:gd name="connsiteY30" fmla="*/ 329161 h 452169"/>
                    <a:gd name="connsiteX31" fmla="*/ 307294 w 376026"/>
                    <a:gd name="connsiteY31" fmla="*/ 324597 h 452169"/>
                    <a:gd name="connsiteX32" fmla="*/ 303111 w 376026"/>
                    <a:gd name="connsiteY32" fmla="*/ 308624 h 452169"/>
                    <a:gd name="connsiteX33" fmla="*/ 308625 w 376026"/>
                    <a:gd name="connsiteY33" fmla="*/ 299117 h 452169"/>
                    <a:gd name="connsiteX34" fmla="*/ 310147 w 376026"/>
                    <a:gd name="connsiteY34" fmla="*/ 297215 h 452169"/>
                    <a:gd name="connsiteX35" fmla="*/ 312428 w 376026"/>
                    <a:gd name="connsiteY35" fmla="*/ 291701 h 452169"/>
                    <a:gd name="connsiteX36" fmla="*/ 314710 w 376026"/>
                    <a:gd name="connsiteY36" fmla="*/ 269833 h 452169"/>
                    <a:gd name="connsiteX37" fmla="*/ 335437 w 376026"/>
                    <a:gd name="connsiteY37" fmla="*/ 257093 h 452169"/>
                    <a:gd name="connsiteX38" fmla="*/ 346656 w 376026"/>
                    <a:gd name="connsiteY38" fmla="*/ 265650 h 452169"/>
                    <a:gd name="connsiteX39" fmla="*/ 351410 w 376026"/>
                    <a:gd name="connsiteY39" fmla="*/ 270594 h 452169"/>
                    <a:gd name="connsiteX40" fmla="*/ 359777 w 376026"/>
                    <a:gd name="connsiteY40" fmla="*/ 269453 h 452169"/>
                    <a:gd name="connsiteX41" fmla="*/ 368524 w 376026"/>
                    <a:gd name="connsiteY41" fmla="*/ 260706 h 452169"/>
                    <a:gd name="connsiteX42" fmla="*/ 374228 w 376026"/>
                    <a:gd name="connsiteY42" fmla="*/ 255191 h 452169"/>
                    <a:gd name="connsiteX43" fmla="*/ 375369 w 376026"/>
                    <a:gd name="connsiteY43" fmla="*/ 241310 h 452169"/>
                    <a:gd name="connsiteX44" fmla="*/ 375369 w 376026"/>
                    <a:gd name="connsiteY44" fmla="*/ 227239 h 452169"/>
                    <a:gd name="connsiteX45" fmla="*/ 375369 w 376026"/>
                    <a:gd name="connsiteY45" fmla="*/ 220964 h 452169"/>
                    <a:gd name="connsiteX46" fmla="*/ 375369 w 376026"/>
                    <a:gd name="connsiteY46" fmla="*/ 211836 h 452169"/>
                    <a:gd name="connsiteX47" fmla="*/ 371566 w 376026"/>
                    <a:gd name="connsiteY47" fmla="*/ 208984 h 452169"/>
                    <a:gd name="connsiteX48" fmla="*/ 365291 w 376026"/>
                    <a:gd name="connsiteY48" fmla="*/ 203849 h 452169"/>
                    <a:gd name="connsiteX49" fmla="*/ 359967 w 376026"/>
                    <a:gd name="connsiteY49" fmla="*/ 197955 h 452169"/>
                    <a:gd name="connsiteX50" fmla="*/ 340951 w 376026"/>
                    <a:gd name="connsiteY50" fmla="*/ 159924 h 452169"/>
                    <a:gd name="connsiteX51" fmla="*/ 343614 w 376026"/>
                    <a:gd name="connsiteY51" fmla="*/ 151177 h 452169"/>
                    <a:gd name="connsiteX52" fmla="*/ 346276 w 376026"/>
                    <a:gd name="connsiteY52" fmla="*/ 142049 h 452169"/>
                    <a:gd name="connsiteX53" fmla="*/ 354262 w 376026"/>
                    <a:gd name="connsiteY53" fmla="*/ 121893 h 452169"/>
                    <a:gd name="connsiteX54" fmla="*/ 359967 w 376026"/>
                    <a:gd name="connsiteY54" fmla="*/ 110674 h 452169"/>
                    <a:gd name="connsiteX55" fmla="*/ 346466 w 376026"/>
                    <a:gd name="connsiteY55" fmla="*/ 96603 h 452169"/>
                    <a:gd name="connsiteX56" fmla="*/ 337148 w 376026"/>
                    <a:gd name="connsiteY56" fmla="*/ 87665 h 452169"/>
                    <a:gd name="connsiteX57" fmla="*/ 314710 w 376026"/>
                    <a:gd name="connsiteY57" fmla="*/ 75116 h 452169"/>
                    <a:gd name="connsiteX58" fmla="*/ 309576 w 376026"/>
                    <a:gd name="connsiteY58" fmla="*/ 77017 h 452169"/>
                    <a:gd name="connsiteX59" fmla="*/ 293033 w 376026"/>
                    <a:gd name="connsiteY59" fmla="*/ 77017 h 452169"/>
                    <a:gd name="connsiteX60" fmla="*/ 275348 w 376026"/>
                    <a:gd name="connsiteY60" fmla="*/ 54008 h 452169"/>
                    <a:gd name="connsiteX61" fmla="*/ 280863 w 376026"/>
                    <a:gd name="connsiteY61" fmla="*/ 43360 h 452169"/>
                    <a:gd name="connsiteX62" fmla="*/ 284286 w 376026"/>
                    <a:gd name="connsiteY62" fmla="*/ 37655 h 452169"/>
                    <a:gd name="connsiteX63" fmla="*/ 282384 w 376026"/>
                    <a:gd name="connsiteY63" fmla="*/ 22443 h 452169"/>
                    <a:gd name="connsiteX64" fmla="*/ 282384 w 376026"/>
                    <a:gd name="connsiteY64" fmla="*/ 22443 h 452169"/>
                    <a:gd name="connsiteX65" fmla="*/ 275539 w 376026"/>
                    <a:gd name="connsiteY65" fmla="*/ 18069 h 452169"/>
                    <a:gd name="connsiteX66" fmla="*/ 273257 w 376026"/>
                    <a:gd name="connsiteY66" fmla="*/ 18069 h 452169"/>
                    <a:gd name="connsiteX67" fmla="*/ 270404 w 376026"/>
                    <a:gd name="connsiteY67" fmla="*/ 18069 h 452169"/>
                    <a:gd name="connsiteX68" fmla="*/ 262228 w 376026"/>
                    <a:gd name="connsiteY68" fmla="*/ 35944 h 452169"/>
                    <a:gd name="connsiteX69" fmla="*/ 238078 w 376026"/>
                    <a:gd name="connsiteY69" fmla="*/ 14266 h 452169"/>
                    <a:gd name="connsiteX70" fmla="*/ 230092 w 376026"/>
                    <a:gd name="connsiteY70" fmla="*/ 11224 h 452169"/>
                    <a:gd name="connsiteX71" fmla="*/ 220584 w 376026"/>
                    <a:gd name="connsiteY71" fmla="*/ 5329 h 452169"/>
                    <a:gd name="connsiteX72" fmla="*/ 201569 w 376026"/>
                    <a:gd name="connsiteY72" fmla="*/ 5329 h 452169"/>
                    <a:gd name="connsiteX73" fmla="*/ 207844 w 376026"/>
                    <a:gd name="connsiteY73" fmla="*/ 52677 h 452169"/>
                    <a:gd name="connsiteX74" fmla="*/ 207844 w 376026"/>
                    <a:gd name="connsiteY74" fmla="*/ 77397 h 452169"/>
                    <a:gd name="connsiteX75" fmla="*/ 202139 w 376026"/>
                    <a:gd name="connsiteY75" fmla="*/ 85384 h 452169"/>
                    <a:gd name="connsiteX76" fmla="*/ 193012 w 376026"/>
                    <a:gd name="connsiteY76" fmla="*/ 73024 h 452169"/>
                    <a:gd name="connsiteX77" fmla="*/ 177990 w 376026"/>
                    <a:gd name="connsiteY77" fmla="*/ 74735 h 452169"/>
                    <a:gd name="connsiteX78" fmla="*/ 162777 w 376026"/>
                    <a:gd name="connsiteY78" fmla="*/ 63136 h 452169"/>
                    <a:gd name="connsiteX79" fmla="*/ 146995 w 376026"/>
                    <a:gd name="connsiteY79" fmla="*/ 75876 h 452169"/>
                    <a:gd name="connsiteX80" fmla="*/ 112006 w 376026"/>
                    <a:gd name="connsiteY80" fmla="*/ 78538 h 452169"/>
                    <a:gd name="connsiteX81" fmla="*/ 96223 w 376026"/>
                    <a:gd name="connsiteY81" fmla="*/ 116569 h 452169"/>
                    <a:gd name="connsiteX82" fmla="*/ 67130 w 376026"/>
                    <a:gd name="connsiteY82" fmla="*/ 93180 h 452169"/>
                    <a:gd name="connsiteX83" fmla="*/ 55911 w 376026"/>
                    <a:gd name="connsiteY83" fmla="*/ 76637 h 452169"/>
                    <a:gd name="connsiteX84" fmla="*/ 50206 w 376026"/>
                    <a:gd name="connsiteY84" fmla="*/ 56290 h 452169"/>
                    <a:gd name="connsiteX85" fmla="*/ 48875 w 376026"/>
                    <a:gd name="connsiteY85" fmla="*/ 54769 h 452169"/>
                    <a:gd name="connsiteX86" fmla="*/ 47164 w 376026"/>
                    <a:gd name="connsiteY86" fmla="*/ 53058 h 452169"/>
                    <a:gd name="connsiteX87" fmla="*/ 28148 w 376026"/>
                    <a:gd name="connsiteY87" fmla="*/ 49255 h 452169"/>
                    <a:gd name="connsiteX88" fmla="*/ 24155 w 376026"/>
                    <a:gd name="connsiteY88" fmla="*/ 54579 h 452169"/>
                    <a:gd name="connsiteX89" fmla="*/ 20352 w 376026"/>
                    <a:gd name="connsiteY89" fmla="*/ 58952 h 452169"/>
                    <a:gd name="connsiteX90" fmla="*/ 1337 w 376026"/>
                    <a:gd name="connsiteY90" fmla="*/ 61044 h 452169"/>
                    <a:gd name="connsiteX91" fmla="*/ 23395 w 376026"/>
                    <a:gd name="connsiteY91" fmla="*/ 101357 h 452169"/>
                    <a:gd name="connsiteX92" fmla="*/ 25867 w 376026"/>
                    <a:gd name="connsiteY92" fmla="*/ 104779 h 452169"/>
                    <a:gd name="connsiteX93" fmla="*/ 16169 w 376026"/>
                    <a:gd name="connsiteY93" fmla="*/ 155741 h 452169"/>
                    <a:gd name="connsiteX94" fmla="*/ 31381 w 376026"/>
                    <a:gd name="connsiteY94" fmla="*/ 174756 h 452169"/>
                    <a:gd name="connsiteX95" fmla="*/ 42980 w 376026"/>
                    <a:gd name="connsiteY95" fmla="*/ 200237 h 452169"/>
                    <a:gd name="connsiteX96" fmla="*/ 42980 w 376026"/>
                    <a:gd name="connsiteY96" fmla="*/ 230851 h 452169"/>
                    <a:gd name="connsiteX97" fmla="*/ 59524 w 376026"/>
                    <a:gd name="connsiteY97" fmla="*/ 255571 h 452169"/>
                    <a:gd name="connsiteX98" fmla="*/ 77398 w 376026"/>
                    <a:gd name="connsiteY98" fmla="*/ 315470 h 452169"/>
                    <a:gd name="connsiteX99" fmla="*/ 77398 w 376026"/>
                    <a:gd name="connsiteY99" fmla="*/ 334485 h 452169"/>
                    <a:gd name="connsiteX100" fmla="*/ 77398 w 376026"/>
                    <a:gd name="connsiteY100" fmla="*/ 367952 h 452169"/>
                    <a:gd name="connsiteX101" fmla="*/ 75687 w 376026"/>
                    <a:gd name="connsiteY101" fmla="*/ 424999 h 452169"/>
                    <a:gd name="connsiteX102" fmla="*/ 81011 w 376026"/>
                    <a:gd name="connsiteY102" fmla="*/ 437549 h 452169"/>
                    <a:gd name="connsiteX103" fmla="*/ 85575 w 376026"/>
                    <a:gd name="connsiteY103" fmla="*/ 433365 h 452169"/>
                    <a:gd name="connsiteX104" fmla="*/ 99646 w 376026"/>
                    <a:gd name="connsiteY104" fmla="*/ 423477 h 452169"/>
                    <a:gd name="connsiteX105" fmla="*/ 142051 w 376026"/>
                    <a:gd name="connsiteY105" fmla="*/ 449338 h 452169"/>
                    <a:gd name="connsiteX106" fmla="*/ 143001 w 376026"/>
                    <a:gd name="connsiteY106" fmla="*/ 450859 h 452169"/>
                    <a:gd name="connsiteX107" fmla="*/ 143001 w 376026"/>
                    <a:gd name="connsiteY107" fmla="*/ 450859 h 452169"/>
                    <a:gd name="connsiteX108" fmla="*/ 144142 w 376026"/>
                    <a:gd name="connsiteY108" fmla="*/ 449719 h 452169"/>
                    <a:gd name="connsiteX109" fmla="*/ 170764 w 376026"/>
                    <a:gd name="connsiteY109" fmla="*/ 425949 h 452169"/>
                    <a:gd name="connsiteX110" fmla="*/ 139198 w 376026"/>
                    <a:gd name="connsiteY110" fmla="*/ 415301 h 452169"/>
                    <a:gd name="connsiteX111" fmla="*/ 128169 w 376026"/>
                    <a:gd name="connsiteY111" fmla="*/ 409216 h 452169"/>
                    <a:gd name="connsiteX112" fmla="*/ 109154 w 376026"/>
                    <a:gd name="connsiteY112" fmla="*/ 368142 h 452169"/>
                    <a:gd name="connsiteX113" fmla="*/ 119232 w 376026"/>
                    <a:gd name="connsiteY113" fmla="*/ 351789 h 452169"/>
                    <a:gd name="connsiteX114" fmla="*/ 141290 w 376026"/>
                    <a:gd name="connsiteY114" fmla="*/ 357684 h 452169"/>
                    <a:gd name="connsiteX115" fmla="*/ 147375 w 376026"/>
                    <a:gd name="connsiteY115" fmla="*/ 359205 h 452169"/>
                    <a:gd name="connsiteX116" fmla="*/ 154220 w 376026"/>
                    <a:gd name="connsiteY116" fmla="*/ 358255 h 452169"/>
                    <a:gd name="connsiteX117" fmla="*/ 165059 w 376026"/>
                    <a:gd name="connsiteY117" fmla="*/ 351219 h 452169"/>
                    <a:gd name="connsiteX118" fmla="*/ 161636 w 376026"/>
                    <a:gd name="connsiteY118" fmla="*/ 343803 h 452169"/>
                    <a:gd name="connsiteX119" fmla="*/ 156122 w 376026"/>
                    <a:gd name="connsiteY119" fmla="*/ 333535 h 452169"/>
                    <a:gd name="connsiteX120" fmla="*/ 161826 w 376026"/>
                    <a:gd name="connsiteY120" fmla="*/ 311477 h 452169"/>
                    <a:gd name="connsiteX121" fmla="*/ 182934 w 376026"/>
                    <a:gd name="connsiteY121" fmla="*/ 295884 h 452169"/>
                    <a:gd name="connsiteX122" fmla="*/ 196815 w 376026"/>
                    <a:gd name="connsiteY122" fmla="*/ 287707 h 452169"/>
                    <a:gd name="connsiteX123" fmla="*/ 200618 w 376026"/>
                    <a:gd name="connsiteY123" fmla="*/ 274587 h 452169"/>
                    <a:gd name="connsiteX124" fmla="*/ 193582 w 376026"/>
                    <a:gd name="connsiteY124" fmla="*/ 271925 h 452169"/>
                    <a:gd name="connsiteX125" fmla="*/ 187687 w 376026"/>
                    <a:gd name="connsiteY125" fmla="*/ 271925 h 452169"/>
                    <a:gd name="connsiteX126" fmla="*/ 161636 w 376026"/>
                    <a:gd name="connsiteY126" fmla="*/ 267361 h 452169"/>
                    <a:gd name="connsiteX127" fmla="*/ 154411 w 376026"/>
                    <a:gd name="connsiteY127" fmla="*/ 259945 h 452169"/>
                    <a:gd name="connsiteX128" fmla="*/ 149847 w 376026"/>
                    <a:gd name="connsiteY128" fmla="*/ 254811 h 452169"/>
                    <a:gd name="connsiteX129" fmla="*/ 146234 w 376026"/>
                    <a:gd name="connsiteY129" fmla="*/ 251768 h 452169"/>
                    <a:gd name="connsiteX130" fmla="*/ 123225 w 376026"/>
                    <a:gd name="connsiteY130" fmla="*/ 218491 h 452169"/>
                    <a:gd name="connsiteX131" fmla="*/ 131782 w 376026"/>
                    <a:gd name="connsiteY131" fmla="*/ 198335 h 452169"/>
                    <a:gd name="connsiteX132" fmla="*/ 154220 w 376026"/>
                    <a:gd name="connsiteY132" fmla="*/ 207653 h 452169"/>
                    <a:gd name="connsiteX133" fmla="*/ 159545 w 376026"/>
                    <a:gd name="connsiteY133" fmla="*/ 217921 h 452169"/>
                    <a:gd name="connsiteX134" fmla="*/ 170193 w 376026"/>
                    <a:gd name="connsiteY134" fmla="*/ 227999 h 452169"/>
                    <a:gd name="connsiteX135" fmla="*/ 182934 w 376026"/>
                    <a:gd name="connsiteY135" fmla="*/ 227999 h 452169"/>
                    <a:gd name="connsiteX136" fmla="*/ 217351 w 376026"/>
                    <a:gd name="connsiteY136" fmla="*/ 238838 h 452169"/>
                    <a:gd name="connsiteX137" fmla="*/ 220584 w 376026"/>
                    <a:gd name="connsiteY137" fmla="*/ 249106 h 452169"/>
                    <a:gd name="connsiteX138" fmla="*/ 223246 w 376026"/>
                    <a:gd name="connsiteY138" fmla="*/ 256903 h 452169"/>
                    <a:gd name="connsiteX139" fmla="*/ 231423 w 376026"/>
                    <a:gd name="connsiteY139" fmla="*/ 263938 h 452169"/>
                    <a:gd name="connsiteX140" fmla="*/ 238459 w 376026"/>
                    <a:gd name="connsiteY140" fmla="*/ 269262 h 452169"/>
                    <a:gd name="connsiteX141" fmla="*/ 250628 w 376026"/>
                    <a:gd name="connsiteY141" fmla="*/ 313949 h 452169"/>
                    <a:gd name="connsiteX142" fmla="*/ 250628 w 376026"/>
                    <a:gd name="connsiteY142" fmla="*/ 324217 h 452169"/>
                    <a:gd name="connsiteX143" fmla="*/ 245114 w 376026"/>
                    <a:gd name="connsiteY143" fmla="*/ 359395 h 452169"/>
                    <a:gd name="connsiteX144" fmla="*/ 225148 w 376026"/>
                    <a:gd name="connsiteY144" fmla="*/ 379362 h 452169"/>
                    <a:gd name="connsiteX145" fmla="*/ 215450 w 376026"/>
                    <a:gd name="connsiteY145" fmla="*/ 363389 h 452169"/>
                    <a:gd name="connsiteX146" fmla="*/ 220204 w 376026"/>
                    <a:gd name="connsiteY146" fmla="*/ 347796 h 452169"/>
                    <a:gd name="connsiteX147" fmla="*/ 223246 w 376026"/>
                    <a:gd name="connsiteY147" fmla="*/ 335056 h 452169"/>
                    <a:gd name="connsiteX148" fmla="*/ 220014 w 376026"/>
                    <a:gd name="connsiteY148" fmla="*/ 332203 h 452169"/>
                    <a:gd name="connsiteX149" fmla="*/ 209935 w 376026"/>
                    <a:gd name="connsiteY149" fmla="*/ 346085 h 452169"/>
                    <a:gd name="connsiteX150" fmla="*/ 208985 w 376026"/>
                    <a:gd name="connsiteY150" fmla="*/ 348176 h 452169"/>
                    <a:gd name="connsiteX151" fmla="*/ 182743 w 376026"/>
                    <a:gd name="connsiteY151" fmla="*/ 378221 h 452169"/>
                    <a:gd name="connsiteX152" fmla="*/ 176659 w 376026"/>
                    <a:gd name="connsiteY152" fmla="*/ 382784 h 452169"/>
                    <a:gd name="connsiteX153" fmla="*/ 169813 w 376026"/>
                    <a:gd name="connsiteY153" fmla="*/ 388299 h 452169"/>
                    <a:gd name="connsiteX154" fmla="*/ 168102 w 376026"/>
                    <a:gd name="connsiteY154" fmla="*/ 393813 h 452169"/>
                    <a:gd name="connsiteX155" fmla="*/ 163348 w 376026"/>
                    <a:gd name="connsiteY155" fmla="*/ 404842 h 452169"/>
                    <a:gd name="connsiteX156" fmla="*/ 147185 w 376026"/>
                    <a:gd name="connsiteY156" fmla="*/ 414540 h 452169"/>
                    <a:gd name="connsiteX157" fmla="*/ 139198 w 376026"/>
                    <a:gd name="connsiteY157" fmla="*/ 415301 h 452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</a:cxnLst>
                  <a:rect l="l" t="t" r="r" b="b"/>
                  <a:pathLst>
                    <a:path w="376026" h="452169">
                      <a:moveTo>
                        <a:pt x="170764" y="425949"/>
                      </a:moveTo>
                      <a:cubicBezTo>
                        <a:pt x="174314" y="424523"/>
                        <a:pt x="178012" y="423496"/>
                        <a:pt x="181793" y="422907"/>
                      </a:cubicBezTo>
                      <a:cubicBezTo>
                        <a:pt x="186039" y="422793"/>
                        <a:pt x="190123" y="421252"/>
                        <a:pt x="193392" y="418533"/>
                      </a:cubicBezTo>
                      <a:lnTo>
                        <a:pt x="195103" y="416822"/>
                      </a:lnTo>
                      <a:cubicBezTo>
                        <a:pt x="199574" y="410205"/>
                        <a:pt x="208135" y="407714"/>
                        <a:pt x="215450" y="410927"/>
                      </a:cubicBezTo>
                      <a:cubicBezTo>
                        <a:pt x="218658" y="412772"/>
                        <a:pt x="220675" y="416156"/>
                        <a:pt x="220774" y="419864"/>
                      </a:cubicBezTo>
                      <a:cubicBezTo>
                        <a:pt x="220907" y="421176"/>
                        <a:pt x="221227" y="422450"/>
                        <a:pt x="221725" y="423667"/>
                      </a:cubicBezTo>
                      <a:cubicBezTo>
                        <a:pt x="222912" y="425075"/>
                        <a:pt x="224250" y="426349"/>
                        <a:pt x="225718" y="427471"/>
                      </a:cubicBezTo>
                      <a:cubicBezTo>
                        <a:pt x="227264" y="428706"/>
                        <a:pt x="228726" y="430038"/>
                        <a:pt x="230092" y="431464"/>
                      </a:cubicBezTo>
                      <a:cubicBezTo>
                        <a:pt x="232819" y="435001"/>
                        <a:pt x="234882" y="438994"/>
                        <a:pt x="236177" y="443253"/>
                      </a:cubicBezTo>
                      <a:cubicBezTo>
                        <a:pt x="237318" y="446676"/>
                        <a:pt x="238649" y="450479"/>
                        <a:pt x="240360" y="451430"/>
                      </a:cubicBezTo>
                      <a:cubicBezTo>
                        <a:pt x="242071" y="452381"/>
                        <a:pt x="245494" y="453712"/>
                        <a:pt x="260516" y="446106"/>
                      </a:cubicBezTo>
                      <a:cubicBezTo>
                        <a:pt x="263935" y="444584"/>
                        <a:pt x="266459" y="441561"/>
                        <a:pt x="267362" y="437929"/>
                      </a:cubicBezTo>
                      <a:cubicBezTo>
                        <a:pt x="268910" y="433955"/>
                        <a:pt x="271237" y="430342"/>
                        <a:pt x="274207" y="427280"/>
                      </a:cubicBezTo>
                      <a:cubicBezTo>
                        <a:pt x="277760" y="424162"/>
                        <a:pt x="282234" y="422298"/>
                        <a:pt x="286948" y="421956"/>
                      </a:cubicBezTo>
                      <a:cubicBezTo>
                        <a:pt x="286539" y="420321"/>
                        <a:pt x="286221" y="418685"/>
                        <a:pt x="285997" y="417012"/>
                      </a:cubicBezTo>
                      <a:cubicBezTo>
                        <a:pt x="285615" y="413152"/>
                        <a:pt x="285615" y="409273"/>
                        <a:pt x="285997" y="405413"/>
                      </a:cubicBezTo>
                      <a:cubicBezTo>
                        <a:pt x="286026" y="401172"/>
                        <a:pt x="286866" y="396970"/>
                        <a:pt x="288469" y="393053"/>
                      </a:cubicBezTo>
                      <a:cubicBezTo>
                        <a:pt x="291103" y="387899"/>
                        <a:pt x="295484" y="383849"/>
                        <a:pt x="300829" y="381643"/>
                      </a:cubicBezTo>
                      <a:cubicBezTo>
                        <a:pt x="304571" y="379970"/>
                        <a:pt x="308452" y="378639"/>
                        <a:pt x="312428" y="377650"/>
                      </a:cubicBezTo>
                      <a:lnTo>
                        <a:pt x="314520" y="377650"/>
                      </a:lnTo>
                      <a:cubicBezTo>
                        <a:pt x="316684" y="377213"/>
                        <a:pt x="318749" y="376376"/>
                        <a:pt x="320605" y="375178"/>
                      </a:cubicBezTo>
                      <a:cubicBezTo>
                        <a:pt x="321354" y="374608"/>
                        <a:pt x="321890" y="373809"/>
                        <a:pt x="322126" y="372896"/>
                      </a:cubicBezTo>
                      <a:cubicBezTo>
                        <a:pt x="321778" y="371984"/>
                        <a:pt x="321263" y="371147"/>
                        <a:pt x="320605" y="370424"/>
                      </a:cubicBezTo>
                      <a:lnTo>
                        <a:pt x="318703" y="368333"/>
                      </a:lnTo>
                      <a:cubicBezTo>
                        <a:pt x="316992" y="366051"/>
                        <a:pt x="315091" y="363959"/>
                        <a:pt x="313569" y="361487"/>
                      </a:cubicBezTo>
                      <a:cubicBezTo>
                        <a:pt x="310913" y="356999"/>
                        <a:pt x="310422" y="351542"/>
                        <a:pt x="312238" y="346655"/>
                      </a:cubicBezTo>
                      <a:cubicBezTo>
                        <a:pt x="313151" y="344335"/>
                        <a:pt x="314581" y="342243"/>
                        <a:pt x="316422" y="340570"/>
                      </a:cubicBezTo>
                      <a:cubicBezTo>
                        <a:pt x="317289" y="339829"/>
                        <a:pt x="318000" y="338935"/>
                        <a:pt x="318513" y="337908"/>
                      </a:cubicBezTo>
                      <a:cubicBezTo>
                        <a:pt x="319812" y="336159"/>
                        <a:pt x="319812" y="333763"/>
                        <a:pt x="318513" y="332013"/>
                      </a:cubicBezTo>
                      <a:cubicBezTo>
                        <a:pt x="317209" y="330853"/>
                        <a:pt x="315733" y="329884"/>
                        <a:pt x="314140" y="329161"/>
                      </a:cubicBezTo>
                      <a:cubicBezTo>
                        <a:pt x="311675" y="327925"/>
                        <a:pt x="309376" y="326404"/>
                        <a:pt x="307294" y="324597"/>
                      </a:cubicBezTo>
                      <a:cubicBezTo>
                        <a:pt x="303253" y="320338"/>
                        <a:pt x="301675" y="314310"/>
                        <a:pt x="303111" y="308624"/>
                      </a:cubicBezTo>
                      <a:cubicBezTo>
                        <a:pt x="304282" y="305106"/>
                        <a:pt x="306159" y="301874"/>
                        <a:pt x="308625" y="299117"/>
                      </a:cubicBezTo>
                      <a:lnTo>
                        <a:pt x="310147" y="297215"/>
                      </a:lnTo>
                      <a:cubicBezTo>
                        <a:pt x="311858" y="294933"/>
                        <a:pt x="312809" y="292842"/>
                        <a:pt x="312428" y="291701"/>
                      </a:cubicBezTo>
                      <a:cubicBezTo>
                        <a:pt x="310436" y="284380"/>
                        <a:pt x="311249" y="276583"/>
                        <a:pt x="314710" y="269833"/>
                      </a:cubicBezTo>
                      <a:cubicBezTo>
                        <a:pt x="317642" y="261143"/>
                        <a:pt x="326359" y="255781"/>
                        <a:pt x="335437" y="257093"/>
                      </a:cubicBezTo>
                      <a:cubicBezTo>
                        <a:pt x="340025" y="258614"/>
                        <a:pt x="343975" y="261618"/>
                        <a:pt x="346656" y="265650"/>
                      </a:cubicBezTo>
                      <a:cubicBezTo>
                        <a:pt x="347993" y="267513"/>
                        <a:pt x="349594" y="269186"/>
                        <a:pt x="351410" y="270594"/>
                      </a:cubicBezTo>
                      <a:cubicBezTo>
                        <a:pt x="354205" y="271715"/>
                        <a:pt x="357383" y="271278"/>
                        <a:pt x="359777" y="269453"/>
                      </a:cubicBezTo>
                      <a:cubicBezTo>
                        <a:pt x="363194" y="267095"/>
                        <a:pt x="366156" y="264128"/>
                        <a:pt x="368524" y="260706"/>
                      </a:cubicBezTo>
                      <a:cubicBezTo>
                        <a:pt x="369982" y="258462"/>
                        <a:pt x="371933" y="256579"/>
                        <a:pt x="374228" y="255191"/>
                      </a:cubicBezTo>
                      <a:cubicBezTo>
                        <a:pt x="374228" y="255191"/>
                        <a:pt x="374228" y="246064"/>
                        <a:pt x="375369" y="241310"/>
                      </a:cubicBezTo>
                      <a:cubicBezTo>
                        <a:pt x="376510" y="236556"/>
                        <a:pt x="375369" y="231992"/>
                        <a:pt x="375369" y="227239"/>
                      </a:cubicBezTo>
                      <a:cubicBezTo>
                        <a:pt x="375185" y="225147"/>
                        <a:pt x="375185" y="223055"/>
                        <a:pt x="375369" y="220964"/>
                      </a:cubicBezTo>
                      <a:cubicBezTo>
                        <a:pt x="376246" y="217978"/>
                        <a:pt x="376246" y="214822"/>
                        <a:pt x="375369" y="211836"/>
                      </a:cubicBezTo>
                      <a:cubicBezTo>
                        <a:pt x="374236" y="210714"/>
                        <a:pt x="372956" y="209763"/>
                        <a:pt x="371566" y="208984"/>
                      </a:cubicBezTo>
                      <a:cubicBezTo>
                        <a:pt x="369231" y="207596"/>
                        <a:pt x="367117" y="205865"/>
                        <a:pt x="365291" y="203849"/>
                      </a:cubicBezTo>
                      <a:cubicBezTo>
                        <a:pt x="363770" y="202138"/>
                        <a:pt x="362059" y="200046"/>
                        <a:pt x="359967" y="197955"/>
                      </a:cubicBezTo>
                      <a:cubicBezTo>
                        <a:pt x="350459" y="187496"/>
                        <a:pt x="337529" y="173045"/>
                        <a:pt x="340951" y="159924"/>
                      </a:cubicBezTo>
                      <a:cubicBezTo>
                        <a:pt x="341549" y="156919"/>
                        <a:pt x="342440" y="153991"/>
                        <a:pt x="343614" y="151177"/>
                      </a:cubicBezTo>
                      <a:cubicBezTo>
                        <a:pt x="344823" y="148229"/>
                        <a:pt x="345715" y="145187"/>
                        <a:pt x="346276" y="142049"/>
                      </a:cubicBezTo>
                      <a:cubicBezTo>
                        <a:pt x="347029" y="134729"/>
                        <a:pt x="349792" y="127750"/>
                        <a:pt x="354262" y="121893"/>
                      </a:cubicBezTo>
                      <a:cubicBezTo>
                        <a:pt x="357383" y="118908"/>
                        <a:pt x="359394" y="114953"/>
                        <a:pt x="359967" y="110674"/>
                      </a:cubicBezTo>
                      <a:cubicBezTo>
                        <a:pt x="359967" y="107061"/>
                        <a:pt x="354072" y="102688"/>
                        <a:pt x="346466" y="96603"/>
                      </a:cubicBezTo>
                      <a:cubicBezTo>
                        <a:pt x="343132" y="93865"/>
                        <a:pt x="340018" y="90879"/>
                        <a:pt x="337148" y="87665"/>
                      </a:cubicBezTo>
                      <a:cubicBezTo>
                        <a:pt x="328591" y="78728"/>
                        <a:pt x="322887" y="73404"/>
                        <a:pt x="314710" y="75116"/>
                      </a:cubicBezTo>
                      <a:cubicBezTo>
                        <a:pt x="312965" y="75648"/>
                        <a:pt x="311251" y="76294"/>
                        <a:pt x="309576" y="77017"/>
                      </a:cubicBezTo>
                      <a:cubicBezTo>
                        <a:pt x="304429" y="79850"/>
                        <a:pt x="298180" y="79850"/>
                        <a:pt x="293033" y="77017"/>
                      </a:cubicBezTo>
                      <a:cubicBezTo>
                        <a:pt x="280483" y="71883"/>
                        <a:pt x="274017" y="63326"/>
                        <a:pt x="275348" y="54008"/>
                      </a:cubicBezTo>
                      <a:cubicBezTo>
                        <a:pt x="276195" y="50034"/>
                        <a:pt x="278100" y="46345"/>
                        <a:pt x="280863" y="43360"/>
                      </a:cubicBezTo>
                      <a:cubicBezTo>
                        <a:pt x="282468" y="41781"/>
                        <a:pt x="283647" y="39823"/>
                        <a:pt x="284286" y="37655"/>
                      </a:cubicBezTo>
                      <a:cubicBezTo>
                        <a:pt x="284502" y="32521"/>
                        <a:pt x="283860" y="27368"/>
                        <a:pt x="282384" y="22443"/>
                      </a:cubicBezTo>
                      <a:lnTo>
                        <a:pt x="282384" y="22443"/>
                      </a:lnTo>
                      <a:cubicBezTo>
                        <a:pt x="280283" y="20712"/>
                        <a:pt x="277986" y="19248"/>
                        <a:pt x="275539" y="18069"/>
                      </a:cubicBezTo>
                      <a:lnTo>
                        <a:pt x="273257" y="18069"/>
                      </a:lnTo>
                      <a:cubicBezTo>
                        <a:pt x="272325" y="17803"/>
                        <a:pt x="271336" y="17803"/>
                        <a:pt x="270404" y="18069"/>
                      </a:cubicBezTo>
                      <a:cubicBezTo>
                        <a:pt x="257854" y="19210"/>
                        <a:pt x="266411" y="31190"/>
                        <a:pt x="262228" y="35944"/>
                      </a:cubicBezTo>
                      <a:cubicBezTo>
                        <a:pt x="253481" y="45642"/>
                        <a:pt x="245114" y="19020"/>
                        <a:pt x="238078" y="14266"/>
                      </a:cubicBezTo>
                      <a:cubicBezTo>
                        <a:pt x="234846" y="11984"/>
                        <a:pt x="232944" y="12935"/>
                        <a:pt x="230092" y="11224"/>
                      </a:cubicBezTo>
                      <a:cubicBezTo>
                        <a:pt x="227239" y="9512"/>
                        <a:pt x="223626" y="7230"/>
                        <a:pt x="220584" y="5329"/>
                      </a:cubicBezTo>
                      <a:cubicBezTo>
                        <a:pt x="212217" y="575"/>
                        <a:pt x="208414" y="-3798"/>
                        <a:pt x="201569" y="5329"/>
                      </a:cubicBezTo>
                      <a:cubicBezTo>
                        <a:pt x="189019" y="20161"/>
                        <a:pt x="207083" y="37465"/>
                        <a:pt x="207844" y="52677"/>
                      </a:cubicBezTo>
                      <a:cubicBezTo>
                        <a:pt x="207844" y="61234"/>
                        <a:pt x="207844" y="69221"/>
                        <a:pt x="207844" y="77397"/>
                      </a:cubicBezTo>
                      <a:cubicBezTo>
                        <a:pt x="207844" y="85574"/>
                        <a:pt x="211267" y="92990"/>
                        <a:pt x="202139" y="85384"/>
                      </a:cubicBezTo>
                      <a:cubicBezTo>
                        <a:pt x="197956" y="81771"/>
                        <a:pt x="199857" y="75116"/>
                        <a:pt x="193012" y="73024"/>
                      </a:cubicBezTo>
                      <a:cubicBezTo>
                        <a:pt x="186166" y="70932"/>
                        <a:pt x="182363" y="76066"/>
                        <a:pt x="177990" y="74735"/>
                      </a:cubicBezTo>
                      <a:cubicBezTo>
                        <a:pt x="173616" y="73404"/>
                        <a:pt x="170574" y="62755"/>
                        <a:pt x="162777" y="63136"/>
                      </a:cubicBezTo>
                      <a:cubicBezTo>
                        <a:pt x="154981" y="63516"/>
                        <a:pt x="152509" y="73024"/>
                        <a:pt x="146995" y="75876"/>
                      </a:cubicBezTo>
                      <a:cubicBezTo>
                        <a:pt x="135966" y="81390"/>
                        <a:pt x="122084" y="72263"/>
                        <a:pt x="112006" y="78538"/>
                      </a:cubicBezTo>
                      <a:cubicBezTo>
                        <a:pt x="101928" y="84813"/>
                        <a:pt x="107252" y="108773"/>
                        <a:pt x="96223" y="116569"/>
                      </a:cubicBezTo>
                      <a:cubicBezTo>
                        <a:pt x="85195" y="124365"/>
                        <a:pt x="73785" y="100026"/>
                        <a:pt x="67130" y="93180"/>
                      </a:cubicBezTo>
                      <a:cubicBezTo>
                        <a:pt x="62131" y="88635"/>
                        <a:pt x="58286" y="82969"/>
                        <a:pt x="55911" y="76637"/>
                      </a:cubicBezTo>
                      <a:cubicBezTo>
                        <a:pt x="53629" y="70362"/>
                        <a:pt x="54390" y="61614"/>
                        <a:pt x="50206" y="56290"/>
                      </a:cubicBezTo>
                      <a:lnTo>
                        <a:pt x="48875" y="54769"/>
                      </a:lnTo>
                      <a:lnTo>
                        <a:pt x="47164" y="53058"/>
                      </a:lnTo>
                      <a:cubicBezTo>
                        <a:pt x="41649" y="48113"/>
                        <a:pt x="32522" y="43360"/>
                        <a:pt x="28148" y="49255"/>
                      </a:cubicBezTo>
                      <a:cubicBezTo>
                        <a:pt x="23775" y="55149"/>
                        <a:pt x="26247" y="50966"/>
                        <a:pt x="24155" y="54579"/>
                      </a:cubicBezTo>
                      <a:cubicBezTo>
                        <a:pt x="22063" y="58192"/>
                        <a:pt x="24155" y="57051"/>
                        <a:pt x="20352" y="58952"/>
                      </a:cubicBezTo>
                      <a:cubicBezTo>
                        <a:pt x="16549" y="60854"/>
                        <a:pt x="8182" y="54769"/>
                        <a:pt x="1337" y="61044"/>
                      </a:cubicBezTo>
                      <a:cubicBezTo>
                        <a:pt x="-5509" y="67319"/>
                        <a:pt x="15788" y="91469"/>
                        <a:pt x="23395" y="101357"/>
                      </a:cubicBezTo>
                      <a:cubicBezTo>
                        <a:pt x="24395" y="102365"/>
                        <a:pt x="25229" y="103505"/>
                        <a:pt x="25867" y="104779"/>
                      </a:cubicBezTo>
                      <a:cubicBezTo>
                        <a:pt x="34994" y="123795"/>
                        <a:pt x="13316" y="137676"/>
                        <a:pt x="16169" y="155741"/>
                      </a:cubicBezTo>
                      <a:cubicBezTo>
                        <a:pt x="17500" y="164488"/>
                        <a:pt x="26247" y="168291"/>
                        <a:pt x="31381" y="174756"/>
                      </a:cubicBezTo>
                      <a:cubicBezTo>
                        <a:pt x="37688" y="181906"/>
                        <a:pt x="41725" y="190786"/>
                        <a:pt x="42980" y="200237"/>
                      </a:cubicBezTo>
                      <a:cubicBezTo>
                        <a:pt x="42315" y="210429"/>
                        <a:pt x="42315" y="220659"/>
                        <a:pt x="42980" y="230851"/>
                      </a:cubicBezTo>
                      <a:cubicBezTo>
                        <a:pt x="45262" y="241310"/>
                        <a:pt x="54580" y="246444"/>
                        <a:pt x="59524" y="255571"/>
                      </a:cubicBezTo>
                      <a:cubicBezTo>
                        <a:pt x="71384" y="273275"/>
                        <a:pt x="77613" y="294154"/>
                        <a:pt x="77398" y="315470"/>
                      </a:cubicBezTo>
                      <a:cubicBezTo>
                        <a:pt x="75307" y="325548"/>
                        <a:pt x="73595" y="324217"/>
                        <a:pt x="77398" y="334485"/>
                      </a:cubicBezTo>
                      <a:cubicBezTo>
                        <a:pt x="79684" y="345533"/>
                        <a:pt x="79684" y="356905"/>
                        <a:pt x="77398" y="367952"/>
                      </a:cubicBezTo>
                      <a:cubicBezTo>
                        <a:pt x="77398" y="386968"/>
                        <a:pt x="74736" y="405983"/>
                        <a:pt x="75687" y="424999"/>
                      </a:cubicBezTo>
                      <a:cubicBezTo>
                        <a:pt x="76141" y="429619"/>
                        <a:pt x="77999" y="434012"/>
                        <a:pt x="81011" y="437549"/>
                      </a:cubicBezTo>
                      <a:cubicBezTo>
                        <a:pt x="82626" y="436256"/>
                        <a:pt x="84151" y="434867"/>
                        <a:pt x="85575" y="433365"/>
                      </a:cubicBezTo>
                      <a:cubicBezTo>
                        <a:pt x="89507" y="429106"/>
                        <a:pt x="94305" y="425740"/>
                        <a:pt x="99646" y="423477"/>
                      </a:cubicBezTo>
                      <a:cubicBezTo>
                        <a:pt x="120183" y="416251"/>
                        <a:pt x="133874" y="436978"/>
                        <a:pt x="142051" y="449338"/>
                      </a:cubicBezTo>
                      <a:lnTo>
                        <a:pt x="143001" y="450859"/>
                      </a:lnTo>
                      <a:lnTo>
                        <a:pt x="143001" y="450859"/>
                      </a:lnTo>
                      <a:lnTo>
                        <a:pt x="144142" y="449719"/>
                      </a:lnTo>
                      <a:cubicBezTo>
                        <a:pt x="150942" y="439735"/>
                        <a:pt x="160083" y="431578"/>
                        <a:pt x="170764" y="425949"/>
                      </a:cubicBezTo>
                      <a:close/>
                      <a:moveTo>
                        <a:pt x="139198" y="415301"/>
                      </a:moveTo>
                      <a:cubicBezTo>
                        <a:pt x="134770" y="415130"/>
                        <a:pt x="130681" y="412867"/>
                        <a:pt x="128169" y="409216"/>
                      </a:cubicBezTo>
                      <a:cubicBezTo>
                        <a:pt x="118496" y="397331"/>
                        <a:pt x="111959" y="383203"/>
                        <a:pt x="109154" y="368142"/>
                      </a:cubicBezTo>
                      <a:cubicBezTo>
                        <a:pt x="108850" y="361145"/>
                        <a:pt x="112841" y="354661"/>
                        <a:pt x="119232" y="351789"/>
                      </a:cubicBezTo>
                      <a:cubicBezTo>
                        <a:pt x="127106" y="349317"/>
                        <a:pt x="135701" y="351618"/>
                        <a:pt x="141290" y="357684"/>
                      </a:cubicBezTo>
                      <a:cubicBezTo>
                        <a:pt x="143081" y="358882"/>
                        <a:pt x="145232" y="359414"/>
                        <a:pt x="147375" y="359205"/>
                      </a:cubicBezTo>
                      <a:cubicBezTo>
                        <a:pt x="149691" y="359243"/>
                        <a:pt x="151999" y="358920"/>
                        <a:pt x="154220" y="358255"/>
                      </a:cubicBezTo>
                      <a:cubicBezTo>
                        <a:pt x="158672" y="357570"/>
                        <a:pt x="162616" y="355003"/>
                        <a:pt x="165059" y="351219"/>
                      </a:cubicBezTo>
                      <a:cubicBezTo>
                        <a:pt x="165059" y="349317"/>
                        <a:pt x="165059" y="347416"/>
                        <a:pt x="161636" y="343803"/>
                      </a:cubicBezTo>
                      <a:cubicBezTo>
                        <a:pt x="158887" y="340951"/>
                        <a:pt x="156979" y="337395"/>
                        <a:pt x="156122" y="333535"/>
                      </a:cubicBezTo>
                      <a:cubicBezTo>
                        <a:pt x="156137" y="325814"/>
                        <a:pt x="158098" y="318227"/>
                        <a:pt x="161826" y="311477"/>
                      </a:cubicBezTo>
                      <a:cubicBezTo>
                        <a:pt x="167143" y="304289"/>
                        <a:pt x="174496" y="298850"/>
                        <a:pt x="182934" y="295884"/>
                      </a:cubicBezTo>
                      <a:cubicBezTo>
                        <a:pt x="187961" y="293907"/>
                        <a:pt x="192645" y="291149"/>
                        <a:pt x="196815" y="287707"/>
                      </a:cubicBezTo>
                      <a:cubicBezTo>
                        <a:pt x="200605" y="284494"/>
                        <a:pt x="202101" y="279322"/>
                        <a:pt x="200618" y="274587"/>
                      </a:cubicBezTo>
                      <a:cubicBezTo>
                        <a:pt x="199287" y="271354"/>
                        <a:pt x="199287" y="271354"/>
                        <a:pt x="193582" y="271925"/>
                      </a:cubicBezTo>
                      <a:lnTo>
                        <a:pt x="187687" y="271925"/>
                      </a:lnTo>
                      <a:cubicBezTo>
                        <a:pt x="178741" y="273826"/>
                        <a:pt x="169402" y="272191"/>
                        <a:pt x="161636" y="267361"/>
                      </a:cubicBezTo>
                      <a:cubicBezTo>
                        <a:pt x="158900" y="265231"/>
                        <a:pt x="156470" y="262740"/>
                        <a:pt x="154411" y="259945"/>
                      </a:cubicBezTo>
                      <a:cubicBezTo>
                        <a:pt x="153040" y="258100"/>
                        <a:pt x="151513" y="256389"/>
                        <a:pt x="149847" y="254811"/>
                      </a:cubicBezTo>
                      <a:lnTo>
                        <a:pt x="146234" y="251768"/>
                      </a:lnTo>
                      <a:cubicBezTo>
                        <a:pt x="134665" y="243953"/>
                        <a:pt x="126454" y="232068"/>
                        <a:pt x="123225" y="218491"/>
                      </a:cubicBezTo>
                      <a:cubicBezTo>
                        <a:pt x="120843" y="210581"/>
                        <a:pt x="124442" y="202119"/>
                        <a:pt x="131782" y="198335"/>
                      </a:cubicBezTo>
                      <a:cubicBezTo>
                        <a:pt x="140529" y="195635"/>
                        <a:pt x="149959" y="199552"/>
                        <a:pt x="154220" y="207653"/>
                      </a:cubicBezTo>
                      <a:cubicBezTo>
                        <a:pt x="156325" y="210885"/>
                        <a:pt x="158109" y="214327"/>
                        <a:pt x="159545" y="217921"/>
                      </a:cubicBezTo>
                      <a:cubicBezTo>
                        <a:pt x="162207" y="224386"/>
                        <a:pt x="163348" y="227239"/>
                        <a:pt x="170193" y="227999"/>
                      </a:cubicBezTo>
                      <a:cubicBezTo>
                        <a:pt x="174432" y="228360"/>
                        <a:pt x="178695" y="228360"/>
                        <a:pt x="182934" y="227999"/>
                      </a:cubicBezTo>
                      <a:cubicBezTo>
                        <a:pt x="194723" y="226858"/>
                        <a:pt x="209175" y="225337"/>
                        <a:pt x="217351" y="238838"/>
                      </a:cubicBezTo>
                      <a:cubicBezTo>
                        <a:pt x="218949" y="242071"/>
                        <a:pt x="220040" y="245531"/>
                        <a:pt x="220584" y="249106"/>
                      </a:cubicBezTo>
                      <a:cubicBezTo>
                        <a:pt x="220890" y="251864"/>
                        <a:pt x="221799" y="254526"/>
                        <a:pt x="223246" y="256903"/>
                      </a:cubicBezTo>
                      <a:cubicBezTo>
                        <a:pt x="225532" y="259717"/>
                        <a:pt x="228300" y="262094"/>
                        <a:pt x="231423" y="263938"/>
                      </a:cubicBezTo>
                      <a:cubicBezTo>
                        <a:pt x="233882" y="265555"/>
                        <a:pt x="236232" y="267342"/>
                        <a:pt x="238459" y="269262"/>
                      </a:cubicBezTo>
                      <a:cubicBezTo>
                        <a:pt x="250261" y="280881"/>
                        <a:pt x="254909" y="297957"/>
                        <a:pt x="250628" y="313949"/>
                      </a:cubicBezTo>
                      <a:cubicBezTo>
                        <a:pt x="250628" y="317562"/>
                        <a:pt x="250628" y="320984"/>
                        <a:pt x="250628" y="324217"/>
                      </a:cubicBezTo>
                      <a:cubicBezTo>
                        <a:pt x="250145" y="336121"/>
                        <a:pt x="248295" y="347910"/>
                        <a:pt x="245114" y="359395"/>
                      </a:cubicBezTo>
                      <a:cubicBezTo>
                        <a:pt x="242262" y="368523"/>
                        <a:pt x="233705" y="380503"/>
                        <a:pt x="225148" y="379362"/>
                      </a:cubicBezTo>
                      <a:cubicBezTo>
                        <a:pt x="220964" y="379362"/>
                        <a:pt x="216020" y="375749"/>
                        <a:pt x="215450" y="363389"/>
                      </a:cubicBezTo>
                      <a:cubicBezTo>
                        <a:pt x="215741" y="357874"/>
                        <a:pt x="217372" y="352531"/>
                        <a:pt x="220204" y="347796"/>
                      </a:cubicBezTo>
                      <a:cubicBezTo>
                        <a:pt x="222486" y="342852"/>
                        <a:pt x="224958" y="337718"/>
                        <a:pt x="223246" y="335056"/>
                      </a:cubicBezTo>
                      <a:cubicBezTo>
                        <a:pt x="221535" y="332394"/>
                        <a:pt x="220204" y="332203"/>
                        <a:pt x="220014" y="332203"/>
                      </a:cubicBezTo>
                      <a:cubicBezTo>
                        <a:pt x="219823" y="332203"/>
                        <a:pt x="216020" y="334105"/>
                        <a:pt x="209935" y="346085"/>
                      </a:cubicBezTo>
                      <a:lnTo>
                        <a:pt x="208985" y="348176"/>
                      </a:lnTo>
                      <a:cubicBezTo>
                        <a:pt x="201875" y="359510"/>
                        <a:pt x="193017" y="369645"/>
                        <a:pt x="182743" y="378221"/>
                      </a:cubicBezTo>
                      <a:cubicBezTo>
                        <a:pt x="180880" y="379951"/>
                        <a:pt x="178841" y="381472"/>
                        <a:pt x="176659" y="382784"/>
                      </a:cubicBezTo>
                      <a:cubicBezTo>
                        <a:pt x="174040" y="384154"/>
                        <a:pt x="171716" y="386036"/>
                        <a:pt x="169813" y="388299"/>
                      </a:cubicBezTo>
                      <a:cubicBezTo>
                        <a:pt x="168965" y="390048"/>
                        <a:pt x="168389" y="391893"/>
                        <a:pt x="168102" y="393813"/>
                      </a:cubicBezTo>
                      <a:cubicBezTo>
                        <a:pt x="167598" y="397864"/>
                        <a:pt x="165949" y="401686"/>
                        <a:pt x="163348" y="404842"/>
                      </a:cubicBezTo>
                      <a:cubicBezTo>
                        <a:pt x="158284" y="408588"/>
                        <a:pt x="152870" y="411840"/>
                        <a:pt x="147185" y="414540"/>
                      </a:cubicBezTo>
                      <a:cubicBezTo>
                        <a:pt x="144572" y="415168"/>
                        <a:pt x="141883" y="415434"/>
                        <a:pt x="139198" y="415301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426" name="Полилиния: фигура 425">
                  <a:extLst>
                    <a:ext uri="{FF2B5EF4-FFF2-40B4-BE49-F238E27FC236}">
                      <a16:creationId xmlns:a16="http://schemas.microsoft.com/office/drawing/2014/main" id="{402E9756-4C71-DC96-F98F-E6CF40D1E486}"/>
                    </a:ext>
                  </a:extLst>
                </p:cNvPr>
                <p:cNvSpPr/>
                <p:nvPr/>
              </p:nvSpPr>
              <p:spPr>
                <a:xfrm>
                  <a:off x="1538247" y="4784086"/>
                  <a:ext cx="446443" cy="497062"/>
                </a:xfrm>
                <a:custGeom>
                  <a:avLst/>
                  <a:gdLst>
                    <a:gd name="connsiteX0" fmla="*/ 41263 w 446443"/>
                    <a:gd name="connsiteY0" fmla="*/ 154785 h 497062"/>
                    <a:gd name="connsiteX1" fmla="*/ 59138 w 446443"/>
                    <a:gd name="connsiteY1" fmla="*/ 164483 h 497062"/>
                    <a:gd name="connsiteX2" fmla="*/ 48489 w 446443"/>
                    <a:gd name="connsiteY2" fmla="*/ 184830 h 497062"/>
                    <a:gd name="connsiteX3" fmla="*/ 39552 w 446443"/>
                    <a:gd name="connsiteY3" fmla="*/ 178935 h 497062"/>
                    <a:gd name="connsiteX4" fmla="*/ 23389 w 446443"/>
                    <a:gd name="connsiteY4" fmla="*/ 175512 h 497062"/>
                    <a:gd name="connsiteX5" fmla="*/ 8937 w 446443"/>
                    <a:gd name="connsiteY5" fmla="*/ 172279 h 497062"/>
                    <a:gd name="connsiteX6" fmla="*/ 8937 w 446443"/>
                    <a:gd name="connsiteY6" fmla="*/ 181407 h 497062"/>
                    <a:gd name="connsiteX7" fmla="*/ 3233 w 446443"/>
                    <a:gd name="connsiteY7" fmla="*/ 192056 h 497062"/>
                    <a:gd name="connsiteX8" fmla="*/ 0 w 446443"/>
                    <a:gd name="connsiteY8" fmla="*/ 197570 h 497062"/>
                    <a:gd name="connsiteX9" fmla="*/ 11029 w 446443"/>
                    <a:gd name="connsiteY9" fmla="*/ 208979 h 497062"/>
                    <a:gd name="connsiteX10" fmla="*/ 18825 w 446443"/>
                    <a:gd name="connsiteY10" fmla="*/ 208979 h 497062"/>
                    <a:gd name="connsiteX11" fmla="*/ 26431 w 446443"/>
                    <a:gd name="connsiteY11" fmla="*/ 206317 h 497062"/>
                    <a:gd name="connsiteX12" fmla="*/ 58948 w 446443"/>
                    <a:gd name="connsiteY12" fmla="*/ 221910 h 497062"/>
                    <a:gd name="connsiteX13" fmla="*/ 67124 w 446443"/>
                    <a:gd name="connsiteY13" fmla="*/ 229896 h 497062"/>
                    <a:gd name="connsiteX14" fmla="*/ 84618 w 446443"/>
                    <a:gd name="connsiteY14" fmla="*/ 251383 h 497062"/>
                    <a:gd name="connsiteX15" fmla="*/ 76442 w 446443"/>
                    <a:gd name="connsiteY15" fmla="*/ 270399 h 497062"/>
                    <a:gd name="connsiteX16" fmla="*/ 70927 w 446443"/>
                    <a:gd name="connsiteY16" fmla="*/ 285421 h 497062"/>
                    <a:gd name="connsiteX17" fmla="*/ 67695 w 446443"/>
                    <a:gd name="connsiteY17" fmla="*/ 296450 h 497062"/>
                    <a:gd name="connsiteX18" fmla="*/ 65413 w 446443"/>
                    <a:gd name="connsiteY18" fmla="*/ 303866 h 497062"/>
                    <a:gd name="connsiteX19" fmla="*/ 82337 w 446443"/>
                    <a:gd name="connsiteY19" fmla="*/ 333150 h 497062"/>
                    <a:gd name="connsiteX20" fmla="*/ 88041 w 446443"/>
                    <a:gd name="connsiteY20" fmla="*/ 339425 h 497062"/>
                    <a:gd name="connsiteX21" fmla="*/ 91844 w 446443"/>
                    <a:gd name="connsiteY21" fmla="*/ 342467 h 497062"/>
                    <a:gd name="connsiteX22" fmla="*/ 99260 w 446443"/>
                    <a:gd name="connsiteY22" fmla="*/ 348932 h 497062"/>
                    <a:gd name="connsiteX23" fmla="*/ 100401 w 446443"/>
                    <a:gd name="connsiteY23" fmla="*/ 365095 h 497062"/>
                    <a:gd name="connsiteX24" fmla="*/ 100401 w 446443"/>
                    <a:gd name="connsiteY24" fmla="*/ 370040 h 497062"/>
                    <a:gd name="connsiteX25" fmla="*/ 100401 w 446443"/>
                    <a:gd name="connsiteY25" fmla="*/ 383730 h 497062"/>
                    <a:gd name="connsiteX26" fmla="*/ 100401 w 446443"/>
                    <a:gd name="connsiteY26" fmla="*/ 397041 h 497062"/>
                    <a:gd name="connsiteX27" fmla="*/ 105535 w 446443"/>
                    <a:gd name="connsiteY27" fmla="*/ 399133 h 497062"/>
                    <a:gd name="connsiteX28" fmla="*/ 122459 w 446443"/>
                    <a:gd name="connsiteY28" fmla="*/ 410352 h 497062"/>
                    <a:gd name="connsiteX29" fmla="*/ 131206 w 446443"/>
                    <a:gd name="connsiteY29" fmla="*/ 402746 h 497062"/>
                    <a:gd name="connsiteX30" fmla="*/ 150222 w 446443"/>
                    <a:gd name="connsiteY30" fmla="*/ 402746 h 497062"/>
                    <a:gd name="connsiteX31" fmla="*/ 154785 w 446443"/>
                    <a:gd name="connsiteY31" fmla="*/ 406549 h 497062"/>
                    <a:gd name="connsiteX32" fmla="*/ 180076 w 446443"/>
                    <a:gd name="connsiteY32" fmla="*/ 396281 h 497062"/>
                    <a:gd name="connsiteX33" fmla="*/ 194147 w 446443"/>
                    <a:gd name="connsiteY33" fmla="*/ 381639 h 497062"/>
                    <a:gd name="connsiteX34" fmla="*/ 210120 w 446443"/>
                    <a:gd name="connsiteY34" fmla="*/ 387153 h 497062"/>
                    <a:gd name="connsiteX35" fmla="*/ 225713 w 446443"/>
                    <a:gd name="connsiteY35" fmla="*/ 414535 h 497062"/>
                    <a:gd name="connsiteX36" fmla="*/ 240354 w 446443"/>
                    <a:gd name="connsiteY36" fmla="*/ 437924 h 497062"/>
                    <a:gd name="connsiteX37" fmla="*/ 257468 w 446443"/>
                    <a:gd name="connsiteY37" fmla="*/ 462264 h 497062"/>
                    <a:gd name="connsiteX38" fmla="*/ 258609 w 446443"/>
                    <a:gd name="connsiteY38" fmla="*/ 479948 h 497062"/>
                    <a:gd name="connsiteX39" fmla="*/ 258609 w 446443"/>
                    <a:gd name="connsiteY39" fmla="*/ 490407 h 497062"/>
                    <a:gd name="connsiteX40" fmla="*/ 258609 w 446443"/>
                    <a:gd name="connsiteY40" fmla="*/ 490407 h 497062"/>
                    <a:gd name="connsiteX41" fmla="*/ 262412 w 446443"/>
                    <a:gd name="connsiteY41" fmla="*/ 492118 h 497062"/>
                    <a:gd name="connsiteX42" fmla="*/ 265835 w 446443"/>
                    <a:gd name="connsiteY42" fmla="*/ 495731 h 497062"/>
                    <a:gd name="connsiteX43" fmla="*/ 265835 w 446443"/>
                    <a:gd name="connsiteY43" fmla="*/ 497062 h 497062"/>
                    <a:gd name="connsiteX44" fmla="*/ 271350 w 446443"/>
                    <a:gd name="connsiteY44" fmla="*/ 497062 h 497062"/>
                    <a:gd name="connsiteX45" fmla="*/ 281428 w 446443"/>
                    <a:gd name="connsiteY45" fmla="*/ 494210 h 497062"/>
                    <a:gd name="connsiteX46" fmla="*/ 289414 w 446443"/>
                    <a:gd name="connsiteY46" fmla="*/ 491928 h 497062"/>
                    <a:gd name="connsiteX47" fmla="*/ 299302 w 446443"/>
                    <a:gd name="connsiteY47" fmla="*/ 495161 h 497062"/>
                    <a:gd name="connsiteX48" fmla="*/ 302915 w 446443"/>
                    <a:gd name="connsiteY48" fmla="*/ 496872 h 497062"/>
                    <a:gd name="connsiteX49" fmla="*/ 305007 w 446443"/>
                    <a:gd name="connsiteY49" fmla="*/ 495351 h 497062"/>
                    <a:gd name="connsiteX50" fmla="*/ 308049 w 446443"/>
                    <a:gd name="connsiteY50" fmla="*/ 492879 h 497062"/>
                    <a:gd name="connsiteX51" fmla="*/ 313183 w 446443"/>
                    <a:gd name="connsiteY51" fmla="*/ 487745 h 497062"/>
                    <a:gd name="connsiteX52" fmla="*/ 328206 w 446443"/>
                    <a:gd name="connsiteY52" fmla="*/ 469680 h 497062"/>
                    <a:gd name="connsiteX53" fmla="*/ 341516 w 446443"/>
                    <a:gd name="connsiteY53" fmla="*/ 467018 h 497062"/>
                    <a:gd name="connsiteX54" fmla="*/ 347982 w 446443"/>
                    <a:gd name="connsiteY54" fmla="*/ 467018 h 497062"/>
                    <a:gd name="connsiteX55" fmla="*/ 360912 w 446443"/>
                    <a:gd name="connsiteY55" fmla="*/ 466067 h 497062"/>
                    <a:gd name="connsiteX56" fmla="*/ 382780 w 446443"/>
                    <a:gd name="connsiteY56" fmla="*/ 453707 h 497062"/>
                    <a:gd name="connsiteX57" fmla="*/ 399513 w 446443"/>
                    <a:gd name="connsiteY57" fmla="*/ 432220 h 497062"/>
                    <a:gd name="connsiteX58" fmla="*/ 410922 w 446443"/>
                    <a:gd name="connsiteY58" fmla="*/ 413204 h 497062"/>
                    <a:gd name="connsiteX59" fmla="*/ 410922 w 446443"/>
                    <a:gd name="connsiteY59" fmla="*/ 411683 h 497062"/>
                    <a:gd name="connsiteX60" fmla="*/ 410922 w 446443"/>
                    <a:gd name="connsiteY60" fmla="*/ 409972 h 497062"/>
                    <a:gd name="connsiteX61" fmla="*/ 404457 w 446443"/>
                    <a:gd name="connsiteY61" fmla="*/ 408831 h 497062"/>
                    <a:gd name="connsiteX62" fmla="*/ 402175 w 446443"/>
                    <a:gd name="connsiteY62" fmla="*/ 410352 h 497062"/>
                    <a:gd name="connsiteX63" fmla="*/ 400844 w 446443"/>
                    <a:gd name="connsiteY63" fmla="*/ 410352 h 497062"/>
                    <a:gd name="connsiteX64" fmla="*/ 381829 w 446443"/>
                    <a:gd name="connsiteY64" fmla="*/ 416057 h 497062"/>
                    <a:gd name="connsiteX65" fmla="*/ 367948 w 446443"/>
                    <a:gd name="connsiteY65" fmla="*/ 404457 h 497062"/>
                    <a:gd name="connsiteX66" fmla="*/ 367948 w 446443"/>
                    <a:gd name="connsiteY66" fmla="*/ 389625 h 497062"/>
                    <a:gd name="connsiteX67" fmla="*/ 367948 w 446443"/>
                    <a:gd name="connsiteY67" fmla="*/ 386963 h 497062"/>
                    <a:gd name="connsiteX68" fmla="*/ 367948 w 446443"/>
                    <a:gd name="connsiteY68" fmla="*/ 379737 h 497062"/>
                    <a:gd name="connsiteX69" fmla="*/ 367948 w 446443"/>
                    <a:gd name="connsiteY69" fmla="*/ 379737 h 497062"/>
                    <a:gd name="connsiteX70" fmla="*/ 366046 w 446443"/>
                    <a:gd name="connsiteY70" fmla="*/ 376505 h 497062"/>
                    <a:gd name="connsiteX71" fmla="*/ 357870 w 446443"/>
                    <a:gd name="connsiteY71" fmla="*/ 374033 h 497062"/>
                    <a:gd name="connsiteX72" fmla="*/ 343228 w 446443"/>
                    <a:gd name="connsiteY72" fmla="*/ 367187 h 497062"/>
                    <a:gd name="connsiteX73" fmla="*/ 339044 w 446443"/>
                    <a:gd name="connsiteY73" fmla="*/ 356158 h 497062"/>
                    <a:gd name="connsiteX74" fmla="*/ 337143 w 446443"/>
                    <a:gd name="connsiteY74" fmla="*/ 350073 h 497062"/>
                    <a:gd name="connsiteX75" fmla="*/ 335241 w 446443"/>
                    <a:gd name="connsiteY75" fmla="*/ 348172 h 497062"/>
                    <a:gd name="connsiteX76" fmla="*/ 332199 w 446443"/>
                    <a:gd name="connsiteY76" fmla="*/ 345129 h 497062"/>
                    <a:gd name="connsiteX77" fmla="*/ 327825 w 446443"/>
                    <a:gd name="connsiteY77" fmla="*/ 329917 h 497062"/>
                    <a:gd name="connsiteX78" fmla="*/ 331248 w 446443"/>
                    <a:gd name="connsiteY78" fmla="*/ 295689 h 497062"/>
                    <a:gd name="connsiteX79" fmla="*/ 332199 w 446443"/>
                    <a:gd name="connsiteY79" fmla="*/ 292076 h 497062"/>
                    <a:gd name="connsiteX80" fmla="*/ 334481 w 446443"/>
                    <a:gd name="connsiteY80" fmla="*/ 279907 h 497062"/>
                    <a:gd name="connsiteX81" fmla="*/ 323642 w 446443"/>
                    <a:gd name="connsiteY81" fmla="*/ 260891 h 497062"/>
                    <a:gd name="connsiteX82" fmla="*/ 311662 w 446443"/>
                    <a:gd name="connsiteY82" fmla="*/ 245869 h 497062"/>
                    <a:gd name="connsiteX83" fmla="*/ 309380 w 446443"/>
                    <a:gd name="connsiteY83" fmla="*/ 233889 h 497062"/>
                    <a:gd name="connsiteX84" fmla="*/ 316036 w 446443"/>
                    <a:gd name="connsiteY84" fmla="*/ 226663 h 497062"/>
                    <a:gd name="connsiteX85" fmla="*/ 339425 w 446443"/>
                    <a:gd name="connsiteY85" fmla="*/ 211451 h 497062"/>
                    <a:gd name="connsiteX86" fmla="*/ 360532 w 446443"/>
                    <a:gd name="connsiteY86" fmla="*/ 204415 h 497062"/>
                    <a:gd name="connsiteX87" fmla="*/ 371561 w 446443"/>
                    <a:gd name="connsiteY87" fmla="*/ 208979 h 497062"/>
                    <a:gd name="connsiteX88" fmla="*/ 389245 w 446443"/>
                    <a:gd name="connsiteY88" fmla="*/ 214494 h 497062"/>
                    <a:gd name="connsiteX89" fmla="*/ 401985 w 446443"/>
                    <a:gd name="connsiteY89" fmla="*/ 207648 h 497062"/>
                    <a:gd name="connsiteX90" fmla="*/ 411303 w 446443"/>
                    <a:gd name="connsiteY90" fmla="*/ 193386 h 497062"/>
                    <a:gd name="connsiteX91" fmla="*/ 415866 w 446443"/>
                    <a:gd name="connsiteY91" fmla="*/ 178174 h 497062"/>
                    <a:gd name="connsiteX92" fmla="*/ 413014 w 446443"/>
                    <a:gd name="connsiteY92" fmla="*/ 169617 h 497062"/>
                    <a:gd name="connsiteX93" fmla="*/ 409211 w 446443"/>
                    <a:gd name="connsiteY93" fmla="*/ 154025 h 497062"/>
                    <a:gd name="connsiteX94" fmla="*/ 409211 w 446443"/>
                    <a:gd name="connsiteY94" fmla="*/ 150221 h 497062"/>
                    <a:gd name="connsiteX95" fmla="*/ 406359 w 446443"/>
                    <a:gd name="connsiteY95" fmla="*/ 142425 h 497062"/>
                    <a:gd name="connsiteX96" fmla="*/ 405028 w 446443"/>
                    <a:gd name="connsiteY96" fmla="*/ 139193 h 497062"/>
                    <a:gd name="connsiteX97" fmla="*/ 403316 w 446443"/>
                    <a:gd name="connsiteY97" fmla="*/ 122649 h 497062"/>
                    <a:gd name="connsiteX98" fmla="*/ 414155 w 446443"/>
                    <a:gd name="connsiteY98" fmla="*/ 111811 h 497062"/>
                    <a:gd name="connsiteX99" fmla="*/ 416817 w 446443"/>
                    <a:gd name="connsiteY99" fmla="*/ 110289 h 497062"/>
                    <a:gd name="connsiteX100" fmla="*/ 423282 w 446443"/>
                    <a:gd name="connsiteY100" fmla="*/ 104395 h 497062"/>
                    <a:gd name="connsiteX101" fmla="*/ 428607 w 446443"/>
                    <a:gd name="connsiteY101" fmla="*/ 99450 h 497062"/>
                    <a:gd name="connsiteX102" fmla="*/ 435072 w 446443"/>
                    <a:gd name="connsiteY102" fmla="*/ 94506 h 497062"/>
                    <a:gd name="connsiteX103" fmla="*/ 443249 w 446443"/>
                    <a:gd name="connsiteY103" fmla="*/ 88041 h 497062"/>
                    <a:gd name="connsiteX104" fmla="*/ 446291 w 446443"/>
                    <a:gd name="connsiteY104" fmla="*/ 83668 h 497062"/>
                    <a:gd name="connsiteX105" fmla="*/ 446291 w 446443"/>
                    <a:gd name="connsiteY105" fmla="*/ 78534 h 497062"/>
                    <a:gd name="connsiteX106" fmla="*/ 444580 w 446443"/>
                    <a:gd name="connsiteY106" fmla="*/ 60849 h 497062"/>
                    <a:gd name="connsiteX107" fmla="*/ 441918 w 446443"/>
                    <a:gd name="connsiteY107" fmla="*/ 51722 h 497062"/>
                    <a:gd name="connsiteX108" fmla="*/ 439446 w 446443"/>
                    <a:gd name="connsiteY108" fmla="*/ 47538 h 497062"/>
                    <a:gd name="connsiteX109" fmla="*/ 437354 w 446443"/>
                    <a:gd name="connsiteY109" fmla="*/ 44116 h 497062"/>
                    <a:gd name="connsiteX110" fmla="*/ 432030 w 446443"/>
                    <a:gd name="connsiteY110" fmla="*/ 19205 h 497062"/>
                    <a:gd name="connsiteX111" fmla="*/ 433170 w 446443"/>
                    <a:gd name="connsiteY111" fmla="*/ 12930 h 497062"/>
                    <a:gd name="connsiteX112" fmla="*/ 433170 w 446443"/>
                    <a:gd name="connsiteY112" fmla="*/ 11219 h 497062"/>
                    <a:gd name="connsiteX113" fmla="*/ 433170 w 446443"/>
                    <a:gd name="connsiteY113" fmla="*/ 11219 h 497062"/>
                    <a:gd name="connsiteX114" fmla="*/ 419289 w 446443"/>
                    <a:gd name="connsiteY114" fmla="*/ 11219 h 497062"/>
                    <a:gd name="connsiteX115" fmla="*/ 410162 w 446443"/>
                    <a:gd name="connsiteY115" fmla="*/ 11219 h 497062"/>
                    <a:gd name="connsiteX116" fmla="*/ 401795 w 446443"/>
                    <a:gd name="connsiteY116" fmla="*/ 16163 h 497062"/>
                    <a:gd name="connsiteX117" fmla="*/ 391337 w 446443"/>
                    <a:gd name="connsiteY117" fmla="*/ 22438 h 497062"/>
                    <a:gd name="connsiteX118" fmla="*/ 368898 w 446443"/>
                    <a:gd name="connsiteY118" fmla="*/ 22438 h 497062"/>
                    <a:gd name="connsiteX119" fmla="*/ 336192 w 446443"/>
                    <a:gd name="connsiteY119" fmla="*/ 7226 h 497062"/>
                    <a:gd name="connsiteX120" fmla="*/ 323452 w 446443"/>
                    <a:gd name="connsiteY120" fmla="*/ 0 h 497062"/>
                    <a:gd name="connsiteX121" fmla="*/ 323452 w 446443"/>
                    <a:gd name="connsiteY121" fmla="*/ 0 h 497062"/>
                    <a:gd name="connsiteX122" fmla="*/ 315655 w 446443"/>
                    <a:gd name="connsiteY122" fmla="*/ 7606 h 497062"/>
                    <a:gd name="connsiteX123" fmla="*/ 311472 w 446443"/>
                    <a:gd name="connsiteY123" fmla="*/ 11029 h 497062"/>
                    <a:gd name="connsiteX124" fmla="*/ 305767 w 446443"/>
                    <a:gd name="connsiteY124" fmla="*/ 19205 h 497062"/>
                    <a:gd name="connsiteX125" fmla="*/ 291316 w 446443"/>
                    <a:gd name="connsiteY125" fmla="*/ 34608 h 497062"/>
                    <a:gd name="connsiteX126" fmla="*/ 270589 w 446443"/>
                    <a:gd name="connsiteY126" fmla="*/ 36700 h 497062"/>
                    <a:gd name="connsiteX127" fmla="*/ 260511 w 446443"/>
                    <a:gd name="connsiteY127" fmla="*/ 36700 h 497062"/>
                    <a:gd name="connsiteX128" fmla="*/ 220198 w 446443"/>
                    <a:gd name="connsiteY128" fmla="*/ 66934 h 497062"/>
                    <a:gd name="connsiteX129" fmla="*/ 216585 w 446443"/>
                    <a:gd name="connsiteY129" fmla="*/ 81956 h 497062"/>
                    <a:gd name="connsiteX130" fmla="*/ 212592 w 446443"/>
                    <a:gd name="connsiteY130" fmla="*/ 98880 h 497062"/>
                    <a:gd name="connsiteX131" fmla="*/ 189393 w 446443"/>
                    <a:gd name="connsiteY131" fmla="*/ 123980 h 497062"/>
                    <a:gd name="connsiteX132" fmla="*/ 188062 w 446443"/>
                    <a:gd name="connsiteY132" fmla="*/ 124931 h 497062"/>
                    <a:gd name="connsiteX133" fmla="*/ 181217 w 446443"/>
                    <a:gd name="connsiteY133" fmla="*/ 130636 h 497062"/>
                    <a:gd name="connsiteX134" fmla="*/ 158018 w 446443"/>
                    <a:gd name="connsiteY134" fmla="*/ 144897 h 497062"/>
                    <a:gd name="connsiteX135" fmla="*/ 154785 w 446443"/>
                    <a:gd name="connsiteY135" fmla="*/ 144897 h 497062"/>
                    <a:gd name="connsiteX136" fmla="*/ 131777 w 446443"/>
                    <a:gd name="connsiteY136" fmla="*/ 130256 h 497062"/>
                    <a:gd name="connsiteX137" fmla="*/ 125311 w 446443"/>
                    <a:gd name="connsiteY137" fmla="*/ 122649 h 497062"/>
                    <a:gd name="connsiteX138" fmla="*/ 87281 w 446443"/>
                    <a:gd name="connsiteY138" fmla="*/ 98500 h 497062"/>
                    <a:gd name="connsiteX139" fmla="*/ 86140 w 446443"/>
                    <a:gd name="connsiteY139" fmla="*/ 98500 h 497062"/>
                    <a:gd name="connsiteX140" fmla="*/ 63702 w 446443"/>
                    <a:gd name="connsiteY140" fmla="*/ 95267 h 497062"/>
                    <a:gd name="connsiteX141" fmla="*/ 27572 w 446443"/>
                    <a:gd name="connsiteY141" fmla="*/ 96598 h 497062"/>
                    <a:gd name="connsiteX142" fmla="*/ 14642 w 446443"/>
                    <a:gd name="connsiteY142" fmla="*/ 110479 h 497062"/>
                    <a:gd name="connsiteX143" fmla="*/ 6655 w 446443"/>
                    <a:gd name="connsiteY143" fmla="*/ 120177 h 497062"/>
                    <a:gd name="connsiteX144" fmla="*/ 380 w 446443"/>
                    <a:gd name="connsiteY144" fmla="*/ 126072 h 497062"/>
                    <a:gd name="connsiteX145" fmla="*/ 4754 w 446443"/>
                    <a:gd name="connsiteY145" fmla="*/ 128354 h 497062"/>
                    <a:gd name="connsiteX146" fmla="*/ 41263 w 446443"/>
                    <a:gd name="connsiteY146" fmla="*/ 154785 h 497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</a:cxnLst>
                  <a:rect l="l" t="t" r="r" b="b"/>
                  <a:pathLst>
                    <a:path w="446443" h="497062">
                      <a:moveTo>
                        <a:pt x="41263" y="154785"/>
                      </a:moveTo>
                      <a:cubicBezTo>
                        <a:pt x="48299" y="157067"/>
                        <a:pt x="54764" y="157637"/>
                        <a:pt x="59138" y="164483"/>
                      </a:cubicBezTo>
                      <a:cubicBezTo>
                        <a:pt x="63511" y="171329"/>
                        <a:pt x="61230" y="187492"/>
                        <a:pt x="48489" y="184830"/>
                      </a:cubicBezTo>
                      <a:cubicBezTo>
                        <a:pt x="44686" y="184830"/>
                        <a:pt x="42785" y="180456"/>
                        <a:pt x="39552" y="178935"/>
                      </a:cubicBezTo>
                      <a:cubicBezTo>
                        <a:pt x="34441" y="176748"/>
                        <a:pt x="28949" y="175588"/>
                        <a:pt x="23389" y="175512"/>
                      </a:cubicBezTo>
                      <a:cubicBezTo>
                        <a:pt x="18415" y="175322"/>
                        <a:pt x="13516" y="174238"/>
                        <a:pt x="8937" y="172279"/>
                      </a:cubicBezTo>
                      <a:cubicBezTo>
                        <a:pt x="9415" y="175303"/>
                        <a:pt x="9415" y="178383"/>
                        <a:pt x="8937" y="181407"/>
                      </a:cubicBezTo>
                      <a:cubicBezTo>
                        <a:pt x="7952" y="185381"/>
                        <a:pt x="5992" y="189032"/>
                        <a:pt x="3233" y="192056"/>
                      </a:cubicBezTo>
                      <a:cubicBezTo>
                        <a:pt x="1711" y="193596"/>
                        <a:pt x="599" y="195497"/>
                        <a:pt x="0" y="197570"/>
                      </a:cubicBezTo>
                      <a:cubicBezTo>
                        <a:pt x="0" y="203845"/>
                        <a:pt x="9888" y="208409"/>
                        <a:pt x="11029" y="208979"/>
                      </a:cubicBezTo>
                      <a:cubicBezTo>
                        <a:pt x="13391" y="210557"/>
                        <a:pt x="16464" y="210557"/>
                        <a:pt x="18825" y="208979"/>
                      </a:cubicBezTo>
                      <a:cubicBezTo>
                        <a:pt x="21271" y="207857"/>
                        <a:pt x="23817" y="206964"/>
                        <a:pt x="26431" y="206317"/>
                      </a:cubicBezTo>
                      <a:cubicBezTo>
                        <a:pt x="39335" y="205005"/>
                        <a:pt x="51887" y="211033"/>
                        <a:pt x="58948" y="221910"/>
                      </a:cubicBezTo>
                      <a:cubicBezTo>
                        <a:pt x="61481" y="224762"/>
                        <a:pt x="64213" y="227424"/>
                        <a:pt x="67124" y="229896"/>
                      </a:cubicBezTo>
                      <a:cubicBezTo>
                        <a:pt x="76822" y="237502"/>
                        <a:pt x="83668" y="243017"/>
                        <a:pt x="84618" y="251383"/>
                      </a:cubicBezTo>
                      <a:cubicBezTo>
                        <a:pt x="84592" y="258571"/>
                        <a:pt x="81639" y="265436"/>
                        <a:pt x="76442" y="270399"/>
                      </a:cubicBezTo>
                      <a:cubicBezTo>
                        <a:pt x="73352" y="274848"/>
                        <a:pt x="71452" y="280021"/>
                        <a:pt x="70927" y="285421"/>
                      </a:cubicBezTo>
                      <a:cubicBezTo>
                        <a:pt x="70281" y="289205"/>
                        <a:pt x="69195" y="292913"/>
                        <a:pt x="67695" y="296450"/>
                      </a:cubicBezTo>
                      <a:cubicBezTo>
                        <a:pt x="67695" y="298922"/>
                        <a:pt x="65983" y="301394"/>
                        <a:pt x="65413" y="303866"/>
                      </a:cubicBezTo>
                      <a:cubicBezTo>
                        <a:pt x="63511" y="312423"/>
                        <a:pt x="74921" y="324783"/>
                        <a:pt x="82337" y="333150"/>
                      </a:cubicBezTo>
                      <a:cubicBezTo>
                        <a:pt x="84428" y="335431"/>
                        <a:pt x="86520" y="337523"/>
                        <a:pt x="88041" y="339425"/>
                      </a:cubicBezTo>
                      <a:cubicBezTo>
                        <a:pt x="89161" y="340604"/>
                        <a:pt x="90441" y="341630"/>
                        <a:pt x="91844" y="342467"/>
                      </a:cubicBezTo>
                      <a:cubicBezTo>
                        <a:pt x="94809" y="343988"/>
                        <a:pt x="97355" y="346194"/>
                        <a:pt x="99260" y="348932"/>
                      </a:cubicBezTo>
                      <a:cubicBezTo>
                        <a:pt x="101417" y="354048"/>
                        <a:pt x="101818" y="359733"/>
                        <a:pt x="100401" y="365095"/>
                      </a:cubicBezTo>
                      <a:cubicBezTo>
                        <a:pt x="100224" y="366731"/>
                        <a:pt x="100224" y="368404"/>
                        <a:pt x="100401" y="370040"/>
                      </a:cubicBezTo>
                      <a:lnTo>
                        <a:pt x="100401" y="383730"/>
                      </a:lnTo>
                      <a:cubicBezTo>
                        <a:pt x="100401" y="388104"/>
                        <a:pt x="100401" y="392478"/>
                        <a:pt x="100401" y="397041"/>
                      </a:cubicBezTo>
                      <a:cubicBezTo>
                        <a:pt x="102206" y="397479"/>
                        <a:pt x="103936" y="398182"/>
                        <a:pt x="105535" y="399133"/>
                      </a:cubicBezTo>
                      <a:cubicBezTo>
                        <a:pt x="111660" y="402080"/>
                        <a:pt x="117355" y="405864"/>
                        <a:pt x="122459" y="410352"/>
                      </a:cubicBezTo>
                      <a:cubicBezTo>
                        <a:pt x="125159" y="407576"/>
                        <a:pt x="128084" y="405028"/>
                        <a:pt x="131206" y="402746"/>
                      </a:cubicBezTo>
                      <a:cubicBezTo>
                        <a:pt x="139953" y="396471"/>
                        <a:pt x="145278" y="396661"/>
                        <a:pt x="150222" y="402746"/>
                      </a:cubicBezTo>
                      <a:cubicBezTo>
                        <a:pt x="151374" y="404400"/>
                        <a:pt x="152950" y="405712"/>
                        <a:pt x="154785" y="406549"/>
                      </a:cubicBezTo>
                      <a:cubicBezTo>
                        <a:pt x="164567" y="409230"/>
                        <a:pt x="174936" y="405028"/>
                        <a:pt x="180076" y="396281"/>
                      </a:cubicBezTo>
                      <a:cubicBezTo>
                        <a:pt x="184069" y="389055"/>
                        <a:pt x="187492" y="383160"/>
                        <a:pt x="194147" y="381639"/>
                      </a:cubicBezTo>
                      <a:cubicBezTo>
                        <a:pt x="200008" y="381163"/>
                        <a:pt x="205796" y="383179"/>
                        <a:pt x="210120" y="387153"/>
                      </a:cubicBezTo>
                      <a:cubicBezTo>
                        <a:pt x="218392" y="394151"/>
                        <a:pt x="223916" y="403849"/>
                        <a:pt x="225713" y="414535"/>
                      </a:cubicBezTo>
                      <a:cubicBezTo>
                        <a:pt x="226878" y="424119"/>
                        <a:pt x="232244" y="432695"/>
                        <a:pt x="240354" y="437924"/>
                      </a:cubicBezTo>
                      <a:cubicBezTo>
                        <a:pt x="250733" y="441461"/>
                        <a:pt x="257645" y="451292"/>
                        <a:pt x="257468" y="462264"/>
                      </a:cubicBezTo>
                      <a:cubicBezTo>
                        <a:pt x="257468" y="468349"/>
                        <a:pt x="258419" y="474053"/>
                        <a:pt x="258609" y="479948"/>
                      </a:cubicBezTo>
                      <a:cubicBezTo>
                        <a:pt x="258799" y="485843"/>
                        <a:pt x="258609" y="486984"/>
                        <a:pt x="258609" y="490407"/>
                      </a:cubicBezTo>
                      <a:lnTo>
                        <a:pt x="258609" y="490407"/>
                      </a:lnTo>
                      <a:cubicBezTo>
                        <a:pt x="260011" y="490616"/>
                        <a:pt x="261328" y="491205"/>
                        <a:pt x="262412" y="492118"/>
                      </a:cubicBezTo>
                      <a:cubicBezTo>
                        <a:pt x="263751" y="493126"/>
                        <a:pt x="264909" y="494343"/>
                        <a:pt x="265835" y="495731"/>
                      </a:cubicBezTo>
                      <a:lnTo>
                        <a:pt x="265835" y="497062"/>
                      </a:lnTo>
                      <a:cubicBezTo>
                        <a:pt x="265835" y="497062"/>
                        <a:pt x="267547" y="497062"/>
                        <a:pt x="271350" y="497062"/>
                      </a:cubicBezTo>
                      <a:cubicBezTo>
                        <a:pt x="274803" y="496473"/>
                        <a:pt x="278182" y="495522"/>
                        <a:pt x="281428" y="494210"/>
                      </a:cubicBezTo>
                      <a:cubicBezTo>
                        <a:pt x="283888" y="492879"/>
                        <a:pt x="286617" y="492099"/>
                        <a:pt x="289414" y="491928"/>
                      </a:cubicBezTo>
                      <a:cubicBezTo>
                        <a:pt x="292947" y="492061"/>
                        <a:pt x="296370" y="493183"/>
                        <a:pt x="299302" y="495161"/>
                      </a:cubicBezTo>
                      <a:cubicBezTo>
                        <a:pt x="300443" y="495161"/>
                        <a:pt x="302535" y="497062"/>
                        <a:pt x="302915" y="496872"/>
                      </a:cubicBezTo>
                      <a:cubicBezTo>
                        <a:pt x="303699" y="496492"/>
                        <a:pt x="304406" y="495978"/>
                        <a:pt x="305007" y="495351"/>
                      </a:cubicBezTo>
                      <a:lnTo>
                        <a:pt x="308049" y="492879"/>
                      </a:lnTo>
                      <a:cubicBezTo>
                        <a:pt x="310124" y="491567"/>
                        <a:pt x="311879" y="489817"/>
                        <a:pt x="313183" y="487745"/>
                      </a:cubicBezTo>
                      <a:cubicBezTo>
                        <a:pt x="316076" y="480234"/>
                        <a:pt x="321354" y="473901"/>
                        <a:pt x="328206" y="469680"/>
                      </a:cubicBezTo>
                      <a:cubicBezTo>
                        <a:pt x="332423" y="467931"/>
                        <a:pt x="336947" y="467018"/>
                        <a:pt x="341516" y="467018"/>
                      </a:cubicBezTo>
                      <a:lnTo>
                        <a:pt x="347982" y="467018"/>
                      </a:lnTo>
                      <a:cubicBezTo>
                        <a:pt x="352311" y="467094"/>
                        <a:pt x="356641" y="466790"/>
                        <a:pt x="360912" y="466067"/>
                      </a:cubicBezTo>
                      <a:cubicBezTo>
                        <a:pt x="369258" y="464184"/>
                        <a:pt x="376862" y="459887"/>
                        <a:pt x="382780" y="453707"/>
                      </a:cubicBezTo>
                      <a:cubicBezTo>
                        <a:pt x="389161" y="447204"/>
                        <a:pt x="394777" y="439997"/>
                        <a:pt x="399513" y="432220"/>
                      </a:cubicBezTo>
                      <a:cubicBezTo>
                        <a:pt x="403506" y="425945"/>
                        <a:pt x="407310" y="419670"/>
                        <a:pt x="410922" y="413204"/>
                      </a:cubicBezTo>
                      <a:cubicBezTo>
                        <a:pt x="410922" y="413204"/>
                        <a:pt x="410922" y="412063"/>
                        <a:pt x="410922" y="411683"/>
                      </a:cubicBezTo>
                      <a:cubicBezTo>
                        <a:pt x="411126" y="411132"/>
                        <a:pt x="411126" y="410523"/>
                        <a:pt x="410922" y="409972"/>
                      </a:cubicBezTo>
                      <a:cubicBezTo>
                        <a:pt x="409253" y="408203"/>
                        <a:pt x="406629" y="407747"/>
                        <a:pt x="404457" y="408831"/>
                      </a:cubicBezTo>
                      <a:cubicBezTo>
                        <a:pt x="403626" y="409230"/>
                        <a:pt x="402858" y="409744"/>
                        <a:pt x="402175" y="410352"/>
                      </a:cubicBezTo>
                      <a:lnTo>
                        <a:pt x="400844" y="410352"/>
                      </a:lnTo>
                      <a:cubicBezTo>
                        <a:pt x="395385" y="414459"/>
                        <a:pt x="388644" y="416475"/>
                        <a:pt x="381829" y="416057"/>
                      </a:cubicBezTo>
                      <a:cubicBezTo>
                        <a:pt x="373652" y="416057"/>
                        <a:pt x="368518" y="411113"/>
                        <a:pt x="367948" y="404457"/>
                      </a:cubicBezTo>
                      <a:cubicBezTo>
                        <a:pt x="367275" y="399532"/>
                        <a:pt x="367275" y="394550"/>
                        <a:pt x="367948" y="389625"/>
                      </a:cubicBezTo>
                      <a:lnTo>
                        <a:pt x="367948" y="386963"/>
                      </a:lnTo>
                      <a:cubicBezTo>
                        <a:pt x="368410" y="384586"/>
                        <a:pt x="368410" y="382133"/>
                        <a:pt x="367948" y="379737"/>
                      </a:cubicBezTo>
                      <a:lnTo>
                        <a:pt x="367948" y="379737"/>
                      </a:lnTo>
                      <a:cubicBezTo>
                        <a:pt x="367670" y="378482"/>
                        <a:pt x="367005" y="377360"/>
                        <a:pt x="366046" y="376505"/>
                      </a:cubicBezTo>
                      <a:cubicBezTo>
                        <a:pt x="363544" y="375079"/>
                        <a:pt x="360747" y="374223"/>
                        <a:pt x="357870" y="374033"/>
                      </a:cubicBezTo>
                      <a:cubicBezTo>
                        <a:pt x="352317" y="373614"/>
                        <a:pt x="347109" y="371180"/>
                        <a:pt x="343228" y="367187"/>
                      </a:cubicBezTo>
                      <a:cubicBezTo>
                        <a:pt x="340832" y="363974"/>
                        <a:pt x="339383" y="360151"/>
                        <a:pt x="339044" y="356158"/>
                      </a:cubicBezTo>
                      <a:cubicBezTo>
                        <a:pt x="338757" y="354028"/>
                        <a:pt x="338114" y="351975"/>
                        <a:pt x="337143" y="350073"/>
                      </a:cubicBezTo>
                      <a:lnTo>
                        <a:pt x="335241" y="348172"/>
                      </a:lnTo>
                      <a:cubicBezTo>
                        <a:pt x="334135" y="347259"/>
                        <a:pt x="333115" y="346232"/>
                        <a:pt x="332199" y="345129"/>
                      </a:cubicBezTo>
                      <a:cubicBezTo>
                        <a:pt x="329073" y="340699"/>
                        <a:pt x="327532" y="335336"/>
                        <a:pt x="327825" y="329917"/>
                      </a:cubicBezTo>
                      <a:cubicBezTo>
                        <a:pt x="327521" y="318413"/>
                        <a:pt x="328671" y="306908"/>
                        <a:pt x="331248" y="295689"/>
                      </a:cubicBezTo>
                      <a:lnTo>
                        <a:pt x="332199" y="292076"/>
                      </a:lnTo>
                      <a:cubicBezTo>
                        <a:pt x="333307" y="288102"/>
                        <a:pt x="334072" y="284014"/>
                        <a:pt x="334481" y="279907"/>
                      </a:cubicBezTo>
                      <a:cubicBezTo>
                        <a:pt x="334481" y="271730"/>
                        <a:pt x="331058" y="267547"/>
                        <a:pt x="323642" y="260891"/>
                      </a:cubicBezTo>
                      <a:cubicBezTo>
                        <a:pt x="319029" y="256403"/>
                        <a:pt x="315005" y="251364"/>
                        <a:pt x="311662" y="245869"/>
                      </a:cubicBezTo>
                      <a:cubicBezTo>
                        <a:pt x="309219" y="242389"/>
                        <a:pt x="308388" y="238035"/>
                        <a:pt x="309380" y="233889"/>
                      </a:cubicBezTo>
                      <a:cubicBezTo>
                        <a:pt x="310700" y="230790"/>
                        <a:pt x="313052" y="228242"/>
                        <a:pt x="316036" y="226663"/>
                      </a:cubicBezTo>
                      <a:lnTo>
                        <a:pt x="339425" y="211451"/>
                      </a:lnTo>
                      <a:cubicBezTo>
                        <a:pt x="345348" y="206583"/>
                        <a:pt x="352869" y="204073"/>
                        <a:pt x="360532" y="204415"/>
                      </a:cubicBezTo>
                      <a:cubicBezTo>
                        <a:pt x="364451" y="205271"/>
                        <a:pt x="368185" y="206811"/>
                        <a:pt x="371561" y="208979"/>
                      </a:cubicBezTo>
                      <a:cubicBezTo>
                        <a:pt x="376678" y="212725"/>
                        <a:pt x="382901" y="214684"/>
                        <a:pt x="389245" y="214494"/>
                      </a:cubicBezTo>
                      <a:cubicBezTo>
                        <a:pt x="394176" y="213809"/>
                        <a:pt x="398697" y="211394"/>
                        <a:pt x="401985" y="207648"/>
                      </a:cubicBezTo>
                      <a:cubicBezTo>
                        <a:pt x="405714" y="203331"/>
                        <a:pt x="408848" y="198540"/>
                        <a:pt x="411303" y="193386"/>
                      </a:cubicBezTo>
                      <a:cubicBezTo>
                        <a:pt x="414214" y="188842"/>
                        <a:pt x="415796" y="183575"/>
                        <a:pt x="415866" y="178174"/>
                      </a:cubicBezTo>
                      <a:cubicBezTo>
                        <a:pt x="415380" y="175189"/>
                        <a:pt x="414416" y="172298"/>
                        <a:pt x="413014" y="169617"/>
                      </a:cubicBezTo>
                      <a:cubicBezTo>
                        <a:pt x="410542" y="164787"/>
                        <a:pt x="409240" y="159444"/>
                        <a:pt x="409211" y="154025"/>
                      </a:cubicBezTo>
                      <a:cubicBezTo>
                        <a:pt x="409314" y="152751"/>
                        <a:pt x="409314" y="151495"/>
                        <a:pt x="409211" y="150221"/>
                      </a:cubicBezTo>
                      <a:cubicBezTo>
                        <a:pt x="408654" y="147502"/>
                        <a:pt x="407692" y="144859"/>
                        <a:pt x="406359" y="142425"/>
                      </a:cubicBezTo>
                      <a:lnTo>
                        <a:pt x="405028" y="139193"/>
                      </a:lnTo>
                      <a:cubicBezTo>
                        <a:pt x="402280" y="134135"/>
                        <a:pt x="401664" y="128164"/>
                        <a:pt x="403316" y="122649"/>
                      </a:cubicBezTo>
                      <a:cubicBezTo>
                        <a:pt x="405343" y="117743"/>
                        <a:pt x="409243" y="113845"/>
                        <a:pt x="414155" y="111811"/>
                      </a:cubicBezTo>
                      <a:lnTo>
                        <a:pt x="416817" y="110289"/>
                      </a:lnTo>
                      <a:cubicBezTo>
                        <a:pt x="419202" y="108597"/>
                        <a:pt x="421373" y="106619"/>
                        <a:pt x="423282" y="104395"/>
                      </a:cubicBezTo>
                      <a:cubicBezTo>
                        <a:pt x="424965" y="102645"/>
                        <a:pt x="426741" y="100991"/>
                        <a:pt x="428607" y="99450"/>
                      </a:cubicBezTo>
                      <a:lnTo>
                        <a:pt x="435072" y="94506"/>
                      </a:lnTo>
                      <a:cubicBezTo>
                        <a:pt x="438029" y="92662"/>
                        <a:pt x="440771" y="90494"/>
                        <a:pt x="443249" y="88041"/>
                      </a:cubicBezTo>
                      <a:cubicBezTo>
                        <a:pt x="444593" y="86843"/>
                        <a:pt x="445637" y="85341"/>
                        <a:pt x="446291" y="83668"/>
                      </a:cubicBezTo>
                      <a:cubicBezTo>
                        <a:pt x="446495" y="81956"/>
                        <a:pt x="446495" y="80245"/>
                        <a:pt x="446291" y="78534"/>
                      </a:cubicBezTo>
                      <a:cubicBezTo>
                        <a:pt x="446097" y="72601"/>
                        <a:pt x="445527" y="66706"/>
                        <a:pt x="444580" y="60849"/>
                      </a:cubicBezTo>
                      <a:cubicBezTo>
                        <a:pt x="444045" y="57712"/>
                        <a:pt x="443152" y="54650"/>
                        <a:pt x="441918" y="51722"/>
                      </a:cubicBezTo>
                      <a:cubicBezTo>
                        <a:pt x="441206" y="50258"/>
                        <a:pt x="440381" y="48870"/>
                        <a:pt x="439446" y="47538"/>
                      </a:cubicBezTo>
                      <a:cubicBezTo>
                        <a:pt x="438679" y="46436"/>
                        <a:pt x="437981" y="45295"/>
                        <a:pt x="437354" y="44116"/>
                      </a:cubicBezTo>
                      <a:cubicBezTo>
                        <a:pt x="432984" y="36586"/>
                        <a:pt x="431119" y="27857"/>
                        <a:pt x="432030" y="19205"/>
                      </a:cubicBezTo>
                      <a:lnTo>
                        <a:pt x="433170" y="12930"/>
                      </a:lnTo>
                      <a:cubicBezTo>
                        <a:pt x="433264" y="12360"/>
                        <a:pt x="433264" y="11789"/>
                        <a:pt x="433170" y="11219"/>
                      </a:cubicBezTo>
                      <a:lnTo>
                        <a:pt x="433170" y="11219"/>
                      </a:lnTo>
                      <a:cubicBezTo>
                        <a:pt x="428601" y="12246"/>
                        <a:pt x="423859" y="12246"/>
                        <a:pt x="419289" y="11219"/>
                      </a:cubicBezTo>
                      <a:cubicBezTo>
                        <a:pt x="416258" y="10839"/>
                        <a:pt x="413193" y="10839"/>
                        <a:pt x="410162" y="11219"/>
                      </a:cubicBezTo>
                      <a:cubicBezTo>
                        <a:pt x="407047" y="12246"/>
                        <a:pt x="404193" y="13919"/>
                        <a:pt x="401795" y="16163"/>
                      </a:cubicBezTo>
                      <a:cubicBezTo>
                        <a:pt x="398650" y="18768"/>
                        <a:pt x="395123" y="20898"/>
                        <a:pt x="391337" y="22438"/>
                      </a:cubicBezTo>
                      <a:cubicBezTo>
                        <a:pt x="383955" y="24150"/>
                        <a:pt x="376280" y="24150"/>
                        <a:pt x="368898" y="22438"/>
                      </a:cubicBezTo>
                      <a:cubicBezTo>
                        <a:pt x="356999" y="19871"/>
                        <a:pt x="345823" y="14680"/>
                        <a:pt x="336192" y="7226"/>
                      </a:cubicBezTo>
                      <a:cubicBezTo>
                        <a:pt x="332085" y="4583"/>
                        <a:pt x="327831" y="2168"/>
                        <a:pt x="323452" y="0"/>
                      </a:cubicBezTo>
                      <a:lnTo>
                        <a:pt x="323452" y="0"/>
                      </a:lnTo>
                      <a:cubicBezTo>
                        <a:pt x="321250" y="2909"/>
                        <a:pt x="318622" y="5476"/>
                        <a:pt x="315655" y="7606"/>
                      </a:cubicBezTo>
                      <a:cubicBezTo>
                        <a:pt x="314185" y="8652"/>
                        <a:pt x="312788" y="9793"/>
                        <a:pt x="311472" y="11029"/>
                      </a:cubicBezTo>
                      <a:cubicBezTo>
                        <a:pt x="309287" y="13539"/>
                        <a:pt x="307376" y="16277"/>
                        <a:pt x="305767" y="19205"/>
                      </a:cubicBezTo>
                      <a:cubicBezTo>
                        <a:pt x="302582" y="25652"/>
                        <a:pt x="297553" y="31014"/>
                        <a:pt x="291316" y="34608"/>
                      </a:cubicBezTo>
                      <a:cubicBezTo>
                        <a:pt x="284736" y="37213"/>
                        <a:pt x="277558" y="37936"/>
                        <a:pt x="270589" y="36700"/>
                      </a:cubicBezTo>
                      <a:cubicBezTo>
                        <a:pt x="267240" y="36338"/>
                        <a:pt x="263859" y="36338"/>
                        <a:pt x="260511" y="36700"/>
                      </a:cubicBezTo>
                      <a:cubicBezTo>
                        <a:pt x="242783" y="39210"/>
                        <a:pt x="227574" y="50619"/>
                        <a:pt x="220198" y="66934"/>
                      </a:cubicBezTo>
                      <a:cubicBezTo>
                        <a:pt x="218285" y="71745"/>
                        <a:pt x="217068" y="76803"/>
                        <a:pt x="216585" y="81956"/>
                      </a:cubicBezTo>
                      <a:cubicBezTo>
                        <a:pt x="215981" y="87737"/>
                        <a:pt x="214640" y="93422"/>
                        <a:pt x="212592" y="98880"/>
                      </a:cubicBezTo>
                      <a:cubicBezTo>
                        <a:pt x="207426" y="109300"/>
                        <a:pt x="199373" y="118009"/>
                        <a:pt x="189393" y="123980"/>
                      </a:cubicBezTo>
                      <a:lnTo>
                        <a:pt x="188062" y="124931"/>
                      </a:lnTo>
                      <a:cubicBezTo>
                        <a:pt x="185970" y="126452"/>
                        <a:pt x="183689" y="128544"/>
                        <a:pt x="181217" y="130636"/>
                      </a:cubicBezTo>
                      <a:cubicBezTo>
                        <a:pt x="174926" y="137405"/>
                        <a:pt x="166906" y="142349"/>
                        <a:pt x="158018" y="144897"/>
                      </a:cubicBezTo>
                      <a:lnTo>
                        <a:pt x="154785" y="144897"/>
                      </a:lnTo>
                      <a:cubicBezTo>
                        <a:pt x="145304" y="143718"/>
                        <a:pt x="136854" y="138356"/>
                        <a:pt x="131777" y="130256"/>
                      </a:cubicBezTo>
                      <a:lnTo>
                        <a:pt x="125311" y="122649"/>
                      </a:lnTo>
                      <a:cubicBezTo>
                        <a:pt x="113902" y="109148"/>
                        <a:pt x="104965" y="98500"/>
                        <a:pt x="87281" y="98500"/>
                      </a:cubicBezTo>
                      <a:lnTo>
                        <a:pt x="86140" y="98500"/>
                      </a:lnTo>
                      <a:cubicBezTo>
                        <a:pt x="78572" y="98176"/>
                        <a:pt x="71055" y="97093"/>
                        <a:pt x="63702" y="95267"/>
                      </a:cubicBezTo>
                      <a:cubicBezTo>
                        <a:pt x="52013" y="90570"/>
                        <a:pt x="38885" y="91065"/>
                        <a:pt x="27572" y="96598"/>
                      </a:cubicBezTo>
                      <a:cubicBezTo>
                        <a:pt x="22701" y="100668"/>
                        <a:pt x="18356" y="105326"/>
                        <a:pt x="14642" y="110479"/>
                      </a:cubicBezTo>
                      <a:cubicBezTo>
                        <a:pt x="12189" y="113883"/>
                        <a:pt x="9521" y="117116"/>
                        <a:pt x="6655" y="120177"/>
                      </a:cubicBezTo>
                      <a:lnTo>
                        <a:pt x="380" y="126072"/>
                      </a:lnTo>
                      <a:cubicBezTo>
                        <a:pt x="1896" y="126719"/>
                        <a:pt x="3358" y="127479"/>
                        <a:pt x="4754" y="128354"/>
                      </a:cubicBezTo>
                      <a:cubicBezTo>
                        <a:pt x="19206" y="136340"/>
                        <a:pt x="23579" y="149461"/>
                        <a:pt x="41263" y="154785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427" name="Полилиния: фигура 426">
                  <a:extLst>
                    <a:ext uri="{FF2B5EF4-FFF2-40B4-BE49-F238E27FC236}">
                      <a16:creationId xmlns:a16="http://schemas.microsoft.com/office/drawing/2014/main" id="{3C5DC555-CBF8-8CE8-1E79-F516B302A38C}"/>
                    </a:ext>
                  </a:extLst>
                </p:cNvPr>
                <p:cNvSpPr/>
                <p:nvPr/>
              </p:nvSpPr>
              <p:spPr>
                <a:xfrm>
                  <a:off x="1785637" y="5131795"/>
                  <a:ext cx="338340" cy="472044"/>
                </a:xfrm>
                <a:custGeom>
                  <a:avLst/>
                  <a:gdLst>
                    <a:gd name="connsiteX0" fmla="*/ 231227 w 338340"/>
                    <a:gd name="connsiteY0" fmla="*/ 406631 h 472044"/>
                    <a:gd name="connsiteX1" fmla="*/ 206507 w 338340"/>
                    <a:gd name="connsiteY1" fmla="*/ 389517 h 472044"/>
                    <a:gd name="connsiteX2" fmla="*/ 238073 w 338340"/>
                    <a:gd name="connsiteY2" fmla="*/ 357001 h 472044"/>
                    <a:gd name="connsiteX3" fmla="*/ 244918 w 338340"/>
                    <a:gd name="connsiteY3" fmla="*/ 353008 h 472044"/>
                    <a:gd name="connsiteX4" fmla="*/ 254806 w 338340"/>
                    <a:gd name="connsiteY4" fmla="*/ 344261 h 472044"/>
                    <a:gd name="connsiteX5" fmla="*/ 251954 w 338340"/>
                    <a:gd name="connsiteY5" fmla="*/ 342359 h 472044"/>
                    <a:gd name="connsiteX6" fmla="*/ 244348 w 338340"/>
                    <a:gd name="connsiteY6" fmla="*/ 333232 h 472044"/>
                    <a:gd name="connsiteX7" fmla="*/ 243207 w 338340"/>
                    <a:gd name="connsiteY7" fmla="*/ 321823 h 472044"/>
                    <a:gd name="connsiteX8" fmla="*/ 241495 w 338340"/>
                    <a:gd name="connsiteY8" fmla="*/ 312886 h 472044"/>
                    <a:gd name="connsiteX9" fmla="*/ 238643 w 338340"/>
                    <a:gd name="connsiteY9" fmla="*/ 310223 h 472044"/>
                    <a:gd name="connsiteX10" fmla="*/ 233129 w 338340"/>
                    <a:gd name="connsiteY10" fmla="*/ 294250 h 472044"/>
                    <a:gd name="connsiteX11" fmla="*/ 240545 w 338340"/>
                    <a:gd name="connsiteY11" fmla="*/ 286074 h 472044"/>
                    <a:gd name="connsiteX12" fmla="*/ 266025 w 338340"/>
                    <a:gd name="connsiteY12" fmla="*/ 290638 h 472044"/>
                    <a:gd name="connsiteX13" fmla="*/ 273631 w 338340"/>
                    <a:gd name="connsiteY13" fmla="*/ 293680 h 472044"/>
                    <a:gd name="connsiteX14" fmla="*/ 280287 w 338340"/>
                    <a:gd name="connsiteY14" fmla="*/ 290447 h 472044"/>
                    <a:gd name="connsiteX15" fmla="*/ 299302 w 338340"/>
                    <a:gd name="connsiteY15" fmla="*/ 283602 h 472044"/>
                    <a:gd name="connsiteX16" fmla="*/ 307859 w 338340"/>
                    <a:gd name="connsiteY16" fmla="*/ 281320 h 472044"/>
                    <a:gd name="connsiteX17" fmla="*/ 309761 w 338340"/>
                    <a:gd name="connsiteY17" fmla="*/ 265537 h 472044"/>
                    <a:gd name="connsiteX18" fmla="*/ 305387 w 338340"/>
                    <a:gd name="connsiteY18" fmla="*/ 252226 h 472044"/>
                    <a:gd name="connsiteX19" fmla="*/ 315085 w 338340"/>
                    <a:gd name="connsiteY19" fmla="*/ 206589 h 472044"/>
                    <a:gd name="connsiteX20" fmla="*/ 326684 w 338340"/>
                    <a:gd name="connsiteY20" fmla="*/ 199744 h 472044"/>
                    <a:gd name="connsiteX21" fmla="*/ 337903 w 338340"/>
                    <a:gd name="connsiteY21" fmla="*/ 185292 h 472044"/>
                    <a:gd name="connsiteX22" fmla="*/ 321360 w 338340"/>
                    <a:gd name="connsiteY22" fmla="*/ 176925 h 472044"/>
                    <a:gd name="connsiteX23" fmla="*/ 308239 w 338340"/>
                    <a:gd name="connsiteY23" fmla="*/ 175024 h 472044"/>
                    <a:gd name="connsiteX24" fmla="*/ 291126 w 338340"/>
                    <a:gd name="connsiteY24" fmla="*/ 136993 h 472044"/>
                    <a:gd name="connsiteX25" fmla="*/ 291126 w 338340"/>
                    <a:gd name="connsiteY25" fmla="*/ 133951 h 472044"/>
                    <a:gd name="connsiteX26" fmla="*/ 289985 w 338340"/>
                    <a:gd name="connsiteY26" fmla="*/ 120260 h 472044"/>
                    <a:gd name="connsiteX27" fmla="*/ 288654 w 338340"/>
                    <a:gd name="connsiteY27" fmla="*/ 106188 h 472044"/>
                    <a:gd name="connsiteX28" fmla="*/ 292837 w 338340"/>
                    <a:gd name="connsiteY28" fmla="*/ 93828 h 472044"/>
                    <a:gd name="connsiteX29" fmla="*/ 295499 w 338340"/>
                    <a:gd name="connsiteY29" fmla="*/ 87363 h 472044"/>
                    <a:gd name="connsiteX30" fmla="*/ 280287 w 338340"/>
                    <a:gd name="connsiteY30" fmla="*/ 57889 h 472044"/>
                    <a:gd name="connsiteX31" fmla="*/ 280287 w 338340"/>
                    <a:gd name="connsiteY31" fmla="*/ 57889 h 472044"/>
                    <a:gd name="connsiteX32" fmla="*/ 274012 w 338340"/>
                    <a:gd name="connsiteY32" fmla="*/ 49332 h 472044"/>
                    <a:gd name="connsiteX33" fmla="*/ 272871 w 338340"/>
                    <a:gd name="connsiteY33" fmla="*/ 47621 h 472044"/>
                    <a:gd name="connsiteX34" fmla="*/ 272871 w 338340"/>
                    <a:gd name="connsiteY34" fmla="*/ 47621 h 472044"/>
                    <a:gd name="connsiteX35" fmla="*/ 260701 w 338340"/>
                    <a:gd name="connsiteY35" fmla="*/ 37352 h 472044"/>
                    <a:gd name="connsiteX36" fmla="*/ 255757 w 338340"/>
                    <a:gd name="connsiteY36" fmla="*/ 37352 h 472044"/>
                    <a:gd name="connsiteX37" fmla="*/ 241495 w 338340"/>
                    <a:gd name="connsiteY37" fmla="*/ 32599 h 472044"/>
                    <a:gd name="connsiteX38" fmla="*/ 236171 w 338340"/>
                    <a:gd name="connsiteY38" fmla="*/ 12442 h 472044"/>
                    <a:gd name="connsiteX39" fmla="*/ 232748 w 338340"/>
                    <a:gd name="connsiteY39" fmla="*/ 273 h 472044"/>
                    <a:gd name="connsiteX40" fmla="*/ 223811 w 338340"/>
                    <a:gd name="connsiteY40" fmla="*/ 12823 h 472044"/>
                    <a:gd name="connsiteX41" fmla="*/ 213733 w 338340"/>
                    <a:gd name="connsiteY41" fmla="*/ 30317 h 472044"/>
                    <a:gd name="connsiteX42" fmla="*/ 192816 w 338340"/>
                    <a:gd name="connsiteY42" fmla="*/ 25753 h 472044"/>
                    <a:gd name="connsiteX43" fmla="*/ 183498 w 338340"/>
                    <a:gd name="connsiteY43" fmla="*/ 20809 h 472044"/>
                    <a:gd name="connsiteX44" fmla="*/ 177223 w 338340"/>
                    <a:gd name="connsiteY44" fmla="*/ 22711 h 472044"/>
                    <a:gd name="connsiteX45" fmla="*/ 164483 w 338340"/>
                    <a:gd name="connsiteY45" fmla="*/ 24993 h 472044"/>
                    <a:gd name="connsiteX46" fmla="*/ 155736 w 338340"/>
                    <a:gd name="connsiteY46" fmla="*/ 21950 h 472044"/>
                    <a:gd name="connsiteX47" fmla="*/ 147940 w 338340"/>
                    <a:gd name="connsiteY47" fmla="*/ 20619 h 472044"/>
                    <a:gd name="connsiteX48" fmla="*/ 131396 w 338340"/>
                    <a:gd name="connsiteY48" fmla="*/ 27845 h 472044"/>
                    <a:gd name="connsiteX49" fmla="*/ 132918 w 338340"/>
                    <a:gd name="connsiteY49" fmla="*/ 42487 h 472044"/>
                    <a:gd name="connsiteX50" fmla="*/ 132918 w 338340"/>
                    <a:gd name="connsiteY50" fmla="*/ 45149 h 472044"/>
                    <a:gd name="connsiteX51" fmla="*/ 131967 w 338340"/>
                    <a:gd name="connsiteY51" fmla="*/ 57509 h 472044"/>
                    <a:gd name="connsiteX52" fmla="*/ 136150 w 338340"/>
                    <a:gd name="connsiteY52" fmla="*/ 59410 h 472044"/>
                    <a:gd name="connsiteX53" fmla="*/ 148320 w 338340"/>
                    <a:gd name="connsiteY53" fmla="*/ 55797 h 472044"/>
                    <a:gd name="connsiteX54" fmla="*/ 149461 w 338340"/>
                    <a:gd name="connsiteY54" fmla="*/ 55797 h 472044"/>
                    <a:gd name="connsiteX55" fmla="*/ 152123 w 338340"/>
                    <a:gd name="connsiteY55" fmla="*/ 51614 h 472044"/>
                    <a:gd name="connsiteX56" fmla="*/ 172279 w 338340"/>
                    <a:gd name="connsiteY56" fmla="*/ 55607 h 472044"/>
                    <a:gd name="connsiteX57" fmla="*/ 175132 w 338340"/>
                    <a:gd name="connsiteY57" fmla="*/ 65876 h 472044"/>
                    <a:gd name="connsiteX58" fmla="*/ 173230 w 338340"/>
                    <a:gd name="connsiteY58" fmla="*/ 70629 h 472044"/>
                    <a:gd name="connsiteX59" fmla="*/ 161250 w 338340"/>
                    <a:gd name="connsiteY59" fmla="*/ 89645 h 472044"/>
                    <a:gd name="connsiteX60" fmla="*/ 142235 w 338340"/>
                    <a:gd name="connsiteY60" fmla="*/ 113224 h 472044"/>
                    <a:gd name="connsiteX61" fmla="*/ 114853 w 338340"/>
                    <a:gd name="connsiteY61" fmla="*/ 128436 h 472044"/>
                    <a:gd name="connsiteX62" fmla="*/ 100021 w 338340"/>
                    <a:gd name="connsiteY62" fmla="*/ 129577 h 472044"/>
                    <a:gd name="connsiteX63" fmla="*/ 95077 w 338340"/>
                    <a:gd name="connsiteY63" fmla="*/ 129577 h 472044"/>
                    <a:gd name="connsiteX64" fmla="*/ 86140 w 338340"/>
                    <a:gd name="connsiteY64" fmla="*/ 131289 h 472044"/>
                    <a:gd name="connsiteX65" fmla="*/ 76062 w 338340"/>
                    <a:gd name="connsiteY65" fmla="*/ 144219 h 472044"/>
                    <a:gd name="connsiteX66" fmla="*/ 67885 w 338340"/>
                    <a:gd name="connsiteY66" fmla="*/ 153346 h 472044"/>
                    <a:gd name="connsiteX67" fmla="*/ 65223 w 338340"/>
                    <a:gd name="connsiteY67" fmla="*/ 155438 h 472044"/>
                    <a:gd name="connsiteX68" fmla="*/ 46951 w 338340"/>
                    <a:gd name="connsiteY68" fmla="*/ 156179 h 472044"/>
                    <a:gd name="connsiteX69" fmla="*/ 46207 w 338340"/>
                    <a:gd name="connsiteY69" fmla="*/ 155438 h 472044"/>
                    <a:gd name="connsiteX70" fmla="*/ 42024 w 338340"/>
                    <a:gd name="connsiteY70" fmla="*/ 153536 h 472044"/>
                    <a:gd name="connsiteX71" fmla="*/ 39172 w 338340"/>
                    <a:gd name="connsiteY71" fmla="*/ 154487 h 472044"/>
                    <a:gd name="connsiteX72" fmla="*/ 26051 w 338340"/>
                    <a:gd name="connsiteY72" fmla="*/ 158480 h 472044"/>
                    <a:gd name="connsiteX73" fmla="*/ 19966 w 338340"/>
                    <a:gd name="connsiteY73" fmla="*/ 158480 h 472044"/>
                    <a:gd name="connsiteX74" fmla="*/ 11980 w 338340"/>
                    <a:gd name="connsiteY74" fmla="*/ 156199 h 472044"/>
                    <a:gd name="connsiteX75" fmla="*/ 11980 w 338340"/>
                    <a:gd name="connsiteY75" fmla="*/ 156199 h 472044"/>
                    <a:gd name="connsiteX76" fmla="*/ 9127 w 338340"/>
                    <a:gd name="connsiteY76" fmla="*/ 152966 h 472044"/>
                    <a:gd name="connsiteX77" fmla="*/ 9127 w 338340"/>
                    <a:gd name="connsiteY77" fmla="*/ 151635 h 472044"/>
                    <a:gd name="connsiteX78" fmla="*/ 0 w 338340"/>
                    <a:gd name="connsiteY78" fmla="*/ 151635 h 472044"/>
                    <a:gd name="connsiteX79" fmla="*/ 0 w 338340"/>
                    <a:gd name="connsiteY79" fmla="*/ 151635 h 472044"/>
                    <a:gd name="connsiteX80" fmla="*/ 0 w 338340"/>
                    <a:gd name="connsiteY80" fmla="*/ 151635 h 472044"/>
                    <a:gd name="connsiteX81" fmla="*/ 0 w 338340"/>
                    <a:gd name="connsiteY81" fmla="*/ 152776 h 472044"/>
                    <a:gd name="connsiteX82" fmla="*/ 2662 w 338340"/>
                    <a:gd name="connsiteY82" fmla="*/ 160002 h 472044"/>
                    <a:gd name="connsiteX83" fmla="*/ 2662 w 338340"/>
                    <a:gd name="connsiteY83" fmla="*/ 160002 h 472044"/>
                    <a:gd name="connsiteX84" fmla="*/ 6846 w 338340"/>
                    <a:gd name="connsiteY84" fmla="*/ 165136 h 472044"/>
                    <a:gd name="connsiteX85" fmla="*/ 21297 w 338340"/>
                    <a:gd name="connsiteY85" fmla="*/ 181109 h 472044"/>
                    <a:gd name="connsiteX86" fmla="*/ 27953 w 338340"/>
                    <a:gd name="connsiteY86" fmla="*/ 191567 h 472044"/>
                    <a:gd name="connsiteX87" fmla="*/ 27953 w 338340"/>
                    <a:gd name="connsiteY87" fmla="*/ 205068 h 472044"/>
                    <a:gd name="connsiteX88" fmla="*/ 27953 w 338340"/>
                    <a:gd name="connsiteY88" fmla="*/ 227887 h 472044"/>
                    <a:gd name="connsiteX89" fmla="*/ 30805 w 338340"/>
                    <a:gd name="connsiteY89" fmla="*/ 252226 h 472044"/>
                    <a:gd name="connsiteX90" fmla="*/ 32326 w 338340"/>
                    <a:gd name="connsiteY90" fmla="*/ 255079 h 472044"/>
                    <a:gd name="connsiteX91" fmla="*/ 35939 w 338340"/>
                    <a:gd name="connsiteY91" fmla="*/ 262305 h 472044"/>
                    <a:gd name="connsiteX92" fmla="*/ 35939 w 338340"/>
                    <a:gd name="connsiteY92" fmla="*/ 264016 h 472044"/>
                    <a:gd name="connsiteX93" fmla="*/ 35939 w 338340"/>
                    <a:gd name="connsiteY93" fmla="*/ 265727 h 472044"/>
                    <a:gd name="connsiteX94" fmla="*/ 37841 w 338340"/>
                    <a:gd name="connsiteY94" fmla="*/ 267819 h 472044"/>
                    <a:gd name="connsiteX95" fmla="*/ 63511 w 338340"/>
                    <a:gd name="connsiteY95" fmla="*/ 305850 h 472044"/>
                    <a:gd name="connsiteX96" fmla="*/ 75491 w 338340"/>
                    <a:gd name="connsiteY96" fmla="*/ 335133 h 472044"/>
                    <a:gd name="connsiteX97" fmla="*/ 76822 w 338340"/>
                    <a:gd name="connsiteY97" fmla="*/ 337796 h 472044"/>
                    <a:gd name="connsiteX98" fmla="*/ 83097 w 338340"/>
                    <a:gd name="connsiteY98" fmla="*/ 352628 h 472044"/>
                    <a:gd name="connsiteX99" fmla="*/ 83097 w 338340"/>
                    <a:gd name="connsiteY99" fmla="*/ 362325 h 472044"/>
                    <a:gd name="connsiteX100" fmla="*/ 83097 w 338340"/>
                    <a:gd name="connsiteY100" fmla="*/ 384573 h 472044"/>
                    <a:gd name="connsiteX101" fmla="*/ 101162 w 338340"/>
                    <a:gd name="connsiteY101" fmla="*/ 398835 h 472044"/>
                    <a:gd name="connsiteX102" fmla="*/ 105345 w 338340"/>
                    <a:gd name="connsiteY102" fmla="*/ 403399 h 472044"/>
                    <a:gd name="connsiteX103" fmla="*/ 117705 w 338340"/>
                    <a:gd name="connsiteY103" fmla="*/ 414238 h 472044"/>
                    <a:gd name="connsiteX104" fmla="*/ 140334 w 338340"/>
                    <a:gd name="connsiteY104" fmla="*/ 439338 h 472044"/>
                    <a:gd name="connsiteX105" fmla="*/ 144137 w 338340"/>
                    <a:gd name="connsiteY105" fmla="*/ 472044 h 472044"/>
                    <a:gd name="connsiteX106" fmla="*/ 172660 w 338340"/>
                    <a:gd name="connsiteY106" fmla="*/ 470523 h 472044"/>
                    <a:gd name="connsiteX107" fmla="*/ 229706 w 338340"/>
                    <a:gd name="connsiteY107" fmla="*/ 435725 h 472044"/>
                    <a:gd name="connsiteX108" fmla="*/ 247390 w 338340"/>
                    <a:gd name="connsiteY108" fmla="*/ 420132 h 472044"/>
                    <a:gd name="connsiteX109" fmla="*/ 247200 w 338340"/>
                    <a:gd name="connsiteY109" fmla="*/ 412906 h 472044"/>
                    <a:gd name="connsiteX110" fmla="*/ 231227 w 338340"/>
                    <a:gd name="connsiteY110" fmla="*/ 406631 h 472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</a:cxnLst>
                  <a:rect l="l" t="t" r="r" b="b"/>
                  <a:pathLst>
                    <a:path w="338340" h="472044">
                      <a:moveTo>
                        <a:pt x="231227" y="406631"/>
                      </a:moveTo>
                      <a:cubicBezTo>
                        <a:pt x="219818" y="403209"/>
                        <a:pt x="207838" y="399405"/>
                        <a:pt x="206507" y="389517"/>
                      </a:cubicBezTo>
                      <a:cubicBezTo>
                        <a:pt x="204606" y="376207"/>
                        <a:pt x="224001" y="365178"/>
                        <a:pt x="238073" y="357001"/>
                      </a:cubicBezTo>
                      <a:lnTo>
                        <a:pt x="244918" y="353008"/>
                      </a:lnTo>
                      <a:cubicBezTo>
                        <a:pt x="253475" y="347303"/>
                        <a:pt x="254616" y="345021"/>
                        <a:pt x="254806" y="344261"/>
                      </a:cubicBezTo>
                      <a:lnTo>
                        <a:pt x="251954" y="342359"/>
                      </a:lnTo>
                      <a:cubicBezTo>
                        <a:pt x="248611" y="340097"/>
                        <a:pt x="245975" y="336921"/>
                        <a:pt x="244348" y="333232"/>
                      </a:cubicBezTo>
                      <a:cubicBezTo>
                        <a:pt x="243188" y="329543"/>
                        <a:pt x="242800" y="325664"/>
                        <a:pt x="243207" y="321823"/>
                      </a:cubicBezTo>
                      <a:cubicBezTo>
                        <a:pt x="243975" y="318742"/>
                        <a:pt x="243349" y="315472"/>
                        <a:pt x="241495" y="312886"/>
                      </a:cubicBezTo>
                      <a:cubicBezTo>
                        <a:pt x="240638" y="311897"/>
                        <a:pt x="239683" y="311003"/>
                        <a:pt x="238643" y="310223"/>
                      </a:cubicBezTo>
                      <a:cubicBezTo>
                        <a:pt x="233288" y="306858"/>
                        <a:pt x="230995" y="300202"/>
                        <a:pt x="233129" y="294250"/>
                      </a:cubicBezTo>
                      <a:cubicBezTo>
                        <a:pt x="234365" y="290618"/>
                        <a:pt x="237048" y="287652"/>
                        <a:pt x="240545" y="286074"/>
                      </a:cubicBezTo>
                      <a:cubicBezTo>
                        <a:pt x="249311" y="284343"/>
                        <a:pt x="258406" y="285960"/>
                        <a:pt x="266025" y="290638"/>
                      </a:cubicBezTo>
                      <a:cubicBezTo>
                        <a:pt x="268461" y="291892"/>
                        <a:pt x="271007" y="292900"/>
                        <a:pt x="273631" y="293680"/>
                      </a:cubicBezTo>
                      <a:cubicBezTo>
                        <a:pt x="276206" y="293585"/>
                        <a:pt x="278625" y="292425"/>
                        <a:pt x="280287" y="290447"/>
                      </a:cubicBezTo>
                      <a:cubicBezTo>
                        <a:pt x="285398" y="285617"/>
                        <a:pt x="292287" y="283145"/>
                        <a:pt x="299302" y="283602"/>
                      </a:cubicBezTo>
                      <a:cubicBezTo>
                        <a:pt x="302320" y="283735"/>
                        <a:pt x="305305" y="282936"/>
                        <a:pt x="307859" y="281320"/>
                      </a:cubicBezTo>
                      <a:cubicBezTo>
                        <a:pt x="314324" y="276756"/>
                        <a:pt x="313564" y="274094"/>
                        <a:pt x="309761" y="265537"/>
                      </a:cubicBezTo>
                      <a:cubicBezTo>
                        <a:pt x="307739" y="261297"/>
                        <a:pt x="306269" y="256828"/>
                        <a:pt x="305387" y="252226"/>
                      </a:cubicBezTo>
                      <a:cubicBezTo>
                        <a:pt x="300681" y="236348"/>
                        <a:pt x="304330" y="219178"/>
                        <a:pt x="315085" y="206589"/>
                      </a:cubicBezTo>
                      <a:cubicBezTo>
                        <a:pt x="318654" y="203832"/>
                        <a:pt x="322550" y="201531"/>
                        <a:pt x="326684" y="199744"/>
                      </a:cubicBezTo>
                      <a:cubicBezTo>
                        <a:pt x="336382" y="194990"/>
                        <a:pt x="339615" y="192708"/>
                        <a:pt x="337903" y="185292"/>
                      </a:cubicBezTo>
                      <a:cubicBezTo>
                        <a:pt x="336192" y="177876"/>
                        <a:pt x="332009" y="177686"/>
                        <a:pt x="321360" y="176925"/>
                      </a:cubicBezTo>
                      <a:cubicBezTo>
                        <a:pt x="316929" y="176773"/>
                        <a:pt x="312531" y="176127"/>
                        <a:pt x="308239" y="175024"/>
                      </a:cubicBezTo>
                      <a:cubicBezTo>
                        <a:pt x="287513" y="168178"/>
                        <a:pt x="289224" y="151255"/>
                        <a:pt x="291126" y="136993"/>
                      </a:cubicBezTo>
                      <a:lnTo>
                        <a:pt x="291126" y="133951"/>
                      </a:lnTo>
                      <a:cubicBezTo>
                        <a:pt x="291496" y="129349"/>
                        <a:pt x="291110" y="124728"/>
                        <a:pt x="289985" y="120260"/>
                      </a:cubicBezTo>
                      <a:cubicBezTo>
                        <a:pt x="289036" y="115639"/>
                        <a:pt x="288589" y="110904"/>
                        <a:pt x="288654" y="106188"/>
                      </a:cubicBezTo>
                      <a:cubicBezTo>
                        <a:pt x="289074" y="101796"/>
                        <a:pt x="290506" y="97574"/>
                        <a:pt x="292837" y="93828"/>
                      </a:cubicBezTo>
                      <a:cubicBezTo>
                        <a:pt x="294117" y="91851"/>
                        <a:pt x="295020" y="89664"/>
                        <a:pt x="295499" y="87363"/>
                      </a:cubicBezTo>
                      <a:cubicBezTo>
                        <a:pt x="296640" y="79186"/>
                        <a:pt x="287132" y="66826"/>
                        <a:pt x="280287" y="57889"/>
                      </a:cubicBezTo>
                      <a:lnTo>
                        <a:pt x="280287" y="57889"/>
                      </a:lnTo>
                      <a:lnTo>
                        <a:pt x="274012" y="49332"/>
                      </a:lnTo>
                      <a:lnTo>
                        <a:pt x="272871" y="47621"/>
                      </a:lnTo>
                      <a:cubicBezTo>
                        <a:pt x="272871" y="47621"/>
                        <a:pt x="272871" y="47621"/>
                        <a:pt x="272871" y="47621"/>
                      </a:cubicBezTo>
                      <a:cubicBezTo>
                        <a:pt x="268878" y="41536"/>
                        <a:pt x="266976" y="39064"/>
                        <a:pt x="260701" y="37352"/>
                      </a:cubicBezTo>
                      <a:cubicBezTo>
                        <a:pt x="259060" y="37143"/>
                        <a:pt x="257398" y="37143"/>
                        <a:pt x="255757" y="37352"/>
                      </a:cubicBezTo>
                      <a:cubicBezTo>
                        <a:pt x="250587" y="37543"/>
                        <a:pt x="245521" y="35850"/>
                        <a:pt x="241495" y="32599"/>
                      </a:cubicBezTo>
                      <a:cubicBezTo>
                        <a:pt x="236837" y="26989"/>
                        <a:pt x="234888" y="19611"/>
                        <a:pt x="236171" y="12442"/>
                      </a:cubicBezTo>
                      <a:cubicBezTo>
                        <a:pt x="236171" y="3505"/>
                        <a:pt x="236171" y="1223"/>
                        <a:pt x="232748" y="273"/>
                      </a:cubicBezTo>
                      <a:cubicBezTo>
                        <a:pt x="229326" y="-678"/>
                        <a:pt x="227804" y="273"/>
                        <a:pt x="223811" y="12823"/>
                      </a:cubicBezTo>
                      <a:cubicBezTo>
                        <a:pt x="222748" y="19706"/>
                        <a:pt x="219154" y="25943"/>
                        <a:pt x="213733" y="30317"/>
                      </a:cubicBezTo>
                      <a:cubicBezTo>
                        <a:pt x="206543" y="33816"/>
                        <a:pt x="197897" y="31914"/>
                        <a:pt x="192816" y="25753"/>
                      </a:cubicBezTo>
                      <a:cubicBezTo>
                        <a:pt x="189203" y="22520"/>
                        <a:pt x="186921" y="20619"/>
                        <a:pt x="183498" y="20809"/>
                      </a:cubicBezTo>
                      <a:cubicBezTo>
                        <a:pt x="181312" y="21075"/>
                        <a:pt x="179190" y="21722"/>
                        <a:pt x="177223" y="22711"/>
                      </a:cubicBezTo>
                      <a:cubicBezTo>
                        <a:pt x="173285" y="24688"/>
                        <a:pt x="168860" y="25487"/>
                        <a:pt x="164483" y="24993"/>
                      </a:cubicBezTo>
                      <a:cubicBezTo>
                        <a:pt x="161395" y="24574"/>
                        <a:pt x="158421" y="23528"/>
                        <a:pt x="155736" y="21950"/>
                      </a:cubicBezTo>
                      <a:cubicBezTo>
                        <a:pt x="153525" y="20220"/>
                        <a:pt x="150598" y="19725"/>
                        <a:pt x="147940" y="20619"/>
                      </a:cubicBezTo>
                      <a:cubicBezTo>
                        <a:pt x="142144" y="22330"/>
                        <a:pt x="136586" y="24745"/>
                        <a:pt x="131396" y="27845"/>
                      </a:cubicBezTo>
                      <a:cubicBezTo>
                        <a:pt x="133323" y="32465"/>
                        <a:pt x="133851" y="37562"/>
                        <a:pt x="132918" y="42487"/>
                      </a:cubicBezTo>
                      <a:lnTo>
                        <a:pt x="132918" y="45149"/>
                      </a:lnTo>
                      <a:cubicBezTo>
                        <a:pt x="132153" y="49218"/>
                        <a:pt x="131834" y="53363"/>
                        <a:pt x="131967" y="57509"/>
                      </a:cubicBezTo>
                      <a:cubicBezTo>
                        <a:pt x="131967" y="58840"/>
                        <a:pt x="135390" y="59220"/>
                        <a:pt x="136150" y="59410"/>
                      </a:cubicBezTo>
                      <a:cubicBezTo>
                        <a:pt x="140501" y="59638"/>
                        <a:pt x="144796" y="58364"/>
                        <a:pt x="148320" y="55797"/>
                      </a:cubicBezTo>
                      <a:lnTo>
                        <a:pt x="149461" y="55797"/>
                      </a:lnTo>
                      <a:cubicBezTo>
                        <a:pt x="150208" y="54314"/>
                        <a:pt x="151100" y="52926"/>
                        <a:pt x="152123" y="51614"/>
                      </a:cubicBezTo>
                      <a:cubicBezTo>
                        <a:pt x="158944" y="48039"/>
                        <a:pt x="167341" y="49693"/>
                        <a:pt x="172279" y="55607"/>
                      </a:cubicBezTo>
                      <a:cubicBezTo>
                        <a:pt x="174639" y="58478"/>
                        <a:pt x="175676" y="62206"/>
                        <a:pt x="175132" y="65876"/>
                      </a:cubicBezTo>
                      <a:cubicBezTo>
                        <a:pt x="174765" y="67549"/>
                        <a:pt x="174122" y="69165"/>
                        <a:pt x="173230" y="70629"/>
                      </a:cubicBezTo>
                      <a:cubicBezTo>
                        <a:pt x="169617" y="77285"/>
                        <a:pt x="165434" y="83940"/>
                        <a:pt x="161250" y="89645"/>
                      </a:cubicBezTo>
                      <a:cubicBezTo>
                        <a:pt x="155886" y="98240"/>
                        <a:pt x="149501" y="106150"/>
                        <a:pt x="142235" y="113224"/>
                      </a:cubicBezTo>
                      <a:cubicBezTo>
                        <a:pt x="134770" y="120830"/>
                        <a:pt x="125258" y="126116"/>
                        <a:pt x="114853" y="128436"/>
                      </a:cubicBezTo>
                      <a:cubicBezTo>
                        <a:pt x="109943" y="129178"/>
                        <a:pt x="104986" y="129558"/>
                        <a:pt x="100021" y="129577"/>
                      </a:cubicBezTo>
                      <a:lnTo>
                        <a:pt x="95077" y="129577"/>
                      </a:lnTo>
                      <a:cubicBezTo>
                        <a:pt x="92025" y="129672"/>
                        <a:pt x="89009" y="130243"/>
                        <a:pt x="86140" y="131289"/>
                      </a:cubicBezTo>
                      <a:cubicBezTo>
                        <a:pt x="81530" y="134464"/>
                        <a:pt x="78011" y="138971"/>
                        <a:pt x="76062" y="144219"/>
                      </a:cubicBezTo>
                      <a:cubicBezTo>
                        <a:pt x="74112" y="147870"/>
                        <a:pt x="71308" y="151008"/>
                        <a:pt x="67885" y="153346"/>
                      </a:cubicBezTo>
                      <a:lnTo>
                        <a:pt x="65223" y="155438"/>
                      </a:lnTo>
                      <a:cubicBezTo>
                        <a:pt x="60383" y="160686"/>
                        <a:pt x="52203" y="161028"/>
                        <a:pt x="46951" y="156179"/>
                      </a:cubicBezTo>
                      <a:cubicBezTo>
                        <a:pt x="46694" y="155951"/>
                        <a:pt x="46445" y="155704"/>
                        <a:pt x="46207" y="155438"/>
                      </a:cubicBezTo>
                      <a:cubicBezTo>
                        <a:pt x="44930" y="154582"/>
                        <a:pt x="43515" y="153936"/>
                        <a:pt x="42024" y="153536"/>
                      </a:cubicBezTo>
                      <a:lnTo>
                        <a:pt x="39172" y="154487"/>
                      </a:lnTo>
                      <a:cubicBezTo>
                        <a:pt x="34990" y="156389"/>
                        <a:pt x="30579" y="157720"/>
                        <a:pt x="26051" y="158480"/>
                      </a:cubicBezTo>
                      <a:cubicBezTo>
                        <a:pt x="24030" y="158728"/>
                        <a:pt x="21987" y="158728"/>
                        <a:pt x="19966" y="158480"/>
                      </a:cubicBezTo>
                      <a:cubicBezTo>
                        <a:pt x="17121" y="158652"/>
                        <a:pt x="14305" y="157853"/>
                        <a:pt x="11980" y="156199"/>
                      </a:cubicBezTo>
                      <a:lnTo>
                        <a:pt x="11980" y="156199"/>
                      </a:lnTo>
                      <a:cubicBezTo>
                        <a:pt x="10917" y="155229"/>
                        <a:pt x="9960" y="154145"/>
                        <a:pt x="9127" y="152966"/>
                      </a:cubicBezTo>
                      <a:lnTo>
                        <a:pt x="9127" y="151635"/>
                      </a:lnTo>
                      <a:lnTo>
                        <a:pt x="0" y="151635"/>
                      </a:lnTo>
                      <a:cubicBezTo>
                        <a:pt x="0" y="151635"/>
                        <a:pt x="0" y="151635"/>
                        <a:pt x="0" y="151635"/>
                      </a:cubicBezTo>
                      <a:lnTo>
                        <a:pt x="0" y="151635"/>
                      </a:lnTo>
                      <a:cubicBezTo>
                        <a:pt x="89" y="152015"/>
                        <a:pt x="89" y="152396"/>
                        <a:pt x="0" y="152776"/>
                      </a:cubicBezTo>
                      <a:cubicBezTo>
                        <a:pt x="624" y="155267"/>
                        <a:pt x="1517" y="157701"/>
                        <a:pt x="2662" y="160002"/>
                      </a:cubicBezTo>
                      <a:lnTo>
                        <a:pt x="2662" y="160002"/>
                      </a:lnTo>
                      <a:cubicBezTo>
                        <a:pt x="3929" y="161808"/>
                        <a:pt x="5328" y="163519"/>
                        <a:pt x="6846" y="165136"/>
                      </a:cubicBezTo>
                      <a:lnTo>
                        <a:pt x="21297" y="181109"/>
                      </a:lnTo>
                      <a:cubicBezTo>
                        <a:pt x="24423" y="183923"/>
                        <a:pt x="26724" y="187536"/>
                        <a:pt x="27953" y="191567"/>
                      </a:cubicBezTo>
                      <a:cubicBezTo>
                        <a:pt x="28601" y="196036"/>
                        <a:pt x="28601" y="200600"/>
                        <a:pt x="27953" y="205068"/>
                      </a:cubicBezTo>
                      <a:lnTo>
                        <a:pt x="27953" y="227887"/>
                      </a:lnTo>
                      <a:cubicBezTo>
                        <a:pt x="26760" y="236101"/>
                        <a:pt x="27743" y="244506"/>
                        <a:pt x="30805" y="252226"/>
                      </a:cubicBezTo>
                      <a:cubicBezTo>
                        <a:pt x="31237" y="253215"/>
                        <a:pt x="31746" y="254166"/>
                        <a:pt x="32326" y="255079"/>
                      </a:cubicBezTo>
                      <a:cubicBezTo>
                        <a:pt x="33904" y="257284"/>
                        <a:pt x="35123" y="259718"/>
                        <a:pt x="35939" y="262305"/>
                      </a:cubicBezTo>
                      <a:lnTo>
                        <a:pt x="35939" y="264016"/>
                      </a:lnTo>
                      <a:lnTo>
                        <a:pt x="35939" y="265727"/>
                      </a:lnTo>
                      <a:cubicBezTo>
                        <a:pt x="35939" y="265727"/>
                        <a:pt x="37080" y="267058"/>
                        <a:pt x="37841" y="267819"/>
                      </a:cubicBezTo>
                      <a:cubicBezTo>
                        <a:pt x="49664" y="277954"/>
                        <a:pt x="58533" y="291094"/>
                        <a:pt x="63511" y="305850"/>
                      </a:cubicBezTo>
                      <a:cubicBezTo>
                        <a:pt x="66670" y="315928"/>
                        <a:pt x="70678" y="325721"/>
                        <a:pt x="75491" y="335133"/>
                      </a:cubicBezTo>
                      <a:lnTo>
                        <a:pt x="76822" y="337796"/>
                      </a:lnTo>
                      <a:cubicBezTo>
                        <a:pt x="79794" y="342321"/>
                        <a:pt x="81920" y="347341"/>
                        <a:pt x="83097" y="352628"/>
                      </a:cubicBezTo>
                      <a:cubicBezTo>
                        <a:pt x="83466" y="355841"/>
                        <a:pt x="83466" y="359112"/>
                        <a:pt x="83097" y="362325"/>
                      </a:cubicBezTo>
                      <a:lnTo>
                        <a:pt x="83097" y="384573"/>
                      </a:lnTo>
                      <a:cubicBezTo>
                        <a:pt x="90447" y="387350"/>
                        <a:pt x="96758" y="392332"/>
                        <a:pt x="101162" y="398835"/>
                      </a:cubicBezTo>
                      <a:lnTo>
                        <a:pt x="105345" y="403399"/>
                      </a:lnTo>
                      <a:cubicBezTo>
                        <a:pt x="109158" y="407354"/>
                        <a:pt x="113292" y="410967"/>
                        <a:pt x="117705" y="414238"/>
                      </a:cubicBezTo>
                      <a:cubicBezTo>
                        <a:pt x="127122" y="420703"/>
                        <a:pt x="134874" y="429298"/>
                        <a:pt x="140334" y="439338"/>
                      </a:cubicBezTo>
                      <a:cubicBezTo>
                        <a:pt x="144177" y="449777"/>
                        <a:pt x="145481" y="460996"/>
                        <a:pt x="144137" y="472044"/>
                      </a:cubicBezTo>
                      <a:cubicBezTo>
                        <a:pt x="153665" y="472063"/>
                        <a:pt x="163188" y="471569"/>
                        <a:pt x="172660" y="470523"/>
                      </a:cubicBezTo>
                      <a:cubicBezTo>
                        <a:pt x="193951" y="463145"/>
                        <a:pt x="213406" y="451279"/>
                        <a:pt x="229706" y="435725"/>
                      </a:cubicBezTo>
                      <a:cubicBezTo>
                        <a:pt x="236361" y="430400"/>
                        <a:pt x="241876" y="424696"/>
                        <a:pt x="247390" y="420132"/>
                      </a:cubicBezTo>
                      <a:cubicBezTo>
                        <a:pt x="247729" y="417736"/>
                        <a:pt x="247664" y="415283"/>
                        <a:pt x="247200" y="412906"/>
                      </a:cubicBezTo>
                      <a:cubicBezTo>
                        <a:pt x="242361" y="409750"/>
                        <a:pt x="236924" y="407601"/>
                        <a:pt x="231227" y="406631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428" name="Полилиния: фигура 427">
                  <a:extLst>
                    <a:ext uri="{FF2B5EF4-FFF2-40B4-BE49-F238E27FC236}">
                      <a16:creationId xmlns:a16="http://schemas.microsoft.com/office/drawing/2014/main" id="{27C34AA7-031E-3969-A2EE-8162E130B2F9}"/>
                    </a:ext>
                  </a:extLst>
                </p:cNvPr>
                <p:cNvSpPr/>
                <p:nvPr/>
              </p:nvSpPr>
              <p:spPr>
                <a:xfrm>
                  <a:off x="2002760" y="5146703"/>
                  <a:ext cx="232574" cy="436362"/>
                </a:xfrm>
                <a:custGeom>
                  <a:avLst/>
                  <a:gdLst>
                    <a:gd name="connsiteX0" fmla="*/ 214907 w 232574"/>
                    <a:gd name="connsiteY0" fmla="*/ 189780 h 436362"/>
                    <a:gd name="connsiteX1" fmla="*/ 202737 w 232574"/>
                    <a:gd name="connsiteY1" fmla="*/ 183505 h 436362"/>
                    <a:gd name="connsiteX2" fmla="*/ 174785 w 232574"/>
                    <a:gd name="connsiteY2" fmla="*/ 151749 h 436362"/>
                    <a:gd name="connsiteX3" fmla="*/ 183912 w 232574"/>
                    <a:gd name="connsiteY3" fmla="*/ 129502 h 436362"/>
                    <a:gd name="connsiteX4" fmla="*/ 190187 w 232574"/>
                    <a:gd name="connsiteY4" fmla="*/ 117522 h 436362"/>
                    <a:gd name="connsiteX5" fmla="*/ 186384 w 232574"/>
                    <a:gd name="connsiteY5" fmla="*/ 90140 h 436362"/>
                    <a:gd name="connsiteX6" fmla="*/ 183341 w 232574"/>
                    <a:gd name="connsiteY6" fmla="*/ 81963 h 436362"/>
                    <a:gd name="connsiteX7" fmla="*/ 191138 w 232574"/>
                    <a:gd name="connsiteY7" fmla="*/ 41841 h 436362"/>
                    <a:gd name="connsiteX8" fmla="*/ 188095 w 232574"/>
                    <a:gd name="connsiteY8" fmla="*/ 27199 h 436362"/>
                    <a:gd name="connsiteX9" fmla="*/ 183532 w 232574"/>
                    <a:gd name="connsiteY9" fmla="*/ 10275 h 436362"/>
                    <a:gd name="connsiteX10" fmla="*/ 162234 w 232574"/>
                    <a:gd name="connsiteY10" fmla="*/ 7 h 436362"/>
                    <a:gd name="connsiteX11" fmla="*/ 152727 w 232574"/>
                    <a:gd name="connsiteY11" fmla="*/ 5141 h 436362"/>
                    <a:gd name="connsiteX12" fmla="*/ 135423 w 232574"/>
                    <a:gd name="connsiteY12" fmla="*/ 12747 h 436362"/>
                    <a:gd name="connsiteX13" fmla="*/ 135423 w 232574"/>
                    <a:gd name="connsiteY13" fmla="*/ 12747 h 436362"/>
                    <a:gd name="connsiteX14" fmla="*/ 117738 w 232574"/>
                    <a:gd name="connsiteY14" fmla="*/ 6852 h 436362"/>
                    <a:gd name="connsiteX15" fmla="*/ 106519 w 232574"/>
                    <a:gd name="connsiteY15" fmla="*/ 2479 h 436362"/>
                    <a:gd name="connsiteX16" fmla="*/ 99484 w 232574"/>
                    <a:gd name="connsiteY16" fmla="*/ 3810 h 436362"/>
                    <a:gd name="connsiteX17" fmla="*/ 92828 w 232574"/>
                    <a:gd name="connsiteY17" fmla="*/ 5711 h 436362"/>
                    <a:gd name="connsiteX18" fmla="*/ 82180 w 232574"/>
                    <a:gd name="connsiteY18" fmla="*/ 5711 h 436362"/>
                    <a:gd name="connsiteX19" fmla="*/ 74573 w 232574"/>
                    <a:gd name="connsiteY19" fmla="*/ 5711 h 436362"/>
                    <a:gd name="connsiteX20" fmla="*/ 69249 w 232574"/>
                    <a:gd name="connsiteY20" fmla="*/ 13127 h 436362"/>
                    <a:gd name="connsiteX21" fmla="*/ 69249 w 232574"/>
                    <a:gd name="connsiteY21" fmla="*/ 19593 h 436362"/>
                    <a:gd name="connsiteX22" fmla="*/ 67348 w 232574"/>
                    <a:gd name="connsiteY22" fmla="*/ 31002 h 436362"/>
                    <a:gd name="connsiteX23" fmla="*/ 72101 w 232574"/>
                    <a:gd name="connsiteY23" fmla="*/ 37277 h 436362"/>
                    <a:gd name="connsiteX24" fmla="*/ 89405 w 232574"/>
                    <a:gd name="connsiteY24" fmla="*/ 75308 h 436362"/>
                    <a:gd name="connsiteX25" fmla="*/ 85602 w 232574"/>
                    <a:gd name="connsiteY25" fmla="*/ 85386 h 436362"/>
                    <a:gd name="connsiteX26" fmla="*/ 82750 w 232574"/>
                    <a:gd name="connsiteY26" fmla="*/ 93182 h 436362"/>
                    <a:gd name="connsiteX27" fmla="*/ 83891 w 232574"/>
                    <a:gd name="connsiteY27" fmla="*/ 104781 h 436362"/>
                    <a:gd name="connsiteX28" fmla="*/ 85032 w 232574"/>
                    <a:gd name="connsiteY28" fmla="*/ 121515 h 436362"/>
                    <a:gd name="connsiteX29" fmla="*/ 85032 w 232574"/>
                    <a:gd name="connsiteY29" fmla="*/ 124748 h 436362"/>
                    <a:gd name="connsiteX30" fmla="*/ 94920 w 232574"/>
                    <a:gd name="connsiteY30" fmla="*/ 150609 h 436362"/>
                    <a:gd name="connsiteX31" fmla="*/ 105378 w 232574"/>
                    <a:gd name="connsiteY31" fmla="*/ 151940 h 436362"/>
                    <a:gd name="connsiteX32" fmla="*/ 131810 w 232574"/>
                    <a:gd name="connsiteY32" fmla="*/ 168863 h 436362"/>
                    <a:gd name="connsiteX33" fmla="*/ 114696 w 232574"/>
                    <a:gd name="connsiteY33" fmla="*/ 195295 h 436362"/>
                    <a:gd name="connsiteX34" fmla="*/ 105569 w 232574"/>
                    <a:gd name="connsiteY34" fmla="*/ 200619 h 436362"/>
                    <a:gd name="connsiteX35" fmla="*/ 99293 w 232574"/>
                    <a:gd name="connsiteY35" fmla="*/ 236368 h 436362"/>
                    <a:gd name="connsiteX36" fmla="*/ 102906 w 232574"/>
                    <a:gd name="connsiteY36" fmla="*/ 247207 h 436362"/>
                    <a:gd name="connsiteX37" fmla="*/ 98261 w 232574"/>
                    <a:gd name="connsiteY37" fmla="*/ 275330 h 436362"/>
                    <a:gd name="connsiteX38" fmla="*/ 97392 w 232574"/>
                    <a:gd name="connsiteY38" fmla="*/ 275920 h 436362"/>
                    <a:gd name="connsiteX39" fmla="*/ 82750 w 232574"/>
                    <a:gd name="connsiteY39" fmla="*/ 280103 h 436362"/>
                    <a:gd name="connsiteX40" fmla="*/ 75714 w 232574"/>
                    <a:gd name="connsiteY40" fmla="*/ 281244 h 436362"/>
                    <a:gd name="connsiteX41" fmla="*/ 70580 w 232574"/>
                    <a:gd name="connsiteY41" fmla="*/ 284667 h 436362"/>
                    <a:gd name="connsiteX42" fmla="*/ 56509 w 232574"/>
                    <a:gd name="connsiteY42" fmla="*/ 290181 h 436362"/>
                    <a:gd name="connsiteX43" fmla="*/ 44909 w 232574"/>
                    <a:gd name="connsiteY43" fmla="*/ 286378 h 436362"/>
                    <a:gd name="connsiteX44" fmla="*/ 27986 w 232574"/>
                    <a:gd name="connsiteY44" fmla="*/ 282005 h 436362"/>
                    <a:gd name="connsiteX45" fmla="*/ 26465 w 232574"/>
                    <a:gd name="connsiteY45" fmla="*/ 283716 h 436362"/>
                    <a:gd name="connsiteX46" fmla="*/ 28937 w 232574"/>
                    <a:gd name="connsiteY46" fmla="*/ 287900 h 436362"/>
                    <a:gd name="connsiteX47" fmla="*/ 33310 w 232574"/>
                    <a:gd name="connsiteY47" fmla="*/ 292463 h 436362"/>
                    <a:gd name="connsiteX48" fmla="*/ 37303 w 232574"/>
                    <a:gd name="connsiteY48" fmla="*/ 308436 h 436362"/>
                    <a:gd name="connsiteX49" fmla="*/ 37303 w 232574"/>
                    <a:gd name="connsiteY49" fmla="*/ 315472 h 436362"/>
                    <a:gd name="connsiteX50" fmla="*/ 41487 w 232574"/>
                    <a:gd name="connsiteY50" fmla="*/ 319655 h 436362"/>
                    <a:gd name="connsiteX51" fmla="*/ 48332 w 232574"/>
                    <a:gd name="connsiteY51" fmla="*/ 328973 h 436362"/>
                    <a:gd name="connsiteX52" fmla="*/ 33881 w 232574"/>
                    <a:gd name="connsiteY52" fmla="*/ 347988 h 436362"/>
                    <a:gd name="connsiteX53" fmla="*/ 26274 w 232574"/>
                    <a:gd name="connsiteY53" fmla="*/ 352552 h 436362"/>
                    <a:gd name="connsiteX54" fmla="*/ 33 w 232574"/>
                    <a:gd name="connsiteY54" fmla="*/ 374419 h 436362"/>
                    <a:gd name="connsiteX55" fmla="*/ 17337 w 232574"/>
                    <a:gd name="connsiteY55" fmla="*/ 382596 h 436362"/>
                    <a:gd name="connsiteX56" fmla="*/ 38064 w 232574"/>
                    <a:gd name="connsiteY56" fmla="*/ 392864 h 436362"/>
                    <a:gd name="connsiteX57" fmla="*/ 43008 w 232574"/>
                    <a:gd name="connsiteY57" fmla="*/ 404464 h 436362"/>
                    <a:gd name="connsiteX58" fmla="*/ 62023 w 232574"/>
                    <a:gd name="connsiteY58" fmla="*/ 406556 h 436362"/>
                    <a:gd name="connsiteX59" fmla="*/ 90737 w 232574"/>
                    <a:gd name="connsiteY59" fmla="*/ 421388 h 436362"/>
                    <a:gd name="connsiteX60" fmla="*/ 127246 w 232574"/>
                    <a:gd name="connsiteY60" fmla="*/ 417965 h 436362"/>
                    <a:gd name="connsiteX61" fmla="*/ 136754 w 232574"/>
                    <a:gd name="connsiteY61" fmla="*/ 419486 h 436362"/>
                    <a:gd name="connsiteX62" fmla="*/ 140937 w 232574"/>
                    <a:gd name="connsiteY62" fmla="*/ 430515 h 436362"/>
                    <a:gd name="connsiteX63" fmla="*/ 155199 w 232574"/>
                    <a:gd name="connsiteY63" fmla="*/ 430515 h 436362"/>
                    <a:gd name="connsiteX64" fmla="*/ 165087 w 232574"/>
                    <a:gd name="connsiteY64" fmla="*/ 416634 h 436362"/>
                    <a:gd name="connsiteX65" fmla="*/ 197983 w 232574"/>
                    <a:gd name="connsiteY65" fmla="*/ 419106 h 436362"/>
                    <a:gd name="connsiteX66" fmla="*/ 213005 w 232574"/>
                    <a:gd name="connsiteY66" fmla="*/ 412641 h 436362"/>
                    <a:gd name="connsiteX67" fmla="*/ 209202 w 232574"/>
                    <a:gd name="connsiteY67" fmla="*/ 406556 h 436362"/>
                    <a:gd name="connsiteX68" fmla="*/ 197413 w 232574"/>
                    <a:gd name="connsiteY68" fmla="*/ 385258 h 436362"/>
                    <a:gd name="connsiteX69" fmla="*/ 211484 w 232574"/>
                    <a:gd name="connsiteY69" fmla="*/ 339431 h 436362"/>
                    <a:gd name="connsiteX70" fmla="*/ 222703 w 232574"/>
                    <a:gd name="connsiteY70" fmla="*/ 324789 h 436362"/>
                    <a:gd name="connsiteX71" fmla="*/ 231070 w 232574"/>
                    <a:gd name="connsiteY71" fmla="*/ 274209 h 436362"/>
                    <a:gd name="connsiteX72" fmla="*/ 231070 w 232574"/>
                    <a:gd name="connsiteY72" fmla="*/ 248157 h 436362"/>
                    <a:gd name="connsiteX73" fmla="*/ 214907 w 232574"/>
                    <a:gd name="connsiteY73" fmla="*/ 189780 h 436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232574" h="436362">
                      <a:moveTo>
                        <a:pt x="214907" y="189780"/>
                      </a:moveTo>
                      <a:cubicBezTo>
                        <a:pt x="211037" y="187346"/>
                        <a:pt x="206966" y="185254"/>
                        <a:pt x="202737" y="183505"/>
                      </a:cubicBezTo>
                      <a:cubicBezTo>
                        <a:pt x="189807" y="177610"/>
                        <a:pt x="173834" y="170384"/>
                        <a:pt x="174785" y="151749"/>
                      </a:cubicBezTo>
                      <a:cubicBezTo>
                        <a:pt x="175688" y="143630"/>
                        <a:pt x="178850" y="135910"/>
                        <a:pt x="183912" y="129502"/>
                      </a:cubicBezTo>
                      <a:cubicBezTo>
                        <a:pt x="186407" y="125737"/>
                        <a:pt x="188510" y="121724"/>
                        <a:pt x="190187" y="117522"/>
                      </a:cubicBezTo>
                      <a:cubicBezTo>
                        <a:pt x="192399" y="108242"/>
                        <a:pt x="191041" y="98468"/>
                        <a:pt x="186384" y="90140"/>
                      </a:cubicBezTo>
                      <a:cubicBezTo>
                        <a:pt x="186384" y="87477"/>
                        <a:pt x="184292" y="84815"/>
                        <a:pt x="183341" y="81963"/>
                      </a:cubicBezTo>
                      <a:cubicBezTo>
                        <a:pt x="177509" y="68253"/>
                        <a:pt x="180596" y="52375"/>
                        <a:pt x="191138" y="41841"/>
                      </a:cubicBezTo>
                      <a:cubicBezTo>
                        <a:pt x="189580" y="37087"/>
                        <a:pt x="188559" y="32181"/>
                        <a:pt x="188095" y="27199"/>
                      </a:cubicBezTo>
                      <a:cubicBezTo>
                        <a:pt x="187873" y="21285"/>
                        <a:pt x="186312" y="15504"/>
                        <a:pt x="183532" y="10275"/>
                      </a:cubicBezTo>
                      <a:cubicBezTo>
                        <a:pt x="178485" y="3639"/>
                        <a:pt x="170567" y="-184"/>
                        <a:pt x="162234" y="7"/>
                      </a:cubicBezTo>
                      <a:cubicBezTo>
                        <a:pt x="158635" y="767"/>
                        <a:pt x="155334" y="2555"/>
                        <a:pt x="152727" y="5141"/>
                      </a:cubicBezTo>
                      <a:cubicBezTo>
                        <a:pt x="148148" y="9800"/>
                        <a:pt x="141953" y="12519"/>
                        <a:pt x="135423" y="12747"/>
                      </a:cubicBezTo>
                      <a:lnTo>
                        <a:pt x="135423" y="12747"/>
                      </a:lnTo>
                      <a:cubicBezTo>
                        <a:pt x="129110" y="12386"/>
                        <a:pt x="123004" y="10351"/>
                        <a:pt x="117738" y="6852"/>
                      </a:cubicBezTo>
                      <a:cubicBezTo>
                        <a:pt x="114272" y="4779"/>
                        <a:pt x="110478" y="3296"/>
                        <a:pt x="106519" y="2479"/>
                      </a:cubicBezTo>
                      <a:cubicBezTo>
                        <a:pt x="104110" y="2479"/>
                        <a:pt x="101724" y="2916"/>
                        <a:pt x="99484" y="3810"/>
                      </a:cubicBezTo>
                      <a:cubicBezTo>
                        <a:pt x="97320" y="4627"/>
                        <a:pt x="95093" y="5255"/>
                        <a:pt x="92828" y="5711"/>
                      </a:cubicBezTo>
                      <a:cubicBezTo>
                        <a:pt x="89295" y="6187"/>
                        <a:pt x="85713" y="6187"/>
                        <a:pt x="82180" y="5711"/>
                      </a:cubicBezTo>
                      <a:cubicBezTo>
                        <a:pt x="79666" y="5236"/>
                        <a:pt x="77087" y="5236"/>
                        <a:pt x="74573" y="5711"/>
                      </a:cubicBezTo>
                      <a:cubicBezTo>
                        <a:pt x="68679" y="6662"/>
                        <a:pt x="68679" y="6662"/>
                        <a:pt x="69249" y="13127"/>
                      </a:cubicBezTo>
                      <a:cubicBezTo>
                        <a:pt x="69249" y="15029"/>
                        <a:pt x="69249" y="17311"/>
                        <a:pt x="69249" y="19593"/>
                      </a:cubicBezTo>
                      <a:cubicBezTo>
                        <a:pt x="69160" y="23472"/>
                        <a:pt x="68519" y="27313"/>
                        <a:pt x="67348" y="31002"/>
                      </a:cubicBezTo>
                      <a:cubicBezTo>
                        <a:pt x="68679" y="32903"/>
                        <a:pt x="70200" y="34995"/>
                        <a:pt x="72101" y="37277"/>
                      </a:cubicBezTo>
                      <a:cubicBezTo>
                        <a:pt x="80658" y="48306"/>
                        <a:pt x="91117" y="62187"/>
                        <a:pt x="89405" y="75308"/>
                      </a:cubicBezTo>
                      <a:cubicBezTo>
                        <a:pt x="88822" y="78883"/>
                        <a:pt x="87529" y="82305"/>
                        <a:pt x="85602" y="85386"/>
                      </a:cubicBezTo>
                      <a:cubicBezTo>
                        <a:pt x="84018" y="87706"/>
                        <a:pt x="83039" y="90387"/>
                        <a:pt x="82750" y="93182"/>
                      </a:cubicBezTo>
                      <a:cubicBezTo>
                        <a:pt x="82761" y="97080"/>
                        <a:pt x="83144" y="100959"/>
                        <a:pt x="83891" y="104781"/>
                      </a:cubicBezTo>
                      <a:cubicBezTo>
                        <a:pt x="85146" y="110258"/>
                        <a:pt x="85532" y="115905"/>
                        <a:pt x="85032" y="121515"/>
                      </a:cubicBezTo>
                      <a:lnTo>
                        <a:pt x="85032" y="124748"/>
                      </a:lnTo>
                      <a:cubicBezTo>
                        <a:pt x="83321" y="139389"/>
                        <a:pt x="82940" y="146615"/>
                        <a:pt x="94920" y="150609"/>
                      </a:cubicBezTo>
                      <a:cubicBezTo>
                        <a:pt x="98335" y="151502"/>
                        <a:pt x="101849" y="151940"/>
                        <a:pt x="105378" y="151940"/>
                      </a:cubicBezTo>
                      <a:cubicBezTo>
                        <a:pt x="114886" y="151940"/>
                        <a:pt x="128197" y="153461"/>
                        <a:pt x="131810" y="168863"/>
                      </a:cubicBezTo>
                      <a:cubicBezTo>
                        <a:pt x="135423" y="184266"/>
                        <a:pt x="123443" y="190921"/>
                        <a:pt x="114696" y="195295"/>
                      </a:cubicBezTo>
                      <a:cubicBezTo>
                        <a:pt x="111422" y="196645"/>
                        <a:pt x="108349" y="198432"/>
                        <a:pt x="105569" y="200619"/>
                      </a:cubicBezTo>
                      <a:cubicBezTo>
                        <a:pt x="98723" y="206514"/>
                        <a:pt x="96821" y="218684"/>
                        <a:pt x="99293" y="236368"/>
                      </a:cubicBezTo>
                      <a:cubicBezTo>
                        <a:pt x="100037" y="240114"/>
                        <a:pt x="101250" y="243765"/>
                        <a:pt x="102906" y="247207"/>
                      </a:cubicBezTo>
                      <a:cubicBezTo>
                        <a:pt x="109391" y="256258"/>
                        <a:pt x="107310" y="268846"/>
                        <a:pt x="98261" y="275330"/>
                      </a:cubicBezTo>
                      <a:cubicBezTo>
                        <a:pt x="97976" y="275540"/>
                        <a:pt x="97687" y="275730"/>
                        <a:pt x="97392" y="275920"/>
                      </a:cubicBezTo>
                      <a:cubicBezTo>
                        <a:pt x="93142" y="278962"/>
                        <a:pt x="87968" y="280445"/>
                        <a:pt x="82750" y="280103"/>
                      </a:cubicBezTo>
                      <a:cubicBezTo>
                        <a:pt x="80360" y="280103"/>
                        <a:pt x="77985" y="280503"/>
                        <a:pt x="75714" y="281244"/>
                      </a:cubicBezTo>
                      <a:cubicBezTo>
                        <a:pt x="73773" y="282005"/>
                        <a:pt x="72022" y="283165"/>
                        <a:pt x="70580" y="284667"/>
                      </a:cubicBezTo>
                      <a:cubicBezTo>
                        <a:pt x="66853" y="288375"/>
                        <a:pt x="61759" y="290372"/>
                        <a:pt x="56509" y="290181"/>
                      </a:cubicBezTo>
                      <a:cubicBezTo>
                        <a:pt x="52443" y="289630"/>
                        <a:pt x="48513" y="288337"/>
                        <a:pt x="44909" y="286378"/>
                      </a:cubicBezTo>
                      <a:cubicBezTo>
                        <a:pt x="39775" y="284287"/>
                        <a:pt x="31218" y="280484"/>
                        <a:pt x="27986" y="282005"/>
                      </a:cubicBezTo>
                      <a:cubicBezTo>
                        <a:pt x="27986" y="282005"/>
                        <a:pt x="27986" y="282005"/>
                        <a:pt x="26465" y="283716"/>
                      </a:cubicBezTo>
                      <a:cubicBezTo>
                        <a:pt x="24943" y="285428"/>
                        <a:pt x="26465" y="285238"/>
                        <a:pt x="28937" y="287900"/>
                      </a:cubicBezTo>
                      <a:cubicBezTo>
                        <a:pt x="30625" y="289173"/>
                        <a:pt x="32101" y="290714"/>
                        <a:pt x="33310" y="292463"/>
                      </a:cubicBezTo>
                      <a:cubicBezTo>
                        <a:pt x="36811" y="296989"/>
                        <a:pt x="38258" y="302789"/>
                        <a:pt x="37303" y="308436"/>
                      </a:cubicBezTo>
                      <a:cubicBezTo>
                        <a:pt x="36826" y="310756"/>
                        <a:pt x="36826" y="313152"/>
                        <a:pt x="37303" y="315472"/>
                      </a:cubicBezTo>
                      <a:cubicBezTo>
                        <a:pt x="38399" y="317145"/>
                        <a:pt x="39823" y="318553"/>
                        <a:pt x="41487" y="319655"/>
                      </a:cubicBezTo>
                      <a:cubicBezTo>
                        <a:pt x="44949" y="321690"/>
                        <a:pt x="47425" y="325056"/>
                        <a:pt x="48332" y="328973"/>
                      </a:cubicBezTo>
                      <a:cubicBezTo>
                        <a:pt x="48332" y="336389"/>
                        <a:pt x="41867" y="342284"/>
                        <a:pt x="33881" y="347988"/>
                      </a:cubicBezTo>
                      <a:lnTo>
                        <a:pt x="26274" y="352552"/>
                      </a:lnTo>
                      <a:cubicBezTo>
                        <a:pt x="18858" y="356925"/>
                        <a:pt x="-918" y="368144"/>
                        <a:pt x="33" y="374419"/>
                      </a:cubicBezTo>
                      <a:cubicBezTo>
                        <a:pt x="33" y="377462"/>
                        <a:pt x="11442" y="380695"/>
                        <a:pt x="17337" y="382596"/>
                      </a:cubicBezTo>
                      <a:cubicBezTo>
                        <a:pt x="25065" y="384041"/>
                        <a:pt x="32240" y="387578"/>
                        <a:pt x="38064" y="392864"/>
                      </a:cubicBezTo>
                      <a:cubicBezTo>
                        <a:pt x="40618" y="396287"/>
                        <a:pt x="42312" y="400262"/>
                        <a:pt x="43008" y="404464"/>
                      </a:cubicBezTo>
                      <a:cubicBezTo>
                        <a:pt x="49338" y="402258"/>
                        <a:pt x="56324" y="403038"/>
                        <a:pt x="62023" y="406556"/>
                      </a:cubicBezTo>
                      <a:cubicBezTo>
                        <a:pt x="71531" y="411309"/>
                        <a:pt x="81039" y="417204"/>
                        <a:pt x="90737" y="421388"/>
                      </a:cubicBezTo>
                      <a:cubicBezTo>
                        <a:pt x="104618" y="427092"/>
                        <a:pt x="113365" y="418535"/>
                        <a:pt x="127246" y="417965"/>
                      </a:cubicBezTo>
                      <a:cubicBezTo>
                        <a:pt x="133331" y="417965"/>
                        <a:pt x="131810" y="414352"/>
                        <a:pt x="136754" y="419486"/>
                      </a:cubicBezTo>
                      <a:cubicBezTo>
                        <a:pt x="141698" y="424620"/>
                        <a:pt x="138655" y="427473"/>
                        <a:pt x="140937" y="430515"/>
                      </a:cubicBezTo>
                      <a:cubicBezTo>
                        <a:pt x="146452" y="438311"/>
                        <a:pt x="149494" y="438311"/>
                        <a:pt x="155199" y="430515"/>
                      </a:cubicBezTo>
                      <a:cubicBezTo>
                        <a:pt x="160903" y="422719"/>
                        <a:pt x="158241" y="419676"/>
                        <a:pt x="165087" y="416634"/>
                      </a:cubicBezTo>
                      <a:cubicBezTo>
                        <a:pt x="174975" y="412260"/>
                        <a:pt x="187525" y="419676"/>
                        <a:pt x="197983" y="419106"/>
                      </a:cubicBezTo>
                      <a:cubicBezTo>
                        <a:pt x="203559" y="418630"/>
                        <a:pt x="208830" y="416368"/>
                        <a:pt x="213005" y="412641"/>
                      </a:cubicBezTo>
                      <a:cubicBezTo>
                        <a:pt x="211865" y="410549"/>
                        <a:pt x="210533" y="408647"/>
                        <a:pt x="209202" y="406556"/>
                      </a:cubicBezTo>
                      <a:cubicBezTo>
                        <a:pt x="204424" y="399957"/>
                        <a:pt x="200465" y="392808"/>
                        <a:pt x="197413" y="385258"/>
                      </a:cubicBezTo>
                      <a:cubicBezTo>
                        <a:pt x="192357" y="368544"/>
                        <a:pt x="197919" y="350422"/>
                        <a:pt x="211484" y="339431"/>
                      </a:cubicBezTo>
                      <a:cubicBezTo>
                        <a:pt x="215698" y="334925"/>
                        <a:pt x="219456" y="330038"/>
                        <a:pt x="222703" y="324789"/>
                      </a:cubicBezTo>
                      <a:cubicBezTo>
                        <a:pt x="229764" y="308912"/>
                        <a:pt x="232645" y="291512"/>
                        <a:pt x="231070" y="274209"/>
                      </a:cubicBezTo>
                      <a:cubicBezTo>
                        <a:pt x="230593" y="265537"/>
                        <a:pt x="230593" y="256829"/>
                        <a:pt x="231070" y="248157"/>
                      </a:cubicBezTo>
                      <a:cubicBezTo>
                        <a:pt x="233922" y="224008"/>
                        <a:pt x="234683" y="203091"/>
                        <a:pt x="214907" y="189780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429" name="Полилиния: фигура 428">
                  <a:extLst>
                    <a:ext uri="{FF2B5EF4-FFF2-40B4-BE49-F238E27FC236}">
                      <a16:creationId xmlns:a16="http://schemas.microsoft.com/office/drawing/2014/main" id="{058051FF-BA20-B5B6-BA00-E92F33114A44}"/>
                    </a:ext>
                  </a:extLst>
                </p:cNvPr>
                <p:cNvSpPr/>
                <p:nvPr/>
              </p:nvSpPr>
              <p:spPr>
                <a:xfrm>
                  <a:off x="1860938" y="4717445"/>
                  <a:ext cx="506569" cy="462161"/>
                </a:xfrm>
                <a:custGeom>
                  <a:avLst/>
                  <a:gdLst>
                    <a:gd name="connsiteX0" fmla="*/ 501626 w 506569"/>
                    <a:gd name="connsiteY0" fmla="*/ 324490 h 462161"/>
                    <a:gd name="connsiteX1" fmla="*/ 499534 w 506569"/>
                    <a:gd name="connsiteY1" fmla="*/ 314792 h 462161"/>
                    <a:gd name="connsiteX2" fmla="*/ 498393 w 506569"/>
                    <a:gd name="connsiteY2" fmla="*/ 314792 h 462161"/>
                    <a:gd name="connsiteX3" fmla="*/ 493639 w 506569"/>
                    <a:gd name="connsiteY3" fmla="*/ 310799 h 462161"/>
                    <a:gd name="connsiteX4" fmla="*/ 489266 w 506569"/>
                    <a:gd name="connsiteY4" fmla="*/ 291783 h 462161"/>
                    <a:gd name="connsiteX5" fmla="*/ 485843 w 506569"/>
                    <a:gd name="connsiteY5" fmla="*/ 277522 h 462161"/>
                    <a:gd name="connsiteX6" fmla="*/ 479188 w 506569"/>
                    <a:gd name="connsiteY6" fmla="*/ 276001 h 462161"/>
                    <a:gd name="connsiteX7" fmla="*/ 473483 w 506569"/>
                    <a:gd name="connsiteY7" fmla="*/ 278473 h 462161"/>
                    <a:gd name="connsiteX8" fmla="*/ 460743 w 506569"/>
                    <a:gd name="connsiteY8" fmla="*/ 282086 h 462161"/>
                    <a:gd name="connsiteX9" fmla="*/ 439065 w 506569"/>
                    <a:gd name="connsiteY9" fmla="*/ 263070 h 462161"/>
                    <a:gd name="connsiteX10" fmla="*/ 439065 w 506569"/>
                    <a:gd name="connsiteY10" fmla="*/ 246147 h 462161"/>
                    <a:gd name="connsiteX11" fmla="*/ 439065 w 506569"/>
                    <a:gd name="connsiteY11" fmla="*/ 230174 h 462161"/>
                    <a:gd name="connsiteX12" fmla="*/ 434692 w 506569"/>
                    <a:gd name="connsiteY12" fmla="*/ 228843 h 462161"/>
                    <a:gd name="connsiteX13" fmla="*/ 428607 w 506569"/>
                    <a:gd name="connsiteY13" fmla="*/ 232456 h 462161"/>
                    <a:gd name="connsiteX14" fmla="*/ 411683 w 506569"/>
                    <a:gd name="connsiteY14" fmla="*/ 238160 h 462161"/>
                    <a:gd name="connsiteX15" fmla="*/ 394759 w 506569"/>
                    <a:gd name="connsiteY15" fmla="*/ 217624 h 462161"/>
                    <a:gd name="connsiteX16" fmla="*/ 404647 w 506569"/>
                    <a:gd name="connsiteY16" fmla="*/ 192523 h 462161"/>
                    <a:gd name="connsiteX17" fmla="*/ 410922 w 506569"/>
                    <a:gd name="connsiteY17" fmla="*/ 184156 h 462161"/>
                    <a:gd name="connsiteX18" fmla="*/ 404457 w 506569"/>
                    <a:gd name="connsiteY18" fmla="*/ 146126 h 462161"/>
                    <a:gd name="connsiteX19" fmla="*/ 396661 w 506569"/>
                    <a:gd name="connsiteY19" fmla="*/ 134526 h 462161"/>
                    <a:gd name="connsiteX20" fmla="*/ 380878 w 506569"/>
                    <a:gd name="connsiteY20" fmla="*/ 117032 h 462161"/>
                    <a:gd name="connsiteX21" fmla="*/ 372702 w 506569"/>
                    <a:gd name="connsiteY21" fmla="*/ 114940 h 462161"/>
                    <a:gd name="connsiteX22" fmla="*/ 357109 w 506569"/>
                    <a:gd name="connsiteY22" fmla="*/ 109806 h 462161"/>
                    <a:gd name="connsiteX23" fmla="*/ 349693 w 506569"/>
                    <a:gd name="connsiteY23" fmla="*/ 105053 h 462161"/>
                    <a:gd name="connsiteX24" fmla="*/ 339234 w 506569"/>
                    <a:gd name="connsiteY24" fmla="*/ 98777 h 462161"/>
                    <a:gd name="connsiteX25" fmla="*/ 325543 w 506569"/>
                    <a:gd name="connsiteY25" fmla="*/ 94784 h 462161"/>
                    <a:gd name="connsiteX26" fmla="*/ 298542 w 506569"/>
                    <a:gd name="connsiteY26" fmla="*/ 71966 h 462161"/>
                    <a:gd name="connsiteX27" fmla="*/ 294929 w 506569"/>
                    <a:gd name="connsiteY27" fmla="*/ 59796 h 462161"/>
                    <a:gd name="connsiteX28" fmla="*/ 290745 w 506569"/>
                    <a:gd name="connsiteY28" fmla="*/ 46295 h 462161"/>
                    <a:gd name="connsiteX29" fmla="*/ 283900 w 506569"/>
                    <a:gd name="connsiteY29" fmla="*/ 37738 h 462161"/>
                    <a:gd name="connsiteX30" fmla="*/ 279716 w 506569"/>
                    <a:gd name="connsiteY30" fmla="*/ 34886 h 462161"/>
                    <a:gd name="connsiteX31" fmla="*/ 272110 w 506569"/>
                    <a:gd name="connsiteY31" fmla="*/ 30512 h 462161"/>
                    <a:gd name="connsiteX32" fmla="*/ 258799 w 506569"/>
                    <a:gd name="connsiteY32" fmla="*/ 23476 h 462161"/>
                    <a:gd name="connsiteX33" fmla="*/ 253095 w 506569"/>
                    <a:gd name="connsiteY33" fmla="*/ 21765 h 462161"/>
                    <a:gd name="connsiteX34" fmla="*/ 239594 w 506569"/>
                    <a:gd name="connsiteY34" fmla="*/ 15870 h 462161"/>
                    <a:gd name="connsiteX35" fmla="*/ 233509 w 506569"/>
                    <a:gd name="connsiteY35" fmla="*/ 5792 h 462161"/>
                    <a:gd name="connsiteX36" fmla="*/ 230657 w 506569"/>
                    <a:gd name="connsiteY36" fmla="*/ 468 h 462161"/>
                    <a:gd name="connsiteX37" fmla="*/ 221529 w 506569"/>
                    <a:gd name="connsiteY37" fmla="*/ 1799 h 462161"/>
                    <a:gd name="connsiteX38" fmla="*/ 216395 w 506569"/>
                    <a:gd name="connsiteY38" fmla="*/ 3891 h 462161"/>
                    <a:gd name="connsiteX39" fmla="*/ 195668 w 506569"/>
                    <a:gd name="connsiteY39" fmla="*/ 8074 h 462161"/>
                    <a:gd name="connsiteX40" fmla="*/ 187492 w 506569"/>
                    <a:gd name="connsiteY40" fmla="*/ 7123 h 462161"/>
                    <a:gd name="connsiteX41" fmla="*/ 173801 w 506569"/>
                    <a:gd name="connsiteY41" fmla="*/ 7123 h 462161"/>
                    <a:gd name="connsiteX42" fmla="*/ 166194 w 506569"/>
                    <a:gd name="connsiteY42" fmla="*/ 19863 h 462161"/>
                    <a:gd name="connsiteX43" fmla="*/ 161441 w 506569"/>
                    <a:gd name="connsiteY43" fmla="*/ 37358 h 462161"/>
                    <a:gd name="connsiteX44" fmla="*/ 154975 w 506569"/>
                    <a:gd name="connsiteY44" fmla="*/ 44203 h 462161"/>
                    <a:gd name="connsiteX45" fmla="*/ 149841 w 506569"/>
                    <a:gd name="connsiteY45" fmla="*/ 49337 h 462161"/>
                    <a:gd name="connsiteX46" fmla="*/ 147559 w 506569"/>
                    <a:gd name="connsiteY46" fmla="*/ 52570 h 462161"/>
                    <a:gd name="connsiteX47" fmla="*/ 135390 w 506569"/>
                    <a:gd name="connsiteY47" fmla="*/ 63599 h 462161"/>
                    <a:gd name="connsiteX48" fmla="*/ 127403 w 506569"/>
                    <a:gd name="connsiteY48" fmla="*/ 68543 h 462161"/>
                    <a:gd name="connsiteX49" fmla="*/ 124741 w 506569"/>
                    <a:gd name="connsiteY49" fmla="*/ 70254 h 462161"/>
                    <a:gd name="connsiteX50" fmla="*/ 124741 w 506569"/>
                    <a:gd name="connsiteY50" fmla="*/ 70254 h 462161"/>
                    <a:gd name="connsiteX51" fmla="*/ 123600 w 506569"/>
                    <a:gd name="connsiteY51" fmla="*/ 79572 h 462161"/>
                    <a:gd name="connsiteX52" fmla="*/ 123600 w 506569"/>
                    <a:gd name="connsiteY52" fmla="*/ 84896 h 462161"/>
                    <a:gd name="connsiteX53" fmla="*/ 127403 w 506569"/>
                    <a:gd name="connsiteY53" fmla="*/ 103912 h 462161"/>
                    <a:gd name="connsiteX54" fmla="*/ 129114 w 506569"/>
                    <a:gd name="connsiteY54" fmla="*/ 106954 h 462161"/>
                    <a:gd name="connsiteX55" fmla="*/ 132347 w 506569"/>
                    <a:gd name="connsiteY55" fmla="*/ 112278 h 462161"/>
                    <a:gd name="connsiteX56" fmla="*/ 135960 w 506569"/>
                    <a:gd name="connsiteY56" fmla="*/ 124258 h 462161"/>
                    <a:gd name="connsiteX57" fmla="*/ 137862 w 506569"/>
                    <a:gd name="connsiteY57" fmla="*/ 143273 h 462161"/>
                    <a:gd name="connsiteX58" fmla="*/ 136911 w 506569"/>
                    <a:gd name="connsiteY58" fmla="*/ 151640 h 462161"/>
                    <a:gd name="connsiteX59" fmla="*/ 131206 w 506569"/>
                    <a:gd name="connsiteY59" fmla="*/ 160577 h 462161"/>
                    <a:gd name="connsiteX60" fmla="*/ 121698 w 506569"/>
                    <a:gd name="connsiteY60" fmla="*/ 168183 h 462161"/>
                    <a:gd name="connsiteX61" fmla="*/ 115804 w 506569"/>
                    <a:gd name="connsiteY61" fmla="*/ 172557 h 462161"/>
                    <a:gd name="connsiteX62" fmla="*/ 111430 w 506569"/>
                    <a:gd name="connsiteY62" fmla="*/ 176931 h 462161"/>
                    <a:gd name="connsiteX63" fmla="*/ 102683 w 506569"/>
                    <a:gd name="connsiteY63" fmla="*/ 184537 h 462161"/>
                    <a:gd name="connsiteX64" fmla="*/ 99641 w 506569"/>
                    <a:gd name="connsiteY64" fmla="*/ 186248 h 462161"/>
                    <a:gd name="connsiteX65" fmla="*/ 93936 w 506569"/>
                    <a:gd name="connsiteY65" fmla="*/ 191192 h 462161"/>
                    <a:gd name="connsiteX66" fmla="*/ 95267 w 506569"/>
                    <a:gd name="connsiteY66" fmla="*/ 199939 h 462161"/>
                    <a:gd name="connsiteX67" fmla="*/ 96598 w 506569"/>
                    <a:gd name="connsiteY67" fmla="*/ 202792 h 462161"/>
                    <a:gd name="connsiteX68" fmla="*/ 100211 w 506569"/>
                    <a:gd name="connsiteY68" fmla="*/ 213250 h 462161"/>
                    <a:gd name="connsiteX69" fmla="*/ 100211 w 506569"/>
                    <a:gd name="connsiteY69" fmla="*/ 218574 h 462161"/>
                    <a:gd name="connsiteX70" fmla="*/ 100211 w 506569"/>
                    <a:gd name="connsiteY70" fmla="*/ 222187 h 462161"/>
                    <a:gd name="connsiteX71" fmla="*/ 102873 w 506569"/>
                    <a:gd name="connsiteY71" fmla="*/ 230364 h 462161"/>
                    <a:gd name="connsiteX72" fmla="*/ 106676 w 506569"/>
                    <a:gd name="connsiteY72" fmla="*/ 241963 h 462161"/>
                    <a:gd name="connsiteX73" fmla="*/ 100782 w 506569"/>
                    <a:gd name="connsiteY73" fmla="*/ 263260 h 462161"/>
                    <a:gd name="connsiteX74" fmla="*/ 89753 w 506569"/>
                    <a:gd name="connsiteY74" fmla="*/ 279994 h 462161"/>
                    <a:gd name="connsiteX75" fmla="*/ 70737 w 506569"/>
                    <a:gd name="connsiteY75" fmla="*/ 290262 h 462161"/>
                    <a:gd name="connsiteX76" fmla="*/ 47538 w 506569"/>
                    <a:gd name="connsiteY76" fmla="*/ 283797 h 462161"/>
                    <a:gd name="connsiteX77" fmla="*/ 39172 w 506569"/>
                    <a:gd name="connsiteY77" fmla="*/ 279994 h 462161"/>
                    <a:gd name="connsiteX78" fmla="*/ 25671 w 506569"/>
                    <a:gd name="connsiteY78" fmla="*/ 285318 h 462161"/>
                    <a:gd name="connsiteX79" fmla="*/ 2282 w 506569"/>
                    <a:gd name="connsiteY79" fmla="*/ 300531 h 462161"/>
                    <a:gd name="connsiteX80" fmla="*/ 0 w 506569"/>
                    <a:gd name="connsiteY80" fmla="*/ 302432 h 462161"/>
                    <a:gd name="connsiteX81" fmla="*/ 1331 w 506569"/>
                    <a:gd name="connsiteY81" fmla="*/ 305285 h 462161"/>
                    <a:gd name="connsiteX82" fmla="*/ 10649 w 506569"/>
                    <a:gd name="connsiteY82" fmla="*/ 317454 h 462161"/>
                    <a:gd name="connsiteX83" fmla="*/ 25481 w 506569"/>
                    <a:gd name="connsiteY83" fmla="*/ 346358 h 462161"/>
                    <a:gd name="connsiteX84" fmla="*/ 23009 w 506569"/>
                    <a:gd name="connsiteY84" fmla="*/ 360429 h 462161"/>
                    <a:gd name="connsiteX85" fmla="*/ 23009 w 506569"/>
                    <a:gd name="connsiteY85" fmla="*/ 364042 h 462161"/>
                    <a:gd name="connsiteX86" fmla="*/ 19966 w 506569"/>
                    <a:gd name="connsiteY86" fmla="*/ 395417 h 462161"/>
                    <a:gd name="connsiteX87" fmla="*/ 21868 w 506569"/>
                    <a:gd name="connsiteY87" fmla="*/ 404355 h 462161"/>
                    <a:gd name="connsiteX88" fmla="*/ 23769 w 506569"/>
                    <a:gd name="connsiteY88" fmla="*/ 406066 h 462161"/>
                    <a:gd name="connsiteX89" fmla="*/ 27002 w 506569"/>
                    <a:gd name="connsiteY89" fmla="*/ 409679 h 462161"/>
                    <a:gd name="connsiteX90" fmla="*/ 30805 w 506569"/>
                    <a:gd name="connsiteY90" fmla="*/ 420137 h 462161"/>
                    <a:gd name="connsiteX91" fmla="*/ 32897 w 506569"/>
                    <a:gd name="connsiteY91" fmla="*/ 426222 h 462161"/>
                    <a:gd name="connsiteX92" fmla="*/ 41073 w 506569"/>
                    <a:gd name="connsiteY92" fmla="*/ 429265 h 462161"/>
                    <a:gd name="connsiteX93" fmla="*/ 50961 w 506569"/>
                    <a:gd name="connsiteY93" fmla="*/ 432117 h 462161"/>
                    <a:gd name="connsiteX94" fmla="*/ 72449 w 506569"/>
                    <a:gd name="connsiteY94" fmla="*/ 422229 h 462161"/>
                    <a:gd name="connsiteX95" fmla="*/ 88041 w 506569"/>
                    <a:gd name="connsiteY95" fmla="*/ 424511 h 462161"/>
                    <a:gd name="connsiteX96" fmla="*/ 92985 w 506569"/>
                    <a:gd name="connsiteY96" fmla="*/ 426412 h 462161"/>
                    <a:gd name="connsiteX97" fmla="*/ 100211 w 506569"/>
                    <a:gd name="connsiteY97" fmla="*/ 424891 h 462161"/>
                    <a:gd name="connsiteX98" fmla="*/ 109909 w 506569"/>
                    <a:gd name="connsiteY98" fmla="*/ 422229 h 462161"/>
                    <a:gd name="connsiteX99" fmla="*/ 127023 w 506569"/>
                    <a:gd name="connsiteY99" fmla="*/ 429645 h 462161"/>
                    <a:gd name="connsiteX100" fmla="*/ 135770 w 506569"/>
                    <a:gd name="connsiteY100" fmla="*/ 432878 h 462161"/>
                    <a:gd name="connsiteX101" fmla="*/ 140714 w 506569"/>
                    <a:gd name="connsiteY101" fmla="*/ 421659 h 462161"/>
                    <a:gd name="connsiteX102" fmla="*/ 163152 w 506569"/>
                    <a:gd name="connsiteY102" fmla="*/ 402643 h 462161"/>
                    <a:gd name="connsiteX103" fmla="*/ 174181 w 506569"/>
                    <a:gd name="connsiteY103" fmla="*/ 425462 h 462161"/>
                    <a:gd name="connsiteX104" fmla="*/ 175892 w 506569"/>
                    <a:gd name="connsiteY104" fmla="*/ 437251 h 462161"/>
                    <a:gd name="connsiteX105" fmla="*/ 183498 w 506569"/>
                    <a:gd name="connsiteY105" fmla="*/ 439153 h 462161"/>
                    <a:gd name="connsiteX106" fmla="*/ 190724 w 506569"/>
                    <a:gd name="connsiteY106" fmla="*/ 440104 h 462161"/>
                    <a:gd name="connsiteX107" fmla="*/ 202894 w 506569"/>
                    <a:gd name="connsiteY107" fmla="*/ 446759 h 462161"/>
                    <a:gd name="connsiteX108" fmla="*/ 202894 w 506569"/>
                    <a:gd name="connsiteY108" fmla="*/ 441815 h 462161"/>
                    <a:gd name="connsiteX109" fmla="*/ 217346 w 506569"/>
                    <a:gd name="connsiteY109" fmla="*/ 422799 h 462161"/>
                    <a:gd name="connsiteX110" fmla="*/ 227994 w 506569"/>
                    <a:gd name="connsiteY110" fmla="*/ 422799 h 462161"/>
                    <a:gd name="connsiteX111" fmla="*/ 235601 w 506569"/>
                    <a:gd name="connsiteY111" fmla="*/ 422799 h 462161"/>
                    <a:gd name="connsiteX112" fmla="*/ 240354 w 506569"/>
                    <a:gd name="connsiteY112" fmla="*/ 421469 h 462161"/>
                    <a:gd name="connsiteX113" fmla="*/ 252144 w 506569"/>
                    <a:gd name="connsiteY113" fmla="*/ 419567 h 462161"/>
                    <a:gd name="connsiteX114" fmla="*/ 267356 w 506569"/>
                    <a:gd name="connsiteY114" fmla="*/ 425081 h 462161"/>
                    <a:gd name="connsiteX115" fmla="*/ 280097 w 506569"/>
                    <a:gd name="connsiteY115" fmla="*/ 429645 h 462161"/>
                    <a:gd name="connsiteX116" fmla="*/ 290555 w 506569"/>
                    <a:gd name="connsiteY116" fmla="*/ 424511 h 462161"/>
                    <a:gd name="connsiteX117" fmla="*/ 305767 w 506569"/>
                    <a:gd name="connsiteY117" fmla="*/ 417095 h 462161"/>
                    <a:gd name="connsiteX118" fmla="*/ 337143 w 506569"/>
                    <a:gd name="connsiteY118" fmla="*/ 432117 h 462161"/>
                    <a:gd name="connsiteX119" fmla="*/ 343418 w 506569"/>
                    <a:gd name="connsiteY119" fmla="*/ 453605 h 462161"/>
                    <a:gd name="connsiteX120" fmla="*/ 344939 w 506569"/>
                    <a:gd name="connsiteY120" fmla="*/ 462161 h 462161"/>
                    <a:gd name="connsiteX121" fmla="*/ 362433 w 506569"/>
                    <a:gd name="connsiteY121" fmla="*/ 453224 h 462161"/>
                    <a:gd name="connsiteX122" fmla="*/ 366046 w 506569"/>
                    <a:gd name="connsiteY122" fmla="*/ 451893 h 462161"/>
                    <a:gd name="connsiteX123" fmla="*/ 405598 w 506569"/>
                    <a:gd name="connsiteY123" fmla="*/ 421469 h 462161"/>
                    <a:gd name="connsiteX124" fmla="*/ 408831 w 506569"/>
                    <a:gd name="connsiteY124" fmla="*/ 413102 h 462161"/>
                    <a:gd name="connsiteX125" fmla="*/ 446862 w 506569"/>
                    <a:gd name="connsiteY125" fmla="*/ 366324 h 462161"/>
                    <a:gd name="connsiteX126" fmla="*/ 479948 w 506569"/>
                    <a:gd name="connsiteY126" fmla="*/ 363281 h 462161"/>
                    <a:gd name="connsiteX127" fmla="*/ 497252 w 506569"/>
                    <a:gd name="connsiteY127" fmla="*/ 349400 h 462161"/>
                    <a:gd name="connsiteX128" fmla="*/ 502386 w 506569"/>
                    <a:gd name="connsiteY128" fmla="*/ 342174 h 462161"/>
                    <a:gd name="connsiteX129" fmla="*/ 506570 w 506569"/>
                    <a:gd name="connsiteY129" fmla="*/ 337801 h 462161"/>
                    <a:gd name="connsiteX130" fmla="*/ 504668 w 506569"/>
                    <a:gd name="connsiteY130" fmla="*/ 328483 h 462161"/>
                    <a:gd name="connsiteX131" fmla="*/ 501626 w 506569"/>
                    <a:gd name="connsiteY131" fmla="*/ 324490 h 462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</a:cxnLst>
                  <a:rect l="l" t="t" r="r" b="b"/>
                  <a:pathLst>
                    <a:path w="506569" h="462161">
                      <a:moveTo>
                        <a:pt x="501626" y="324490"/>
                      </a:moveTo>
                      <a:cubicBezTo>
                        <a:pt x="501624" y="321143"/>
                        <a:pt x="500911" y="317835"/>
                        <a:pt x="499534" y="314792"/>
                      </a:cubicBezTo>
                      <a:lnTo>
                        <a:pt x="498393" y="314792"/>
                      </a:lnTo>
                      <a:cubicBezTo>
                        <a:pt x="496507" y="313861"/>
                        <a:pt x="494875" y="312491"/>
                        <a:pt x="493639" y="310799"/>
                      </a:cubicBezTo>
                      <a:cubicBezTo>
                        <a:pt x="490475" y="304980"/>
                        <a:pt x="488962" y="298401"/>
                        <a:pt x="489266" y="291783"/>
                      </a:cubicBezTo>
                      <a:cubicBezTo>
                        <a:pt x="489266" y="285889"/>
                        <a:pt x="489266" y="279804"/>
                        <a:pt x="485843" y="277522"/>
                      </a:cubicBezTo>
                      <a:cubicBezTo>
                        <a:pt x="483898" y="276191"/>
                        <a:pt x="481519" y="275639"/>
                        <a:pt x="479188" y="276001"/>
                      </a:cubicBezTo>
                      <a:cubicBezTo>
                        <a:pt x="477109" y="276324"/>
                        <a:pt x="475147" y="277180"/>
                        <a:pt x="473483" y="278473"/>
                      </a:cubicBezTo>
                      <a:cubicBezTo>
                        <a:pt x="469747" y="281040"/>
                        <a:pt x="465270" y="282314"/>
                        <a:pt x="460743" y="282086"/>
                      </a:cubicBezTo>
                      <a:cubicBezTo>
                        <a:pt x="450889" y="279576"/>
                        <a:pt x="442830" y="272521"/>
                        <a:pt x="439065" y="263070"/>
                      </a:cubicBezTo>
                      <a:cubicBezTo>
                        <a:pt x="437795" y="257499"/>
                        <a:pt x="437795" y="251718"/>
                        <a:pt x="439065" y="246147"/>
                      </a:cubicBezTo>
                      <a:cubicBezTo>
                        <a:pt x="439065" y="240252"/>
                        <a:pt x="440777" y="232836"/>
                        <a:pt x="439065" y="230174"/>
                      </a:cubicBezTo>
                      <a:cubicBezTo>
                        <a:pt x="437827" y="229204"/>
                        <a:pt x="436264" y="228729"/>
                        <a:pt x="434692" y="228843"/>
                      </a:cubicBezTo>
                      <a:cubicBezTo>
                        <a:pt x="432336" y="229375"/>
                        <a:pt x="430210" y="230649"/>
                        <a:pt x="428607" y="232456"/>
                      </a:cubicBezTo>
                      <a:cubicBezTo>
                        <a:pt x="424266" y="237057"/>
                        <a:pt x="417922" y="239187"/>
                        <a:pt x="411683" y="238160"/>
                      </a:cubicBezTo>
                      <a:cubicBezTo>
                        <a:pt x="402978" y="234547"/>
                        <a:pt x="396634" y="226865"/>
                        <a:pt x="394759" y="217624"/>
                      </a:cubicBezTo>
                      <a:cubicBezTo>
                        <a:pt x="393809" y="208154"/>
                        <a:pt x="397492" y="198798"/>
                        <a:pt x="404647" y="192523"/>
                      </a:cubicBezTo>
                      <a:cubicBezTo>
                        <a:pt x="407038" y="189975"/>
                        <a:pt x="409143" y="187161"/>
                        <a:pt x="410922" y="184156"/>
                      </a:cubicBezTo>
                      <a:cubicBezTo>
                        <a:pt x="416688" y="171340"/>
                        <a:pt x="414132" y="156318"/>
                        <a:pt x="404457" y="146126"/>
                      </a:cubicBezTo>
                      <a:cubicBezTo>
                        <a:pt x="401599" y="142437"/>
                        <a:pt x="398994" y="138558"/>
                        <a:pt x="396661" y="134526"/>
                      </a:cubicBezTo>
                      <a:cubicBezTo>
                        <a:pt x="392097" y="126920"/>
                        <a:pt x="387343" y="119124"/>
                        <a:pt x="380878" y="117032"/>
                      </a:cubicBezTo>
                      <a:cubicBezTo>
                        <a:pt x="378222" y="116081"/>
                        <a:pt x="375483" y="115397"/>
                        <a:pt x="372702" y="114940"/>
                      </a:cubicBezTo>
                      <a:cubicBezTo>
                        <a:pt x="367242" y="114161"/>
                        <a:pt x="361964" y="112431"/>
                        <a:pt x="357109" y="109806"/>
                      </a:cubicBezTo>
                      <a:lnTo>
                        <a:pt x="349693" y="105053"/>
                      </a:lnTo>
                      <a:cubicBezTo>
                        <a:pt x="346354" y="102732"/>
                        <a:pt x="342859" y="100622"/>
                        <a:pt x="339234" y="98777"/>
                      </a:cubicBezTo>
                      <a:cubicBezTo>
                        <a:pt x="334813" y="96990"/>
                        <a:pt x="330227" y="95659"/>
                        <a:pt x="325543" y="94784"/>
                      </a:cubicBezTo>
                      <a:cubicBezTo>
                        <a:pt x="312571" y="93776"/>
                        <a:pt x="301694" y="84592"/>
                        <a:pt x="298542" y="71966"/>
                      </a:cubicBezTo>
                      <a:cubicBezTo>
                        <a:pt x="297127" y="67973"/>
                        <a:pt x="295921" y="63903"/>
                        <a:pt x="294929" y="59796"/>
                      </a:cubicBezTo>
                      <a:cubicBezTo>
                        <a:pt x="293871" y="55194"/>
                        <a:pt x="292472" y="50687"/>
                        <a:pt x="290745" y="46295"/>
                      </a:cubicBezTo>
                      <a:cubicBezTo>
                        <a:pt x="289133" y="42967"/>
                        <a:pt x="286794" y="40039"/>
                        <a:pt x="283900" y="37738"/>
                      </a:cubicBezTo>
                      <a:cubicBezTo>
                        <a:pt x="282662" y="36578"/>
                        <a:pt x="281251" y="35608"/>
                        <a:pt x="279716" y="34886"/>
                      </a:cubicBezTo>
                      <a:cubicBezTo>
                        <a:pt x="277054" y="33554"/>
                        <a:pt x="274582" y="32033"/>
                        <a:pt x="272110" y="30512"/>
                      </a:cubicBezTo>
                      <a:cubicBezTo>
                        <a:pt x="267836" y="27869"/>
                        <a:pt x="263388" y="25530"/>
                        <a:pt x="258799" y="23476"/>
                      </a:cubicBezTo>
                      <a:lnTo>
                        <a:pt x="253095" y="21765"/>
                      </a:lnTo>
                      <a:cubicBezTo>
                        <a:pt x="248231" y="20776"/>
                        <a:pt x="243631" y="18761"/>
                        <a:pt x="239594" y="15870"/>
                      </a:cubicBezTo>
                      <a:cubicBezTo>
                        <a:pt x="236759" y="13075"/>
                        <a:pt x="234667" y="9614"/>
                        <a:pt x="233509" y="5792"/>
                      </a:cubicBezTo>
                      <a:cubicBezTo>
                        <a:pt x="233013" y="3815"/>
                        <a:pt x="232033" y="1970"/>
                        <a:pt x="230657" y="468"/>
                      </a:cubicBezTo>
                      <a:cubicBezTo>
                        <a:pt x="228755" y="-673"/>
                        <a:pt x="225903" y="468"/>
                        <a:pt x="221529" y="1799"/>
                      </a:cubicBezTo>
                      <a:lnTo>
                        <a:pt x="216395" y="3891"/>
                      </a:lnTo>
                      <a:cubicBezTo>
                        <a:pt x="209894" y="6838"/>
                        <a:pt x="202805" y="8264"/>
                        <a:pt x="195668" y="8074"/>
                      </a:cubicBezTo>
                      <a:lnTo>
                        <a:pt x="187492" y="7123"/>
                      </a:lnTo>
                      <a:cubicBezTo>
                        <a:pt x="182989" y="6077"/>
                        <a:pt x="178303" y="6077"/>
                        <a:pt x="173801" y="7123"/>
                      </a:cubicBezTo>
                      <a:cubicBezTo>
                        <a:pt x="166765" y="9405"/>
                        <a:pt x="166575" y="12638"/>
                        <a:pt x="166194" y="19863"/>
                      </a:cubicBezTo>
                      <a:cubicBezTo>
                        <a:pt x="166231" y="26024"/>
                        <a:pt x="164586" y="32072"/>
                        <a:pt x="161441" y="37358"/>
                      </a:cubicBezTo>
                      <a:cubicBezTo>
                        <a:pt x="159537" y="39868"/>
                        <a:pt x="157369" y="42169"/>
                        <a:pt x="154975" y="44203"/>
                      </a:cubicBezTo>
                      <a:cubicBezTo>
                        <a:pt x="153123" y="45762"/>
                        <a:pt x="151406" y="47493"/>
                        <a:pt x="149841" y="49337"/>
                      </a:cubicBezTo>
                      <a:lnTo>
                        <a:pt x="147559" y="52570"/>
                      </a:lnTo>
                      <a:cubicBezTo>
                        <a:pt x="144639" y="57324"/>
                        <a:pt x="140415" y="61165"/>
                        <a:pt x="135390" y="63599"/>
                      </a:cubicBezTo>
                      <a:cubicBezTo>
                        <a:pt x="132604" y="65044"/>
                        <a:pt x="129934" y="66699"/>
                        <a:pt x="127403" y="68543"/>
                      </a:cubicBezTo>
                      <a:lnTo>
                        <a:pt x="124741" y="70254"/>
                      </a:lnTo>
                      <a:lnTo>
                        <a:pt x="124741" y="70254"/>
                      </a:lnTo>
                      <a:cubicBezTo>
                        <a:pt x="124642" y="73392"/>
                        <a:pt x="124262" y="76510"/>
                        <a:pt x="123600" y="79572"/>
                      </a:cubicBezTo>
                      <a:cubicBezTo>
                        <a:pt x="123509" y="81340"/>
                        <a:pt x="123509" y="83128"/>
                        <a:pt x="123600" y="84896"/>
                      </a:cubicBezTo>
                      <a:cubicBezTo>
                        <a:pt x="122672" y="91475"/>
                        <a:pt x="124013" y="98188"/>
                        <a:pt x="127403" y="103912"/>
                      </a:cubicBezTo>
                      <a:lnTo>
                        <a:pt x="129114" y="106954"/>
                      </a:lnTo>
                      <a:lnTo>
                        <a:pt x="132347" y="112278"/>
                      </a:lnTo>
                      <a:cubicBezTo>
                        <a:pt x="134019" y="116119"/>
                        <a:pt x="135230" y="120132"/>
                        <a:pt x="135960" y="124258"/>
                      </a:cubicBezTo>
                      <a:cubicBezTo>
                        <a:pt x="136956" y="130552"/>
                        <a:pt x="137590" y="136903"/>
                        <a:pt x="137862" y="143273"/>
                      </a:cubicBezTo>
                      <a:cubicBezTo>
                        <a:pt x="137997" y="146088"/>
                        <a:pt x="137675" y="148921"/>
                        <a:pt x="136911" y="151640"/>
                      </a:cubicBezTo>
                      <a:cubicBezTo>
                        <a:pt x="135800" y="155063"/>
                        <a:pt x="133838" y="158124"/>
                        <a:pt x="131206" y="160577"/>
                      </a:cubicBezTo>
                      <a:cubicBezTo>
                        <a:pt x="128266" y="163392"/>
                        <a:pt x="125085" y="165940"/>
                        <a:pt x="121698" y="168183"/>
                      </a:cubicBezTo>
                      <a:lnTo>
                        <a:pt x="115804" y="172557"/>
                      </a:lnTo>
                      <a:lnTo>
                        <a:pt x="111430" y="176931"/>
                      </a:lnTo>
                      <a:cubicBezTo>
                        <a:pt x="108831" y="179802"/>
                        <a:pt x="105893" y="182369"/>
                        <a:pt x="102683" y="184537"/>
                      </a:cubicBezTo>
                      <a:lnTo>
                        <a:pt x="99641" y="186248"/>
                      </a:lnTo>
                      <a:cubicBezTo>
                        <a:pt x="96408" y="187960"/>
                        <a:pt x="94697" y="188910"/>
                        <a:pt x="93936" y="191192"/>
                      </a:cubicBezTo>
                      <a:cubicBezTo>
                        <a:pt x="93248" y="194178"/>
                        <a:pt x="93723" y="197296"/>
                        <a:pt x="95267" y="199939"/>
                      </a:cubicBezTo>
                      <a:lnTo>
                        <a:pt x="96598" y="202792"/>
                      </a:lnTo>
                      <a:cubicBezTo>
                        <a:pt x="98306" y="206081"/>
                        <a:pt x="99523" y="209599"/>
                        <a:pt x="100211" y="213250"/>
                      </a:cubicBezTo>
                      <a:cubicBezTo>
                        <a:pt x="100304" y="215018"/>
                        <a:pt x="100304" y="216806"/>
                        <a:pt x="100211" y="218574"/>
                      </a:cubicBezTo>
                      <a:cubicBezTo>
                        <a:pt x="100116" y="219772"/>
                        <a:pt x="100116" y="220989"/>
                        <a:pt x="100211" y="222187"/>
                      </a:cubicBezTo>
                      <a:cubicBezTo>
                        <a:pt x="100787" y="225002"/>
                        <a:pt x="101679" y="227740"/>
                        <a:pt x="102873" y="230364"/>
                      </a:cubicBezTo>
                      <a:cubicBezTo>
                        <a:pt x="104704" y="234015"/>
                        <a:pt x="105986" y="237932"/>
                        <a:pt x="106676" y="241963"/>
                      </a:cubicBezTo>
                      <a:cubicBezTo>
                        <a:pt x="106863" y="249493"/>
                        <a:pt x="104811" y="256909"/>
                        <a:pt x="100782" y="263260"/>
                      </a:cubicBezTo>
                      <a:cubicBezTo>
                        <a:pt x="97920" y="269326"/>
                        <a:pt x="94206" y="274974"/>
                        <a:pt x="89753" y="279994"/>
                      </a:cubicBezTo>
                      <a:cubicBezTo>
                        <a:pt x="84771" y="285489"/>
                        <a:pt x="78060" y="289102"/>
                        <a:pt x="70737" y="290262"/>
                      </a:cubicBezTo>
                      <a:cubicBezTo>
                        <a:pt x="62528" y="290491"/>
                        <a:pt x="54441" y="288247"/>
                        <a:pt x="47538" y="283797"/>
                      </a:cubicBezTo>
                      <a:cubicBezTo>
                        <a:pt x="44983" y="282067"/>
                        <a:pt x="42155" y="280774"/>
                        <a:pt x="39172" y="279994"/>
                      </a:cubicBezTo>
                      <a:cubicBezTo>
                        <a:pt x="34230" y="280336"/>
                        <a:pt x="29512" y="282200"/>
                        <a:pt x="25671" y="285318"/>
                      </a:cubicBezTo>
                      <a:lnTo>
                        <a:pt x="2282" y="300531"/>
                      </a:lnTo>
                      <a:cubicBezTo>
                        <a:pt x="2282" y="300531"/>
                        <a:pt x="190" y="301862"/>
                        <a:pt x="0" y="302432"/>
                      </a:cubicBezTo>
                      <a:cubicBezTo>
                        <a:pt x="259" y="303459"/>
                        <a:pt x="711" y="304429"/>
                        <a:pt x="1331" y="305285"/>
                      </a:cubicBezTo>
                      <a:cubicBezTo>
                        <a:pt x="3875" y="309734"/>
                        <a:pt x="7009" y="313841"/>
                        <a:pt x="10649" y="317454"/>
                      </a:cubicBezTo>
                      <a:cubicBezTo>
                        <a:pt x="19890" y="324205"/>
                        <a:pt x="25391" y="334910"/>
                        <a:pt x="25481" y="346358"/>
                      </a:cubicBezTo>
                      <a:cubicBezTo>
                        <a:pt x="25169" y="351131"/>
                        <a:pt x="24340" y="355846"/>
                        <a:pt x="23009" y="360429"/>
                      </a:cubicBezTo>
                      <a:lnTo>
                        <a:pt x="23009" y="364042"/>
                      </a:lnTo>
                      <a:cubicBezTo>
                        <a:pt x="20662" y="374329"/>
                        <a:pt x="19639" y="384864"/>
                        <a:pt x="19966" y="395417"/>
                      </a:cubicBezTo>
                      <a:cubicBezTo>
                        <a:pt x="19717" y="398517"/>
                        <a:pt x="20377" y="401616"/>
                        <a:pt x="21868" y="404355"/>
                      </a:cubicBezTo>
                      <a:lnTo>
                        <a:pt x="23769" y="406066"/>
                      </a:lnTo>
                      <a:cubicBezTo>
                        <a:pt x="24944" y="407188"/>
                        <a:pt x="26026" y="408386"/>
                        <a:pt x="27002" y="409679"/>
                      </a:cubicBezTo>
                      <a:cubicBezTo>
                        <a:pt x="29200" y="412759"/>
                        <a:pt x="30514" y="416372"/>
                        <a:pt x="30805" y="420137"/>
                      </a:cubicBezTo>
                      <a:cubicBezTo>
                        <a:pt x="31060" y="422286"/>
                        <a:pt x="31773" y="424359"/>
                        <a:pt x="32897" y="426222"/>
                      </a:cubicBezTo>
                      <a:cubicBezTo>
                        <a:pt x="34228" y="428124"/>
                        <a:pt x="37460" y="428504"/>
                        <a:pt x="41073" y="429265"/>
                      </a:cubicBezTo>
                      <a:cubicBezTo>
                        <a:pt x="44500" y="429683"/>
                        <a:pt x="47839" y="430653"/>
                        <a:pt x="50961" y="432117"/>
                      </a:cubicBezTo>
                      <a:cubicBezTo>
                        <a:pt x="57617" y="427820"/>
                        <a:pt x="64852" y="424492"/>
                        <a:pt x="72449" y="422229"/>
                      </a:cubicBezTo>
                      <a:cubicBezTo>
                        <a:pt x="77731" y="420708"/>
                        <a:pt x="83419" y="421525"/>
                        <a:pt x="88041" y="424511"/>
                      </a:cubicBezTo>
                      <a:cubicBezTo>
                        <a:pt x="89530" y="425500"/>
                        <a:pt x="91217" y="426146"/>
                        <a:pt x="92985" y="426412"/>
                      </a:cubicBezTo>
                      <a:cubicBezTo>
                        <a:pt x="95491" y="426641"/>
                        <a:pt x="98009" y="426108"/>
                        <a:pt x="100211" y="424891"/>
                      </a:cubicBezTo>
                      <a:cubicBezTo>
                        <a:pt x="103236" y="423370"/>
                        <a:pt x="106532" y="422476"/>
                        <a:pt x="109909" y="422229"/>
                      </a:cubicBezTo>
                      <a:cubicBezTo>
                        <a:pt x="116389" y="422248"/>
                        <a:pt x="122579" y="424929"/>
                        <a:pt x="127023" y="429645"/>
                      </a:cubicBezTo>
                      <a:cubicBezTo>
                        <a:pt x="131967" y="433828"/>
                        <a:pt x="133108" y="434209"/>
                        <a:pt x="135770" y="432878"/>
                      </a:cubicBezTo>
                      <a:cubicBezTo>
                        <a:pt x="138217" y="429550"/>
                        <a:pt x="139904" y="425709"/>
                        <a:pt x="140714" y="421659"/>
                      </a:cubicBezTo>
                      <a:cubicBezTo>
                        <a:pt x="143756" y="412531"/>
                        <a:pt x="148510" y="397509"/>
                        <a:pt x="163152" y="402643"/>
                      </a:cubicBezTo>
                      <a:cubicBezTo>
                        <a:pt x="174561" y="406066"/>
                        <a:pt x="174371" y="417666"/>
                        <a:pt x="174181" y="425462"/>
                      </a:cubicBezTo>
                      <a:cubicBezTo>
                        <a:pt x="174181" y="430215"/>
                        <a:pt x="174181" y="435350"/>
                        <a:pt x="175892" y="437251"/>
                      </a:cubicBezTo>
                      <a:cubicBezTo>
                        <a:pt x="178136" y="438734"/>
                        <a:pt x="180821" y="439400"/>
                        <a:pt x="183498" y="439153"/>
                      </a:cubicBezTo>
                      <a:cubicBezTo>
                        <a:pt x="185927" y="439286"/>
                        <a:pt x="188342" y="439609"/>
                        <a:pt x="190724" y="440104"/>
                      </a:cubicBezTo>
                      <a:cubicBezTo>
                        <a:pt x="195282" y="441244"/>
                        <a:pt x="199471" y="443545"/>
                        <a:pt x="202894" y="446759"/>
                      </a:cubicBezTo>
                      <a:cubicBezTo>
                        <a:pt x="203092" y="445124"/>
                        <a:pt x="203092" y="443450"/>
                        <a:pt x="202894" y="441815"/>
                      </a:cubicBezTo>
                      <a:cubicBezTo>
                        <a:pt x="202894" y="434969"/>
                        <a:pt x="201563" y="425652"/>
                        <a:pt x="217346" y="422799"/>
                      </a:cubicBezTo>
                      <a:cubicBezTo>
                        <a:pt x="220871" y="422229"/>
                        <a:pt x="224469" y="422229"/>
                        <a:pt x="227994" y="422799"/>
                      </a:cubicBezTo>
                      <a:cubicBezTo>
                        <a:pt x="230522" y="423085"/>
                        <a:pt x="233073" y="423085"/>
                        <a:pt x="235601" y="422799"/>
                      </a:cubicBezTo>
                      <a:cubicBezTo>
                        <a:pt x="237236" y="422571"/>
                        <a:pt x="238835" y="422115"/>
                        <a:pt x="240354" y="421469"/>
                      </a:cubicBezTo>
                      <a:cubicBezTo>
                        <a:pt x="244076" y="419909"/>
                        <a:pt x="248118" y="419244"/>
                        <a:pt x="252144" y="419567"/>
                      </a:cubicBezTo>
                      <a:cubicBezTo>
                        <a:pt x="257535" y="420366"/>
                        <a:pt x="262709" y="422229"/>
                        <a:pt x="267356" y="425081"/>
                      </a:cubicBezTo>
                      <a:cubicBezTo>
                        <a:pt x="271123" y="427706"/>
                        <a:pt x="275520" y="429284"/>
                        <a:pt x="280097" y="429645"/>
                      </a:cubicBezTo>
                      <a:cubicBezTo>
                        <a:pt x="284126" y="429398"/>
                        <a:pt x="287889" y="427534"/>
                        <a:pt x="290555" y="424511"/>
                      </a:cubicBezTo>
                      <a:cubicBezTo>
                        <a:pt x="294811" y="420632"/>
                        <a:pt x="300091" y="418065"/>
                        <a:pt x="305767" y="417095"/>
                      </a:cubicBezTo>
                      <a:cubicBezTo>
                        <a:pt x="318135" y="416258"/>
                        <a:pt x="330041" y="421963"/>
                        <a:pt x="337143" y="432117"/>
                      </a:cubicBezTo>
                      <a:cubicBezTo>
                        <a:pt x="340862" y="438696"/>
                        <a:pt x="343011" y="446055"/>
                        <a:pt x="343418" y="453605"/>
                      </a:cubicBezTo>
                      <a:cubicBezTo>
                        <a:pt x="343707" y="456495"/>
                        <a:pt x="344215" y="459347"/>
                        <a:pt x="344939" y="462161"/>
                      </a:cubicBezTo>
                      <a:cubicBezTo>
                        <a:pt x="350398" y="458510"/>
                        <a:pt x="356270" y="455506"/>
                        <a:pt x="362433" y="453224"/>
                      </a:cubicBezTo>
                      <a:lnTo>
                        <a:pt x="366046" y="451893"/>
                      </a:lnTo>
                      <a:cubicBezTo>
                        <a:pt x="385062" y="444857"/>
                        <a:pt x="398372" y="439343"/>
                        <a:pt x="405598" y="421469"/>
                      </a:cubicBezTo>
                      <a:cubicBezTo>
                        <a:pt x="406739" y="418616"/>
                        <a:pt x="407880" y="415954"/>
                        <a:pt x="408831" y="413102"/>
                      </a:cubicBezTo>
                      <a:cubicBezTo>
                        <a:pt x="416057" y="394086"/>
                        <a:pt x="423663" y="373930"/>
                        <a:pt x="446862" y="366324"/>
                      </a:cubicBezTo>
                      <a:cubicBezTo>
                        <a:pt x="457818" y="364632"/>
                        <a:pt x="468868" y="363624"/>
                        <a:pt x="479948" y="363281"/>
                      </a:cubicBezTo>
                      <a:cubicBezTo>
                        <a:pt x="488505" y="361570"/>
                        <a:pt x="492118" y="356436"/>
                        <a:pt x="497252" y="349400"/>
                      </a:cubicBezTo>
                      <a:cubicBezTo>
                        <a:pt x="498836" y="346909"/>
                        <a:pt x="500550" y="344494"/>
                        <a:pt x="502386" y="342174"/>
                      </a:cubicBezTo>
                      <a:cubicBezTo>
                        <a:pt x="503681" y="340634"/>
                        <a:pt x="505079" y="339170"/>
                        <a:pt x="506570" y="337801"/>
                      </a:cubicBezTo>
                      <a:cubicBezTo>
                        <a:pt x="506570" y="334758"/>
                        <a:pt x="505239" y="331526"/>
                        <a:pt x="504668" y="328483"/>
                      </a:cubicBezTo>
                      <a:cubicBezTo>
                        <a:pt x="503527" y="327247"/>
                        <a:pt x="502508" y="325916"/>
                        <a:pt x="501626" y="324490"/>
                      </a:cubicBezTo>
                      <a:close/>
                    </a:path>
                  </a:pathLst>
                </a:custGeom>
                <a:grpFill/>
                <a:ln w="190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</p:grpSp>
          <p:sp>
            <p:nvSpPr>
              <p:cNvPr id="335" name="Полилиния: фигура 334">
                <a:extLst>
                  <a:ext uri="{FF2B5EF4-FFF2-40B4-BE49-F238E27FC236}">
                    <a16:creationId xmlns:a16="http://schemas.microsoft.com/office/drawing/2014/main" id="{608F0671-388F-BB77-AB60-E2D51AB65A62}"/>
                  </a:ext>
                </a:extLst>
              </p:cNvPr>
              <p:cNvSpPr/>
              <p:nvPr/>
            </p:nvSpPr>
            <p:spPr>
              <a:xfrm>
                <a:off x="3171439" y="4662840"/>
                <a:ext cx="245457" cy="256262"/>
              </a:xfrm>
              <a:custGeom>
                <a:avLst/>
                <a:gdLst>
                  <a:gd name="connsiteX0" fmla="*/ 269638 w 270039"/>
                  <a:gd name="connsiteY0" fmla="*/ 260038 h 281102"/>
                  <a:gd name="connsiteX1" fmla="*/ 259560 w 270039"/>
                  <a:gd name="connsiteY1" fmla="*/ 234938 h 281102"/>
                  <a:gd name="connsiteX2" fmla="*/ 259560 w 270039"/>
                  <a:gd name="connsiteY2" fmla="*/ 234938 h 281102"/>
                  <a:gd name="connsiteX3" fmla="*/ 236932 w 270039"/>
                  <a:gd name="connsiteY3" fmla="*/ 228853 h 281102"/>
                  <a:gd name="connsiteX4" fmla="*/ 232368 w 270039"/>
                  <a:gd name="connsiteY4" fmla="*/ 221817 h 281102"/>
                  <a:gd name="connsiteX5" fmla="*/ 232368 w 270039"/>
                  <a:gd name="connsiteY5" fmla="*/ 221817 h 281102"/>
                  <a:gd name="connsiteX6" fmla="*/ 226854 w 270039"/>
                  <a:gd name="connsiteY6" fmla="*/ 213450 h 281102"/>
                  <a:gd name="connsiteX7" fmla="*/ 204225 w 270039"/>
                  <a:gd name="connsiteY7" fmla="*/ 208696 h 281102"/>
                  <a:gd name="connsiteX8" fmla="*/ 204225 w 270039"/>
                  <a:gd name="connsiteY8" fmla="*/ 208696 h 281102"/>
                  <a:gd name="connsiteX9" fmla="*/ 186921 w 270039"/>
                  <a:gd name="connsiteY9" fmla="*/ 189681 h 281102"/>
                  <a:gd name="connsiteX10" fmla="*/ 184830 w 270039"/>
                  <a:gd name="connsiteY10" fmla="*/ 187399 h 281102"/>
                  <a:gd name="connsiteX11" fmla="*/ 182738 w 270039"/>
                  <a:gd name="connsiteY11" fmla="*/ 156214 h 281102"/>
                  <a:gd name="connsiteX12" fmla="*/ 193577 w 270039"/>
                  <a:gd name="connsiteY12" fmla="*/ 138340 h 281102"/>
                  <a:gd name="connsiteX13" fmla="*/ 193577 w 270039"/>
                  <a:gd name="connsiteY13" fmla="*/ 137199 h 281102"/>
                  <a:gd name="connsiteX14" fmla="*/ 193577 w 270039"/>
                  <a:gd name="connsiteY14" fmla="*/ 127311 h 281102"/>
                  <a:gd name="connsiteX15" fmla="*/ 193577 w 270039"/>
                  <a:gd name="connsiteY15" fmla="*/ 117803 h 281102"/>
                  <a:gd name="connsiteX16" fmla="*/ 188442 w 270039"/>
                  <a:gd name="connsiteY16" fmla="*/ 112098 h 281102"/>
                  <a:gd name="connsiteX17" fmla="*/ 186351 w 270039"/>
                  <a:gd name="connsiteY17" fmla="*/ 106394 h 281102"/>
                  <a:gd name="connsiteX18" fmla="*/ 186351 w 270039"/>
                  <a:gd name="connsiteY18" fmla="*/ 103922 h 281102"/>
                  <a:gd name="connsiteX19" fmla="*/ 181977 w 270039"/>
                  <a:gd name="connsiteY19" fmla="*/ 90611 h 281102"/>
                  <a:gd name="connsiteX20" fmla="*/ 179886 w 270039"/>
                  <a:gd name="connsiteY20" fmla="*/ 79582 h 281102"/>
                  <a:gd name="connsiteX21" fmla="*/ 181787 w 270039"/>
                  <a:gd name="connsiteY21" fmla="*/ 74258 h 281102"/>
                  <a:gd name="connsiteX22" fmla="*/ 179886 w 270039"/>
                  <a:gd name="connsiteY22" fmla="*/ 68933 h 281102"/>
                  <a:gd name="connsiteX23" fmla="*/ 178935 w 270039"/>
                  <a:gd name="connsiteY23" fmla="*/ 67983 h 281102"/>
                  <a:gd name="connsiteX24" fmla="*/ 174561 w 270039"/>
                  <a:gd name="connsiteY24" fmla="*/ 66081 h 281102"/>
                  <a:gd name="connsiteX25" fmla="*/ 169998 w 270039"/>
                  <a:gd name="connsiteY25" fmla="*/ 61898 h 281102"/>
                  <a:gd name="connsiteX26" fmla="*/ 169998 w 270039"/>
                  <a:gd name="connsiteY26" fmla="*/ 59046 h 281102"/>
                  <a:gd name="connsiteX27" fmla="*/ 167335 w 270039"/>
                  <a:gd name="connsiteY27" fmla="*/ 50679 h 281102"/>
                  <a:gd name="connsiteX28" fmla="*/ 161631 w 270039"/>
                  <a:gd name="connsiteY28" fmla="*/ 43263 h 281102"/>
                  <a:gd name="connsiteX29" fmla="*/ 161631 w 270039"/>
                  <a:gd name="connsiteY29" fmla="*/ 43263 h 281102"/>
                  <a:gd name="connsiteX30" fmla="*/ 161631 w 270039"/>
                  <a:gd name="connsiteY30" fmla="*/ 40981 h 281102"/>
                  <a:gd name="connsiteX31" fmla="*/ 161631 w 270039"/>
                  <a:gd name="connsiteY31" fmla="*/ 36037 h 281102"/>
                  <a:gd name="connsiteX32" fmla="*/ 159729 w 270039"/>
                  <a:gd name="connsiteY32" fmla="*/ 29762 h 281102"/>
                  <a:gd name="connsiteX33" fmla="*/ 159729 w 270039"/>
                  <a:gd name="connsiteY33" fmla="*/ 27480 h 281102"/>
                  <a:gd name="connsiteX34" fmla="*/ 144897 w 270039"/>
                  <a:gd name="connsiteY34" fmla="*/ 23867 h 281102"/>
                  <a:gd name="connsiteX35" fmla="*/ 132727 w 270039"/>
                  <a:gd name="connsiteY35" fmla="*/ 30712 h 281102"/>
                  <a:gd name="connsiteX36" fmla="*/ 119417 w 270039"/>
                  <a:gd name="connsiteY36" fmla="*/ 29191 h 281102"/>
                  <a:gd name="connsiteX37" fmla="*/ 100401 w 270039"/>
                  <a:gd name="connsiteY37" fmla="*/ 20824 h 281102"/>
                  <a:gd name="connsiteX38" fmla="*/ 93746 w 270039"/>
                  <a:gd name="connsiteY38" fmla="*/ 17592 h 281102"/>
                  <a:gd name="connsiteX39" fmla="*/ 71498 w 270039"/>
                  <a:gd name="connsiteY39" fmla="*/ 8465 h 281102"/>
                  <a:gd name="connsiteX40" fmla="*/ 42024 w 270039"/>
                  <a:gd name="connsiteY40" fmla="*/ 858 h 281102"/>
                  <a:gd name="connsiteX41" fmla="*/ 38221 w 270039"/>
                  <a:gd name="connsiteY41" fmla="*/ 858 h 281102"/>
                  <a:gd name="connsiteX42" fmla="*/ 20917 w 270039"/>
                  <a:gd name="connsiteY42" fmla="*/ 2760 h 281102"/>
                  <a:gd name="connsiteX43" fmla="*/ 22248 w 270039"/>
                  <a:gd name="connsiteY43" fmla="*/ 16831 h 281102"/>
                  <a:gd name="connsiteX44" fmla="*/ 22248 w 270039"/>
                  <a:gd name="connsiteY44" fmla="*/ 16831 h 281102"/>
                  <a:gd name="connsiteX45" fmla="*/ 23579 w 270039"/>
                  <a:gd name="connsiteY45" fmla="*/ 17972 h 281102"/>
                  <a:gd name="connsiteX46" fmla="*/ 35369 w 270039"/>
                  <a:gd name="connsiteY46" fmla="*/ 34135 h 281102"/>
                  <a:gd name="connsiteX47" fmla="*/ 38411 w 270039"/>
                  <a:gd name="connsiteY47" fmla="*/ 41931 h 281102"/>
                  <a:gd name="connsiteX48" fmla="*/ 40122 w 270039"/>
                  <a:gd name="connsiteY48" fmla="*/ 63039 h 281102"/>
                  <a:gd name="connsiteX49" fmla="*/ 47348 w 270039"/>
                  <a:gd name="connsiteY49" fmla="*/ 74258 h 281102"/>
                  <a:gd name="connsiteX50" fmla="*/ 57046 w 270039"/>
                  <a:gd name="connsiteY50" fmla="*/ 89660 h 281102"/>
                  <a:gd name="connsiteX51" fmla="*/ 45827 w 270039"/>
                  <a:gd name="connsiteY51" fmla="*/ 114000 h 281102"/>
                  <a:gd name="connsiteX52" fmla="*/ 21868 w 270039"/>
                  <a:gd name="connsiteY52" fmla="*/ 127501 h 281102"/>
                  <a:gd name="connsiteX53" fmla="*/ 4183 w 270039"/>
                  <a:gd name="connsiteY53" fmla="*/ 132825 h 281102"/>
                  <a:gd name="connsiteX54" fmla="*/ 2662 w 270039"/>
                  <a:gd name="connsiteY54" fmla="*/ 150319 h 281102"/>
                  <a:gd name="connsiteX55" fmla="*/ 0 w 270039"/>
                  <a:gd name="connsiteY55" fmla="*/ 162869 h 281102"/>
                  <a:gd name="connsiteX56" fmla="*/ 761 w 270039"/>
                  <a:gd name="connsiteY56" fmla="*/ 162869 h 281102"/>
                  <a:gd name="connsiteX57" fmla="*/ 2472 w 270039"/>
                  <a:gd name="connsiteY57" fmla="*/ 170856 h 281102"/>
                  <a:gd name="connsiteX58" fmla="*/ 19015 w 270039"/>
                  <a:gd name="connsiteY58" fmla="*/ 185878 h 281102"/>
                  <a:gd name="connsiteX59" fmla="*/ 28333 w 270039"/>
                  <a:gd name="connsiteY59" fmla="*/ 192343 h 281102"/>
                  <a:gd name="connsiteX60" fmla="*/ 48489 w 270039"/>
                  <a:gd name="connsiteY60" fmla="*/ 197668 h 281102"/>
                  <a:gd name="connsiteX61" fmla="*/ 48489 w 270039"/>
                  <a:gd name="connsiteY61" fmla="*/ 197668 h 281102"/>
                  <a:gd name="connsiteX62" fmla="*/ 79484 w 270039"/>
                  <a:gd name="connsiteY62" fmla="*/ 191202 h 281102"/>
                  <a:gd name="connsiteX63" fmla="*/ 92985 w 270039"/>
                  <a:gd name="connsiteY63" fmla="*/ 194435 h 281102"/>
                  <a:gd name="connsiteX64" fmla="*/ 118276 w 270039"/>
                  <a:gd name="connsiteY64" fmla="*/ 210408 h 281102"/>
                  <a:gd name="connsiteX65" fmla="*/ 140904 w 270039"/>
                  <a:gd name="connsiteY65" fmla="*/ 221437 h 281102"/>
                  <a:gd name="connsiteX66" fmla="*/ 147940 w 270039"/>
                  <a:gd name="connsiteY66" fmla="*/ 221437 h 281102"/>
                  <a:gd name="connsiteX67" fmla="*/ 183689 w 270039"/>
                  <a:gd name="connsiteY67" fmla="*/ 227141 h 281102"/>
                  <a:gd name="connsiteX68" fmla="*/ 185780 w 270039"/>
                  <a:gd name="connsiteY68" fmla="*/ 230754 h 281102"/>
                  <a:gd name="connsiteX69" fmla="*/ 190534 w 270039"/>
                  <a:gd name="connsiteY69" fmla="*/ 250911 h 281102"/>
                  <a:gd name="connsiteX70" fmla="*/ 195858 w 270039"/>
                  <a:gd name="connsiteY70" fmla="*/ 256235 h 281102"/>
                  <a:gd name="connsiteX71" fmla="*/ 204606 w 270039"/>
                  <a:gd name="connsiteY71" fmla="*/ 262890 h 281102"/>
                  <a:gd name="connsiteX72" fmla="*/ 219818 w 270039"/>
                  <a:gd name="connsiteY72" fmla="*/ 273539 h 281102"/>
                  <a:gd name="connsiteX73" fmla="*/ 227994 w 270039"/>
                  <a:gd name="connsiteY73" fmla="*/ 278103 h 281102"/>
                  <a:gd name="connsiteX74" fmla="*/ 251003 w 270039"/>
                  <a:gd name="connsiteY74" fmla="*/ 274109 h 281102"/>
                  <a:gd name="connsiteX75" fmla="*/ 269638 w 270039"/>
                  <a:gd name="connsiteY75" fmla="*/ 260038 h 281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270039" h="281102">
                    <a:moveTo>
                      <a:pt x="269638" y="260038"/>
                    </a:moveTo>
                    <a:cubicBezTo>
                      <a:pt x="271363" y="250435"/>
                      <a:pt x="267450" y="240680"/>
                      <a:pt x="259560" y="234938"/>
                    </a:cubicBezTo>
                    <a:lnTo>
                      <a:pt x="259560" y="234938"/>
                    </a:lnTo>
                    <a:cubicBezTo>
                      <a:pt x="252334" y="229804"/>
                      <a:pt x="243397" y="233987"/>
                      <a:pt x="236932" y="228853"/>
                    </a:cubicBezTo>
                    <a:cubicBezTo>
                      <a:pt x="234796" y="226970"/>
                      <a:pt x="233218" y="224536"/>
                      <a:pt x="232368" y="221817"/>
                    </a:cubicBezTo>
                    <a:lnTo>
                      <a:pt x="232368" y="221817"/>
                    </a:lnTo>
                    <a:cubicBezTo>
                      <a:pt x="231406" y="218547"/>
                      <a:pt x="229485" y="215618"/>
                      <a:pt x="226854" y="213450"/>
                    </a:cubicBezTo>
                    <a:cubicBezTo>
                      <a:pt x="220388" y="208887"/>
                      <a:pt x="211451" y="211739"/>
                      <a:pt x="204225" y="208696"/>
                    </a:cubicBezTo>
                    <a:lnTo>
                      <a:pt x="204225" y="208696"/>
                    </a:lnTo>
                    <a:cubicBezTo>
                      <a:pt x="196239" y="204893"/>
                      <a:pt x="192626" y="195956"/>
                      <a:pt x="186921" y="189681"/>
                    </a:cubicBezTo>
                    <a:lnTo>
                      <a:pt x="184830" y="187399"/>
                    </a:lnTo>
                    <a:cubicBezTo>
                      <a:pt x="174371" y="175990"/>
                      <a:pt x="169998" y="168384"/>
                      <a:pt x="182738" y="156214"/>
                    </a:cubicBezTo>
                    <a:cubicBezTo>
                      <a:pt x="188387" y="151764"/>
                      <a:pt x="192236" y="145413"/>
                      <a:pt x="193577" y="138340"/>
                    </a:cubicBezTo>
                    <a:cubicBezTo>
                      <a:pt x="193577" y="138340"/>
                      <a:pt x="193577" y="138340"/>
                      <a:pt x="193577" y="137199"/>
                    </a:cubicBezTo>
                    <a:cubicBezTo>
                      <a:pt x="193577" y="136058"/>
                      <a:pt x="193577" y="130543"/>
                      <a:pt x="193577" y="127311"/>
                    </a:cubicBezTo>
                    <a:cubicBezTo>
                      <a:pt x="194729" y="124249"/>
                      <a:pt x="194729" y="120864"/>
                      <a:pt x="193577" y="117803"/>
                    </a:cubicBezTo>
                    <a:cubicBezTo>
                      <a:pt x="192124" y="115692"/>
                      <a:pt x="190398" y="113772"/>
                      <a:pt x="188442" y="112098"/>
                    </a:cubicBezTo>
                    <a:cubicBezTo>
                      <a:pt x="187242" y="110425"/>
                      <a:pt x="186520" y="108447"/>
                      <a:pt x="186351" y="106394"/>
                    </a:cubicBezTo>
                    <a:lnTo>
                      <a:pt x="186351" y="103922"/>
                    </a:lnTo>
                    <a:cubicBezTo>
                      <a:pt x="185180" y="99396"/>
                      <a:pt x="183719" y="94947"/>
                      <a:pt x="181977" y="90611"/>
                    </a:cubicBezTo>
                    <a:cubicBezTo>
                      <a:pt x="180279" y="87188"/>
                      <a:pt x="179555" y="83385"/>
                      <a:pt x="179886" y="79582"/>
                    </a:cubicBezTo>
                    <a:cubicBezTo>
                      <a:pt x="179886" y="77681"/>
                      <a:pt x="181407" y="76159"/>
                      <a:pt x="181787" y="74258"/>
                    </a:cubicBezTo>
                    <a:cubicBezTo>
                      <a:pt x="181950" y="72299"/>
                      <a:pt x="181257" y="70360"/>
                      <a:pt x="179886" y="68933"/>
                    </a:cubicBezTo>
                    <a:cubicBezTo>
                      <a:pt x="179671" y="68534"/>
                      <a:pt x="179340" y="68192"/>
                      <a:pt x="178935" y="67983"/>
                    </a:cubicBezTo>
                    <a:lnTo>
                      <a:pt x="174561" y="66081"/>
                    </a:lnTo>
                    <a:cubicBezTo>
                      <a:pt x="172182" y="66081"/>
                      <a:pt x="170196" y="64275"/>
                      <a:pt x="169998" y="61898"/>
                    </a:cubicBezTo>
                    <a:cubicBezTo>
                      <a:pt x="169998" y="60947"/>
                      <a:pt x="169998" y="59996"/>
                      <a:pt x="169998" y="59046"/>
                    </a:cubicBezTo>
                    <a:cubicBezTo>
                      <a:pt x="170675" y="55984"/>
                      <a:pt x="169660" y="52789"/>
                      <a:pt x="167335" y="50679"/>
                    </a:cubicBezTo>
                    <a:cubicBezTo>
                      <a:pt x="165056" y="48530"/>
                      <a:pt x="163131" y="46020"/>
                      <a:pt x="161631" y="43263"/>
                    </a:cubicBezTo>
                    <a:lnTo>
                      <a:pt x="161631" y="43263"/>
                    </a:lnTo>
                    <a:cubicBezTo>
                      <a:pt x="161539" y="42502"/>
                      <a:pt x="161539" y="41741"/>
                      <a:pt x="161631" y="40981"/>
                    </a:cubicBezTo>
                    <a:cubicBezTo>
                      <a:pt x="161631" y="39269"/>
                      <a:pt x="161631" y="37558"/>
                      <a:pt x="161631" y="36037"/>
                    </a:cubicBezTo>
                    <a:cubicBezTo>
                      <a:pt x="161631" y="34515"/>
                      <a:pt x="160300" y="31853"/>
                      <a:pt x="159729" y="29762"/>
                    </a:cubicBezTo>
                    <a:cubicBezTo>
                      <a:pt x="159159" y="27670"/>
                      <a:pt x="159729" y="27480"/>
                      <a:pt x="159729" y="27480"/>
                    </a:cubicBezTo>
                    <a:lnTo>
                      <a:pt x="144897" y="23867"/>
                    </a:lnTo>
                    <a:cubicBezTo>
                      <a:pt x="142397" y="28202"/>
                      <a:pt x="137730" y="30827"/>
                      <a:pt x="132727" y="30712"/>
                    </a:cubicBezTo>
                    <a:cubicBezTo>
                      <a:pt x="128236" y="30979"/>
                      <a:pt x="123734" y="30446"/>
                      <a:pt x="119417" y="29191"/>
                    </a:cubicBezTo>
                    <a:cubicBezTo>
                      <a:pt x="112846" y="26966"/>
                      <a:pt x="106484" y="24171"/>
                      <a:pt x="100401" y="20824"/>
                    </a:cubicBezTo>
                    <a:lnTo>
                      <a:pt x="93746" y="17592"/>
                    </a:lnTo>
                    <a:cubicBezTo>
                      <a:pt x="86570" y="13998"/>
                      <a:pt x="79133" y="10937"/>
                      <a:pt x="71498" y="8465"/>
                    </a:cubicBezTo>
                    <a:cubicBezTo>
                      <a:pt x="61844" y="5308"/>
                      <a:pt x="51999" y="2779"/>
                      <a:pt x="42024" y="858"/>
                    </a:cubicBezTo>
                    <a:lnTo>
                      <a:pt x="38221" y="858"/>
                    </a:lnTo>
                    <a:cubicBezTo>
                      <a:pt x="32423" y="-758"/>
                      <a:pt x="26225" y="-73"/>
                      <a:pt x="20917" y="2760"/>
                    </a:cubicBezTo>
                    <a:cubicBezTo>
                      <a:pt x="11599" y="9795"/>
                      <a:pt x="17114" y="12268"/>
                      <a:pt x="22248" y="16831"/>
                    </a:cubicBezTo>
                    <a:lnTo>
                      <a:pt x="22248" y="16831"/>
                    </a:lnTo>
                    <a:lnTo>
                      <a:pt x="23579" y="17972"/>
                    </a:lnTo>
                    <a:cubicBezTo>
                      <a:pt x="28108" y="22897"/>
                      <a:pt x="32063" y="28316"/>
                      <a:pt x="35369" y="34135"/>
                    </a:cubicBezTo>
                    <a:cubicBezTo>
                      <a:pt x="36839" y="36531"/>
                      <a:pt x="37870" y="39174"/>
                      <a:pt x="38411" y="41931"/>
                    </a:cubicBezTo>
                    <a:cubicBezTo>
                      <a:pt x="39742" y="48777"/>
                      <a:pt x="38411" y="55242"/>
                      <a:pt x="40122" y="63039"/>
                    </a:cubicBezTo>
                    <a:cubicBezTo>
                      <a:pt x="41583" y="67317"/>
                      <a:pt x="44063" y="71158"/>
                      <a:pt x="47348" y="74258"/>
                    </a:cubicBezTo>
                    <a:cubicBezTo>
                      <a:pt x="51973" y="78365"/>
                      <a:pt x="55336" y="83708"/>
                      <a:pt x="57046" y="89660"/>
                    </a:cubicBezTo>
                    <a:cubicBezTo>
                      <a:pt x="56133" y="98806"/>
                      <a:pt x="52183" y="107364"/>
                      <a:pt x="45827" y="114000"/>
                    </a:cubicBezTo>
                    <a:cubicBezTo>
                      <a:pt x="38858" y="120104"/>
                      <a:pt x="30700" y="124705"/>
                      <a:pt x="21868" y="127501"/>
                    </a:cubicBezTo>
                    <a:cubicBezTo>
                      <a:pt x="17114" y="129973"/>
                      <a:pt x="7796" y="130163"/>
                      <a:pt x="4183" y="132825"/>
                    </a:cubicBezTo>
                    <a:cubicBezTo>
                      <a:pt x="-2852" y="137959"/>
                      <a:pt x="2662" y="143854"/>
                      <a:pt x="2662" y="150319"/>
                    </a:cubicBezTo>
                    <a:cubicBezTo>
                      <a:pt x="2130" y="154579"/>
                      <a:pt x="1239" y="158762"/>
                      <a:pt x="0" y="162869"/>
                    </a:cubicBezTo>
                    <a:lnTo>
                      <a:pt x="761" y="162869"/>
                    </a:lnTo>
                    <a:cubicBezTo>
                      <a:pt x="225" y="165646"/>
                      <a:pt x="843" y="168536"/>
                      <a:pt x="2472" y="170856"/>
                    </a:cubicBezTo>
                    <a:cubicBezTo>
                      <a:pt x="7229" y="176636"/>
                      <a:pt x="12802" y="181695"/>
                      <a:pt x="19015" y="185878"/>
                    </a:cubicBezTo>
                    <a:cubicBezTo>
                      <a:pt x="22628" y="188540"/>
                      <a:pt x="25861" y="190822"/>
                      <a:pt x="28333" y="192343"/>
                    </a:cubicBezTo>
                    <a:cubicBezTo>
                      <a:pt x="34131" y="196622"/>
                      <a:pt x="41338" y="198523"/>
                      <a:pt x="48489" y="197668"/>
                    </a:cubicBezTo>
                    <a:lnTo>
                      <a:pt x="48489" y="197668"/>
                    </a:lnTo>
                    <a:cubicBezTo>
                      <a:pt x="58617" y="194625"/>
                      <a:pt x="68986" y="192457"/>
                      <a:pt x="79484" y="191202"/>
                    </a:cubicBezTo>
                    <a:cubicBezTo>
                      <a:pt x="84151" y="191392"/>
                      <a:pt x="88736" y="192495"/>
                      <a:pt x="92985" y="194435"/>
                    </a:cubicBezTo>
                    <a:cubicBezTo>
                      <a:pt x="102087" y="198618"/>
                      <a:pt x="110592" y="203981"/>
                      <a:pt x="118276" y="210408"/>
                    </a:cubicBezTo>
                    <a:cubicBezTo>
                      <a:pt x="125127" y="215352"/>
                      <a:pt x="132782" y="219098"/>
                      <a:pt x="140904" y="221437"/>
                    </a:cubicBezTo>
                    <a:cubicBezTo>
                      <a:pt x="143240" y="221722"/>
                      <a:pt x="145603" y="221722"/>
                      <a:pt x="147940" y="221437"/>
                    </a:cubicBezTo>
                    <a:cubicBezTo>
                      <a:pt x="161250" y="221437"/>
                      <a:pt x="175322" y="215162"/>
                      <a:pt x="183689" y="227141"/>
                    </a:cubicBezTo>
                    <a:cubicBezTo>
                      <a:pt x="184468" y="228301"/>
                      <a:pt x="185167" y="229499"/>
                      <a:pt x="185780" y="230754"/>
                    </a:cubicBezTo>
                    <a:cubicBezTo>
                      <a:pt x="188823" y="236839"/>
                      <a:pt x="187302" y="245206"/>
                      <a:pt x="190534" y="250911"/>
                    </a:cubicBezTo>
                    <a:cubicBezTo>
                      <a:pt x="191958" y="253002"/>
                      <a:pt x="193765" y="254809"/>
                      <a:pt x="195858" y="256235"/>
                    </a:cubicBezTo>
                    <a:lnTo>
                      <a:pt x="204606" y="262890"/>
                    </a:lnTo>
                    <a:cubicBezTo>
                      <a:pt x="209456" y="266750"/>
                      <a:pt x="214537" y="270306"/>
                      <a:pt x="219818" y="273539"/>
                    </a:cubicBezTo>
                    <a:cubicBezTo>
                      <a:pt x="222461" y="275212"/>
                      <a:pt x="225190" y="276734"/>
                      <a:pt x="227994" y="278103"/>
                    </a:cubicBezTo>
                    <a:cubicBezTo>
                      <a:pt x="239594" y="283807"/>
                      <a:pt x="241495" y="280765"/>
                      <a:pt x="251003" y="274109"/>
                    </a:cubicBezTo>
                    <a:cubicBezTo>
                      <a:pt x="257849" y="271067"/>
                      <a:pt x="266976" y="268215"/>
                      <a:pt x="269638" y="260038"/>
                    </a:cubicBezTo>
                    <a:close/>
                  </a:path>
                </a:pathLst>
              </a:custGeom>
              <a:grpFill/>
              <a:ln w="190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endParaRPr>
              </a:p>
            </p:txBody>
          </p:sp>
        </p:grpSp>
      </p:grpSp>
      <p:grpSp>
        <p:nvGrpSpPr>
          <p:cNvPr id="336" name="Группа 335">
            <a:extLst>
              <a:ext uri="{FF2B5EF4-FFF2-40B4-BE49-F238E27FC236}">
                <a16:creationId xmlns:a16="http://schemas.microsoft.com/office/drawing/2014/main" id="{2C73DFC5-B0C6-C32D-674E-9B5494F48B22}"/>
              </a:ext>
            </a:extLst>
          </p:cNvPr>
          <p:cNvGrpSpPr/>
          <p:nvPr/>
        </p:nvGrpSpPr>
        <p:grpSpPr>
          <a:xfrm>
            <a:off x="6075742" y="1725884"/>
            <a:ext cx="2906031" cy="3994989"/>
            <a:chOff x="3650441" y="1782073"/>
            <a:chExt cx="3057522" cy="4203248"/>
          </a:xfrm>
          <a:solidFill>
            <a:schemeClr val="bg2">
              <a:lumMod val="50000"/>
            </a:schemeClr>
          </a:solidFill>
        </p:grpSpPr>
        <p:sp>
          <p:nvSpPr>
            <p:cNvPr id="374" name="Рисунок 512">
              <a:extLst>
                <a:ext uri="{FF2B5EF4-FFF2-40B4-BE49-F238E27FC236}">
                  <a16:creationId xmlns:a16="http://schemas.microsoft.com/office/drawing/2014/main" id="{1EB57F9A-FED5-EEBE-9DFD-38542EDD1516}"/>
                </a:ext>
              </a:extLst>
            </p:cNvPr>
            <p:cNvSpPr/>
            <p:nvPr/>
          </p:nvSpPr>
          <p:spPr>
            <a:xfrm>
              <a:off x="4488298" y="2459441"/>
              <a:ext cx="1407600" cy="3214800"/>
            </a:xfrm>
            <a:custGeom>
              <a:avLst/>
              <a:gdLst>
                <a:gd name="connsiteX0" fmla="*/ 1531439 w 1539192"/>
                <a:gd name="connsiteY0" fmla="*/ 1765281 h 3502575"/>
                <a:gd name="connsiteX1" fmla="*/ 1523685 w 1539192"/>
                <a:gd name="connsiteY1" fmla="*/ 1769059 h 3502575"/>
                <a:gd name="connsiteX2" fmla="*/ 1490681 w 1539192"/>
                <a:gd name="connsiteY2" fmla="*/ 1771445 h 3502575"/>
                <a:gd name="connsiteX3" fmla="*/ 1469010 w 1539192"/>
                <a:gd name="connsiteY3" fmla="*/ 1764287 h 3502575"/>
                <a:gd name="connsiteX4" fmla="*/ 1446146 w 1539192"/>
                <a:gd name="connsiteY4" fmla="*/ 1757726 h 3502575"/>
                <a:gd name="connsiteX5" fmla="*/ 1429644 w 1539192"/>
                <a:gd name="connsiteY5" fmla="*/ 1761901 h 3502575"/>
                <a:gd name="connsiteX6" fmla="*/ 1395248 w 1539192"/>
                <a:gd name="connsiteY6" fmla="*/ 1763293 h 3502575"/>
                <a:gd name="connsiteX7" fmla="*/ 1384512 w 1539192"/>
                <a:gd name="connsiteY7" fmla="*/ 1725120 h 3502575"/>
                <a:gd name="connsiteX8" fmla="*/ 1385904 w 1539192"/>
                <a:gd name="connsiteY8" fmla="*/ 1717764 h 3502575"/>
                <a:gd name="connsiteX9" fmla="*/ 1384115 w 1539192"/>
                <a:gd name="connsiteY9" fmla="*/ 1702057 h 3502575"/>
                <a:gd name="connsiteX10" fmla="*/ 1382723 w 1539192"/>
                <a:gd name="connsiteY10" fmla="*/ 1697882 h 3502575"/>
                <a:gd name="connsiteX11" fmla="*/ 1386898 w 1539192"/>
                <a:gd name="connsiteY11" fmla="*/ 1671638 h 3502575"/>
                <a:gd name="connsiteX12" fmla="*/ 1386898 w 1539192"/>
                <a:gd name="connsiteY12" fmla="*/ 1670445 h 3502575"/>
                <a:gd name="connsiteX13" fmla="*/ 1391073 w 1539192"/>
                <a:gd name="connsiteY13" fmla="*/ 1660504 h 3502575"/>
                <a:gd name="connsiteX14" fmla="*/ 1396044 w 1539192"/>
                <a:gd name="connsiteY14" fmla="*/ 1649171 h 3502575"/>
                <a:gd name="connsiteX15" fmla="*/ 1401611 w 1539192"/>
                <a:gd name="connsiteY15" fmla="*/ 1641418 h 3502575"/>
                <a:gd name="connsiteX16" fmla="*/ 1406780 w 1539192"/>
                <a:gd name="connsiteY16" fmla="*/ 1633862 h 3502575"/>
                <a:gd name="connsiteX17" fmla="*/ 1396242 w 1539192"/>
                <a:gd name="connsiteY17" fmla="*/ 1613981 h 3502575"/>
                <a:gd name="connsiteX18" fmla="*/ 1384313 w 1539192"/>
                <a:gd name="connsiteY18" fmla="*/ 1601853 h 3502575"/>
                <a:gd name="connsiteX19" fmla="*/ 1378349 w 1539192"/>
                <a:gd name="connsiteY19" fmla="*/ 1578193 h 3502575"/>
                <a:gd name="connsiteX20" fmla="*/ 1375367 w 1539192"/>
                <a:gd name="connsiteY20" fmla="*/ 1562089 h 3502575"/>
                <a:gd name="connsiteX21" fmla="*/ 1365028 w 1539192"/>
                <a:gd name="connsiteY21" fmla="*/ 1549762 h 3502575"/>
                <a:gd name="connsiteX22" fmla="*/ 1349719 w 1539192"/>
                <a:gd name="connsiteY22" fmla="*/ 1527097 h 3502575"/>
                <a:gd name="connsiteX23" fmla="*/ 1349719 w 1539192"/>
                <a:gd name="connsiteY23" fmla="*/ 1502046 h 3502575"/>
                <a:gd name="connsiteX24" fmla="*/ 1349719 w 1539192"/>
                <a:gd name="connsiteY24" fmla="*/ 1478188 h 3502575"/>
                <a:gd name="connsiteX25" fmla="*/ 1332621 w 1539192"/>
                <a:gd name="connsiteY25" fmla="*/ 1462879 h 3502575"/>
                <a:gd name="connsiteX26" fmla="*/ 1319499 w 1539192"/>
                <a:gd name="connsiteY26" fmla="*/ 1455721 h 3502575"/>
                <a:gd name="connsiteX27" fmla="*/ 1308564 w 1539192"/>
                <a:gd name="connsiteY27" fmla="*/ 1439021 h 3502575"/>
                <a:gd name="connsiteX28" fmla="*/ 1332024 w 1539192"/>
                <a:gd name="connsiteY28" fmla="*/ 1400649 h 3502575"/>
                <a:gd name="connsiteX29" fmla="*/ 1347532 w 1539192"/>
                <a:gd name="connsiteY29" fmla="*/ 1380767 h 3502575"/>
                <a:gd name="connsiteX30" fmla="*/ 1344550 w 1539192"/>
                <a:gd name="connsiteY30" fmla="*/ 1351541 h 3502575"/>
                <a:gd name="connsiteX31" fmla="*/ 1339380 w 1539192"/>
                <a:gd name="connsiteY31" fmla="*/ 1329074 h 3502575"/>
                <a:gd name="connsiteX32" fmla="*/ 1339380 w 1539192"/>
                <a:gd name="connsiteY32" fmla="*/ 1327683 h 3502575"/>
                <a:gd name="connsiteX33" fmla="*/ 1332621 w 1539192"/>
                <a:gd name="connsiteY33" fmla="*/ 1264856 h 3502575"/>
                <a:gd name="connsiteX34" fmla="*/ 1330831 w 1539192"/>
                <a:gd name="connsiteY34" fmla="*/ 1258096 h 3502575"/>
                <a:gd name="connsiteX35" fmla="*/ 1293851 w 1539192"/>
                <a:gd name="connsiteY35" fmla="*/ 1158687 h 3502575"/>
                <a:gd name="connsiteX36" fmla="*/ 1266812 w 1539192"/>
                <a:gd name="connsiteY36" fmla="*/ 1131051 h 3502575"/>
                <a:gd name="connsiteX37" fmla="*/ 1256871 w 1539192"/>
                <a:gd name="connsiteY37" fmla="*/ 1122303 h 3502575"/>
                <a:gd name="connsiteX38" fmla="*/ 1248918 w 1539192"/>
                <a:gd name="connsiteY38" fmla="*/ 1114351 h 3502575"/>
                <a:gd name="connsiteX39" fmla="*/ 1253292 w 1539192"/>
                <a:gd name="connsiteY39" fmla="*/ 1110374 h 3502575"/>
                <a:gd name="connsiteX40" fmla="*/ 1257269 w 1539192"/>
                <a:gd name="connsiteY40" fmla="*/ 1106795 h 3502575"/>
                <a:gd name="connsiteX41" fmla="*/ 1277150 w 1539192"/>
                <a:gd name="connsiteY41" fmla="*/ 1093872 h 3502575"/>
                <a:gd name="connsiteX42" fmla="*/ 1302202 w 1539192"/>
                <a:gd name="connsiteY42" fmla="*/ 1077569 h 3502575"/>
                <a:gd name="connsiteX43" fmla="*/ 1316914 w 1539192"/>
                <a:gd name="connsiteY43" fmla="*/ 1065640 h 3502575"/>
                <a:gd name="connsiteX44" fmla="*/ 1321885 w 1539192"/>
                <a:gd name="connsiteY44" fmla="*/ 1062459 h 3502575"/>
                <a:gd name="connsiteX45" fmla="*/ 1332621 w 1539192"/>
                <a:gd name="connsiteY45" fmla="*/ 1053313 h 3502575"/>
                <a:gd name="connsiteX46" fmla="*/ 1335205 w 1539192"/>
                <a:gd name="connsiteY46" fmla="*/ 1046355 h 3502575"/>
                <a:gd name="connsiteX47" fmla="*/ 1349719 w 1539192"/>
                <a:gd name="connsiteY47" fmla="*/ 1029654 h 3502575"/>
                <a:gd name="connsiteX48" fmla="*/ 1369601 w 1539192"/>
                <a:gd name="connsiteY48" fmla="*/ 1028063 h 3502575"/>
                <a:gd name="connsiteX49" fmla="*/ 1390676 w 1539192"/>
                <a:gd name="connsiteY49" fmla="*/ 1023292 h 3502575"/>
                <a:gd name="connsiteX50" fmla="*/ 1385904 w 1539192"/>
                <a:gd name="connsiteY50" fmla="*/ 996253 h 3502575"/>
                <a:gd name="connsiteX51" fmla="*/ 1380735 w 1539192"/>
                <a:gd name="connsiteY51" fmla="*/ 987703 h 3502575"/>
                <a:gd name="connsiteX52" fmla="*/ 1393459 w 1539192"/>
                <a:gd name="connsiteY52" fmla="*/ 944162 h 3502575"/>
                <a:gd name="connsiteX53" fmla="*/ 1395845 w 1539192"/>
                <a:gd name="connsiteY53" fmla="*/ 941776 h 3502575"/>
                <a:gd name="connsiteX54" fmla="*/ 1401809 w 1539192"/>
                <a:gd name="connsiteY54" fmla="*/ 932034 h 3502575"/>
                <a:gd name="connsiteX55" fmla="*/ 1399026 w 1539192"/>
                <a:gd name="connsiteY55" fmla="*/ 923883 h 3502575"/>
                <a:gd name="connsiteX56" fmla="*/ 1395248 w 1539192"/>
                <a:gd name="connsiteY56" fmla="*/ 909369 h 3502575"/>
                <a:gd name="connsiteX57" fmla="*/ 1420697 w 1539192"/>
                <a:gd name="connsiteY57" fmla="*/ 872985 h 3502575"/>
                <a:gd name="connsiteX58" fmla="*/ 1424475 w 1539192"/>
                <a:gd name="connsiteY58" fmla="*/ 869605 h 3502575"/>
                <a:gd name="connsiteX59" fmla="*/ 1460660 w 1539192"/>
                <a:gd name="connsiteY59" fmla="*/ 834812 h 3502575"/>
                <a:gd name="connsiteX60" fmla="*/ 1470203 w 1539192"/>
                <a:gd name="connsiteY60" fmla="*/ 825468 h 3502575"/>
                <a:gd name="connsiteX61" fmla="*/ 1478553 w 1539192"/>
                <a:gd name="connsiteY61" fmla="*/ 811153 h 3502575"/>
                <a:gd name="connsiteX62" fmla="*/ 1460262 w 1539192"/>
                <a:gd name="connsiteY62" fmla="*/ 794452 h 3502575"/>
                <a:gd name="connsiteX63" fmla="*/ 1433422 w 1539192"/>
                <a:gd name="connsiteY63" fmla="*/ 769799 h 3502575"/>
                <a:gd name="connsiteX64" fmla="*/ 1426463 w 1539192"/>
                <a:gd name="connsiteY64" fmla="*/ 740373 h 3502575"/>
                <a:gd name="connsiteX65" fmla="*/ 1420697 w 1539192"/>
                <a:gd name="connsiteY65" fmla="*/ 714527 h 3502575"/>
                <a:gd name="connsiteX66" fmla="*/ 1393857 w 1539192"/>
                <a:gd name="connsiteY66" fmla="*/ 689675 h 3502575"/>
                <a:gd name="connsiteX67" fmla="*/ 1382126 w 1539192"/>
                <a:gd name="connsiteY67" fmla="*/ 682915 h 3502575"/>
                <a:gd name="connsiteX68" fmla="*/ 1364630 w 1539192"/>
                <a:gd name="connsiteY68" fmla="*/ 661642 h 3502575"/>
                <a:gd name="connsiteX69" fmla="*/ 1354292 w 1539192"/>
                <a:gd name="connsiteY69" fmla="*/ 646929 h 3502575"/>
                <a:gd name="connsiteX70" fmla="*/ 1351310 w 1539192"/>
                <a:gd name="connsiteY70" fmla="*/ 644344 h 3502575"/>
                <a:gd name="connsiteX71" fmla="*/ 1330235 w 1539192"/>
                <a:gd name="connsiteY71" fmla="*/ 609949 h 3502575"/>
                <a:gd name="connsiteX72" fmla="*/ 1329241 w 1539192"/>
                <a:gd name="connsiteY72" fmla="*/ 595833 h 3502575"/>
                <a:gd name="connsiteX73" fmla="*/ 1321686 w 1539192"/>
                <a:gd name="connsiteY73" fmla="*/ 572770 h 3502575"/>
                <a:gd name="connsiteX74" fmla="*/ 1306576 w 1539192"/>
                <a:gd name="connsiteY74" fmla="*/ 524457 h 3502575"/>
                <a:gd name="connsiteX75" fmla="*/ 1309955 w 1539192"/>
                <a:gd name="connsiteY75" fmla="*/ 517498 h 3502575"/>
                <a:gd name="connsiteX76" fmla="*/ 1313534 w 1539192"/>
                <a:gd name="connsiteY76" fmla="*/ 506365 h 3502575"/>
                <a:gd name="connsiteX77" fmla="*/ 1310950 w 1539192"/>
                <a:gd name="connsiteY77" fmla="*/ 500599 h 3502575"/>
                <a:gd name="connsiteX78" fmla="*/ 1306973 w 1539192"/>
                <a:gd name="connsiteY78" fmla="*/ 487079 h 3502575"/>
                <a:gd name="connsiteX79" fmla="*/ 1316715 w 1539192"/>
                <a:gd name="connsiteY79" fmla="*/ 465010 h 3502575"/>
                <a:gd name="connsiteX80" fmla="*/ 1311148 w 1539192"/>
                <a:gd name="connsiteY80" fmla="*/ 458449 h 3502575"/>
                <a:gd name="connsiteX81" fmla="*/ 1316715 w 1539192"/>
                <a:gd name="connsiteY81" fmla="*/ 440158 h 3502575"/>
                <a:gd name="connsiteX82" fmla="*/ 1303593 w 1539192"/>
                <a:gd name="connsiteY82" fmla="*/ 442942 h 3502575"/>
                <a:gd name="connsiteX83" fmla="*/ 1277548 w 1539192"/>
                <a:gd name="connsiteY83" fmla="*/ 450894 h 3502575"/>
                <a:gd name="connsiteX84" fmla="*/ 1247129 w 1539192"/>
                <a:gd name="connsiteY84" fmla="*/ 492646 h 3502575"/>
                <a:gd name="connsiteX85" fmla="*/ 1293453 w 1539192"/>
                <a:gd name="connsiteY85" fmla="*/ 484693 h 3502575"/>
                <a:gd name="connsiteX86" fmla="*/ 1289676 w 1539192"/>
                <a:gd name="connsiteY86" fmla="*/ 501593 h 3502575"/>
                <a:gd name="connsiteX87" fmla="*/ 1269794 w 1539192"/>
                <a:gd name="connsiteY87" fmla="*/ 532012 h 3502575"/>
                <a:gd name="connsiteX88" fmla="*/ 1254485 w 1539192"/>
                <a:gd name="connsiteY88" fmla="*/ 538374 h 3502575"/>
                <a:gd name="connsiteX89" fmla="*/ 1245340 w 1539192"/>
                <a:gd name="connsiteY89" fmla="*/ 553286 h 3502575"/>
                <a:gd name="connsiteX90" fmla="*/ 1228440 w 1539192"/>
                <a:gd name="connsiteY90" fmla="*/ 565215 h 3502575"/>
                <a:gd name="connsiteX91" fmla="*/ 1212535 w 1539192"/>
                <a:gd name="connsiteY91" fmla="*/ 582512 h 3502575"/>
                <a:gd name="connsiteX92" fmla="*/ 1166806 w 1539192"/>
                <a:gd name="connsiteY92" fmla="*/ 604183 h 3502575"/>
                <a:gd name="connsiteX93" fmla="*/ 1138773 w 1539192"/>
                <a:gd name="connsiteY93" fmla="*/ 616112 h 3502575"/>
                <a:gd name="connsiteX94" fmla="*/ 1140364 w 1539192"/>
                <a:gd name="connsiteY94" fmla="*/ 642555 h 3502575"/>
                <a:gd name="connsiteX95" fmla="*/ 1128236 w 1539192"/>
                <a:gd name="connsiteY95" fmla="*/ 660051 h 3502575"/>
                <a:gd name="connsiteX96" fmla="*/ 1124856 w 1539192"/>
                <a:gd name="connsiteY96" fmla="*/ 662636 h 3502575"/>
                <a:gd name="connsiteX97" fmla="*/ 1118494 w 1539192"/>
                <a:gd name="connsiteY97" fmla="*/ 665419 h 3502575"/>
                <a:gd name="connsiteX98" fmla="*/ 1118494 w 1539192"/>
                <a:gd name="connsiteY98" fmla="*/ 665419 h 3502575"/>
                <a:gd name="connsiteX99" fmla="*/ 1118494 w 1539192"/>
                <a:gd name="connsiteY99" fmla="*/ 663630 h 3502575"/>
                <a:gd name="connsiteX100" fmla="*/ 1118494 w 1539192"/>
                <a:gd name="connsiteY100" fmla="*/ 662238 h 3502575"/>
                <a:gd name="connsiteX101" fmla="*/ 1120283 w 1539192"/>
                <a:gd name="connsiteY101" fmla="*/ 659256 h 3502575"/>
                <a:gd name="connsiteX102" fmla="*/ 1124657 w 1539192"/>
                <a:gd name="connsiteY102" fmla="*/ 653689 h 3502575"/>
                <a:gd name="connsiteX103" fmla="*/ 1131814 w 1539192"/>
                <a:gd name="connsiteY103" fmla="*/ 641561 h 3502575"/>
                <a:gd name="connsiteX104" fmla="*/ 1135393 w 1539192"/>
                <a:gd name="connsiteY104" fmla="*/ 601797 h 3502575"/>
                <a:gd name="connsiteX105" fmla="*/ 1145533 w 1539192"/>
                <a:gd name="connsiteY105" fmla="*/ 587085 h 3502575"/>
                <a:gd name="connsiteX106" fmla="*/ 1159649 w 1539192"/>
                <a:gd name="connsiteY106" fmla="*/ 576547 h 3502575"/>
                <a:gd name="connsiteX107" fmla="*/ 1173765 w 1539192"/>
                <a:gd name="connsiteY107" fmla="*/ 538374 h 3502575"/>
                <a:gd name="connsiteX108" fmla="*/ 1207962 w 1539192"/>
                <a:gd name="connsiteY108" fmla="*/ 510341 h 3502575"/>
                <a:gd name="connsiteX109" fmla="*/ 1223668 w 1539192"/>
                <a:gd name="connsiteY109" fmla="*/ 466402 h 3502575"/>
                <a:gd name="connsiteX110" fmla="*/ 1247328 w 1539192"/>
                <a:gd name="connsiteY110" fmla="*/ 441947 h 3502575"/>
                <a:gd name="connsiteX111" fmla="*/ 1243550 w 1539192"/>
                <a:gd name="connsiteY111" fmla="*/ 414908 h 3502575"/>
                <a:gd name="connsiteX112" fmla="*/ 1267408 w 1539192"/>
                <a:gd name="connsiteY112" fmla="*/ 381904 h 3502575"/>
                <a:gd name="connsiteX113" fmla="*/ 1272975 w 1539192"/>
                <a:gd name="connsiteY113" fmla="*/ 367391 h 3502575"/>
                <a:gd name="connsiteX114" fmla="*/ 1288284 w 1539192"/>
                <a:gd name="connsiteY114" fmla="*/ 352877 h 3502575"/>
                <a:gd name="connsiteX115" fmla="*/ 1303792 w 1539192"/>
                <a:gd name="connsiteY115" fmla="*/ 318680 h 3502575"/>
                <a:gd name="connsiteX116" fmla="*/ 1313335 w 1539192"/>
                <a:gd name="connsiteY116" fmla="*/ 305161 h 3502575"/>
                <a:gd name="connsiteX117" fmla="*/ 1321089 w 1539192"/>
                <a:gd name="connsiteY117" fmla="*/ 280905 h 3502575"/>
                <a:gd name="connsiteX118" fmla="*/ 1321089 w 1539192"/>
                <a:gd name="connsiteY118" fmla="*/ 217283 h 3502575"/>
                <a:gd name="connsiteX119" fmla="*/ 1283115 w 1539192"/>
                <a:gd name="connsiteY119" fmla="*/ 201775 h 3502575"/>
                <a:gd name="connsiteX120" fmla="*/ 1288284 w 1539192"/>
                <a:gd name="connsiteY120" fmla="*/ 194021 h 3502575"/>
                <a:gd name="connsiteX121" fmla="*/ 1320294 w 1539192"/>
                <a:gd name="connsiteY121" fmla="*/ 180502 h 3502575"/>
                <a:gd name="connsiteX122" fmla="*/ 1309359 w 1539192"/>
                <a:gd name="connsiteY122" fmla="*/ 163801 h 3502575"/>
                <a:gd name="connsiteX123" fmla="*/ 1297430 w 1539192"/>
                <a:gd name="connsiteY123" fmla="*/ 149685 h 3502575"/>
                <a:gd name="connsiteX124" fmla="*/ 1268800 w 1539192"/>
                <a:gd name="connsiteY124" fmla="*/ 122645 h 3502575"/>
                <a:gd name="connsiteX125" fmla="*/ 1268800 w 1539192"/>
                <a:gd name="connsiteY125" fmla="*/ 146305 h 3502575"/>
                <a:gd name="connsiteX126" fmla="*/ 1254286 w 1539192"/>
                <a:gd name="connsiteY126" fmla="*/ 130399 h 3502575"/>
                <a:gd name="connsiteX127" fmla="*/ 1236591 w 1539192"/>
                <a:gd name="connsiteY127" fmla="*/ 108529 h 3502575"/>
                <a:gd name="connsiteX128" fmla="*/ 1210944 w 1539192"/>
                <a:gd name="connsiteY128" fmla="*/ 88648 h 3502575"/>
                <a:gd name="connsiteX129" fmla="*/ 1152491 w 1539192"/>
                <a:gd name="connsiteY129" fmla="*/ 87455 h 3502575"/>
                <a:gd name="connsiteX130" fmla="*/ 1138574 w 1539192"/>
                <a:gd name="connsiteY130" fmla="*/ 92226 h 3502575"/>
                <a:gd name="connsiteX131" fmla="*/ 1092846 w 1539192"/>
                <a:gd name="connsiteY131" fmla="*/ 105746 h 3502575"/>
                <a:gd name="connsiteX132" fmla="*/ 1085689 w 1539192"/>
                <a:gd name="connsiteY132" fmla="*/ 123043 h 3502575"/>
                <a:gd name="connsiteX133" fmla="*/ 1065807 w 1539192"/>
                <a:gd name="connsiteY133" fmla="*/ 142925 h 3502575"/>
                <a:gd name="connsiteX134" fmla="*/ 1041949 w 1539192"/>
                <a:gd name="connsiteY134" fmla="*/ 147895 h 3502575"/>
                <a:gd name="connsiteX135" fmla="*/ 1044136 w 1539192"/>
                <a:gd name="connsiteY135" fmla="*/ 125031 h 3502575"/>
                <a:gd name="connsiteX136" fmla="*/ 1056263 w 1539192"/>
                <a:gd name="connsiteY136" fmla="*/ 85268 h 3502575"/>
                <a:gd name="connsiteX137" fmla="*/ 1025844 w 1539192"/>
                <a:gd name="connsiteY137" fmla="*/ 75526 h 3502575"/>
                <a:gd name="connsiteX138" fmla="*/ 1007155 w 1539192"/>
                <a:gd name="connsiteY138" fmla="*/ 83478 h 3502575"/>
                <a:gd name="connsiteX139" fmla="*/ 992642 w 1539192"/>
                <a:gd name="connsiteY139" fmla="*/ 78110 h 3502575"/>
                <a:gd name="connsiteX140" fmla="*/ 952878 w 1539192"/>
                <a:gd name="connsiteY140" fmla="*/ 81689 h 3502575"/>
                <a:gd name="connsiteX141" fmla="*/ 974748 w 1539192"/>
                <a:gd name="connsiteY141" fmla="*/ 61807 h 3502575"/>
                <a:gd name="connsiteX142" fmla="*/ 996021 w 1539192"/>
                <a:gd name="connsiteY142" fmla="*/ 34967 h 3502575"/>
                <a:gd name="connsiteX143" fmla="*/ 987220 w 1539192"/>
                <a:gd name="connsiteY143" fmla="*/ 11542 h 3502575"/>
                <a:gd name="connsiteX144" fmla="*/ 984291 w 1539192"/>
                <a:gd name="connsiteY144" fmla="*/ 10512 h 3502575"/>
                <a:gd name="connsiteX145" fmla="*/ 967590 w 1539192"/>
                <a:gd name="connsiteY145" fmla="*/ 10512 h 3502575"/>
                <a:gd name="connsiteX146" fmla="*/ 947709 w 1539192"/>
                <a:gd name="connsiteY146" fmla="*/ 1764 h 3502575"/>
                <a:gd name="connsiteX147" fmla="*/ 907945 w 1539192"/>
                <a:gd name="connsiteY147" fmla="*/ 13494 h 3502575"/>
                <a:gd name="connsiteX148" fmla="*/ 885081 w 1539192"/>
                <a:gd name="connsiteY148" fmla="*/ 39341 h 3502575"/>
                <a:gd name="connsiteX149" fmla="*/ 877725 w 1539192"/>
                <a:gd name="connsiteY149" fmla="*/ 49282 h 3502575"/>
                <a:gd name="connsiteX150" fmla="*/ 877725 w 1539192"/>
                <a:gd name="connsiteY150" fmla="*/ 63994 h 3502575"/>
                <a:gd name="connsiteX151" fmla="*/ 868181 w 1539192"/>
                <a:gd name="connsiteY151" fmla="*/ 80894 h 3502575"/>
                <a:gd name="connsiteX152" fmla="*/ 860626 w 1539192"/>
                <a:gd name="connsiteY152" fmla="*/ 97197 h 3502575"/>
                <a:gd name="connsiteX153" fmla="*/ 855457 w 1539192"/>
                <a:gd name="connsiteY153" fmla="*/ 117476 h 3502575"/>
                <a:gd name="connsiteX154" fmla="*/ 852674 w 1539192"/>
                <a:gd name="connsiteY154" fmla="*/ 130399 h 3502575"/>
                <a:gd name="connsiteX155" fmla="*/ 860030 w 1539192"/>
                <a:gd name="connsiteY155" fmla="*/ 143919 h 3502575"/>
                <a:gd name="connsiteX156" fmla="*/ 864802 w 1539192"/>
                <a:gd name="connsiteY156" fmla="*/ 165193 h 3502575"/>
                <a:gd name="connsiteX157" fmla="*/ 884683 w 1539192"/>
                <a:gd name="connsiteY157" fmla="*/ 180899 h 3502575"/>
                <a:gd name="connsiteX158" fmla="*/ 898004 w 1539192"/>
                <a:gd name="connsiteY158" fmla="*/ 190641 h 3502575"/>
                <a:gd name="connsiteX159" fmla="*/ 883292 w 1539192"/>
                <a:gd name="connsiteY159" fmla="*/ 189051 h 3502575"/>
                <a:gd name="connsiteX160" fmla="*/ 833786 w 1539192"/>
                <a:gd name="connsiteY160" fmla="*/ 195015 h 3502575"/>
                <a:gd name="connsiteX161" fmla="*/ 813904 w 1539192"/>
                <a:gd name="connsiteY161" fmla="*/ 197997 h 3502575"/>
                <a:gd name="connsiteX162" fmla="*/ 799191 w 1539192"/>
                <a:gd name="connsiteY162" fmla="*/ 191238 h 3502575"/>
                <a:gd name="connsiteX163" fmla="*/ 814699 w 1539192"/>
                <a:gd name="connsiteY163" fmla="*/ 226826 h 3502575"/>
                <a:gd name="connsiteX164" fmla="*/ 834581 w 1539192"/>
                <a:gd name="connsiteY164" fmla="*/ 286472 h 3502575"/>
                <a:gd name="connsiteX165" fmla="*/ 824044 w 1539192"/>
                <a:gd name="connsiteY165" fmla="*/ 319078 h 3502575"/>
                <a:gd name="connsiteX166" fmla="*/ 842335 w 1539192"/>
                <a:gd name="connsiteY166" fmla="*/ 340351 h 3502575"/>
                <a:gd name="connsiteX167" fmla="*/ 862217 w 1539192"/>
                <a:gd name="connsiteY167" fmla="*/ 370373 h 3502575"/>
                <a:gd name="connsiteX168" fmla="*/ 884286 w 1539192"/>
                <a:gd name="connsiteY168" fmla="*/ 405961 h 3502575"/>
                <a:gd name="connsiteX169" fmla="*/ 885876 w 1539192"/>
                <a:gd name="connsiteY169" fmla="*/ 420873 h 3502575"/>
                <a:gd name="connsiteX170" fmla="*/ 897209 w 1539192"/>
                <a:gd name="connsiteY170" fmla="*/ 434790 h 3502575"/>
                <a:gd name="connsiteX171" fmla="*/ 933195 w 1539192"/>
                <a:gd name="connsiteY171" fmla="*/ 444532 h 3502575"/>
                <a:gd name="connsiteX172" fmla="*/ 945323 w 1539192"/>
                <a:gd name="connsiteY172" fmla="*/ 437772 h 3502575"/>
                <a:gd name="connsiteX173" fmla="*/ 965205 w 1539192"/>
                <a:gd name="connsiteY173" fmla="*/ 435784 h 3502575"/>
                <a:gd name="connsiteX174" fmla="*/ 1002980 w 1539192"/>
                <a:gd name="connsiteY174" fmla="*/ 411131 h 3502575"/>
                <a:gd name="connsiteX175" fmla="*/ 1006161 w 1539192"/>
                <a:gd name="connsiteY175" fmla="*/ 389062 h 3502575"/>
                <a:gd name="connsiteX176" fmla="*/ 1018289 w 1539192"/>
                <a:gd name="connsiteY176" fmla="*/ 353871 h 3502575"/>
                <a:gd name="connsiteX177" fmla="*/ 1040756 w 1539192"/>
                <a:gd name="connsiteY177" fmla="*/ 376934 h 3502575"/>
                <a:gd name="connsiteX178" fmla="*/ 1070181 w 1539192"/>
                <a:gd name="connsiteY178" fmla="*/ 393436 h 3502575"/>
                <a:gd name="connsiteX179" fmla="*/ 1036779 w 1539192"/>
                <a:gd name="connsiteY179" fmla="*/ 408546 h 3502575"/>
                <a:gd name="connsiteX180" fmla="*/ 1025645 w 1539192"/>
                <a:gd name="connsiteY180" fmla="*/ 418487 h 3502575"/>
                <a:gd name="connsiteX181" fmla="*/ 1008746 w 1539192"/>
                <a:gd name="connsiteY181" fmla="*/ 431808 h 3502575"/>
                <a:gd name="connsiteX182" fmla="*/ 988864 w 1539192"/>
                <a:gd name="connsiteY182" fmla="*/ 442345 h 3502575"/>
                <a:gd name="connsiteX183" fmla="*/ 976140 w 1539192"/>
                <a:gd name="connsiteY183" fmla="*/ 454871 h 3502575"/>
                <a:gd name="connsiteX184" fmla="*/ 948305 w 1539192"/>
                <a:gd name="connsiteY184" fmla="*/ 467197 h 3502575"/>
                <a:gd name="connsiteX185" fmla="*/ 957650 w 1539192"/>
                <a:gd name="connsiteY185" fmla="*/ 492447 h 3502575"/>
                <a:gd name="connsiteX186" fmla="*/ 937768 w 1539192"/>
                <a:gd name="connsiteY186" fmla="*/ 495628 h 3502575"/>
                <a:gd name="connsiteX187" fmla="*/ 919675 w 1539192"/>
                <a:gd name="connsiteY187" fmla="*/ 486682 h 3502575"/>
                <a:gd name="connsiteX188" fmla="*/ 923453 w 1539192"/>
                <a:gd name="connsiteY188" fmla="*/ 508949 h 3502575"/>
                <a:gd name="connsiteX189" fmla="*/ 943335 w 1539192"/>
                <a:gd name="connsiteY189" fmla="*/ 541357 h 3502575"/>
                <a:gd name="connsiteX190" fmla="*/ 923453 w 1539192"/>
                <a:gd name="connsiteY190" fmla="*/ 553882 h 3502575"/>
                <a:gd name="connsiteX191" fmla="*/ 913313 w 1539192"/>
                <a:gd name="connsiteY191" fmla="*/ 508949 h 3502575"/>
                <a:gd name="connsiteX192" fmla="*/ 884286 w 1539192"/>
                <a:gd name="connsiteY192" fmla="*/ 493243 h 3502575"/>
                <a:gd name="connsiteX193" fmla="*/ 872754 w 1539192"/>
                <a:gd name="connsiteY193" fmla="*/ 516703 h 3502575"/>
                <a:gd name="connsiteX194" fmla="*/ 880508 w 1539192"/>
                <a:gd name="connsiteY194" fmla="*/ 539170 h 3502575"/>
                <a:gd name="connsiteX195" fmla="*/ 857246 w 1539192"/>
                <a:gd name="connsiteY195" fmla="*/ 526246 h 3502575"/>
                <a:gd name="connsiteX196" fmla="*/ 854662 w 1539192"/>
                <a:gd name="connsiteY196" fmla="*/ 508154 h 3502575"/>
                <a:gd name="connsiteX197" fmla="*/ 848498 w 1539192"/>
                <a:gd name="connsiteY197" fmla="*/ 494833 h 3502575"/>
                <a:gd name="connsiteX198" fmla="*/ 845914 w 1539192"/>
                <a:gd name="connsiteY198" fmla="*/ 484892 h 3502575"/>
                <a:gd name="connsiteX199" fmla="*/ 863609 w 1539192"/>
                <a:gd name="connsiteY199" fmla="*/ 482308 h 3502575"/>
                <a:gd name="connsiteX200" fmla="*/ 881701 w 1539192"/>
                <a:gd name="connsiteY200" fmla="*/ 462426 h 3502575"/>
                <a:gd name="connsiteX201" fmla="*/ 870965 w 1539192"/>
                <a:gd name="connsiteY201" fmla="*/ 433199 h 3502575"/>
                <a:gd name="connsiteX202" fmla="*/ 874742 w 1539192"/>
                <a:gd name="connsiteY202" fmla="*/ 401190 h 3502575"/>
                <a:gd name="connsiteX203" fmla="*/ 856650 w 1539192"/>
                <a:gd name="connsiteY203" fmla="*/ 382302 h 3502575"/>
                <a:gd name="connsiteX204" fmla="*/ 852674 w 1539192"/>
                <a:gd name="connsiteY204" fmla="*/ 368186 h 3502575"/>
                <a:gd name="connsiteX205" fmla="*/ 843329 w 1539192"/>
                <a:gd name="connsiteY205" fmla="*/ 360034 h 3502575"/>
                <a:gd name="connsiteX206" fmla="*/ 835376 w 1539192"/>
                <a:gd name="connsiteY206" fmla="*/ 345918 h 3502575"/>
                <a:gd name="connsiteX207" fmla="*/ 818477 w 1539192"/>
                <a:gd name="connsiteY207" fmla="*/ 334387 h 3502575"/>
                <a:gd name="connsiteX208" fmla="*/ 829809 w 1539192"/>
                <a:gd name="connsiteY208" fmla="*/ 278121 h 3502575"/>
                <a:gd name="connsiteX209" fmla="*/ 819073 w 1539192"/>
                <a:gd name="connsiteY209" fmla="*/ 246112 h 3502575"/>
                <a:gd name="connsiteX210" fmla="*/ 779310 w 1539192"/>
                <a:gd name="connsiteY210" fmla="*/ 249094 h 3502575"/>
                <a:gd name="connsiteX211" fmla="*/ 759428 w 1539192"/>
                <a:gd name="connsiteY211" fmla="*/ 273548 h 3502575"/>
                <a:gd name="connsiteX212" fmla="*/ 737160 w 1539192"/>
                <a:gd name="connsiteY212" fmla="*/ 276928 h 3502575"/>
                <a:gd name="connsiteX213" fmla="*/ 724833 w 1539192"/>
                <a:gd name="connsiteY213" fmla="*/ 286670 h 3502575"/>
                <a:gd name="connsiteX214" fmla="*/ 717676 w 1539192"/>
                <a:gd name="connsiteY214" fmla="*/ 279513 h 3502575"/>
                <a:gd name="connsiteX215" fmla="*/ 705349 w 1539192"/>
                <a:gd name="connsiteY215" fmla="*/ 288659 h 3502575"/>
                <a:gd name="connsiteX216" fmla="*/ 701572 w 1539192"/>
                <a:gd name="connsiteY216" fmla="*/ 280905 h 3502575"/>
                <a:gd name="connsiteX217" fmla="*/ 686462 w 1539192"/>
                <a:gd name="connsiteY217" fmla="*/ 262613 h 3502575"/>
                <a:gd name="connsiteX218" fmla="*/ 610712 w 1539192"/>
                <a:gd name="connsiteY218" fmla="*/ 278519 h 3502575"/>
                <a:gd name="connsiteX219" fmla="*/ 605145 w 1539192"/>
                <a:gd name="connsiteY219" fmla="*/ 292635 h 3502575"/>
                <a:gd name="connsiteX220" fmla="*/ 628605 w 1539192"/>
                <a:gd name="connsiteY220" fmla="*/ 295617 h 3502575"/>
                <a:gd name="connsiteX221" fmla="*/ 623834 w 1539192"/>
                <a:gd name="connsiteY221" fmla="*/ 306751 h 3502575"/>
                <a:gd name="connsiteX222" fmla="*/ 603952 w 1539192"/>
                <a:gd name="connsiteY222" fmla="*/ 313113 h 3502575"/>
                <a:gd name="connsiteX223" fmla="*/ 566177 w 1539192"/>
                <a:gd name="connsiteY223" fmla="*/ 327428 h 3502575"/>
                <a:gd name="connsiteX224" fmla="*/ 529395 w 1539192"/>
                <a:gd name="connsiteY224" fmla="*/ 340948 h 3502575"/>
                <a:gd name="connsiteX225" fmla="*/ 510706 w 1539192"/>
                <a:gd name="connsiteY225" fmla="*/ 342737 h 3502575"/>
                <a:gd name="connsiteX226" fmla="*/ 496789 w 1539192"/>
                <a:gd name="connsiteY226" fmla="*/ 355263 h 3502575"/>
                <a:gd name="connsiteX227" fmla="*/ 463189 w 1539192"/>
                <a:gd name="connsiteY227" fmla="*/ 367589 h 3502575"/>
                <a:gd name="connsiteX228" fmla="*/ 443307 w 1539192"/>
                <a:gd name="connsiteY228" fmla="*/ 398009 h 3502575"/>
                <a:gd name="connsiteX229" fmla="*/ 385650 w 1539192"/>
                <a:gd name="connsiteY229" fmla="*/ 458648 h 3502575"/>
                <a:gd name="connsiteX230" fmla="*/ 378492 w 1539192"/>
                <a:gd name="connsiteY230" fmla="*/ 472963 h 3502575"/>
                <a:gd name="connsiteX231" fmla="*/ 380282 w 1539192"/>
                <a:gd name="connsiteY231" fmla="*/ 481512 h 3502575"/>
                <a:gd name="connsiteX232" fmla="*/ 376703 w 1539192"/>
                <a:gd name="connsiteY232" fmla="*/ 501394 h 3502575"/>
                <a:gd name="connsiteX233" fmla="*/ 390222 w 1539192"/>
                <a:gd name="connsiteY233" fmla="*/ 510341 h 3502575"/>
                <a:gd name="connsiteX234" fmla="*/ 384059 w 1539192"/>
                <a:gd name="connsiteY234" fmla="*/ 517896 h 3502575"/>
                <a:gd name="connsiteX235" fmla="*/ 354435 w 1539192"/>
                <a:gd name="connsiteY235" fmla="*/ 505569 h 3502575"/>
                <a:gd name="connsiteX236" fmla="*/ 365967 w 1539192"/>
                <a:gd name="connsiteY236" fmla="*/ 534796 h 3502575"/>
                <a:gd name="connsiteX237" fmla="*/ 376504 w 1539192"/>
                <a:gd name="connsiteY237" fmla="*/ 549110 h 3502575"/>
                <a:gd name="connsiteX238" fmla="*/ 388831 w 1539192"/>
                <a:gd name="connsiteY238" fmla="*/ 560841 h 3502575"/>
                <a:gd name="connsiteX239" fmla="*/ 372726 w 1539192"/>
                <a:gd name="connsiteY239" fmla="*/ 580723 h 3502575"/>
                <a:gd name="connsiteX240" fmla="*/ 334553 w 1539192"/>
                <a:gd name="connsiteY240" fmla="*/ 588476 h 3502575"/>
                <a:gd name="connsiteX241" fmla="*/ 304731 w 1539192"/>
                <a:gd name="connsiteY241" fmla="*/ 602791 h 3502575"/>
                <a:gd name="connsiteX242" fmla="*/ 283855 w 1539192"/>
                <a:gd name="connsiteY242" fmla="*/ 594839 h 3502575"/>
                <a:gd name="connsiteX243" fmla="*/ 258207 w 1539192"/>
                <a:gd name="connsiteY243" fmla="*/ 601598 h 3502575"/>
                <a:gd name="connsiteX244" fmla="*/ 214666 w 1539192"/>
                <a:gd name="connsiteY244" fmla="*/ 596032 h 3502575"/>
                <a:gd name="connsiteX245" fmla="*/ 170330 w 1539192"/>
                <a:gd name="connsiteY245" fmla="*/ 599014 h 3502575"/>
                <a:gd name="connsiteX246" fmla="*/ 130566 w 1539192"/>
                <a:gd name="connsiteY246" fmla="*/ 609352 h 3502575"/>
                <a:gd name="connsiteX247" fmla="*/ 111877 w 1539192"/>
                <a:gd name="connsiteY247" fmla="*/ 645736 h 3502575"/>
                <a:gd name="connsiteX248" fmla="*/ 125198 w 1539192"/>
                <a:gd name="connsiteY248" fmla="*/ 674366 h 3502575"/>
                <a:gd name="connsiteX249" fmla="*/ 116450 w 1539192"/>
                <a:gd name="connsiteY249" fmla="*/ 727252 h 3502575"/>
                <a:gd name="connsiteX250" fmla="*/ 125794 w 1539192"/>
                <a:gd name="connsiteY250" fmla="*/ 764431 h 3502575"/>
                <a:gd name="connsiteX251" fmla="*/ 163172 w 1539192"/>
                <a:gd name="connsiteY251" fmla="*/ 786897 h 3502575"/>
                <a:gd name="connsiteX252" fmla="*/ 189416 w 1539192"/>
                <a:gd name="connsiteY252" fmla="*/ 842765 h 3502575"/>
                <a:gd name="connsiteX253" fmla="*/ 220432 w 1539192"/>
                <a:gd name="connsiteY253" fmla="*/ 867220 h 3502575"/>
                <a:gd name="connsiteX254" fmla="*/ 211087 w 1539192"/>
                <a:gd name="connsiteY254" fmla="*/ 905790 h 3502575"/>
                <a:gd name="connsiteX255" fmla="*/ 212479 w 1539192"/>
                <a:gd name="connsiteY255" fmla="*/ 1000825 h 3502575"/>
                <a:gd name="connsiteX256" fmla="*/ 206316 w 1539192"/>
                <a:gd name="connsiteY256" fmla="*/ 1053711 h 3502575"/>
                <a:gd name="connsiteX257" fmla="*/ 186434 w 1539192"/>
                <a:gd name="connsiteY257" fmla="*/ 1061465 h 3502575"/>
                <a:gd name="connsiteX258" fmla="*/ 183253 w 1539192"/>
                <a:gd name="connsiteY258" fmla="*/ 1075780 h 3502575"/>
                <a:gd name="connsiteX259" fmla="*/ 166552 w 1539192"/>
                <a:gd name="connsiteY259" fmla="*/ 1087311 h 3502575"/>
                <a:gd name="connsiteX260" fmla="*/ 168739 w 1539192"/>
                <a:gd name="connsiteY260" fmla="*/ 1057687 h 3502575"/>
                <a:gd name="connsiteX261" fmla="*/ 184247 w 1539192"/>
                <a:gd name="connsiteY261" fmla="*/ 1015339 h 3502575"/>
                <a:gd name="connsiteX262" fmla="*/ 189217 w 1539192"/>
                <a:gd name="connsiteY262" fmla="*/ 977762 h 3502575"/>
                <a:gd name="connsiteX263" fmla="*/ 177487 w 1539192"/>
                <a:gd name="connsiteY263" fmla="*/ 970605 h 3502575"/>
                <a:gd name="connsiteX264" fmla="*/ 168143 w 1539192"/>
                <a:gd name="connsiteY264" fmla="*/ 985119 h 3502575"/>
                <a:gd name="connsiteX265" fmla="*/ 162774 w 1539192"/>
                <a:gd name="connsiteY265" fmla="*/ 998241 h 3502575"/>
                <a:gd name="connsiteX266" fmla="*/ 157208 w 1539192"/>
                <a:gd name="connsiteY266" fmla="*/ 1007386 h 3502575"/>
                <a:gd name="connsiteX267" fmla="*/ 153629 w 1539192"/>
                <a:gd name="connsiteY267" fmla="*/ 1003211 h 3502575"/>
                <a:gd name="connsiteX268" fmla="*/ 153629 w 1539192"/>
                <a:gd name="connsiteY268" fmla="*/ 999036 h 3502575"/>
                <a:gd name="connsiteX269" fmla="*/ 153629 w 1539192"/>
                <a:gd name="connsiteY269" fmla="*/ 986312 h 3502575"/>
                <a:gd name="connsiteX270" fmla="*/ 155617 w 1539192"/>
                <a:gd name="connsiteY270" fmla="*/ 968617 h 3502575"/>
                <a:gd name="connsiteX271" fmla="*/ 175499 w 1539192"/>
                <a:gd name="connsiteY271" fmla="*/ 916129 h 3502575"/>
                <a:gd name="connsiteX272" fmla="*/ 200152 w 1539192"/>
                <a:gd name="connsiteY272" fmla="*/ 865828 h 3502575"/>
                <a:gd name="connsiteX273" fmla="*/ 131162 w 1539192"/>
                <a:gd name="connsiteY273" fmla="*/ 854495 h 3502575"/>
                <a:gd name="connsiteX274" fmla="*/ 114064 w 1539192"/>
                <a:gd name="connsiteY274" fmla="*/ 819304 h 3502575"/>
                <a:gd name="connsiteX275" fmla="*/ 87025 w 1539192"/>
                <a:gd name="connsiteY275" fmla="*/ 790476 h 3502575"/>
                <a:gd name="connsiteX276" fmla="*/ 64359 w 1539192"/>
                <a:gd name="connsiteY276" fmla="*/ 763834 h 3502575"/>
                <a:gd name="connsiteX277" fmla="*/ 34338 w 1539192"/>
                <a:gd name="connsiteY277" fmla="*/ 753098 h 3502575"/>
                <a:gd name="connsiteX278" fmla="*/ 38115 w 1539192"/>
                <a:gd name="connsiteY278" fmla="*/ 770594 h 3502575"/>
                <a:gd name="connsiteX279" fmla="*/ 60184 w 1539192"/>
                <a:gd name="connsiteY279" fmla="*/ 801610 h 3502575"/>
                <a:gd name="connsiteX280" fmla="*/ 68336 w 1539192"/>
                <a:gd name="connsiteY280" fmla="*/ 805586 h 3502575"/>
                <a:gd name="connsiteX281" fmla="*/ 94182 w 1539192"/>
                <a:gd name="connsiteY281" fmla="*/ 834017 h 3502575"/>
                <a:gd name="connsiteX282" fmla="*/ 69529 w 1539192"/>
                <a:gd name="connsiteY282" fmla="*/ 874377 h 3502575"/>
                <a:gd name="connsiteX283" fmla="*/ 66745 w 1539192"/>
                <a:gd name="connsiteY283" fmla="*/ 876166 h 3502575"/>
                <a:gd name="connsiteX284" fmla="*/ 43086 w 1539192"/>
                <a:gd name="connsiteY284" fmla="*/ 902609 h 3502575"/>
                <a:gd name="connsiteX285" fmla="*/ 62968 w 1539192"/>
                <a:gd name="connsiteY285" fmla="*/ 925871 h 3502575"/>
                <a:gd name="connsiteX286" fmla="*/ 67342 w 1539192"/>
                <a:gd name="connsiteY286" fmla="*/ 928456 h 3502575"/>
                <a:gd name="connsiteX287" fmla="*/ 93983 w 1539192"/>
                <a:gd name="connsiteY287" fmla="*/ 1010965 h 3502575"/>
                <a:gd name="connsiteX288" fmla="*/ 65751 w 1539192"/>
                <a:gd name="connsiteY288" fmla="*/ 1045361 h 3502575"/>
                <a:gd name="connsiteX289" fmla="*/ 20421 w 1539192"/>
                <a:gd name="connsiteY289" fmla="*/ 1075382 h 3502575"/>
                <a:gd name="connsiteX290" fmla="*/ 539 w 1539192"/>
                <a:gd name="connsiteY290" fmla="*/ 1111766 h 3502575"/>
                <a:gd name="connsiteX291" fmla="*/ 10480 w 1539192"/>
                <a:gd name="connsiteY291" fmla="*/ 1128864 h 3502575"/>
                <a:gd name="connsiteX292" fmla="*/ 21614 w 1539192"/>
                <a:gd name="connsiteY292" fmla="*/ 1147156 h 3502575"/>
                <a:gd name="connsiteX293" fmla="*/ 48255 w 1539192"/>
                <a:gd name="connsiteY293" fmla="*/ 1172406 h 3502575"/>
                <a:gd name="connsiteX294" fmla="*/ 63564 w 1539192"/>
                <a:gd name="connsiteY294" fmla="*/ 1183539 h 3502575"/>
                <a:gd name="connsiteX295" fmla="*/ 80663 w 1539192"/>
                <a:gd name="connsiteY295" fmla="*/ 1192884 h 3502575"/>
                <a:gd name="connsiteX296" fmla="*/ 90405 w 1539192"/>
                <a:gd name="connsiteY296" fmla="*/ 1188112 h 3502575"/>
                <a:gd name="connsiteX297" fmla="*/ 114660 w 1539192"/>
                <a:gd name="connsiteY297" fmla="*/ 1182148 h 3502575"/>
                <a:gd name="connsiteX298" fmla="*/ 124005 w 1539192"/>
                <a:gd name="connsiteY298" fmla="*/ 1196264 h 3502575"/>
                <a:gd name="connsiteX299" fmla="*/ 124005 w 1539192"/>
                <a:gd name="connsiteY299" fmla="*/ 1200240 h 3502575"/>
                <a:gd name="connsiteX300" fmla="*/ 128975 w 1539192"/>
                <a:gd name="connsiteY300" fmla="*/ 1207596 h 3502575"/>
                <a:gd name="connsiteX301" fmla="*/ 132554 w 1539192"/>
                <a:gd name="connsiteY301" fmla="*/ 1210777 h 3502575"/>
                <a:gd name="connsiteX302" fmla="*/ 135139 w 1539192"/>
                <a:gd name="connsiteY302" fmla="*/ 1212964 h 3502575"/>
                <a:gd name="connsiteX303" fmla="*/ 140904 w 1539192"/>
                <a:gd name="connsiteY303" fmla="*/ 1220519 h 3502575"/>
                <a:gd name="connsiteX304" fmla="*/ 144483 w 1539192"/>
                <a:gd name="connsiteY304" fmla="*/ 1234834 h 3502575"/>
                <a:gd name="connsiteX305" fmla="*/ 146273 w 1539192"/>
                <a:gd name="connsiteY305" fmla="*/ 1244378 h 3502575"/>
                <a:gd name="connsiteX306" fmla="*/ 151044 w 1539192"/>
                <a:gd name="connsiteY306" fmla="*/ 1254915 h 3502575"/>
                <a:gd name="connsiteX307" fmla="*/ 154424 w 1539192"/>
                <a:gd name="connsiteY307" fmla="*/ 1291895 h 3502575"/>
                <a:gd name="connsiteX308" fmla="*/ 150050 w 1539192"/>
                <a:gd name="connsiteY308" fmla="*/ 1296667 h 3502575"/>
                <a:gd name="connsiteX309" fmla="*/ 146074 w 1539192"/>
                <a:gd name="connsiteY309" fmla="*/ 1302035 h 3502575"/>
                <a:gd name="connsiteX310" fmla="*/ 147267 w 1539192"/>
                <a:gd name="connsiteY310" fmla="*/ 1310982 h 3502575"/>
                <a:gd name="connsiteX311" fmla="*/ 149255 w 1539192"/>
                <a:gd name="connsiteY311" fmla="*/ 1320923 h 3502575"/>
                <a:gd name="connsiteX312" fmla="*/ 149255 w 1539192"/>
                <a:gd name="connsiteY312" fmla="*/ 1324501 h 3502575"/>
                <a:gd name="connsiteX313" fmla="*/ 145676 w 1539192"/>
                <a:gd name="connsiteY313" fmla="*/ 1335635 h 3502575"/>
                <a:gd name="connsiteX314" fmla="*/ 141302 w 1539192"/>
                <a:gd name="connsiteY314" fmla="*/ 1342594 h 3502575"/>
                <a:gd name="connsiteX315" fmla="*/ 138916 w 1539192"/>
                <a:gd name="connsiteY315" fmla="*/ 1346173 h 3502575"/>
                <a:gd name="connsiteX316" fmla="*/ 134542 w 1539192"/>
                <a:gd name="connsiteY316" fmla="*/ 1355517 h 3502575"/>
                <a:gd name="connsiteX317" fmla="*/ 126590 w 1539192"/>
                <a:gd name="connsiteY317" fmla="*/ 1370230 h 3502575"/>
                <a:gd name="connsiteX318" fmla="*/ 111281 w 1539192"/>
                <a:gd name="connsiteY318" fmla="*/ 1379773 h 3502575"/>
                <a:gd name="connsiteX319" fmla="*/ 100346 w 1539192"/>
                <a:gd name="connsiteY319" fmla="*/ 1393292 h 3502575"/>
                <a:gd name="connsiteX320" fmla="*/ 107503 w 1539192"/>
                <a:gd name="connsiteY320" fmla="*/ 1409993 h 3502575"/>
                <a:gd name="connsiteX321" fmla="*/ 115058 w 1539192"/>
                <a:gd name="connsiteY321" fmla="*/ 1443593 h 3502575"/>
                <a:gd name="connsiteX322" fmla="*/ 113269 w 1539192"/>
                <a:gd name="connsiteY322" fmla="*/ 1451745 h 3502575"/>
                <a:gd name="connsiteX323" fmla="*/ 115456 w 1539192"/>
                <a:gd name="connsiteY323" fmla="*/ 1482761 h 3502575"/>
                <a:gd name="connsiteX324" fmla="*/ 128379 w 1539192"/>
                <a:gd name="connsiteY324" fmla="*/ 1498070 h 3502575"/>
                <a:gd name="connsiteX325" fmla="*/ 148261 w 1539192"/>
                <a:gd name="connsiteY325" fmla="*/ 1527495 h 3502575"/>
                <a:gd name="connsiteX326" fmla="*/ 146670 w 1539192"/>
                <a:gd name="connsiteY326" fmla="*/ 1564475 h 3502575"/>
                <a:gd name="connsiteX327" fmla="*/ 143688 w 1539192"/>
                <a:gd name="connsiteY327" fmla="*/ 1575410 h 3502575"/>
                <a:gd name="connsiteX328" fmla="*/ 149255 w 1539192"/>
                <a:gd name="connsiteY328" fmla="*/ 1585947 h 3502575"/>
                <a:gd name="connsiteX329" fmla="*/ 155418 w 1539192"/>
                <a:gd name="connsiteY329" fmla="*/ 1596087 h 3502575"/>
                <a:gd name="connsiteX330" fmla="*/ 155418 w 1539192"/>
                <a:gd name="connsiteY330" fmla="*/ 1624319 h 3502575"/>
                <a:gd name="connsiteX331" fmla="*/ 155418 w 1539192"/>
                <a:gd name="connsiteY331" fmla="*/ 1626109 h 3502575"/>
                <a:gd name="connsiteX332" fmla="*/ 177288 w 1539192"/>
                <a:gd name="connsiteY332" fmla="*/ 1669650 h 3502575"/>
                <a:gd name="connsiteX333" fmla="*/ 203333 w 1539192"/>
                <a:gd name="connsiteY333" fmla="*/ 1697484 h 3502575"/>
                <a:gd name="connsiteX334" fmla="*/ 203333 w 1539192"/>
                <a:gd name="connsiteY334" fmla="*/ 1749376 h 3502575"/>
                <a:gd name="connsiteX335" fmla="*/ 201743 w 1539192"/>
                <a:gd name="connsiteY335" fmla="*/ 1752358 h 3502575"/>
                <a:gd name="connsiteX336" fmla="*/ 195381 w 1539192"/>
                <a:gd name="connsiteY336" fmla="*/ 1783573 h 3502575"/>
                <a:gd name="connsiteX337" fmla="*/ 199953 w 1539192"/>
                <a:gd name="connsiteY337" fmla="*/ 1783573 h 3502575"/>
                <a:gd name="connsiteX338" fmla="*/ 205123 w 1539192"/>
                <a:gd name="connsiteY338" fmla="*/ 1783573 h 3502575"/>
                <a:gd name="connsiteX339" fmla="*/ 226794 w 1539192"/>
                <a:gd name="connsiteY339" fmla="*/ 1793911 h 3502575"/>
                <a:gd name="connsiteX340" fmla="*/ 240512 w 1539192"/>
                <a:gd name="connsiteY340" fmla="*/ 1801069 h 3502575"/>
                <a:gd name="connsiteX341" fmla="*/ 247073 w 1539192"/>
                <a:gd name="connsiteY341" fmla="*/ 1801069 h 3502575"/>
                <a:gd name="connsiteX342" fmla="*/ 266955 w 1539192"/>
                <a:gd name="connsiteY342" fmla="*/ 1805045 h 3502575"/>
                <a:gd name="connsiteX343" fmla="*/ 275902 w 1539192"/>
                <a:gd name="connsiteY343" fmla="*/ 1838248 h 3502575"/>
                <a:gd name="connsiteX344" fmla="*/ 275902 w 1539192"/>
                <a:gd name="connsiteY344" fmla="*/ 1844610 h 3502575"/>
                <a:gd name="connsiteX345" fmla="*/ 275902 w 1539192"/>
                <a:gd name="connsiteY345" fmla="*/ 1855744 h 3502575"/>
                <a:gd name="connsiteX346" fmla="*/ 272124 w 1539192"/>
                <a:gd name="connsiteY346" fmla="*/ 1902665 h 3502575"/>
                <a:gd name="connsiteX347" fmla="*/ 253833 w 1539192"/>
                <a:gd name="connsiteY347" fmla="*/ 1924137 h 3502575"/>
                <a:gd name="connsiteX348" fmla="*/ 240512 w 1539192"/>
                <a:gd name="connsiteY348" fmla="*/ 1937060 h 3502575"/>
                <a:gd name="connsiteX349" fmla="*/ 233554 w 1539192"/>
                <a:gd name="connsiteY349" fmla="*/ 1947001 h 3502575"/>
                <a:gd name="connsiteX350" fmla="*/ 225005 w 1539192"/>
                <a:gd name="connsiteY350" fmla="*/ 1975631 h 3502575"/>
                <a:gd name="connsiteX351" fmla="*/ 233156 w 1539192"/>
                <a:gd name="connsiteY351" fmla="*/ 1985970 h 3502575"/>
                <a:gd name="connsiteX352" fmla="*/ 242501 w 1539192"/>
                <a:gd name="connsiteY352" fmla="*/ 2015593 h 3502575"/>
                <a:gd name="connsiteX353" fmla="*/ 242501 w 1539192"/>
                <a:gd name="connsiteY353" fmla="*/ 2026926 h 3502575"/>
                <a:gd name="connsiteX354" fmla="*/ 240711 w 1539192"/>
                <a:gd name="connsiteY354" fmla="*/ 2043826 h 3502575"/>
                <a:gd name="connsiteX355" fmla="*/ 226197 w 1539192"/>
                <a:gd name="connsiteY355" fmla="*/ 2068678 h 3502575"/>
                <a:gd name="connsiteX356" fmla="*/ 224010 w 1539192"/>
                <a:gd name="connsiteY356" fmla="*/ 2071262 h 3502575"/>
                <a:gd name="connsiteX357" fmla="*/ 209894 w 1539192"/>
                <a:gd name="connsiteY357" fmla="*/ 2091144 h 3502575"/>
                <a:gd name="connsiteX358" fmla="*/ 193591 w 1539192"/>
                <a:gd name="connsiteY358" fmla="*/ 2114008 h 3502575"/>
                <a:gd name="connsiteX359" fmla="*/ 186036 w 1539192"/>
                <a:gd name="connsiteY359" fmla="*/ 2122359 h 3502575"/>
                <a:gd name="connsiteX360" fmla="*/ 174505 w 1539192"/>
                <a:gd name="connsiteY360" fmla="*/ 2136077 h 3502575"/>
                <a:gd name="connsiteX361" fmla="*/ 170330 w 1539192"/>
                <a:gd name="connsiteY361" fmla="*/ 2145819 h 3502575"/>
                <a:gd name="connsiteX362" fmla="*/ 170330 w 1539192"/>
                <a:gd name="connsiteY362" fmla="*/ 2145819 h 3502575"/>
                <a:gd name="connsiteX363" fmla="*/ 175101 w 1539192"/>
                <a:gd name="connsiteY363" fmla="*/ 2185583 h 3502575"/>
                <a:gd name="connsiteX364" fmla="*/ 210093 w 1539192"/>
                <a:gd name="connsiteY364" fmla="*/ 2208447 h 3502575"/>
                <a:gd name="connsiteX365" fmla="*/ 228186 w 1539192"/>
                <a:gd name="connsiteY365" fmla="*/ 2217394 h 3502575"/>
                <a:gd name="connsiteX366" fmla="*/ 231367 w 1539192"/>
                <a:gd name="connsiteY366" fmla="*/ 2219183 h 3502575"/>
                <a:gd name="connsiteX367" fmla="*/ 251249 w 1539192"/>
                <a:gd name="connsiteY367" fmla="*/ 2239065 h 3502575"/>
                <a:gd name="connsiteX368" fmla="*/ 245682 w 1539192"/>
                <a:gd name="connsiteY368" fmla="*/ 2253778 h 3502575"/>
                <a:gd name="connsiteX369" fmla="*/ 240314 w 1539192"/>
                <a:gd name="connsiteY369" fmla="*/ 2259146 h 3502575"/>
                <a:gd name="connsiteX370" fmla="*/ 233156 w 1539192"/>
                <a:gd name="connsiteY370" fmla="*/ 2267297 h 3502575"/>
                <a:gd name="connsiteX371" fmla="*/ 230969 w 1539192"/>
                <a:gd name="connsiteY371" fmla="*/ 2272069 h 3502575"/>
                <a:gd name="connsiteX372" fmla="*/ 217251 w 1539192"/>
                <a:gd name="connsiteY372" fmla="*/ 2285390 h 3502575"/>
                <a:gd name="connsiteX373" fmla="*/ 205918 w 1539192"/>
                <a:gd name="connsiteY373" fmla="*/ 2287577 h 3502575"/>
                <a:gd name="connsiteX374" fmla="*/ 196176 w 1539192"/>
                <a:gd name="connsiteY374" fmla="*/ 2289565 h 3502575"/>
                <a:gd name="connsiteX375" fmla="*/ 179873 w 1539192"/>
                <a:gd name="connsiteY375" fmla="*/ 2300102 h 3502575"/>
                <a:gd name="connsiteX376" fmla="*/ 169932 w 1539192"/>
                <a:gd name="connsiteY376" fmla="*/ 2307459 h 3502575"/>
                <a:gd name="connsiteX377" fmla="*/ 166552 w 1539192"/>
                <a:gd name="connsiteY377" fmla="*/ 2309646 h 3502575"/>
                <a:gd name="connsiteX378" fmla="*/ 147863 w 1539192"/>
                <a:gd name="connsiteY378" fmla="*/ 2320779 h 3502575"/>
                <a:gd name="connsiteX379" fmla="*/ 170131 w 1539192"/>
                <a:gd name="connsiteY379" fmla="*/ 2379033 h 3502575"/>
                <a:gd name="connsiteX380" fmla="*/ 159593 w 1539192"/>
                <a:gd name="connsiteY380" fmla="*/ 2405277 h 3502575"/>
                <a:gd name="connsiteX381" fmla="*/ 156213 w 1539192"/>
                <a:gd name="connsiteY381" fmla="*/ 2435497 h 3502575"/>
                <a:gd name="connsiteX382" fmla="*/ 213672 w 1539192"/>
                <a:gd name="connsiteY382" fmla="*/ 2441064 h 3502575"/>
                <a:gd name="connsiteX383" fmla="*/ 230969 w 1539192"/>
                <a:gd name="connsiteY383" fmla="*/ 2438877 h 3502575"/>
                <a:gd name="connsiteX384" fmla="*/ 310496 w 1539192"/>
                <a:gd name="connsiteY384" fmla="*/ 2455578 h 3502575"/>
                <a:gd name="connsiteX385" fmla="*/ 318250 w 1539192"/>
                <a:gd name="connsiteY385" fmla="*/ 2466513 h 3502575"/>
                <a:gd name="connsiteX386" fmla="*/ 325607 w 1539192"/>
                <a:gd name="connsiteY386" fmla="*/ 2475659 h 3502575"/>
                <a:gd name="connsiteX387" fmla="*/ 332963 w 1539192"/>
                <a:gd name="connsiteY387" fmla="*/ 2478840 h 3502575"/>
                <a:gd name="connsiteX388" fmla="*/ 350061 w 1539192"/>
                <a:gd name="connsiteY388" fmla="*/ 2492558 h 3502575"/>
                <a:gd name="connsiteX389" fmla="*/ 355628 w 1539192"/>
                <a:gd name="connsiteY389" fmla="*/ 2512440 h 3502575"/>
                <a:gd name="connsiteX390" fmla="*/ 375510 w 1539192"/>
                <a:gd name="connsiteY390" fmla="*/ 2532322 h 3502575"/>
                <a:gd name="connsiteX391" fmla="*/ 379884 w 1539192"/>
                <a:gd name="connsiteY391" fmla="*/ 2532322 h 3502575"/>
                <a:gd name="connsiteX392" fmla="*/ 410104 w 1539192"/>
                <a:gd name="connsiteY392" fmla="*/ 2539678 h 3502575"/>
                <a:gd name="connsiteX393" fmla="*/ 416864 w 1539192"/>
                <a:gd name="connsiteY393" fmla="*/ 2573875 h 3502575"/>
                <a:gd name="connsiteX394" fmla="*/ 400959 w 1539192"/>
                <a:gd name="connsiteY394" fmla="*/ 2589383 h 3502575"/>
                <a:gd name="connsiteX395" fmla="*/ 392608 w 1539192"/>
                <a:gd name="connsiteY395" fmla="*/ 2595149 h 3502575"/>
                <a:gd name="connsiteX396" fmla="*/ 370937 w 1539192"/>
                <a:gd name="connsiteY396" fmla="*/ 2623182 h 3502575"/>
                <a:gd name="connsiteX397" fmla="*/ 370937 w 1539192"/>
                <a:gd name="connsiteY397" fmla="*/ 2675272 h 3502575"/>
                <a:gd name="connsiteX398" fmla="*/ 390819 w 1539192"/>
                <a:gd name="connsiteY398" fmla="*/ 2693166 h 3502575"/>
                <a:gd name="connsiteX399" fmla="*/ 402549 w 1539192"/>
                <a:gd name="connsiteY399" fmla="*/ 2697739 h 3502575"/>
                <a:gd name="connsiteX400" fmla="*/ 425811 w 1539192"/>
                <a:gd name="connsiteY400" fmla="*/ 2705493 h 3502575"/>
                <a:gd name="connsiteX401" fmla="*/ 434161 w 1539192"/>
                <a:gd name="connsiteY401" fmla="*/ 2705493 h 3502575"/>
                <a:gd name="connsiteX402" fmla="*/ 460206 w 1539192"/>
                <a:gd name="connsiteY402" fmla="*/ 2714439 h 3502575"/>
                <a:gd name="connsiteX403" fmla="*/ 459212 w 1539192"/>
                <a:gd name="connsiteY403" fmla="*/ 2741280 h 3502575"/>
                <a:gd name="connsiteX404" fmla="*/ 434360 w 1539192"/>
                <a:gd name="connsiteY404" fmla="*/ 2777465 h 3502575"/>
                <a:gd name="connsiteX405" fmla="*/ 421039 w 1539192"/>
                <a:gd name="connsiteY405" fmla="*/ 2794165 h 3502575"/>
                <a:gd name="connsiteX406" fmla="*/ 415075 w 1539192"/>
                <a:gd name="connsiteY406" fmla="*/ 2801522 h 3502575"/>
                <a:gd name="connsiteX407" fmla="*/ 402748 w 1539192"/>
                <a:gd name="connsiteY407" fmla="*/ 2821403 h 3502575"/>
                <a:gd name="connsiteX408" fmla="*/ 404736 w 1539192"/>
                <a:gd name="connsiteY408" fmla="*/ 2824784 h 3502575"/>
                <a:gd name="connsiteX409" fmla="*/ 408911 w 1539192"/>
                <a:gd name="connsiteY409" fmla="*/ 2832736 h 3502575"/>
                <a:gd name="connsiteX410" fmla="*/ 406923 w 1539192"/>
                <a:gd name="connsiteY410" fmla="*/ 2844665 h 3502575"/>
                <a:gd name="connsiteX411" fmla="*/ 405333 w 1539192"/>
                <a:gd name="connsiteY411" fmla="*/ 2847648 h 3502575"/>
                <a:gd name="connsiteX412" fmla="*/ 404140 w 1539192"/>
                <a:gd name="connsiteY412" fmla="*/ 2852022 h 3502575"/>
                <a:gd name="connsiteX413" fmla="*/ 404140 w 1539192"/>
                <a:gd name="connsiteY413" fmla="*/ 2862957 h 3502575"/>
                <a:gd name="connsiteX414" fmla="*/ 404140 w 1539192"/>
                <a:gd name="connsiteY414" fmla="*/ 2862957 h 3502575"/>
                <a:gd name="connsiteX415" fmla="*/ 404140 w 1539192"/>
                <a:gd name="connsiteY415" fmla="*/ 2876874 h 3502575"/>
                <a:gd name="connsiteX416" fmla="*/ 401953 w 1539192"/>
                <a:gd name="connsiteY416" fmla="*/ 2887013 h 3502575"/>
                <a:gd name="connsiteX417" fmla="*/ 401953 w 1539192"/>
                <a:gd name="connsiteY417" fmla="*/ 2904708 h 3502575"/>
                <a:gd name="connsiteX418" fmla="*/ 413087 w 1539192"/>
                <a:gd name="connsiteY418" fmla="*/ 2912860 h 3502575"/>
                <a:gd name="connsiteX419" fmla="*/ 425811 w 1539192"/>
                <a:gd name="connsiteY419" fmla="*/ 2921608 h 3502575"/>
                <a:gd name="connsiteX420" fmla="*/ 431179 w 1539192"/>
                <a:gd name="connsiteY420" fmla="*/ 2930753 h 3502575"/>
                <a:gd name="connsiteX421" fmla="*/ 433366 w 1539192"/>
                <a:gd name="connsiteY421" fmla="*/ 2935326 h 3502575"/>
                <a:gd name="connsiteX422" fmla="*/ 437740 w 1539192"/>
                <a:gd name="connsiteY422" fmla="*/ 2940297 h 3502575"/>
                <a:gd name="connsiteX423" fmla="*/ 442313 w 1539192"/>
                <a:gd name="connsiteY423" fmla="*/ 2945068 h 3502575"/>
                <a:gd name="connsiteX424" fmla="*/ 452850 w 1539192"/>
                <a:gd name="connsiteY424" fmla="*/ 2982248 h 3502575"/>
                <a:gd name="connsiteX425" fmla="*/ 436348 w 1539192"/>
                <a:gd name="connsiteY425" fmla="*/ 3005907 h 3502575"/>
                <a:gd name="connsiteX426" fmla="*/ 404140 w 1539192"/>
                <a:gd name="connsiteY426" fmla="*/ 3029566 h 3502575"/>
                <a:gd name="connsiteX427" fmla="*/ 430384 w 1539192"/>
                <a:gd name="connsiteY427" fmla="*/ 3061377 h 3502575"/>
                <a:gd name="connsiteX428" fmla="*/ 440523 w 1539192"/>
                <a:gd name="connsiteY428" fmla="*/ 3074698 h 3502575"/>
                <a:gd name="connsiteX429" fmla="*/ 479094 w 1539192"/>
                <a:gd name="connsiteY429" fmla="*/ 3080464 h 3502575"/>
                <a:gd name="connsiteX430" fmla="*/ 491023 w 1539192"/>
                <a:gd name="connsiteY430" fmla="*/ 3076885 h 3502575"/>
                <a:gd name="connsiteX431" fmla="*/ 514086 w 1539192"/>
                <a:gd name="connsiteY431" fmla="*/ 3076885 h 3502575"/>
                <a:gd name="connsiteX432" fmla="*/ 527208 w 1539192"/>
                <a:gd name="connsiteY432" fmla="*/ 3078078 h 3502575"/>
                <a:gd name="connsiteX433" fmla="*/ 538342 w 1539192"/>
                <a:gd name="connsiteY433" fmla="*/ 3075493 h 3502575"/>
                <a:gd name="connsiteX434" fmla="*/ 562797 w 1539192"/>
                <a:gd name="connsiteY434" fmla="*/ 3074300 h 3502575"/>
                <a:gd name="connsiteX435" fmla="*/ 574527 w 1539192"/>
                <a:gd name="connsiteY435" fmla="*/ 3114064 h 3502575"/>
                <a:gd name="connsiteX436" fmla="*/ 573135 w 1539192"/>
                <a:gd name="connsiteY436" fmla="*/ 3126391 h 3502575"/>
                <a:gd name="connsiteX437" fmla="*/ 583474 w 1539192"/>
                <a:gd name="connsiteY437" fmla="*/ 3144086 h 3502575"/>
                <a:gd name="connsiteX438" fmla="*/ 603356 w 1539192"/>
                <a:gd name="connsiteY438" fmla="*/ 3174107 h 3502575"/>
                <a:gd name="connsiteX439" fmla="*/ 605344 w 1539192"/>
                <a:gd name="connsiteY439" fmla="*/ 3178282 h 3502575"/>
                <a:gd name="connsiteX440" fmla="*/ 621846 w 1539192"/>
                <a:gd name="connsiteY440" fmla="*/ 3207111 h 3502575"/>
                <a:gd name="connsiteX441" fmla="*/ 644113 w 1539192"/>
                <a:gd name="connsiteY441" fmla="*/ 3250254 h 3502575"/>
                <a:gd name="connsiteX442" fmla="*/ 644113 w 1539192"/>
                <a:gd name="connsiteY442" fmla="*/ 3322226 h 3502575"/>
                <a:gd name="connsiteX443" fmla="*/ 629401 w 1539192"/>
                <a:gd name="connsiteY443" fmla="*/ 3336939 h 3502575"/>
                <a:gd name="connsiteX444" fmla="*/ 621448 w 1539192"/>
                <a:gd name="connsiteY444" fmla="*/ 3343102 h 3502575"/>
                <a:gd name="connsiteX445" fmla="*/ 612899 w 1539192"/>
                <a:gd name="connsiteY445" fmla="*/ 3363978 h 3502575"/>
                <a:gd name="connsiteX446" fmla="*/ 609121 w 1539192"/>
                <a:gd name="connsiteY446" fmla="*/ 3378094 h 3502575"/>
                <a:gd name="connsiteX447" fmla="*/ 585661 w 1539192"/>
                <a:gd name="connsiteY447" fmla="*/ 3407718 h 3502575"/>
                <a:gd name="connsiteX448" fmla="*/ 575919 w 1539192"/>
                <a:gd name="connsiteY448" fmla="*/ 3411695 h 3502575"/>
                <a:gd name="connsiteX449" fmla="*/ 559616 w 1539192"/>
                <a:gd name="connsiteY449" fmla="*/ 3423226 h 3502575"/>
                <a:gd name="connsiteX450" fmla="*/ 553651 w 1539192"/>
                <a:gd name="connsiteY450" fmla="*/ 3434161 h 3502575"/>
                <a:gd name="connsiteX451" fmla="*/ 541126 w 1539192"/>
                <a:gd name="connsiteY451" fmla="*/ 3454043 h 3502575"/>
                <a:gd name="connsiteX452" fmla="*/ 538740 w 1539192"/>
                <a:gd name="connsiteY452" fmla="*/ 3456429 h 3502575"/>
                <a:gd name="connsiteX453" fmla="*/ 556037 w 1539192"/>
                <a:gd name="connsiteY453" fmla="*/ 3472931 h 3502575"/>
                <a:gd name="connsiteX454" fmla="*/ 588047 w 1539192"/>
                <a:gd name="connsiteY454" fmla="*/ 3483866 h 3502575"/>
                <a:gd name="connsiteX455" fmla="*/ 600373 w 1539192"/>
                <a:gd name="connsiteY455" fmla="*/ 3483866 h 3502575"/>
                <a:gd name="connsiteX456" fmla="*/ 641131 w 1539192"/>
                <a:gd name="connsiteY456" fmla="*/ 3493807 h 3502575"/>
                <a:gd name="connsiteX457" fmla="*/ 707536 w 1539192"/>
                <a:gd name="connsiteY457" fmla="*/ 3498578 h 3502575"/>
                <a:gd name="connsiteX458" fmla="*/ 732389 w 1539192"/>
                <a:gd name="connsiteY458" fmla="*/ 3478697 h 3502575"/>
                <a:gd name="connsiteX459" fmla="*/ 743324 w 1539192"/>
                <a:gd name="connsiteY459" fmla="*/ 3468159 h 3502575"/>
                <a:gd name="connsiteX460" fmla="*/ 756048 w 1539192"/>
                <a:gd name="connsiteY460" fmla="*/ 3459013 h 3502575"/>
                <a:gd name="connsiteX461" fmla="*/ 780900 w 1539192"/>
                <a:gd name="connsiteY461" fmla="*/ 3429191 h 3502575"/>
                <a:gd name="connsiteX462" fmla="*/ 794619 w 1539192"/>
                <a:gd name="connsiteY462" fmla="*/ 3404935 h 3502575"/>
                <a:gd name="connsiteX463" fmla="*/ 800583 w 1539192"/>
                <a:gd name="connsiteY463" fmla="*/ 3398573 h 3502575"/>
                <a:gd name="connsiteX464" fmla="*/ 807343 w 1539192"/>
                <a:gd name="connsiteY464" fmla="*/ 3383065 h 3502575"/>
                <a:gd name="connsiteX465" fmla="*/ 823845 w 1539192"/>
                <a:gd name="connsiteY465" fmla="*/ 3357020 h 3502575"/>
                <a:gd name="connsiteX466" fmla="*/ 831201 w 1539192"/>
                <a:gd name="connsiteY466" fmla="*/ 3353043 h 3502575"/>
                <a:gd name="connsiteX467" fmla="*/ 840943 w 1539192"/>
                <a:gd name="connsiteY467" fmla="*/ 3345289 h 3502575"/>
                <a:gd name="connsiteX468" fmla="*/ 844920 w 1539192"/>
                <a:gd name="connsiteY468" fmla="*/ 3331372 h 3502575"/>
                <a:gd name="connsiteX469" fmla="*/ 844920 w 1539192"/>
                <a:gd name="connsiteY469" fmla="*/ 3326799 h 3502575"/>
                <a:gd name="connsiteX470" fmla="*/ 862416 w 1539192"/>
                <a:gd name="connsiteY470" fmla="*/ 3292603 h 3502575"/>
                <a:gd name="connsiteX471" fmla="*/ 890051 w 1539192"/>
                <a:gd name="connsiteY471" fmla="*/ 3285445 h 3502575"/>
                <a:gd name="connsiteX472" fmla="*/ 896811 w 1539192"/>
                <a:gd name="connsiteY472" fmla="*/ 3285445 h 3502575"/>
                <a:gd name="connsiteX473" fmla="*/ 926833 w 1539192"/>
                <a:gd name="connsiteY473" fmla="*/ 3274709 h 3502575"/>
                <a:gd name="connsiteX474" fmla="*/ 955661 w 1539192"/>
                <a:gd name="connsiteY474" fmla="*/ 3266955 h 3502575"/>
                <a:gd name="connsiteX475" fmla="*/ 972561 w 1539192"/>
                <a:gd name="connsiteY475" fmla="*/ 3263575 h 3502575"/>
                <a:gd name="connsiteX476" fmla="*/ 980911 w 1539192"/>
                <a:gd name="connsiteY476" fmla="*/ 3261985 h 3502575"/>
                <a:gd name="connsiteX477" fmla="*/ 989659 w 1539192"/>
                <a:gd name="connsiteY477" fmla="*/ 3259997 h 3502575"/>
                <a:gd name="connsiteX478" fmla="*/ 997413 w 1539192"/>
                <a:gd name="connsiteY478" fmla="*/ 3253436 h 3502575"/>
                <a:gd name="connsiteX479" fmla="*/ 999998 w 1539192"/>
                <a:gd name="connsiteY479" fmla="*/ 3250851 h 3502575"/>
                <a:gd name="connsiteX480" fmla="*/ 992840 w 1539192"/>
                <a:gd name="connsiteY480" fmla="*/ 3246079 h 3502575"/>
                <a:gd name="connsiteX481" fmla="*/ 976736 w 1539192"/>
                <a:gd name="connsiteY481" fmla="*/ 3234548 h 3502575"/>
                <a:gd name="connsiteX482" fmla="*/ 956854 w 1539192"/>
                <a:gd name="connsiteY482" fmla="*/ 3214666 h 3502575"/>
                <a:gd name="connsiteX483" fmla="*/ 945721 w 1539192"/>
                <a:gd name="connsiteY483" fmla="*/ 3201544 h 3502575"/>
                <a:gd name="connsiteX484" fmla="*/ 935581 w 1539192"/>
                <a:gd name="connsiteY484" fmla="*/ 3194187 h 3502575"/>
                <a:gd name="connsiteX485" fmla="*/ 921266 w 1539192"/>
                <a:gd name="connsiteY485" fmla="*/ 3182855 h 3502575"/>
                <a:gd name="connsiteX486" fmla="*/ 921825 w 1539192"/>
                <a:gd name="connsiteY486" fmla="*/ 3160647 h 3502575"/>
                <a:gd name="connsiteX487" fmla="*/ 924845 w 1539192"/>
                <a:gd name="connsiteY487" fmla="*/ 3158400 h 3502575"/>
                <a:gd name="connsiteX488" fmla="*/ 930213 w 1539192"/>
                <a:gd name="connsiteY488" fmla="*/ 3152834 h 3502575"/>
                <a:gd name="connsiteX489" fmla="*/ 935183 w 1539192"/>
                <a:gd name="connsiteY489" fmla="*/ 3145278 h 3502575"/>
                <a:gd name="connsiteX490" fmla="*/ 959837 w 1539192"/>
                <a:gd name="connsiteY490" fmla="*/ 3130168 h 3502575"/>
                <a:gd name="connsiteX491" fmla="*/ 978327 w 1539192"/>
                <a:gd name="connsiteY491" fmla="*/ 3120426 h 3502575"/>
                <a:gd name="connsiteX492" fmla="*/ 985882 w 1539192"/>
                <a:gd name="connsiteY492" fmla="*/ 3093983 h 3502575"/>
                <a:gd name="connsiteX493" fmla="*/ 985882 w 1539192"/>
                <a:gd name="connsiteY493" fmla="*/ 3074101 h 3502575"/>
                <a:gd name="connsiteX494" fmla="*/ 984291 w 1539192"/>
                <a:gd name="connsiteY494" fmla="*/ 3054220 h 3502575"/>
                <a:gd name="connsiteX495" fmla="*/ 990256 w 1539192"/>
                <a:gd name="connsiteY495" fmla="*/ 3034338 h 3502575"/>
                <a:gd name="connsiteX496" fmla="*/ 995425 w 1539192"/>
                <a:gd name="connsiteY496" fmla="*/ 3015848 h 3502575"/>
                <a:gd name="connsiteX497" fmla="*/ 989858 w 1539192"/>
                <a:gd name="connsiteY497" fmla="*/ 2999942 h 3502575"/>
                <a:gd name="connsiteX498" fmla="*/ 983297 w 1539192"/>
                <a:gd name="connsiteY498" fmla="*/ 2982248 h 3502575"/>
                <a:gd name="connsiteX499" fmla="*/ 988466 w 1539192"/>
                <a:gd name="connsiteY499" fmla="*/ 2957395 h 3502575"/>
                <a:gd name="connsiteX500" fmla="*/ 991051 w 1539192"/>
                <a:gd name="connsiteY500" fmla="*/ 2949641 h 3502575"/>
                <a:gd name="connsiteX501" fmla="*/ 1016102 w 1539192"/>
                <a:gd name="connsiteY501" fmla="*/ 2921807 h 3502575"/>
                <a:gd name="connsiteX502" fmla="*/ 1021669 w 1539192"/>
                <a:gd name="connsiteY502" fmla="*/ 2920216 h 3502575"/>
                <a:gd name="connsiteX503" fmla="*/ 1033399 w 1539192"/>
                <a:gd name="connsiteY503" fmla="*/ 2909878 h 3502575"/>
                <a:gd name="connsiteX504" fmla="*/ 1033399 w 1539192"/>
                <a:gd name="connsiteY504" fmla="*/ 2903714 h 3502575"/>
                <a:gd name="connsiteX505" fmla="*/ 1036183 w 1539192"/>
                <a:gd name="connsiteY505" fmla="*/ 2891387 h 3502575"/>
                <a:gd name="connsiteX506" fmla="*/ 1042346 w 1539192"/>
                <a:gd name="connsiteY506" fmla="*/ 2884230 h 3502575"/>
                <a:gd name="connsiteX507" fmla="*/ 1045130 w 1539192"/>
                <a:gd name="connsiteY507" fmla="*/ 2881646 h 3502575"/>
                <a:gd name="connsiteX508" fmla="*/ 1046521 w 1539192"/>
                <a:gd name="connsiteY508" fmla="*/ 2864746 h 3502575"/>
                <a:gd name="connsiteX509" fmla="*/ 1043937 w 1539192"/>
                <a:gd name="connsiteY509" fmla="*/ 2856992 h 3502575"/>
                <a:gd name="connsiteX510" fmla="*/ 1032405 w 1539192"/>
                <a:gd name="connsiteY510" fmla="*/ 2837110 h 3502575"/>
                <a:gd name="connsiteX511" fmla="*/ 1014313 w 1539192"/>
                <a:gd name="connsiteY511" fmla="*/ 2811462 h 3502575"/>
                <a:gd name="connsiteX512" fmla="*/ 1020874 w 1539192"/>
                <a:gd name="connsiteY512" fmla="*/ 2747841 h 3502575"/>
                <a:gd name="connsiteX513" fmla="*/ 1024452 w 1539192"/>
                <a:gd name="connsiteY513" fmla="*/ 2735713 h 3502575"/>
                <a:gd name="connsiteX514" fmla="*/ 1073362 w 1539192"/>
                <a:gd name="connsiteY514" fmla="*/ 2693365 h 3502575"/>
                <a:gd name="connsiteX515" fmla="*/ 1091057 w 1539192"/>
                <a:gd name="connsiteY515" fmla="*/ 2694756 h 3502575"/>
                <a:gd name="connsiteX516" fmla="*/ 1134399 w 1539192"/>
                <a:gd name="connsiteY516" fmla="*/ 2689985 h 3502575"/>
                <a:gd name="connsiteX517" fmla="*/ 1145135 w 1539192"/>
                <a:gd name="connsiteY517" fmla="*/ 2672687 h 3502575"/>
                <a:gd name="connsiteX518" fmla="*/ 1167800 w 1539192"/>
                <a:gd name="connsiteY518" fmla="*/ 2647040 h 3502575"/>
                <a:gd name="connsiteX519" fmla="*/ 1190068 w 1539192"/>
                <a:gd name="connsiteY519" fmla="*/ 2656981 h 3502575"/>
                <a:gd name="connsiteX520" fmla="*/ 1192454 w 1539192"/>
                <a:gd name="connsiteY520" fmla="*/ 2659963 h 3502575"/>
                <a:gd name="connsiteX521" fmla="*/ 1201401 w 1539192"/>
                <a:gd name="connsiteY521" fmla="*/ 2670699 h 3502575"/>
                <a:gd name="connsiteX522" fmla="*/ 1215318 w 1539192"/>
                <a:gd name="connsiteY522" fmla="*/ 2687997 h 3502575"/>
                <a:gd name="connsiteX523" fmla="*/ 1220487 w 1539192"/>
                <a:gd name="connsiteY523" fmla="*/ 2696148 h 3502575"/>
                <a:gd name="connsiteX524" fmla="*/ 1238977 w 1539192"/>
                <a:gd name="connsiteY524" fmla="*/ 2717819 h 3502575"/>
                <a:gd name="connsiteX525" fmla="*/ 1245141 w 1539192"/>
                <a:gd name="connsiteY525" fmla="*/ 2718813 h 3502575"/>
                <a:gd name="connsiteX526" fmla="*/ 1243948 w 1539192"/>
                <a:gd name="connsiteY526" fmla="*/ 2694160 h 3502575"/>
                <a:gd name="connsiteX527" fmla="*/ 1245538 w 1539192"/>
                <a:gd name="connsiteY527" fmla="*/ 2660957 h 3502575"/>
                <a:gd name="connsiteX528" fmla="*/ 1253093 w 1539192"/>
                <a:gd name="connsiteY528" fmla="*/ 2643859 h 3502575"/>
                <a:gd name="connsiteX529" fmla="*/ 1258263 w 1539192"/>
                <a:gd name="connsiteY529" fmla="*/ 2629146 h 3502575"/>
                <a:gd name="connsiteX530" fmla="*/ 1298026 w 1539192"/>
                <a:gd name="connsiteY530" fmla="*/ 2578249 h 3502575"/>
                <a:gd name="connsiteX531" fmla="*/ 1317908 w 1539192"/>
                <a:gd name="connsiteY531" fmla="*/ 2555385 h 3502575"/>
                <a:gd name="connsiteX532" fmla="*/ 1323674 w 1539192"/>
                <a:gd name="connsiteY532" fmla="*/ 2546438 h 3502575"/>
                <a:gd name="connsiteX533" fmla="*/ 1332820 w 1539192"/>
                <a:gd name="connsiteY533" fmla="*/ 2528346 h 3502575"/>
                <a:gd name="connsiteX534" fmla="*/ 1327650 w 1539192"/>
                <a:gd name="connsiteY534" fmla="*/ 2511247 h 3502575"/>
                <a:gd name="connsiteX535" fmla="*/ 1325662 w 1539192"/>
                <a:gd name="connsiteY535" fmla="*/ 2482418 h 3502575"/>
                <a:gd name="connsiteX536" fmla="*/ 1325662 w 1539192"/>
                <a:gd name="connsiteY536" fmla="*/ 2482418 h 3502575"/>
                <a:gd name="connsiteX537" fmla="*/ 1333416 w 1539192"/>
                <a:gd name="connsiteY537" fmla="*/ 2473273 h 3502575"/>
                <a:gd name="connsiteX538" fmla="*/ 1366221 w 1539192"/>
                <a:gd name="connsiteY538" fmla="*/ 2457566 h 3502575"/>
                <a:gd name="connsiteX539" fmla="*/ 1382325 w 1539192"/>
                <a:gd name="connsiteY539" fmla="*/ 2469893 h 3502575"/>
                <a:gd name="connsiteX540" fmla="*/ 1384512 w 1539192"/>
                <a:gd name="connsiteY540" fmla="*/ 2473472 h 3502575"/>
                <a:gd name="connsiteX541" fmla="*/ 1431433 w 1539192"/>
                <a:gd name="connsiteY541" fmla="*/ 2503294 h 3502575"/>
                <a:gd name="connsiteX542" fmla="*/ 1443561 w 1539192"/>
                <a:gd name="connsiteY542" fmla="*/ 2508464 h 3502575"/>
                <a:gd name="connsiteX543" fmla="*/ 1481337 w 1539192"/>
                <a:gd name="connsiteY543" fmla="*/ 2518405 h 3502575"/>
                <a:gd name="connsiteX544" fmla="*/ 1484916 w 1539192"/>
                <a:gd name="connsiteY544" fmla="*/ 2513036 h 3502575"/>
                <a:gd name="connsiteX545" fmla="*/ 1484916 w 1539192"/>
                <a:gd name="connsiteY545" fmla="*/ 2503294 h 3502575"/>
                <a:gd name="connsiteX546" fmla="*/ 1486506 w 1539192"/>
                <a:gd name="connsiteY546" fmla="*/ 2483413 h 3502575"/>
                <a:gd name="connsiteX547" fmla="*/ 1495254 w 1539192"/>
                <a:gd name="connsiteY547" fmla="*/ 2469297 h 3502575"/>
                <a:gd name="connsiteX548" fmla="*/ 1502809 w 1539192"/>
                <a:gd name="connsiteY548" fmla="*/ 2457169 h 3502575"/>
                <a:gd name="connsiteX549" fmla="*/ 1490129 w 1539192"/>
                <a:gd name="connsiteY549" fmla="*/ 2416948 h 3502575"/>
                <a:gd name="connsiteX550" fmla="*/ 1487699 w 1539192"/>
                <a:gd name="connsiteY550" fmla="*/ 2415814 h 3502575"/>
                <a:gd name="connsiteX551" fmla="*/ 1482530 w 1539192"/>
                <a:gd name="connsiteY551" fmla="*/ 2413826 h 3502575"/>
                <a:gd name="connsiteX552" fmla="*/ 1461455 w 1539192"/>
                <a:gd name="connsiteY552" fmla="*/ 2392155 h 3502575"/>
                <a:gd name="connsiteX553" fmla="*/ 1476366 w 1539192"/>
                <a:gd name="connsiteY553" fmla="*/ 2360742 h 3502575"/>
                <a:gd name="connsiteX554" fmla="*/ 1487500 w 1539192"/>
                <a:gd name="connsiteY554" fmla="*/ 2314616 h 3502575"/>
                <a:gd name="connsiteX555" fmla="*/ 1470601 w 1539192"/>
                <a:gd name="connsiteY555" fmla="*/ 2308651 h 3502575"/>
                <a:gd name="connsiteX556" fmla="*/ 1444555 w 1539192"/>
                <a:gd name="connsiteY556" fmla="*/ 2305669 h 3502575"/>
                <a:gd name="connsiteX557" fmla="*/ 1412148 w 1539192"/>
                <a:gd name="connsiteY557" fmla="*/ 2250000 h 3502575"/>
                <a:gd name="connsiteX558" fmla="*/ 1408569 w 1539192"/>
                <a:gd name="connsiteY558" fmla="*/ 2222166 h 3502575"/>
                <a:gd name="connsiteX559" fmla="*/ 1418311 w 1539192"/>
                <a:gd name="connsiteY559" fmla="*/ 2200097 h 3502575"/>
                <a:gd name="connsiteX560" fmla="*/ 1422288 w 1539192"/>
                <a:gd name="connsiteY560" fmla="*/ 2194927 h 3502575"/>
                <a:gd name="connsiteX561" fmla="*/ 1424276 w 1539192"/>
                <a:gd name="connsiteY561" fmla="*/ 2185583 h 3502575"/>
                <a:gd name="connsiteX562" fmla="*/ 1422884 w 1539192"/>
                <a:gd name="connsiteY562" fmla="*/ 2183396 h 3502575"/>
                <a:gd name="connsiteX563" fmla="*/ 1419305 w 1539192"/>
                <a:gd name="connsiteY563" fmla="*/ 2174052 h 3502575"/>
                <a:gd name="connsiteX564" fmla="*/ 1430638 w 1539192"/>
                <a:gd name="connsiteY564" fmla="*/ 2158941 h 3502575"/>
                <a:gd name="connsiteX565" fmla="*/ 1435807 w 1539192"/>
                <a:gd name="connsiteY565" fmla="*/ 2155561 h 3502575"/>
                <a:gd name="connsiteX566" fmla="*/ 1448730 w 1539192"/>
                <a:gd name="connsiteY566" fmla="*/ 2140252 h 3502575"/>
                <a:gd name="connsiteX567" fmla="*/ 1451514 w 1539192"/>
                <a:gd name="connsiteY567" fmla="*/ 2136077 h 3502575"/>
                <a:gd name="connsiteX568" fmla="*/ 1459467 w 1539192"/>
                <a:gd name="connsiteY568" fmla="*/ 2126335 h 3502575"/>
                <a:gd name="connsiteX569" fmla="*/ 1469805 w 1539192"/>
                <a:gd name="connsiteY569" fmla="*/ 2110629 h 3502575"/>
                <a:gd name="connsiteX570" fmla="*/ 1472191 w 1539192"/>
                <a:gd name="connsiteY570" fmla="*/ 2097308 h 3502575"/>
                <a:gd name="connsiteX571" fmla="*/ 1479746 w 1539192"/>
                <a:gd name="connsiteY571" fmla="*/ 2072257 h 3502575"/>
                <a:gd name="connsiteX572" fmla="*/ 1483722 w 1539192"/>
                <a:gd name="connsiteY572" fmla="*/ 2066292 h 3502575"/>
                <a:gd name="connsiteX573" fmla="*/ 1488693 w 1539192"/>
                <a:gd name="connsiteY573" fmla="*/ 2048597 h 3502575"/>
                <a:gd name="connsiteX574" fmla="*/ 1485313 w 1539192"/>
                <a:gd name="connsiteY574" fmla="*/ 2041042 h 3502575"/>
                <a:gd name="connsiteX575" fmla="*/ 1485313 w 1539192"/>
                <a:gd name="connsiteY575" fmla="*/ 2018178 h 3502575"/>
                <a:gd name="connsiteX576" fmla="*/ 1488097 w 1539192"/>
                <a:gd name="connsiteY576" fmla="*/ 2013009 h 3502575"/>
                <a:gd name="connsiteX577" fmla="*/ 1493465 w 1539192"/>
                <a:gd name="connsiteY577" fmla="*/ 1997302 h 3502575"/>
                <a:gd name="connsiteX578" fmla="*/ 1475372 w 1539192"/>
                <a:gd name="connsiteY578" fmla="*/ 1974239 h 3502575"/>
                <a:gd name="connsiteX579" fmla="*/ 1455490 w 1539192"/>
                <a:gd name="connsiteY579" fmla="*/ 1955948 h 3502575"/>
                <a:gd name="connsiteX580" fmla="*/ 1455490 w 1539192"/>
                <a:gd name="connsiteY580" fmla="*/ 1936066 h 3502575"/>
                <a:gd name="connsiteX581" fmla="*/ 1457677 w 1539192"/>
                <a:gd name="connsiteY581" fmla="*/ 1929306 h 3502575"/>
                <a:gd name="connsiteX582" fmla="*/ 1457677 w 1539192"/>
                <a:gd name="connsiteY582" fmla="*/ 1921950 h 3502575"/>
                <a:gd name="connsiteX583" fmla="*/ 1457677 w 1539192"/>
                <a:gd name="connsiteY583" fmla="*/ 1907635 h 3502575"/>
                <a:gd name="connsiteX584" fmla="*/ 1465829 w 1539192"/>
                <a:gd name="connsiteY584" fmla="*/ 1896104 h 3502575"/>
                <a:gd name="connsiteX585" fmla="*/ 1467817 w 1539192"/>
                <a:gd name="connsiteY585" fmla="*/ 1886362 h 3502575"/>
                <a:gd name="connsiteX586" fmla="*/ 1463244 w 1539192"/>
                <a:gd name="connsiteY586" fmla="*/ 1877017 h 3502575"/>
                <a:gd name="connsiteX587" fmla="*/ 1456087 w 1539192"/>
                <a:gd name="connsiteY587" fmla="*/ 1859521 h 3502575"/>
                <a:gd name="connsiteX588" fmla="*/ 1475969 w 1539192"/>
                <a:gd name="connsiteY588" fmla="*/ 1812202 h 3502575"/>
                <a:gd name="connsiteX589" fmla="*/ 1488494 w 1539192"/>
                <a:gd name="connsiteY589" fmla="*/ 1809817 h 3502575"/>
                <a:gd name="connsiteX590" fmla="*/ 1498833 w 1539192"/>
                <a:gd name="connsiteY590" fmla="*/ 1807630 h 3502575"/>
                <a:gd name="connsiteX591" fmla="*/ 1506785 w 1539192"/>
                <a:gd name="connsiteY591" fmla="*/ 1802261 h 3502575"/>
                <a:gd name="connsiteX592" fmla="*/ 1511955 w 1539192"/>
                <a:gd name="connsiteY592" fmla="*/ 1798086 h 3502575"/>
                <a:gd name="connsiteX593" fmla="*/ 1518317 w 1539192"/>
                <a:gd name="connsiteY593" fmla="*/ 1793911 h 3502575"/>
                <a:gd name="connsiteX594" fmla="*/ 1533029 w 1539192"/>
                <a:gd name="connsiteY594" fmla="*/ 1781386 h 3502575"/>
                <a:gd name="connsiteX595" fmla="*/ 1539193 w 1539192"/>
                <a:gd name="connsiteY595" fmla="*/ 1762697 h 3502575"/>
                <a:gd name="connsiteX596" fmla="*/ 1531439 w 1539192"/>
                <a:gd name="connsiteY596" fmla="*/ 1765281 h 3502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</a:cxnLst>
              <a:rect l="l" t="t" r="r" b="b"/>
              <a:pathLst>
                <a:path w="1539192" h="3502575">
                  <a:moveTo>
                    <a:pt x="1531439" y="1765281"/>
                  </a:moveTo>
                  <a:cubicBezTo>
                    <a:pt x="1528979" y="1766782"/>
                    <a:pt x="1526383" y="1768047"/>
                    <a:pt x="1523685" y="1769059"/>
                  </a:cubicBezTo>
                  <a:cubicBezTo>
                    <a:pt x="1513018" y="1772407"/>
                    <a:pt x="1501717" y="1773224"/>
                    <a:pt x="1490681" y="1771445"/>
                  </a:cubicBezTo>
                  <a:cubicBezTo>
                    <a:pt x="1483158" y="1770085"/>
                    <a:pt x="1475863" y="1767675"/>
                    <a:pt x="1469010" y="1764287"/>
                  </a:cubicBezTo>
                  <a:cubicBezTo>
                    <a:pt x="1461996" y="1760366"/>
                    <a:pt x="1454172" y="1758120"/>
                    <a:pt x="1446146" y="1757726"/>
                  </a:cubicBezTo>
                  <a:cubicBezTo>
                    <a:pt x="1440478" y="1758341"/>
                    <a:pt x="1434923" y="1759746"/>
                    <a:pt x="1429644" y="1761901"/>
                  </a:cubicBezTo>
                  <a:cubicBezTo>
                    <a:pt x="1418983" y="1767562"/>
                    <a:pt x="1406331" y="1768073"/>
                    <a:pt x="1395248" y="1763293"/>
                  </a:cubicBezTo>
                  <a:cubicBezTo>
                    <a:pt x="1378150" y="1753949"/>
                    <a:pt x="1381729" y="1737248"/>
                    <a:pt x="1384512" y="1725120"/>
                  </a:cubicBezTo>
                  <a:cubicBezTo>
                    <a:pt x="1384512" y="1722535"/>
                    <a:pt x="1384512" y="1720150"/>
                    <a:pt x="1385904" y="1717764"/>
                  </a:cubicBezTo>
                  <a:cubicBezTo>
                    <a:pt x="1386721" y="1712463"/>
                    <a:pt x="1386103" y="1707039"/>
                    <a:pt x="1384115" y="1702057"/>
                  </a:cubicBezTo>
                  <a:lnTo>
                    <a:pt x="1382723" y="1697882"/>
                  </a:lnTo>
                  <a:cubicBezTo>
                    <a:pt x="1379725" y="1688979"/>
                    <a:pt x="1381285" y="1679171"/>
                    <a:pt x="1386898" y="1671638"/>
                  </a:cubicBezTo>
                  <a:lnTo>
                    <a:pt x="1386898" y="1670445"/>
                  </a:lnTo>
                  <a:cubicBezTo>
                    <a:pt x="1388576" y="1667260"/>
                    <a:pt x="1389974" y="1663934"/>
                    <a:pt x="1391073" y="1660504"/>
                  </a:cubicBezTo>
                  <a:cubicBezTo>
                    <a:pt x="1392527" y="1656641"/>
                    <a:pt x="1394185" y="1652858"/>
                    <a:pt x="1396044" y="1649171"/>
                  </a:cubicBezTo>
                  <a:cubicBezTo>
                    <a:pt x="1397718" y="1646462"/>
                    <a:pt x="1399579" y="1643871"/>
                    <a:pt x="1401611" y="1641418"/>
                  </a:cubicBezTo>
                  <a:cubicBezTo>
                    <a:pt x="1403730" y="1639195"/>
                    <a:pt x="1405476" y="1636644"/>
                    <a:pt x="1406780" y="1633862"/>
                  </a:cubicBezTo>
                  <a:cubicBezTo>
                    <a:pt x="1410160" y="1625313"/>
                    <a:pt x="1405587" y="1620740"/>
                    <a:pt x="1396242" y="1613981"/>
                  </a:cubicBezTo>
                  <a:cubicBezTo>
                    <a:pt x="1391733" y="1610499"/>
                    <a:pt x="1387719" y="1606420"/>
                    <a:pt x="1384313" y="1601853"/>
                  </a:cubicBezTo>
                  <a:cubicBezTo>
                    <a:pt x="1380413" y="1594576"/>
                    <a:pt x="1378365" y="1586450"/>
                    <a:pt x="1378349" y="1578193"/>
                  </a:cubicBezTo>
                  <a:cubicBezTo>
                    <a:pt x="1378319" y="1572690"/>
                    <a:pt x="1377309" y="1567237"/>
                    <a:pt x="1375367" y="1562089"/>
                  </a:cubicBezTo>
                  <a:cubicBezTo>
                    <a:pt x="1372774" y="1557333"/>
                    <a:pt x="1369259" y="1553144"/>
                    <a:pt x="1365028" y="1549762"/>
                  </a:cubicBezTo>
                  <a:cubicBezTo>
                    <a:pt x="1357405" y="1544255"/>
                    <a:pt x="1351982" y="1536225"/>
                    <a:pt x="1349719" y="1527097"/>
                  </a:cubicBezTo>
                  <a:cubicBezTo>
                    <a:pt x="1348222" y="1518814"/>
                    <a:pt x="1348222" y="1510329"/>
                    <a:pt x="1349719" y="1502046"/>
                  </a:cubicBezTo>
                  <a:cubicBezTo>
                    <a:pt x="1351508" y="1494195"/>
                    <a:pt x="1351508" y="1486039"/>
                    <a:pt x="1349719" y="1478188"/>
                  </a:cubicBezTo>
                  <a:cubicBezTo>
                    <a:pt x="1346737" y="1469241"/>
                    <a:pt x="1340772" y="1466656"/>
                    <a:pt x="1332621" y="1462879"/>
                  </a:cubicBezTo>
                  <a:cubicBezTo>
                    <a:pt x="1327990" y="1460996"/>
                    <a:pt x="1323588" y="1458594"/>
                    <a:pt x="1319499" y="1455721"/>
                  </a:cubicBezTo>
                  <a:cubicBezTo>
                    <a:pt x="1313467" y="1452147"/>
                    <a:pt x="1309429" y="1445979"/>
                    <a:pt x="1308564" y="1439021"/>
                  </a:cubicBezTo>
                  <a:cubicBezTo>
                    <a:pt x="1307371" y="1425501"/>
                    <a:pt x="1319896" y="1412777"/>
                    <a:pt x="1332024" y="1400649"/>
                  </a:cubicBezTo>
                  <a:cubicBezTo>
                    <a:pt x="1338460" y="1395116"/>
                    <a:pt x="1343733" y="1388356"/>
                    <a:pt x="1347532" y="1380767"/>
                  </a:cubicBezTo>
                  <a:cubicBezTo>
                    <a:pt x="1348924" y="1370927"/>
                    <a:pt x="1347900" y="1360897"/>
                    <a:pt x="1344550" y="1351541"/>
                  </a:cubicBezTo>
                  <a:cubicBezTo>
                    <a:pt x="1342088" y="1344242"/>
                    <a:pt x="1340357" y="1336715"/>
                    <a:pt x="1339380" y="1329074"/>
                  </a:cubicBezTo>
                  <a:lnTo>
                    <a:pt x="1339380" y="1327683"/>
                  </a:lnTo>
                  <a:cubicBezTo>
                    <a:pt x="1338963" y="1306584"/>
                    <a:pt x="1336700" y="1285561"/>
                    <a:pt x="1332621" y="1264856"/>
                  </a:cubicBezTo>
                  <a:lnTo>
                    <a:pt x="1330831" y="1258096"/>
                  </a:lnTo>
                  <a:cubicBezTo>
                    <a:pt x="1324738" y="1222963"/>
                    <a:pt x="1312200" y="1189261"/>
                    <a:pt x="1293851" y="1158687"/>
                  </a:cubicBezTo>
                  <a:cubicBezTo>
                    <a:pt x="1286032" y="1148378"/>
                    <a:pt x="1276948" y="1139096"/>
                    <a:pt x="1266812" y="1131051"/>
                  </a:cubicBezTo>
                  <a:lnTo>
                    <a:pt x="1256871" y="1122303"/>
                  </a:lnTo>
                  <a:lnTo>
                    <a:pt x="1248918" y="1114351"/>
                  </a:lnTo>
                  <a:lnTo>
                    <a:pt x="1253292" y="1110374"/>
                  </a:lnTo>
                  <a:lnTo>
                    <a:pt x="1257269" y="1106795"/>
                  </a:lnTo>
                  <a:cubicBezTo>
                    <a:pt x="1263018" y="1101268"/>
                    <a:pt x="1269764" y="1096882"/>
                    <a:pt x="1277150" y="1093872"/>
                  </a:cubicBezTo>
                  <a:cubicBezTo>
                    <a:pt x="1286537" y="1090224"/>
                    <a:pt x="1295066" y="1084673"/>
                    <a:pt x="1302202" y="1077569"/>
                  </a:cubicBezTo>
                  <a:cubicBezTo>
                    <a:pt x="1306824" y="1073257"/>
                    <a:pt x="1311739" y="1069271"/>
                    <a:pt x="1316914" y="1065640"/>
                  </a:cubicBezTo>
                  <a:lnTo>
                    <a:pt x="1321885" y="1062459"/>
                  </a:lnTo>
                  <a:cubicBezTo>
                    <a:pt x="1326344" y="1060630"/>
                    <a:pt x="1330106" y="1057427"/>
                    <a:pt x="1332621" y="1053313"/>
                  </a:cubicBezTo>
                  <a:cubicBezTo>
                    <a:pt x="1333764" y="1051108"/>
                    <a:pt x="1334633" y="1048772"/>
                    <a:pt x="1335205" y="1046355"/>
                  </a:cubicBezTo>
                  <a:cubicBezTo>
                    <a:pt x="1336539" y="1038511"/>
                    <a:pt x="1342138" y="1032070"/>
                    <a:pt x="1349719" y="1029654"/>
                  </a:cubicBezTo>
                  <a:cubicBezTo>
                    <a:pt x="1356161" y="1027735"/>
                    <a:pt x="1362934" y="1027193"/>
                    <a:pt x="1369601" y="1028063"/>
                  </a:cubicBezTo>
                  <a:cubicBezTo>
                    <a:pt x="1379343" y="1028063"/>
                    <a:pt x="1385506" y="1028063"/>
                    <a:pt x="1390676" y="1023292"/>
                  </a:cubicBezTo>
                  <a:cubicBezTo>
                    <a:pt x="1395845" y="1018520"/>
                    <a:pt x="1394055" y="1008977"/>
                    <a:pt x="1385904" y="996253"/>
                  </a:cubicBezTo>
                  <a:cubicBezTo>
                    <a:pt x="1384115" y="993270"/>
                    <a:pt x="1382126" y="990487"/>
                    <a:pt x="1380735" y="987703"/>
                  </a:cubicBezTo>
                  <a:cubicBezTo>
                    <a:pt x="1370197" y="967822"/>
                    <a:pt x="1383121" y="954700"/>
                    <a:pt x="1393459" y="944162"/>
                  </a:cubicBezTo>
                  <a:lnTo>
                    <a:pt x="1395845" y="941776"/>
                  </a:lnTo>
                  <a:cubicBezTo>
                    <a:pt x="1400020" y="937999"/>
                    <a:pt x="1401809" y="936011"/>
                    <a:pt x="1401809" y="932034"/>
                  </a:cubicBezTo>
                  <a:cubicBezTo>
                    <a:pt x="1401426" y="929161"/>
                    <a:pt x="1400479" y="926390"/>
                    <a:pt x="1399026" y="923883"/>
                  </a:cubicBezTo>
                  <a:cubicBezTo>
                    <a:pt x="1396684" y="919393"/>
                    <a:pt x="1395392" y="914431"/>
                    <a:pt x="1395248" y="909369"/>
                  </a:cubicBezTo>
                  <a:cubicBezTo>
                    <a:pt x="1395248" y="894656"/>
                    <a:pt x="1410359" y="882131"/>
                    <a:pt x="1420697" y="872985"/>
                  </a:cubicBezTo>
                  <a:lnTo>
                    <a:pt x="1424475" y="869605"/>
                  </a:lnTo>
                  <a:cubicBezTo>
                    <a:pt x="1437000" y="858273"/>
                    <a:pt x="1448532" y="846940"/>
                    <a:pt x="1460660" y="834812"/>
                  </a:cubicBezTo>
                  <a:lnTo>
                    <a:pt x="1470203" y="825468"/>
                  </a:lnTo>
                  <a:cubicBezTo>
                    <a:pt x="1474179" y="821491"/>
                    <a:pt x="1479150" y="815726"/>
                    <a:pt x="1478553" y="811153"/>
                  </a:cubicBezTo>
                  <a:cubicBezTo>
                    <a:pt x="1477957" y="806580"/>
                    <a:pt x="1468811" y="799820"/>
                    <a:pt x="1460262" y="794452"/>
                  </a:cubicBezTo>
                  <a:cubicBezTo>
                    <a:pt x="1449055" y="789098"/>
                    <a:pt x="1439708" y="780511"/>
                    <a:pt x="1433422" y="769799"/>
                  </a:cubicBezTo>
                  <a:cubicBezTo>
                    <a:pt x="1429773" y="760353"/>
                    <a:pt x="1427431" y="750454"/>
                    <a:pt x="1426463" y="740373"/>
                  </a:cubicBezTo>
                  <a:cubicBezTo>
                    <a:pt x="1425701" y="731540"/>
                    <a:pt x="1423763" y="722848"/>
                    <a:pt x="1420697" y="714527"/>
                  </a:cubicBezTo>
                  <a:cubicBezTo>
                    <a:pt x="1415407" y="703006"/>
                    <a:pt x="1405750" y="694065"/>
                    <a:pt x="1393857" y="689675"/>
                  </a:cubicBezTo>
                  <a:lnTo>
                    <a:pt x="1382126" y="682915"/>
                  </a:lnTo>
                  <a:cubicBezTo>
                    <a:pt x="1374478" y="677537"/>
                    <a:pt x="1368432" y="670185"/>
                    <a:pt x="1364630" y="661642"/>
                  </a:cubicBezTo>
                  <a:cubicBezTo>
                    <a:pt x="1361948" y="656244"/>
                    <a:pt x="1358461" y="651283"/>
                    <a:pt x="1354292" y="646929"/>
                  </a:cubicBezTo>
                  <a:lnTo>
                    <a:pt x="1351310" y="644344"/>
                  </a:lnTo>
                  <a:cubicBezTo>
                    <a:pt x="1339899" y="636223"/>
                    <a:pt x="1332291" y="623802"/>
                    <a:pt x="1330235" y="609949"/>
                  </a:cubicBezTo>
                  <a:cubicBezTo>
                    <a:pt x="1329634" y="605267"/>
                    <a:pt x="1329302" y="600553"/>
                    <a:pt x="1329241" y="595833"/>
                  </a:cubicBezTo>
                  <a:cubicBezTo>
                    <a:pt x="1329241" y="585892"/>
                    <a:pt x="1329241" y="578734"/>
                    <a:pt x="1321686" y="572770"/>
                  </a:cubicBezTo>
                  <a:cubicBezTo>
                    <a:pt x="1305009" y="562920"/>
                    <a:pt x="1298482" y="542054"/>
                    <a:pt x="1306576" y="524457"/>
                  </a:cubicBezTo>
                  <a:cubicBezTo>
                    <a:pt x="1306576" y="522071"/>
                    <a:pt x="1308763" y="519884"/>
                    <a:pt x="1309955" y="517498"/>
                  </a:cubicBezTo>
                  <a:cubicBezTo>
                    <a:pt x="1312421" y="514323"/>
                    <a:pt x="1313687" y="510381"/>
                    <a:pt x="1313534" y="506365"/>
                  </a:cubicBezTo>
                  <a:cubicBezTo>
                    <a:pt x="1313148" y="504263"/>
                    <a:pt x="1312262" y="502285"/>
                    <a:pt x="1310950" y="500599"/>
                  </a:cubicBezTo>
                  <a:cubicBezTo>
                    <a:pt x="1308140" y="496668"/>
                    <a:pt x="1306741" y="491904"/>
                    <a:pt x="1306973" y="487079"/>
                  </a:cubicBezTo>
                  <a:cubicBezTo>
                    <a:pt x="1307979" y="478924"/>
                    <a:pt x="1311367" y="471247"/>
                    <a:pt x="1316715" y="465010"/>
                  </a:cubicBezTo>
                  <a:cubicBezTo>
                    <a:pt x="1314403" y="463257"/>
                    <a:pt x="1312502" y="461016"/>
                    <a:pt x="1311148" y="458449"/>
                  </a:cubicBezTo>
                  <a:cubicBezTo>
                    <a:pt x="1304985" y="446520"/>
                    <a:pt x="1316715" y="449105"/>
                    <a:pt x="1316715" y="440158"/>
                  </a:cubicBezTo>
                  <a:cubicBezTo>
                    <a:pt x="1316715" y="427633"/>
                    <a:pt x="1306377" y="440158"/>
                    <a:pt x="1303593" y="442942"/>
                  </a:cubicBezTo>
                  <a:cubicBezTo>
                    <a:pt x="1294050" y="453877"/>
                    <a:pt x="1290670" y="450894"/>
                    <a:pt x="1277548" y="450894"/>
                  </a:cubicBezTo>
                  <a:cubicBezTo>
                    <a:pt x="1258046" y="454710"/>
                    <a:pt x="1244783" y="472913"/>
                    <a:pt x="1247129" y="492646"/>
                  </a:cubicBezTo>
                  <a:cubicBezTo>
                    <a:pt x="1253292" y="521077"/>
                    <a:pt x="1279735" y="484892"/>
                    <a:pt x="1293453" y="484693"/>
                  </a:cubicBezTo>
                  <a:cubicBezTo>
                    <a:pt x="1307172" y="484495"/>
                    <a:pt x="1293453" y="496225"/>
                    <a:pt x="1289676" y="501593"/>
                  </a:cubicBezTo>
                  <a:cubicBezTo>
                    <a:pt x="1281524" y="511136"/>
                    <a:pt x="1281723" y="525650"/>
                    <a:pt x="1269794" y="532012"/>
                  </a:cubicBezTo>
                  <a:cubicBezTo>
                    <a:pt x="1263631" y="534994"/>
                    <a:pt x="1259853" y="532012"/>
                    <a:pt x="1254485" y="538374"/>
                  </a:cubicBezTo>
                  <a:cubicBezTo>
                    <a:pt x="1249117" y="544736"/>
                    <a:pt x="1249316" y="548912"/>
                    <a:pt x="1245340" y="553286"/>
                  </a:cubicBezTo>
                  <a:cubicBezTo>
                    <a:pt x="1241363" y="557660"/>
                    <a:pt x="1233609" y="560443"/>
                    <a:pt x="1228440" y="565215"/>
                  </a:cubicBezTo>
                  <a:cubicBezTo>
                    <a:pt x="1223271" y="569986"/>
                    <a:pt x="1218698" y="577343"/>
                    <a:pt x="1212535" y="582512"/>
                  </a:cubicBezTo>
                  <a:cubicBezTo>
                    <a:pt x="1199102" y="593061"/>
                    <a:pt x="1183477" y="600465"/>
                    <a:pt x="1166806" y="604183"/>
                  </a:cubicBezTo>
                  <a:cubicBezTo>
                    <a:pt x="1159052" y="606569"/>
                    <a:pt x="1142948" y="607961"/>
                    <a:pt x="1138773" y="616112"/>
                  </a:cubicBezTo>
                  <a:cubicBezTo>
                    <a:pt x="1134598" y="624264"/>
                    <a:pt x="1144738" y="632216"/>
                    <a:pt x="1140364" y="642555"/>
                  </a:cubicBezTo>
                  <a:cubicBezTo>
                    <a:pt x="1137228" y="648967"/>
                    <a:pt x="1133140" y="654866"/>
                    <a:pt x="1128236" y="660051"/>
                  </a:cubicBezTo>
                  <a:cubicBezTo>
                    <a:pt x="1127158" y="660975"/>
                    <a:pt x="1126029" y="661838"/>
                    <a:pt x="1124856" y="662636"/>
                  </a:cubicBezTo>
                  <a:cubicBezTo>
                    <a:pt x="1123138" y="664298"/>
                    <a:pt x="1120879" y="665286"/>
                    <a:pt x="1118494" y="665419"/>
                  </a:cubicBezTo>
                  <a:cubicBezTo>
                    <a:pt x="1118494" y="665419"/>
                    <a:pt x="1118494" y="665419"/>
                    <a:pt x="1118494" y="665419"/>
                  </a:cubicBezTo>
                  <a:lnTo>
                    <a:pt x="1118494" y="663630"/>
                  </a:lnTo>
                  <a:cubicBezTo>
                    <a:pt x="1118416" y="663168"/>
                    <a:pt x="1118416" y="662699"/>
                    <a:pt x="1118494" y="662238"/>
                  </a:cubicBezTo>
                  <a:lnTo>
                    <a:pt x="1120283" y="659256"/>
                  </a:lnTo>
                  <a:cubicBezTo>
                    <a:pt x="1121675" y="657268"/>
                    <a:pt x="1123265" y="655478"/>
                    <a:pt x="1124657" y="653689"/>
                  </a:cubicBezTo>
                  <a:cubicBezTo>
                    <a:pt x="1127854" y="650184"/>
                    <a:pt x="1130291" y="646054"/>
                    <a:pt x="1131814" y="641561"/>
                  </a:cubicBezTo>
                  <a:cubicBezTo>
                    <a:pt x="1135194" y="628041"/>
                    <a:pt x="1129230" y="616709"/>
                    <a:pt x="1135393" y="601797"/>
                  </a:cubicBezTo>
                  <a:cubicBezTo>
                    <a:pt x="1137365" y="596059"/>
                    <a:pt x="1140872" y="590970"/>
                    <a:pt x="1145533" y="587085"/>
                  </a:cubicBezTo>
                  <a:cubicBezTo>
                    <a:pt x="1150503" y="583108"/>
                    <a:pt x="1156269" y="582910"/>
                    <a:pt x="1159649" y="576547"/>
                  </a:cubicBezTo>
                  <a:cubicBezTo>
                    <a:pt x="1167204" y="563028"/>
                    <a:pt x="1159649" y="549309"/>
                    <a:pt x="1173765" y="538374"/>
                  </a:cubicBezTo>
                  <a:cubicBezTo>
                    <a:pt x="1187881" y="527439"/>
                    <a:pt x="1200407" y="525849"/>
                    <a:pt x="1207962" y="510341"/>
                  </a:cubicBezTo>
                  <a:cubicBezTo>
                    <a:pt x="1215517" y="494833"/>
                    <a:pt x="1215914" y="480121"/>
                    <a:pt x="1223668" y="466402"/>
                  </a:cubicBezTo>
                  <a:cubicBezTo>
                    <a:pt x="1229633" y="456262"/>
                    <a:pt x="1241562" y="451690"/>
                    <a:pt x="1247328" y="441947"/>
                  </a:cubicBezTo>
                  <a:cubicBezTo>
                    <a:pt x="1255280" y="428627"/>
                    <a:pt x="1243153" y="426440"/>
                    <a:pt x="1243550" y="414908"/>
                  </a:cubicBezTo>
                  <a:cubicBezTo>
                    <a:pt x="1243948" y="403377"/>
                    <a:pt x="1263432" y="392442"/>
                    <a:pt x="1267408" y="381904"/>
                  </a:cubicBezTo>
                  <a:cubicBezTo>
                    <a:pt x="1268882" y="376928"/>
                    <a:pt x="1270744" y="372077"/>
                    <a:pt x="1272975" y="367391"/>
                  </a:cubicBezTo>
                  <a:cubicBezTo>
                    <a:pt x="1277634" y="362104"/>
                    <a:pt x="1282757" y="357247"/>
                    <a:pt x="1288284" y="352877"/>
                  </a:cubicBezTo>
                  <a:cubicBezTo>
                    <a:pt x="1300412" y="340550"/>
                    <a:pt x="1299418" y="333989"/>
                    <a:pt x="1303792" y="318680"/>
                  </a:cubicBezTo>
                  <a:cubicBezTo>
                    <a:pt x="1305383" y="312318"/>
                    <a:pt x="1309359" y="309932"/>
                    <a:pt x="1313335" y="305161"/>
                  </a:cubicBezTo>
                  <a:cubicBezTo>
                    <a:pt x="1318509" y="298144"/>
                    <a:pt x="1321234" y="289621"/>
                    <a:pt x="1321089" y="280905"/>
                  </a:cubicBezTo>
                  <a:cubicBezTo>
                    <a:pt x="1324072" y="261023"/>
                    <a:pt x="1343158" y="233188"/>
                    <a:pt x="1321089" y="217283"/>
                  </a:cubicBezTo>
                  <a:cubicBezTo>
                    <a:pt x="1309955" y="208933"/>
                    <a:pt x="1294249" y="210722"/>
                    <a:pt x="1283115" y="201775"/>
                  </a:cubicBezTo>
                  <a:cubicBezTo>
                    <a:pt x="1271981" y="192828"/>
                    <a:pt x="1275361" y="187460"/>
                    <a:pt x="1288284" y="194021"/>
                  </a:cubicBezTo>
                  <a:cubicBezTo>
                    <a:pt x="1301207" y="200582"/>
                    <a:pt x="1322879" y="203167"/>
                    <a:pt x="1320294" y="180502"/>
                  </a:cubicBezTo>
                  <a:cubicBezTo>
                    <a:pt x="1319012" y="173703"/>
                    <a:pt x="1315077" y="167694"/>
                    <a:pt x="1309359" y="163801"/>
                  </a:cubicBezTo>
                  <a:cubicBezTo>
                    <a:pt x="1304478" y="159941"/>
                    <a:pt x="1300422" y="155140"/>
                    <a:pt x="1297430" y="149685"/>
                  </a:cubicBezTo>
                  <a:cubicBezTo>
                    <a:pt x="1292658" y="140738"/>
                    <a:pt x="1280133" y="123043"/>
                    <a:pt x="1268800" y="122645"/>
                  </a:cubicBezTo>
                  <a:cubicBezTo>
                    <a:pt x="1244147" y="122645"/>
                    <a:pt x="1271385" y="140141"/>
                    <a:pt x="1268800" y="146305"/>
                  </a:cubicBezTo>
                  <a:cubicBezTo>
                    <a:pt x="1266215" y="152468"/>
                    <a:pt x="1255082" y="133779"/>
                    <a:pt x="1254286" y="130399"/>
                  </a:cubicBezTo>
                  <a:cubicBezTo>
                    <a:pt x="1250708" y="115886"/>
                    <a:pt x="1254286" y="112506"/>
                    <a:pt x="1236591" y="108529"/>
                  </a:cubicBezTo>
                  <a:cubicBezTo>
                    <a:pt x="1218897" y="104553"/>
                    <a:pt x="1227048" y="97197"/>
                    <a:pt x="1210944" y="88648"/>
                  </a:cubicBezTo>
                  <a:cubicBezTo>
                    <a:pt x="1192456" y="80215"/>
                    <a:pt x="1171308" y="79784"/>
                    <a:pt x="1152491" y="87455"/>
                  </a:cubicBezTo>
                  <a:cubicBezTo>
                    <a:pt x="1148028" y="89516"/>
                    <a:pt x="1143364" y="91115"/>
                    <a:pt x="1138574" y="92226"/>
                  </a:cubicBezTo>
                  <a:cubicBezTo>
                    <a:pt x="1122864" y="94965"/>
                    <a:pt x="1107521" y="99501"/>
                    <a:pt x="1092846" y="105746"/>
                  </a:cubicBezTo>
                  <a:cubicBezTo>
                    <a:pt x="1080519" y="111114"/>
                    <a:pt x="1085092" y="112903"/>
                    <a:pt x="1085689" y="123043"/>
                  </a:cubicBezTo>
                  <a:cubicBezTo>
                    <a:pt x="1085689" y="136762"/>
                    <a:pt x="1077338" y="138750"/>
                    <a:pt x="1065807" y="142925"/>
                  </a:cubicBezTo>
                  <a:cubicBezTo>
                    <a:pt x="1059047" y="145510"/>
                    <a:pt x="1049305" y="151076"/>
                    <a:pt x="1041949" y="147895"/>
                  </a:cubicBezTo>
                  <a:cubicBezTo>
                    <a:pt x="1029224" y="142527"/>
                    <a:pt x="1038966" y="132388"/>
                    <a:pt x="1044136" y="125031"/>
                  </a:cubicBezTo>
                  <a:cubicBezTo>
                    <a:pt x="1051691" y="114295"/>
                    <a:pt x="1062427" y="98787"/>
                    <a:pt x="1056263" y="85268"/>
                  </a:cubicBezTo>
                  <a:cubicBezTo>
                    <a:pt x="1049778" y="75139"/>
                    <a:pt x="1037008" y="71049"/>
                    <a:pt x="1025844" y="75526"/>
                  </a:cubicBezTo>
                  <a:cubicBezTo>
                    <a:pt x="1019283" y="77514"/>
                    <a:pt x="1014313" y="83279"/>
                    <a:pt x="1007155" y="83478"/>
                  </a:cubicBezTo>
                  <a:cubicBezTo>
                    <a:pt x="999998" y="83677"/>
                    <a:pt x="998010" y="79701"/>
                    <a:pt x="992642" y="78110"/>
                  </a:cubicBezTo>
                  <a:cubicBezTo>
                    <a:pt x="987274" y="76520"/>
                    <a:pt x="955463" y="86262"/>
                    <a:pt x="952878" y="81689"/>
                  </a:cubicBezTo>
                  <a:cubicBezTo>
                    <a:pt x="950293" y="77116"/>
                    <a:pt x="972760" y="64193"/>
                    <a:pt x="974748" y="61807"/>
                  </a:cubicBezTo>
                  <a:cubicBezTo>
                    <a:pt x="984065" y="54874"/>
                    <a:pt x="991399" y="45620"/>
                    <a:pt x="996021" y="34967"/>
                  </a:cubicBezTo>
                  <a:cubicBezTo>
                    <a:pt x="1000060" y="26067"/>
                    <a:pt x="996119" y="15580"/>
                    <a:pt x="987220" y="11542"/>
                  </a:cubicBezTo>
                  <a:cubicBezTo>
                    <a:pt x="986275" y="11113"/>
                    <a:pt x="985295" y="10769"/>
                    <a:pt x="984291" y="10512"/>
                  </a:cubicBezTo>
                  <a:cubicBezTo>
                    <a:pt x="978923" y="9120"/>
                    <a:pt x="973157" y="10512"/>
                    <a:pt x="967590" y="10512"/>
                  </a:cubicBezTo>
                  <a:cubicBezTo>
                    <a:pt x="960588" y="8538"/>
                    <a:pt x="953896" y="5594"/>
                    <a:pt x="947709" y="1764"/>
                  </a:cubicBezTo>
                  <a:cubicBezTo>
                    <a:pt x="932201" y="-4002"/>
                    <a:pt x="920669" y="5542"/>
                    <a:pt x="907945" y="13494"/>
                  </a:cubicBezTo>
                  <a:cubicBezTo>
                    <a:pt x="898308" y="20091"/>
                    <a:pt x="890453" y="28971"/>
                    <a:pt x="885081" y="39341"/>
                  </a:cubicBezTo>
                  <a:cubicBezTo>
                    <a:pt x="882695" y="42721"/>
                    <a:pt x="878918" y="45305"/>
                    <a:pt x="877725" y="49282"/>
                  </a:cubicBezTo>
                  <a:cubicBezTo>
                    <a:pt x="876532" y="53258"/>
                    <a:pt x="877725" y="59222"/>
                    <a:pt x="877725" y="63994"/>
                  </a:cubicBezTo>
                  <a:cubicBezTo>
                    <a:pt x="877725" y="68766"/>
                    <a:pt x="870368" y="73935"/>
                    <a:pt x="868181" y="80894"/>
                  </a:cubicBezTo>
                  <a:cubicBezTo>
                    <a:pt x="865986" y="86472"/>
                    <a:pt x="863463" y="91916"/>
                    <a:pt x="860626" y="97197"/>
                  </a:cubicBezTo>
                  <a:cubicBezTo>
                    <a:pt x="858312" y="103792"/>
                    <a:pt x="856582" y="110578"/>
                    <a:pt x="855457" y="117476"/>
                  </a:cubicBezTo>
                  <a:cubicBezTo>
                    <a:pt x="853944" y="121637"/>
                    <a:pt x="853008" y="125985"/>
                    <a:pt x="852674" y="130399"/>
                  </a:cubicBezTo>
                  <a:cubicBezTo>
                    <a:pt x="852674" y="135966"/>
                    <a:pt x="857445" y="139346"/>
                    <a:pt x="860030" y="143919"/>
                  </a:cubicBezTo>
                  <a:cubicBezTo>
                    <a:pt x="863064" y="150607"/>
                    <a:pt x="864688" y="157849"/>
                    <a:pt x="864802" y="165193"/>
                  </a:cubicBezTo>
                  <a:cubicBezTo>
                    <a:pt x="867386" y="180502"/>
                    <a:pt x="872953" y="176128"/>
                    <a:pt x="884683" y="180899"/>
                  </a:cubicBezTo>
                  <a:cubicBezTo>
                    <a:pt x="887069" y="181893"/>
                    <a:pt x="898601" y="186864"/>
                    <a:pt x="898004" y="190641"/>
                  </a:cubicBezTo>
                  <a:cubicBezTo>
                    <a:pt x="897408" y="194419"/>
                    <a:pt x="885280" y="189448"/>
                    <a:pt x="883292" y="189051"/>
                  </a:cubicBezTo>
                  <a:cubicBezTo>
                    <a:pt x="866551" y="186954"/>
                    <a:pt x="849550" y="189002"/>
                    <a:pt x="833786" y="195015"/>
                  </a:cubicBezTo>
                  <a:cubicBezTo>
                    <a:pt x="827523" y="197696"/>
                    <a:pt x="820678" y="198723"/>
                    <a:pt x="813904" y="197997"/>
                  </a:cubicBezTo>
                  <a:cubicBezTo>
                    <a:pt x="809928" y="197997"/>
                    <a:pt x="803168" y="190442"/>
                    <a:pt x="799191" y="191238"/>
                  </a:cubicBezTo>
                  <a:cubicBezTo>
                    <a:pt x="782292" y="195015"/>
                    <a:pt x="810524" y="222651"/>
                    <a:pt x="814699" y="226826"/>
                  </a:cubicBezTo>
                  <a:cubicBezTo>
                    <a:pt x="830605" y="243726"/>
                    <a:pt x="846113" y="261818"/>
                    <a:pt x="834581" y="286472"/>
                  </a:cubicBezTo>
                  <a:cubicBezTo>
                    <a:pt x="829611" y="297009"/>
                    <a:pt x="820067" y="306353"/>
                    <a:pt x="824044" y="319078"/>
                  </a:cubicBezTo>
                  <a:cubicBezTo>
                    <a:pt x="826827" y="328025"/>
                    <a:pt x="836172" y="333790"/>
                    <a:pt x="842335" y="340351"/>
                  </a:cubicBezTo>
                  <a:cubicBezTo>
                    <a:pt x="848498" y="346912"/>
                    <a:pt x="853866" y="361227"/>
                    <a:pt x="862217" y="370373"/>
                  </a:cubicBezTo>
                  <a:cubicBezTo>
                    <a:pt x="873082" y="379664"/>
                    <a:pt x="880794" y="392098"/>
                    <a:pt x="884286" y="405961"/>
                  </a:cubicBezTo>
                  <a:cubicBezTo>
                    <a:pt x="884286" y="412125"/>
                    <a:pt x="882695" y="414709"/>
                    <a:pt x="885876" y="420873"/>
                  </a:cubicBezTo>
                  <a:cubicBezTo>
                    <a:pt x="888847" y="426116"/>
                    <a:pt x="892678" y="430820"/>
                    <a:pt x="897209" y="434790"/>
                  </a:cubicBezTo>
                  <a:cubicBezTo>
                    <a:pt x="907386" y="442782"/>
                    <a:pt x="920375" y="446300"/>
                    <a:pt x="933195" y="444532"/>
                  </a:cubicBezTo>
                  <a:cubicBezTo>
                    <a:pt x="938563" y="443339"/>
                    <a:pt x="940551" y="439959"/>
                    <a:pt x="945323" y="437772"/>
                  </a:cubicBezTo>
                  <a:cubicBezTo>
                    <a:pt x="951846" y="436319"/>
                    <a:pt x="958522" y="435651"/>
                    <a:pt x="965205" y="435784"/>
                  </a:cubicBezTo>
                  <a:cubicBezTo>
                    <a:pt x="979820" y="431187"/>
                    <a:pt x="992888" y="422658"/>
                    <a:pt x="1002980" y="411131"/>
                  </a:cubicBezTo>
                  <a:cubicBezTo>
                    <a:pt x="1014114" y="400792"/>
                    <a:pt x="1012523" y="401388"/>
                    <a:pt x="1006161" y="389062"/>
                  </a:cubicBezTo>
                  <a:cubicBezTo>
                    <a:pt x="1001588" y="380513"/>
                    <a:pt x="1001191" y="351485"/>
                    <a:pt x="1018289" y="353871"/>
                  </a:cubicBezTo>
                  <a:cubicBezTo>
                    <a:pt x="1025844" y="354865"/>
                    <a:pt x="1034393" y="372361"/>
                    <a:pt x="1040756" y="376934"/>
                  </a:cubicBezTo>
                  <a:cubicBezTo>
                    <a:pt x="1047118" y="381507"/>
                    <a:pt x="1070578" y="387074"/>
                    <a:pt x="1070181" y="393436"/>
                  </a:cubicBezTo>
                  <a:cubicBezTo>
                    <a:pt x="1069783" y="399798"/>
                    <a:pt x="1041153" y="404570"/>
                    <a:pt x="1036779" y="408546"/>
                  </a:cubicBezTo>
                  <a:cubicBezTo>
                    <a:pt x="1033401" y="412216"/>
                    <a:pt x="1029673" y="415544"/>
                    <a:pt x="1025645" y="418487"/>
                  </a:cubicBezTo>
                  <a:cubicBezTo>
                    <a:pt x="1019548" y="422302"/>
                    <a:pt x="1013881" y="426770"/>
                    <a:pt x="1008746" y="431808"/>
                  </a:cubicBezTo>
                  <a:cubicBezTo>
                    <a:pt x="1002594" y="436152"/>
                    <a:pt x="995912" y="439693"/>
                    <a:pt x="988864" y="442345"/>
                  </a:cubicBezTo>
                  <a:cubicBezTo>
                    <a:pt x="983297" y="445725"/>
                    <a:pt x="981110" y="451491"/>
                    <a:pt x="976140" y="454871"/>
                  </a:cubicBezTo>
                  <a:cubicBezTo>
                    <a:pt x="967988" y="460239"/>
                    <a:pt x="952281" y="456262"/>
                    <a:pt x="948305" y="467197"/>
                  </a:cubicBezTo>
                  <a:cubicBezTo>
                    <a:pt x="944329" y="478132"/>
                    <a:pt x="959837" y="482705"/>
                    <a:pt x="957650" y="492447"/>
                  </a:cubicBezTo>
                  <a:cubicBezTo>
                    <a:pt x="955463" y="502189"/>
                    <a:pt x="944528" y="498611"/>
                    <a:pt x="937768" y="495628"/>
                  </a:cubicBezTo>
                  <a:cubicBezTo>
                    <a:pt x="931008" y="492646"/>
                    <a:pt x="925043" y="485489"/>
                    <a:pt x="919675" y="486682"/>
                  </a:cubicBezTo>
                  <a:cubicBezTo>
                    <a:pt x="907547" y="489863"/>
                    <a:pt x="919675" y="503979"/>
                    <a:pt x="923453" y="508949"/>
                  </a:cubicBezTo>
                  <a:cubicBezTo>
                    <a:pt x="932960" y="517697"/>
                    <a:pt x="939843" y="528918"/>
                    <a:pt x="943335" y="541357"/>
                  </a:cubicBezTo>
                  <a:cubicBezTo>
                    <a:pt x="944925" y="556268"/>
                    <a:pt x="935382" y="557660"/>
                    <a:pt x="923453" y="553882"/>
                  </a:cubicBezTo>
                  <a:cubicBezTo>
                    <a:pt x="904963" y="547719"/>
                    <a:pt x="922260" y="523861"/>
                    <a:pt x="913313" y="508949"/>
                  </a:cubicBezTo>
                  <a:cubicBezTo>
                    <a:pt x="904841" y="501742"/>
                    <a:pt x="894954" y="496390"/>
                    <a:pt x="884286" y="493243"/>
                  </a:cubicBezTo>
                  <a:cubicBezTo>
                    <a:pt x="870368" y="492248"/>
                    <a:pt x="868778" y="506961"/>
                    <a:pt x="872754" y="516703"/>
                  </a:cubicBezTo>
                  <a:cubicBezTo>
                    <a:pt x="875339" y="522866"/>
                    <a:pt x="886274" y="532012"/>
                    <a:pt x="880508" y="539170"/>
                  </a:cubicBezTo>
                  <a:cubicBezTo>
                    <a:pt x="874742" y="546327"/>
                    <a:pt x="860626" y="531614"/>
                    <a:pt x="857246" y="526246"/>
                  </a:cubicBezTo>
                  <a:cubicBezTo>
                    <a:pt x="853866" y="520878"/>
                    <a:pt x="855059" y="515709"/>
                    <a:pt x="854662" y="508154"/>
                  </a:cubicBezTo>
                  <a:cubicBezTo>
                    <a:pt x="854264" y="500599"/>
                    <a:pt x="851878" y="500400"/>
                    <a:pt x="848498" y="494833"/>
                  </a:cubicBezTo>
                  <a:cubicBezTo>
                    <a:pt x="845118" y="489266"/>
                    <a:pt x="840943" y="489863"/>
                    <a:pt x="845914" y="484892"/>
                  </a:cubicBezTo>
                  <a:cubicBezTo>
                    <a:pt x="850884" y="479922"/>
                    <a:pt x="859831" y="483898"/>
                    <a:pt x="863609" y="482308"/>
                  </a:cubicBezTo>
                  <a:cubicBezTo>
                    <a:pt x="871313" y="477421"/>
                    <a:pt x="877562" y="470555"/>
                    <a:pt x="881701" y="462426"/>
                  </a:cubicBezTo>
                  <a:cubicBezTo>
                    <a:pt x="887864" y="449304"/>
                    <a:pt x="875538" y="444731"/>
                    <a:pt x="870965" y="433199"/>
                  </a:cubicBezTo>
                  <a:cubicBezTo>
                    <a:pt x="866392" y="421668"/>
                    <a:pt x="877327" y="413318"/>
                    <a:pt x="874742" y="401190"/>
                  </a:cubicBezTo>
                  <a:cubicBezTo>
                    <a:pt x="872158" y="389062"/>
                    <a:pt x="860626" y="391845"/>
                    <a:pt x="856650" y="382302"/>
                  </a:cubicBezTo>
                  <a:cubicBezTo>
                    <a:pt x="854861" y="377928"/>
                    <a:pt x="856650" y="372560"/>
                    <a:pt x="852674" y="368186"/>
                  </a:cubicBezTo>
                  <a:cubicBezTo>
                    <a:pt x="848697" y="363812"/>
                    <a:pt x="845715" y="363215"/>
                    <a:pt x="843329" y="360034"/>
                  </a:cubicBezTo>
                  <a:cubicBezTo>
                    <a:pt x="840943" y="356853"/>
                    <a:pt x="840744" y="350491"/>
                    <a:pt x="835376" y="345918"/>
                  </a:cubicBezTo>
                  <a:cubicBezTo>
                    <a:pt x="830008" y="341345"/>
                    <a:pt x="823447" y="338960"/>
                    <a:pt x="818477" y="334387"/>
                  </a:cubicBezTo>
                  <a:cubicBezTo>
                    <a:pt x="795812" y="314505"/>
                    <a:pt x="827821" y="299196"/>
                    <a:pt x="829809" y="278121"/>
                  </a:cubicBezTo>
                  <a:cubicBezTo>
                    <a:pt x="833024" y="266262"/>
                    <a:pt x="828788" y="253635"/>
                    <a:pt x="819073" y="246112"/>
                  </a:cubicBezTo>
                  <a:cubicBezTo>
                    <a:pt x="806613" y="238216"/>
                    <a:pt x="790451" y="239429"/>
                    <a:pt x="779310" y="249094"/>
                  </a:cubicBezTo>
                  <a:cubicBezTo>
                    <a:pt x="772947" y="254263"/>
                    <a:pt x="765591" y="271361"/>
                    <a:pt x="759428" y="273548"/>
                  </a:cubicBezTo>
                  <a:cubicBezTo>
                    <a:pt x="748493" y="277326"/>
                    <a:pt x="745312" y="261222"/>
                    <a:pt x="737160" y="276928"/>
                  </a:cubicBezTo>
                  <a:cubicBezTo>
                    <a:pt x="732587" y="285676"/>
                    <a:pt x="734377" y="291641"/>
                    <a:pt x="724833" y="286670"/>
                  </a:cubicBezTo>
                  <a:cubicBezTo>
                    <a:pt x="721851" y="285279"/>
                    <a:pt x="722050" y="280507"/>
                    <a:pt x="717676" y="279513"/>
                  </a:cubicBezTo>
                  <a:cubicBezTo>
                    <a:pt x="710121" y="277922"/>
                    <a:pt x="709922" y="285279"/>
                    <a:pt x="705349" y="288659"/>
                  </a:cubicBezTo>
                  <a:cubicBezTo>
                    <a:pt x="700777" y="292039"/>
                    <a:pt x="698788" y="291243"/>
                    <a:pt x="701572" y="280905"/>
                  </a:cubicBezTo>
                  <a:cubicBezTo>
                    <a:pt x="704355" y="270566"/>
                    <a:pt x="701572" y="259830"/>
                    <a:pt x="686462" y="262613"/>
                  </a:cubicBezTo>
                  <a:cubicBezTo>
                    <a:pt x="660860" y="266075"/>
                    <a:pt x="635544" y="271391"/>
                    <a:pt x="610712" y="278519"/>
                  </a:cubicBezTo>
                  <a:cubicBezTo>
                    <a:pt x="603554" y="280905"/>
                    <a:pt x="594806" y="286670"/>
                    <a:pt x="605145" y="292635"/>
                  </a:cubicBezTo>
                  <a:cubicBezTo>
                    <a:pt x="609718" y="295220"/>
                    <a:pt x="626418" y="287466"/>
                    <a:pt x="628605" y="295617"/>
                  </a:cubicBezTo>
                  <a:cubicBezTo>
                    <a:pt x="629403" y="299951"/>
                    <a:pt x="627522" y="304339"/>
                    <a:pt x="623834" y="306751"/>
                  </a:cubicBezTo>
                  <a:cubicBezTo>
                    <a:pt x="618348" y="311489"/>
                    <a:pt x="611169" y="313785"/>
                    <a:pt x="603952" y="313113"/>
                  </a:cubicBezTo>
                  <a:cubicBezTo>
                    <a:pt x="590637" y="315702"/>
                    <a:pt x="577863" y="320543"/>
                    <a:pt x="566177" y="327428"/>
                  </a:cubicBezTo>
                  <a:cubicBezTo>
                    <a:pt x="555176" y="334816"/>
                    <a:pt x="542561" y="339453"/>
                    <a:pt x="529395" y="340948"/>
                  </a:cubicBezTo>
                  <a:cubicBezTo>
                    <a:pt x="523122" y="340942"/>
                    <a:pt x="516864" y="341542"/>
                    <a:pt x="510706" y="342737"/>
                  </a:cubicBezTo>
                  <a:cubicBezTo>
                    <a:pt x="501362" y="345521"/>
                    <a:pt x="502555" y="349099"/>
                    <a:pt x="496789" y="355263"/>
                  </a:cubicBezTo>
                  <a:cubicBezTo>
                    <a:pt x="487643" y="365204"/>
                    <a:pt x="473527" y="357649"/>
                    <a:pt x="463189" y="367589"/>
                  </a:cubicBezTo>
                  <a:cubicBezTo>
                    <a:pt x="452850" y="377530"/>
                    <a:pt x="452055" y="389261"/>
                    <a:pt x="443307" y="398009"/>
                  </a:cubicBezTo>
                  <a:cubicBezTo>
                    <a:pt x="422033" y="417890"/>
                    <a:pt x="398772" y="430814"/>
                    <a:pt x="385650" y="458648"/>
                  </a:cubicBezTo>
                  <a:cubicBezTo>
                    <a:pt x="382675" y="463102"/>
                    <a:pt x="380272" y="467911"/>
                    <a:pt x="378492" y="472963"/>
                  </a:cubicBezTo>
                  <a:cubicBezTo>
                    <a:pt x="378492" y="477337"/>
                    <a:pt x="381673" y="476542"/>
                    <a:pt x="380282" y="481512"/>
                  </a:cubicBezTo>
                  <a:cubicBezTo>
                    <a:pt x="377498" y="490857"/>
                    <a:pt x="364376" y="491652"/>
                    <a:pt x="376703" y="501394"/>
                  </a:cubicBezTo>
                  <a:cubicBezTo>
                    <a:pt x="381077" y="504973"/>
                    <a:pt x="388433" y="503780"/>
                    <a:pt x="390222" y="510341"/>
                  </a:cubicBezTo>
                  <a:cubicBezTo>
                    <a:pt x="392012" y="516902"/>
                    <a:pt x="390222" y="518492"/>
                    <a:pt x="384059" y="517896"/>
                  </a:cubicBezTo>
                  <a:cubicBezTo>
                    <a:pt x="377896" y="517300"/>
                    <a:pt x="364177" y="500599"/>
                    <a:pt x="354435" y="505569"/>
                  </a:cubicBezTo>
                  <a:cubicBezTo>
                    <a:pt x="338132" y="513124"/>
                    <a:pt x="361195" y="529825"/>
                    <a:pt x="365967" y="534796"/>
                  </a:cubicBezTo>
                  <a:cubicBezTo>
                    <a:pt x="370738" y="539766"/>
                    <a:pt x="372528" y="544935"/>
                    <a:pt x="376504" y="549110"/>
                  </a:cubicBezTo>
                  <a:cubicBezTo>
                    <a:pt x="380480" y="553286"/>
                    <a:pt x="388035" y="556268"/>
                    <a:pt x="388831" y="560841"/>
                  </a:cubicBezTo>
                  <a:cubicBezTo>
                    <a:pt x="390620" y="569589"/>
                    <a:pt x="379287" y="578536"/>
                    <a:pt x="372726" y="580723"/>
                  </a:cubicBezTo>
                  <a:cubicBezTo>
                    <a:pt x="359604" y="584699"/>
                    <a:pt x="346681" y="580723"/>
                    <a:pt x="334553" y="588476"/>
                  </a:cubicBezTo>
                  <a:cubicBezTo>
                    <a:pt x="322425" y="596230"/>
                    <a:pt x="317256" y="605376"/>
                    <a:pt x="304731" y="602791"/>
                  </a:cubicBezTo>
                  <a:cubicBezTo>
                    <a:pt x="296579" y="601002"/>
                    <a:pt x="293000" y="594043"/>
                    <a:pt x="283855" y="594839"/>
                  </a:cubicBezTo>
                  <a:cubicBezTo>
                    <a:pt x="274709" y="595634"/>
                    <a:pt x="267154" y="600803"/>
                    <a:pt x="258207" y="601598"/>
                  </a:cubicBezTo>
                  <a:cubicBezTo>
                    <a:pt x="243461" y="602950"/>
                    <a:pt x="228597" y="601050"/>
                    <a:pt x="214666" y="596032"/>
                  </a:cubicBezTo>
                  <a:cubicBezTo>
                    <a:pt x="196971" y="589669"/>
                    <a:pt x="188024" y="597821"/>
                    <a:pt x="170330" y="599014"/>
                  </a:cubicBezTo>
                  <a:cubicBezTo>
                    <a:pt x="152635" y="600207"/>
                    <a:pt x="143091" y="598020"/>
                    <a:pt x="130566" y="609352"/>
                  </a:cubicBezTo>
                  <a:cubicBezTo>
                    <a:pt x="119484" y="618301"/>
                    <a:pt x="112697" y="631515"/>
                    <a:pt x="111877" y="645736"/>
                  </a:cubicBezTo>
                  <a:cubicBezTo>
                    <a:pt x="111877" y="656472"/>
                    <a:pt x="123011" y="663829"/>
                    <a:pt x="125198" y="674366"/>
                  </a:cubicBezTo>
                  <a:cubicBezTo>
                    <a:pt x="128379" y="691464"/>
                    <a:pt x="117842" y="710352"/>
                    <a:pt x="116450" y="727252"/>
                  </a:cubicBezTo>
                  <a:cubicBezTo>
                    <a:pt x="112991" y="740427"/>
                    <a:pt x="116517" y="754456"/>
                    <a:pt x="125794" y="764431"/>
                  </a:cubicBezTo>
                  <a:cubicBezTo>
                    <a:pt x="136729" y="774968"/>
                    <a:pt x="151641" y="777751"/>
                    <a:pt x="163172" y="786897"/>
                  </a:cubicBezTo>
                  <a:cubicBezTo>
                    <a:pt x="180469" y="801013"/>
                    <a:pt x="171324" y="829046"/>
                    <a:pt x="189416" y="842765"/>
                  </a:cubicBezTo>
                  <a:cubicBezTo>
                    <a:pt x="200550" y="851314"/>
                    <a:pt x="212877" y="853899"/>
                    <a:pt x="220432" y="867220"/>
                  </a:cubicBezTo>
                  <a:cubicBezTo>
                    <a:pt x="230174" y="884318"/>
                    <a:pt x="220432" y="892271"/>
                    <a:pt x="211087" y="905790"/>
                  </a:cubicBezTo>
                  <a:cubicBezTo>
                    <a:pt x="188820" y="939192"/>
                    <a:pt x="206316" y="965436"/>
                    <a:pt x="212479" y="1000825"/>
                  </a:cubicBezTo>
                  <a:cubicBezTo>
                    <a:pt x="215064" y="1014941"/>
                    <a:pt x="219835" y="1043174"/>
                    <a:pt x="206316" y="1053711"/>
                  </a:cubicBezTo>
                  <a:cubicBezTo>
                    <a:pt x="200749" y="1058284"/>
                    <a:pt x="191603" y="1055898"/>
                    <a:pt x="186434" y="1061465"/>
                  </a:cubicBezTo>
                  <a:cubicBezTo>
                    <a:pt x="181265" y="1067032"/>
                    <a:pt x="183849" y="1070809"/>
                    <a:pt x="183253" y="1075780"/>
                  </a:cubicBezTo>
                  <a:cubicBezTo>
                    <a:pt x="182060" y="1084727"/>
                    <a:pt x="177288" y="1095662"/>
                    <a:pt x="166552" y="1087311"/>
                  </a:cubicBezTo>
                  <a:cubicBezTo>
                    <a:pt x="155816" y="1078961"/>
                    <a:pt x="163769" y="1064845"/>
                    <a:pt x="168739" y="1057687"/>
                  </a:cubicBezTo>
                  <a:cubicBezTo>
                    <a:pt x="176554" y="1044687"/>
                    <a:pt x="181817" y="1030312"/>
                    <a:pt x="184247" y="1015339"/>
                  </a:cubicBezTo>
                  <a:cubicBezTo>
                    <a:pt x="187229" y="1004603"/>
                    <a:pt x="194983" y="988896"/>
                    <a:pt x="189217" y="977762"/>
                  </a:cubicBezTo>
                  <a:cubicBezTo>
                    <a:pt x="187030" y="973587"/>
                    <a:pt x="182855" y="967424"/>
                    <a:pt x="177487" y="970605"/>
                  </a:cubicBezTo>
                  <a:cubicBezTo>
                    <a:pt x="172119" y="973786"/>
                    <a:pt x="170528" y="980148"/>
                    <a:pt x="168143" y="985119"/>
                  </a:cubicBezTo>
                  <a:cubicBezTo>
                    <a:pt x="165757" y="990089"/>
                    <a:pt x="164763" y="993867"/>
                    <a:pt x="162774" y="998241"/>
                  </a:cubicBezTo>
                  <a:cubicBezTo>
                    <a:pt x="160786" y="1002615"/>
                    <a:pt x="160389" y="1007585"/>
                    <a:pt x="157208" y="1007386"/>
                  </a:cubicBezTo>
                  <a:cubicBezTo>
                    <a:pt x="154026" y="1007188"/>
                    <a:pt x="153629" y="1004404"/>
                    <a:pt x="153629" y="1003211"/>
                  </a:cubicBezTo>
                  <a:cubicBezTo>
                    <a:pt x="153629" y="1002018"/>
                    <a:pt x="153629" y="1001024"/>
                    <a:pt x="153629" y="999036"/>
                  </a:cubicBezTo>
                  <a:lnTo>
                    <a:pt x="153629" y="986312"/>
                  </a:lnTo>
                  <a:cubicBezTo>
                    <a:pt x="153629" y="980347"/>
                    <a:pt x="155219" y="974581"/>
                    <a:pt x="155617" y="968617"/>
                  </a:cubicBezTo>
                  <a:cubicBezTo>
                    <a:pt x="155752" y="949306"/>
                    <a:pt x="162806" y="930684"/>
                    <a:pt x="175499" y="916129"/>
                  </a:cubicBezTo>
                  <a:cubicBezTo>
                    <a:pt x="185042" y="905591"/>
                    <a:pt x="220829" y="881733"/>
                    <a:pt x="200152" y="865828"/>
                  </a:cubicBezTo>
                  <a:cubicBezTo>
                    <a:pt x="179475" y="849922"/>
                    <a:pt x="149851" y="874377"/>
                    <a:pt x="131162" y="854495"/>
                  </a:cubicBezTo>
                  <a:cubicBezTo>
                    <a:pt x="123736" y="843685"/>
                    <a:pt x="117973" y="831824"/>
                    <a:pt x="114064" y="819304"/>
                  </a:cubicBezTo>
                  <a:cubicBezTo>
                    <a:pt x="108834" y="806741"/>
                    <a:pt x="99228" y="796500"/>
                    <a:pt x="87025" y="790476"/>
                  </a:cubicBezTo>
                  <a:cubicBezTo>
                    <a:pt x="75096" y="782921"/>
                    <a:pt x="73704" y="773179"/>
                    <a:pt x="64359" y="763834"/>
                  </a:cubicBezTo>
                  <a:cubicBezTo>
                    <a:pt x="55446" y="757724"/>
                    <a:pt x="45104" y="754026"/>
                    <a:pt x="34338" y="753098"/>
                  </a:cubicBezTo>
                  <a:cubicBezTo>
                    <a:pt x="34528" y="759110"/>
                    <a:pt x="35808" y="765039"/>
                    <a:pt x="38115" y="770594"/>
                  </a:cubicBezTo>
                  <a:cubicBezTo>
                    <a:pt x="41436" y="783280"/>
                    <a:pt x="49286" y="794313"/>
                    <a:pt x="60184" y="801610"/>
                  </a:cubicBezTo>
                  <a:lnTo>
                    <a:pt x="68336" y="805586"/>
                  </a:lnTo>
                  <a:cubicBezTo>
                    <a:pt x="79072" y="810755"/>
                    <a:pt x="92592" y="817316"/>
                    <a:pt x="94182" y="834017"/>
                  </a:cubicBezTo>
                  <a:cubicBezTo>
                    <a:pt x="94833" y="851205"/>
                    <a:pt x="85118" y="867108"/>
                    <a:pt x="69529" y="874377"/>
                  </a:cubicBezTo>
                  <a:lnTo>
                    <a:pt x="66745" y="876166"/>
                  </a:lnTo>
                  <a:cubicBezTo>
                    <a:pt x="56009" y="882727"/>
                    <a:pt x="43881" y="890481"/>
                    <a:pt x="43086" y="902609"/>
                  </a:cubicBezTo>
                  <a:cubicBezTo>
                    <a:pt x="42291" y="914737"/>
                    <a:pt x="51237" y="918713"/>
                    <a:pt x="62968" y="925871"/>
                  </a:cubicBezTo>
                  <a:lnTo>
                    <a:pt x="67342" y="928456"/>
                  </a:lnTo>
                  <a:cubicBezTo>
                    <a:pt x="94554" y="946246"/>
                    <a:pt x="105654" y="980619"/>
                    <a:pt x="93983" y="1010965"/>
                  </a:cubicBezTo>
                  <a:cubicBezTo>
                    <a:pt x="89921" y="1025938"/>
                    <a:pt x="79645" y="1038458"/>
                    <a:pt x="65751" y="1045361"/>
                  </a:cubicBezTo>
                  <a:cubicBezTo>
                    <a:pt x="49200" y="1053001"/>
                    <a:pt x="33913" y="1063125"/>
                    <a:pt x="20421" y="1075382"/>
                  </a:cubicBezTo>
                  <a:cubicBezTo>
                    <a:pt x="12070" y="1083335"/>
                    <a:pt x="-3040" y="1098246"/>
                    <a:pt x="539" y="1111766"/>
                  </a:cubicBezTo>
                  <a:cubicBezTo>
                    <a:pt x="2712" y="1118057"/>
                    <a:pt x="6088" y="1123864"/>
                    <a:pt x="10480" y="1128864"/>
                  </a:cubicBezTo>
                  <a:cubicBezTo>
                    <a:pt x="15115" y="1134348"/>
                    <a:pt x="18871" y="1140519"/>
                    <a:pt x="21614" y="1147156"/>
                  </a:cubicBezTo>
                  <a:cubicBezTo>
                    <a:pt x="27777" y="1163459"/>
                    <a:pt x="31554" y="1165447"/>
                    <a:pt x="48255" y="1172406"/>
                  </a:cubicBezTo>
                  <a:cubicBezTo>
                    <a:pt x="53984" y="1175169"/>
                    <a:pt x="59170" y="1178941"/>
                    <a:pt x="63564" y="1183539"/>
                  </a:cubicBezTo>
                  <a:cubicBezTo>
                    <a:pt x="70324" y="1189901"/>
                    <a:pt x="74698" y="1193878"/>
                    <a:pt x="80663" y="1192884"/>
                  </a:cubicBezTo>
                  <a:cubicBezTo>
                    <a:pt x="84080" y="1191667"/>
                    <a:pt x="87348" y="1190066"/>
                    <a:pt x="90405" y="1188112"/>
                  </a:cubicBezTo>
                  <a:cubicBezTo>
                    <a:pt x="97137" y="1182488"/>
                    <a:pt x="106088" y="1180287"/>
                    <a:pt x="114660" y="1182148"/>
                  </a:cubicBezTo>
                  <a:cubicBezTo>
                    <a:pt x="120295" y="1184587"/>
                    <a:pt x="123960" y="1190124"/>
                    <a:pt x="124005" y="1196264"/>
                  </a:cubicBezTo>
                  <a:cubicBezTo>
                    <a:pt x="123854" y="1197584"/>
                    <a:pt x="123854" y="1198918"/>
                    <a:pt x="124005" y="1200240"/>
                  </a:cubicBezTo>
                  <a:cubicBezTo>
                    <a:pt x="124757" y="1203194"/>
                    <a:pt x="126514" y="1205797"/>
                    <a:pt x="128975" y="1207596"/>
                  </a:cubicBezTo>
                  <a:lnTo>
                    <a:pt x="132554" y="1210777"/>
                  </a:lnTo>
                  <a:lnTo>
                    <a:pt x="135139" y="1212964"/>
                  </a:lnTo>
                  <a:cubicBezTo>
                    <a:pt x="137760" y="1214863"/>
                    <a:pt x="139765" y="1217489"/>
                    <a:pt x="140904" y="1220519"/>
                  </a:cubicBezTo>
                  <a:cubicBezTo>
                    <a:pt x="142839" y="1225074"/>
                    <a:pt x="144046" y="1229906"/>
                    <a:pt x="144483" y="1234834"/>
                  </a:cubicBezTo>
                  <a:cubicBezTo>
                    <a:pt x="144796" y="1238063"/>
                    <a:pt x="145394" y="1241256"/>
                    <a:pt x="146273" y="1244378"/>
                  </a:cubicBezTo>
                  <a:cubicBezTo>
                    <a:pt x="147664" y="1247956"/>
                    <a:pt x="149454" y="1251535"/>
                    <a:pt x="151044" y="1254915"/>
                  </a:cubicBezTo>
                  <a:cubicBezTo>
                    <a:pt x="159711" y="1265357"/>
                    <a:pt x="161054" y="1280056"/>
                    <a:pt x="154424" y="1291895"/>
                  </a:cubicBezTo>
                  <a:cubicBezTo>
                    <a:pt x="153067" y="1293575"/>
                    <a:pt x="151606" y="1295170"/>
                    <a:pt x="150050" y="1296667"/>
                  </a:cubicBezTo>
                  <a:cubicBezTo>
                    <a:pt x="148188" y="1297987"/>
                    <a:pt x="146795" y="1299868"/>
                    <a:pt x="146074" y="1302035"/>
                  </a:cubicBezTo>
                  <a:cubicBezTo>
                    <a:pt x="145780" y="1305069"/>
                    <a:pt x="146188" y="1308131"/>
                    <a:pt x="147267" y="1310982"/>
                  </a:cubicBezTo>
                  <a:cubicBezTo>
                    <a:pt x="148366" y="1314193"/>
                    <a:pt x="149035" y="1317535"/>
                    <a:pt x="149255" y="1320923"/>
                  </a:cubicBezTo>
                  <a:cubicBezTo>
                    <a:pt x="149451" y="1322108"/>
                    <a:pt x="149451" y="1323316"/>
                    <a:pt x="149255" y="1324501"/>
                  </a:cubicBezTo>
                  <a:lnTo>
                    <a:pt x="145676" y="1335635"/>
                  </a:lnTo>
                  <a:cubicBezTo>
                    <a:pt x="144454" y="1338095"/>
                    <a:pt x="142989" y="1340427"/>
                    <a:pt x="141302" y="1342594"/>
                  </a:cubicBezTo>
                  <a:lnTo>
                    <a:pt x="138916" y="1346173"/>
                  </a:lnTo>
                  <a:cubicBezTo>
                    <a:pt x="137146" y="1349131"/>
                    <a:pt x="135680" y="1352262"/>
                    <a:pt x="134542" y="1355517"/>
                  </a:cubicBezTo>
                  <a:cubicBezTo>
                    <a:pt x="132610" y="1360778"/>
                    <a:pt x="129932" y="1365732"/>
                    <a:pt x="126590" y="1370230"/>
                  </a:cubicBezTo>
                  <a:cubicBezTo>
                    <a:pt x="122239" y="1374482"/>
                    <a:pt x="117015" y="1377739"/>
                    <a:pt x="111281" y="1379773"/>
                  </a:cubicBezTo>
                  <a:cubicBezTo>
                    <a:pt x="101936" y="1383749"/>
                    <a:pt x="98755" y="1385539"/>
                    <a:pt x="100346" y="1393292"/>
                  </a:cubicBezTo>
                  <a:cubicBezTo>
                    <a:pt x="101742" y="1399233"/>
                    <a:pt x="104164" y="1404886"/>
                    <a:pt x="107503" y="1409993"/>
                  </a:cubicBezTo>
                  <a:cubicBezTo>
                    <a:pt x="114691" y="1419606"/>
                    <a:pt x="117439" y="1431829"/>
                    <a:pt x="115058" y="1443593"/>
                  </a:cubicBezTo>
                  <a:cubicBezTo>
                    <a:pt x="115058" y="1446576"/>
                    <a:pt x="113865" y="1449160"/>
                    <a:pt x="113269" y="1451745"/>
                  </a:cubicBezTo>
                  <a:cubicBezTo>
                    <a:pt x="108629" y="1461773"/>
                    <a:pt x="109454" y="1473482"/>
                    <a:pt x="115456" y="1482761"/>
                  </a:cubicBezTo>
                  <a:cubicBezTo>
                    <a:pt x="119258" y="1488270"/>
                    <a:pt x="123586" y="1493397"/>
                    <a:pt x="128379" y="1498070"/>
                  </a:cubicBezTo>
                  <a:cubicBezTo>
                    <a:pt x="136953" y="1506412"/>
                    <a:pt x="143720" y="1516426"/>
                    <a:pt x="148261" y="1527495"/>
                  </a:cubicBezTo>
                  <a:cubicBezTo>
                    <a:pt x="153229" y="1539450"/>
                    <a:pt x="152647" y="1552991"/>
                    <a:pt x="146670" y="1564475"/>
                  </a:cubicBezTo>
                  <a:cubicBezTo>
                    <a:pt x="144543" y="1567712"/>
                    <a:pt x="143499" y="1571541"/>
                    <a:pt x="143688" y="1575410"/>
                  </a:cubicBezTo>
                  <a:cubicBezTo>
                    <a:pt x="144743" y="1579291"/>
                    <a:pt x="146644" y="1582889"/>
                    <a:pt x="149255" y="1585947"/>
                  </a:cubicBezTo>
                  <a:cubicBezTo>
                    <a:pt x="151750" y="1589039"/>
                    <a:pt x="153823" y="1592449"/>
                    <a:pt x="155418" y="1596087"/>
                  </a:cubicBezTo>
                  <a:cubicBezTo>
                    <a:pt x="159218" y="1605113"/>
                    <a:pt x="159218" y="1615293"/>
                    <a:pt x="155418" y="1624319"/>
                  </a:cubicBezTo>
                  <a:lnTo>
                    <a:pt x="155418" y="1626109"/>
                  </a:lnTo>
                  <a:cubicBezTo>
                    <a:pt x="149652" y="1645394"/>
                    <a:pt x="159593" y="1654937"/>
                    <a:pt x="177288" y="1669650"/>
                  </a:cubicBezTo>
                  <a:cubicBezTo>
                    <a:pt x="187775" y="1677058"/>
                    <a:pt x="196638" y="1686529"/>
                    <a:pt x="203333" y="1697484"/>
                  </a:cubicBezTo>
                  <a:cubicBezTo>
                    <a:pt x="212769" y="1713495"/>
                    <a:pt x="212769" y="1733365"/>
                    <a:pt x="203333" y="1749376"/>
                  </a:cubicBezTo>
                  <a:lnTo>
                    <a:pt x="201743" y="1752358"/>
                  </a:lnTo>
                  <a:cubicBezTo>
                    <a:pt x="197568" y="1760311"/>
                    <a:pt x="187627" y="1779000"/>
                    <a:pt x="195381" y="1783573"/>
                  </a:cubicBezTo>
                  <a:cubicBezTo>
                    <a:pt x="196890" y="1783879"/>
                    <a:pt x="198444" y="1783879"/>
                    <a:pt x="199953" y="1783573"/>
                  </a:cubicBezTo>
                  <a:cubicBezTo>
                    <a:pt x="201675" y="1783473"/>
                    <a:pt x="203401" y="1783473"/>
                    <a:pt x="205123" y="1783573"/>
                  </a:cubicBezTo>
                  <a:cubicBezTo>
                    <a:pt x="213447" y="1783946"/>
                    <a:pt x="221265" y="1787676"/>
                    <a:pt x="226794" y="1793911"/>
                  </a:cubicBezTo>
                  <a:cubicBezTo>
                    <a:pt x="232162" y="1798683"/>
                    <a:pt x="234747" y="1800870"/>
                    <a:pt x="240512" y="1801069"/>
                  </a:cubicBezTo>
                  <a:cubicBezTo>
                    <a:pt x="242687" y="1801381"/>
                    <a:pt x="244898" y="1801381"/>
                    <a:pt x="247073" y="1801069"/>
                  </a:cubicBezTo>
                  <a:cubicBezTo>
                    <a:pt x="253952" y="1799090"/>
                    <a:pt x="261364" y="1800573"/>
                    <a:pt x="266955" y="1805045"/>
                  </a:cubicBezTo>
                  <a:cubicBezTo>
                    <a:pt x="274544" y="1814326"/>
                    <a:pt x="277801" y="1826410"/>
                    <a:pt x="275902" y="1838248"/>
                  </a:cubicBezTo>
                  <a:cubicBezTo>
                    <a:pt x="275902" y="1840633"/>
                    <a:pt x="275902" y="1842622"/>
                    <a:pt x="275902" y="1844610"/>
                  </a:cubicBezTo>
                  <a:lnTo>
                    <a:pt x="275902" y="1855744"/>
                  </a:lnTo>
                  <a:cubicBezTo>
                    <a:pt x="278171" y="1871470"/>
                    <a:pt x="276878" y="1887505"/>
                    <a:pt x="272124" y="1902665"/>
                  </a:cubicBezTo>
                  <a:cubicBezTo>
                    <a:pt x="268478" y="1911594"/>
                    <a:pt x="262068" y="1919117"/>
                    <a:pt x="253833" y="1924137"/>
                  </a:cubicBezTo>
                  <a:cubicBezTo>
                    <a:pt x="248602" y="1927547"/>
                    <a:pt x="244079" y="1931935"/>
                    <a:pt x="240512" y="1937060"/>
                  </a:cubicBezTo>
                  <a:cubicBezTo>
                    <a:pt x="238395" y="1940512"/>
                    <a:pt x="236071" y="1943832"/>
                    <a:pt x="233554" y="1947001"/>
                  </a:cubicBezTo>
                  <a:cubicBezTo>
                    <a:pt x="224806" y="1958731"/>
                    <a:pt x="219835" y="1966883"/>
                    <a:pt x="225005" y="1975631"/>
                  </a:cubicBezTo>
                  <a:cubicBezTo>
                    <a:pt x="227313" y="1979381"/>
                    <a:pt x="230049" y="1982850"/>
                    <a:pt x="233156" y="1985970"/>
                  </a:cubicBezTo>
                  <a:cubicBezTo>
                    <a:pt x="241459" y="1993385"/>
                    <a:pt x="245041" y="2004758"/>
                    <a:pt x="242501" y="2015593"/>
                  </a:cubicBezTo>
                  <a:cubicBezTo>
                    <a:pt x="242304" y="2019371"/>
                    <a:pt x="242304" y="2023148"/>
                    <a:pt x="242501" y="2026926"/>
                  </a:cubicBezTo>
                  <a:cubicBezTo>
                    <a:pt x="242485" y="2032612"/>
                    <a:pt x="241884" y="2038259"/>
                    <a:pt x="240711" y="2043826"/>
                  </a:cubicBezTo>
                  <a:cubicBezTo>
                    <a:pt x="237816" y="2053110"/>
                    <a:pt x="232854" y="2061600"/>
                    <a:pt x="226197" y="2068678"/>
                  </a:cubicBezTo>
                  <a:lnTo>
                    <a:pt x="224010" y="2071262"/>
                  </a:lnTo>
                  <a:cubicBezTo>
                    <a:pt x="219040" y="2077625"/>
                    <a:pt x="214268" y="2084583"/>
                    <a:pt x="209894" y="2091144"/>
                  </a:cubicBezTo>
                  <a:cubicBezTo>
                    <a:pt x="204956" y="2099117"/>
                    <a:pt x="199510" y="2106752"/>
                    <a:pt x="193591" y="2114008"/>
                  </a:cubicBezTo>
                  <a:lnTo>
                    <a:pt x="186036" y="2122359"/>
                  </a:lnTo>
                  <a:cubicBezTo>
                    <a:pt x="181745" y="2126534"/>
                    <a:pt x="177882" y="2131127"/>
                    <a:pt x="174505" y="2136077"/>
                  </a:cubicBezTo>
                  <a:cubicBezTo>
                    <a:pt x="172581" y="2139079"/>
                    <a:pt x="171170" y="2142360"/>
                    <a:pt x="170330" y="2145819"/>
                  </a:cubicBezTo>
                  <a:lnTo>
                    <a:pt x="170330" y="2145819"/>
                  </a:lnTo>
                  <a:cubicBezTo>
                    <a:pt x="167290" y="2159220"/>
                    <a:pt x="168975" y="2173276"/>
                    <a:pt x="175101" y="2185583"/>
                  </a:cubicBezTo>
                  <a:cubicBezTo>
                    <a:pt x="184756" y="2195902"/>
                    <a:pt x="196760" y="2203755"/>
                    <a:pt x="210093" y="2208447"/>
                  </a:cubicBezTo>
                  <a:cubicBezTo>
                    <a:pt x="216654" y="2211429"/>
                    <a:pt x="222818" y="2214412"/>
                    <a:pt x="228186" y="2217394"/>
                  </a:cubicBezTo>
                  <a:lnTo>
                    <a:pt x="231367" y="2219183"/>
                  </a:lnTo>
                  <a:cubicBezTo>
                    <a:pt x="239717" y="2223955"/>
                    <a:pt x="249062" y="2229522"/>
                    <a:pt x="251249" y="2239065"/>
                  </a:cubicBezTo>
                  <a:cubicBezTo>
                    <a:pt x="251795" y="2244572"/>
                    <a:pt x="249736" y="2250020"/>
                    <a:pt x="245682" y="2253778"/>
                  </a:cubicBezTo>
                  <a:cubicBezTo>
                    <a:pt x="243994" y="2255666"/>
                    <a:pt x="242200" y="2257456"/>
                    <a:pt x="240314" y="2259146"/>
                  </a:cubicBezTo>
                  <a:cubicBezTo>
                    <a:pt x="237423" y="2261373"/>
                    <a:pt x="234993" y="2264136"/>
                    <a:pt x="233156" y="2267297"/>
                  </a:cubicBezTo>
                  <a:cubicBezTo>
                    <a:pt x="232339" y="2268848"/>
                    <a:pt x="231607" y="2270439"/>
                    <a:pt x="230969" y="2272069"/>
                  </a:cubicBezTo>
                  <a:cubicBezTo>
                    <a:pt x="228971" y="2278570"/>
                    <a:pt x="223798" y="2283580"/>
                    <a:pt x="217251" y="2285390"/>
                  </a:cubicBezTo>
                  <a:cubicBezTo>
                    <a:pt x="213573" y="2286563"/>
                    <a:pt x="209769" y="2287298"/>
                    <a:pt x="205918" y="2287577"/>
                  </a:cubicBezTo>
                  <a:cubicBezTo>
                    <a:pt x="202596" y="2287795"/>
                    <a:pt x="199318" y="2288471"/>
                    <a:pt x="196176" y="2289565"/>
                  </a:cubicBezTo>
                  <a:cubicBezTo>
                    <a:pt x="190351" y="2292428"/>
                    <a:pt x="184880" y="2295967"/>
                    <a:pt x="179873" y="2300102"/>
                  </a:cubicBezTo>
                  <a:cubicBezTo>
                    <a:pt x="176493" y="2302886"/>
                    <a:pt x="173113" y="2305272"/>
                    <a:pt x="169932" y="2307459"/>
                  </a:cubicBezTo>
                  <a:lnTo>
                    <a:pt x="166552" y="2309646"/>
                  </a:lnTo>
                  <a:cubicBezTo>
                    <a:pt x="160601" y="2313801"/>
                    <a:pt x="154355" y="2317519"/>
                    <a:pt x="147863" y="2320779"/>
                  </a:cubicBezTo>
                  <a:cubicBezTo>
                    <a:pt x="159184" y="2338474"/>
                    <a:pt x="166762" y="2358296"/>
                    <a:pt x="170131" y="2379033"/>
                  </a:cubicBezTo>
                  <a:cubicBezTo>
                    <a:pt x="168999" y="2388556"/>
                    <a:pt x="165363" y="2397623"/>
                    <a:pt x="159593" y="2405277"/>
                  </a:cubicBezTo>
                  <a:cubicBezTo>
                    <a:pt x="152436" y="2418797"/>
                    <a:pt x="148460" y="2427545"/>
                    <a:pt x="156213" y="2435497"/>
                  </a:cubicBezTo>
                  <a:cubicBezTo>
                    <a:pt x="168143" y="2447625"/>
                    <a:pt x="193392" y="2444047"/>
                    <a:pt x="213672" y="2441064"/>
                  </a:cubicBezTo>
                  <a:cubicBezTo>
                    <a:pt x="220034" y="2441064"/>
                    <a:pt x="225999" y="2439275"/>
                    <a:pt x="230969" y="2438877"/>
                  </a:cubicBezTo>
                  <a:cubicBezTo>
                    <a:pt x="248266" y="2438877"/>
                    <a:pt x="290615" y="2437088"/>
                    <a:pt x="310496" y="2455578"/>
                  </a:cubicBezTo>
                  <a:cubicBezTo>
                    <a:pt x="313681" y="2458759"/>
                    <a:pt x="316304" y="2462457"/>
                    <a:pt x="318250" y="2466513"/>
                  </a:cubicBezTo>
                  <a:cubicBezTo>
                    <a:pt x="319604" y="2470311"/>
                    <a:pt x="322197" y="2473531"/>
                    <a:pt x="325607" y="2475659"/>
                  </a:cubicBezTo>
                  <a:cubicBezTo>
                    <a:pt x="327937" y="2476971"/>
                    <a:pt x="330404" y="2478045"/>
                    <a:pt x="332963" y="2478840"/>
                  </a:cubicBezTo>
                  <a:cubicBezTo>
                    <a:pt x="340428" y="2480629"/>
                    <a:pt x="346701" y="2485659"/>
                    <a:pt x="350061" y="2492558"/>
                  </a:cubicBezTo>
                  <a:cubicBezTo>
                    <a:pt x="352811" y="2498901"/>
                    <a:pt x="354684" y="2505601"/>
                    <a:pt x="355628" y="2512440"/>
                  </a:cubicBezTo>
                  <a:cubicBezTo>
                    <a:pt x="358412" y="2526159"/>
                    <a:pt x="359803" y="2532322"/>
                    <a:pt x="375510" y="2532322"/>
                  </a:cubicBezTo>
                  <a:lnTo>
                    <a:pt x="379884" y="2532322"/>
                  </a:lnTo>
                  <a:cubicBezTo>
                    <a:pt x="390554" y="2529717"/>
                    <a:pt x="401824" y="2532461"/>
                    <a:pt x="410104" y="2539678"/>
                  </a:cubicBezTo>
                  <a:cubicBezTo>
                    <a:pt x="418642" y="2548884"/>
                    <a:pt x="421256" y="2562105"/>
                    <a:pt x="416864" y="2573875"/>
                  </a:cubicBezTo>
                  <a:cubicBezTo>
                    <a:pt x="413436" y="2580675"/>
                    <a:pt x="407838" y="2586122"/>
                    <a:pt x="400959" y="2589383"/>
                  </a:cubicBezTo>
                  <a:cubicBezTo>
                    <a:pt x="397962" y="2590973"/>
                    <a:pt x="395161" y="2592922"/>
                    <a:pt x="392608" y="2595149"/>
                  </a:cubicBezTo>
                  <a:cubicBezTo>
                    <a:pt x="384178" y="2603499"/>
                    <a:pt x="376892" y="2612923"/>
                    <a:pt x="370937" y="2623182"/>
                  </a:cubicBezTo>
                  <a:cubicBezTo>
                    <a:pt x="362277" y="2639465"/>
                    <a:pt x="362277" y="2658989"/>
                    <a:pt x="370937" y="2675272"/>
                  </a:cubicBezTo>
                  <a:cubicBezTo>
                    <a:pt x="374657" y="2683841"/>
                    <a:pt x="381912" y="2690363"/>
                    <a:pt x="390819" y="2693166"/>
                  </a:cubicBezTo>
                  <a:lnTo>
                    <a:pt x="402549" y="2697739"/>
                  </a:lnTo>
                  <a:cubicBezTo>
                    <a:pt x="409953" y="2701278"/>
                    <a:pt x="417767" y="2703882"/>
                    <a:pt x="425811" y="2705493"/>
                  </a:cubicBezTo>
                  <a:cubicBezTo>
                    <a:pt x="428586" y="2705791"/>
                    <a:pt x="431386" y="2705791"/>
                    <a:pt x="434161" y="2705493"/>
                  </a:cubicBezTo>
                  <a:cubicBezTo>
                    <a:pt x="443834" y="2703365"/>
                    <a:pt x="453886" y="2706825"/>
                    <a:pt x="460206" y="2714439"/>
                  </a:cubicBezTo>
                  <a:cubicBezTo>
                    <a:pt x="464537" y="2722949"/>
                    <a:pt x="464161" y="2733108"/>
                    <a:pt x="459212" y="2741280"/>
                  </a:cubicBezTo>
                  <a:cubicBezTo>
                    <a:pt x="452641" y="2754442"/>
                    <a:pt x="444277" y="2766609"/>
                    <a:pt x="434360" y="2777465"/>
                  </a:cubicBezTo>
                  <a:cubicBezTo>
                    <a:pt x="429632" y="2782793"/>
                    <a:pt x="425185" y="2788380"/>
                    <a:pt x="421039" y="2794165"/>
                  </a:cubicBezTo>
                  <a:cubicBezTo>
                    <a:pt x="419449" y="2796352"/>
                    <a:pt x="417262" y="2798738"/>
                    <a:pt x="415075" y="2801522"/>
                  </a:cubicBezTo>
                  <a:cubicBezTo>
                    <a:pt x="409707" y="2807685"/>
                    <a:pt x="402350" y="2816234"/>
                    <a:pt x="402748" y="2821403"/>
                  </a:cubicBezTo>
                  <a:cubicBezTo>
                    <a:pt x="403072" y="2822696"/>
                    <a:pt x="403764" y="2823869"/>
                    <a:pt x="404736" y="2824784"/>
                  </a:cubicBezTo>
                  <a:cubicBezTo>
                    <a:pt x="406864" y="2826971"/>
                    <a:pt x="408313" y="2829734"/>
                    <a:pt x="408911" y="2832736"/>
                  </a:cubicBezTo>
                  <a:cubicBezTo>
                    <a:pt x="409963" y="2836812"/>
                    <a:pt x="409241" y="2841146"/>
                    <a:pt x="406923" y="2844665"/>
                  </a:cubicBezTo>
                  <a:cubicBezTo>
                    <a:pt x="406196" y="2845540"/>
                    <a:pt x="405655" y="2846554"/>
                    <a:pt x="405333" y="2847648"/>
                  </a:cubicBezTo>
                  <a:cubicBezTo>
                    <a:pt x="404770" y="2849059"/>
                    <a:pt x="404368" y="2850530"/>
                    <a:pt x="404140" y="2852022"/>
                  </a:cubicBezTo>
                  <a:cubicBezTo>
                    <a:pt x="403637" y="2855640"/>
                    <a:pt x="403637" y="2859338"/>
                    <a:pt x="404140" y="2862957"/>
                  </a:cubicBezTo>
                  <a:lnTo>
                    <a:pt x="404140" y="2862957"/>
                  </a:lnTo>
                  <a:cubicBezTo>
                    <a:pt x="404748" y="2867569"/>
                    <a:pt x="404748" y="2872261"/>
                    <a:pt x="404140" y="2876874"/>
                  </a:cubicBezTo>
                  <a:cubicBezTo>
                    <a:pt x="403738" y="2880313"/>
                    <a:pt x="403006" y="2883713"/>
                    <a:pt x="401953" y="2887013"/>
                  </a:cubicBezTo>
                  <a:cubicBezTo>
                    <a:pt x="400163" y="2894171"/>
                    <a:pt x="398772" y="2898744"/>
                    <a:pt x="401953" y="2904708"/>
                  </a:cubicBezTo>
                  <a:cubicBezTo>
                    <a:pt x="404927" y="2908307"/>
                    <a:pt x="408754" y="2911110"/>
                    <a:pt x="413087" y="2912860"/>
                  </a:cubicBezTo>
                  <a:cubicBezTo>
                    <a:pt x="417822" y="2914987"/>
                    <a:pt x="422133" y="2917950"/>
                    <a:pt x="425811" y="2921608"/>
                  </a:cubicBezTo>
                  <a:cubicBezTo>
                    <a:pt x="428095" y="2924332"/>
                    <a:pt x="429911" y="2927433"/>
                    <a:pt x="431179" y="2930753"/>
                  </a:cubicBezTo>
                  <a:cubicBezTo>
                    <a:pt x="431744" y="2932344"/>
                    <a:pt x="432477" y="2933875"/>
                    <a:pt x="433366" y="2935326"/>
                  </a:cubicBezTo>
                  <a:cubicBezTo>
                    <a:pt x="434593" y="2937175"/>
                    <a:pt x="436064" y="2938846"/>
                    <a:pt x="437740" y="2940297"/>
                  </a:cubicBezTo>
                  <a:cubicBezTo>
                    <a:pt x="439412" y="2941748"/>
                    <a:pt x="440943" y="2943339"/>
                    <a:pt x="442313" y="2945068"/>
                  </a:cubicBezTo>
                  <a:cubicBezTo>
                    <a:pt x="451097" y="2955327"/>
                    <a:pt x="454948" y="2968907"/>
                    <a:pt x="452850" y="2982248"/>
                  </a:cubicBezTo>
                  <a:cubicBezTo>
                    <a:pt x="451160" y="2992208"/>
                    <a:pt x="445106" y="3000877"/>
                    <a:pt x="436348" y="3005907"/>
                  </a:cubicBezTo>
                  <a:cubicBezTo>
                    <a:pt x="424735" y="3012527"/>
                    <a:pt x="413928" y="3020460"/>
                    <a:pt x="404140" y="3029566"/>
                  </a:cubicBezTo>
                  <a:lnTo>
                    <a:pt x="430384" y="3061377"/>
                  </a:lnTo>
                  <a:lnTo>
                    <a:pt x="440523" y="3074698"/>
                  </a:lnTo>
                  <a:cubicBezTo>
                    <a:pt x="451061" y="3088615"/>
                    <a:pt x="460405" y="3086229"/>
                    <a:pt x="479094" y="3080464"/>
                  </a:cubicBezTo>
                  <a:cubicBezTo>
                    <a:pt x="482995" y="3079032"/>
                    <a:pt x="486979" y="3077839"/>
                    <a:pt x="491023" y="3076885"/>
                  </a:cubicBezTo>
                  <a:cubicBezTo>
                    <a:pt x="498628" y="3075294"/>
                    <a:pt x="506481" y="3075294"/>
                    <a:pt x="514086" y="3076885"/>
                  </a:cubicBezTo>
                  <a:cubicBezTo>
                    <a:pt x="518399" y="3077800"/>
                    <a:pt x="522802" y="3078197"/>
                    <a:pt x="527208" y="3078078"/>
                  </a:cubicBezTo>
                  <a:cubicBezTo>
                    <a:pt x="531020" y="3077720"/>
                    <a:pt x="534763" y="3076845"/>
                    <a:pt x="538342" y="3075493"/>
                  </a:cubicBezTo>
                  <a:cubicBezTo>
                    <a:pt x="546018" y="3071895"/>
                    <a:pt x="554806" y="3071457"/>
                    <a:pt x="562797" y="3074300"/>
                  </a:cubicBezTo>
                  <a:cubicBezTo>
                    <a:pt x="579497" y="3081855"/>
                    <a:pt x="576714" y="3100147"/>
                    <a:pt x="574527" y="3114064"/>
                  </a:cubicBezTo>
                  <a:cubicBezTo>
                    <a:pt x="573736" y="3118120"/>
                    <a:pt x="573270" y="3122255"/>
                    <a:pt x="573135" y="3126391"/>
                  </a:cubicBezTo>
                  <a:cubicBezTo>
                    <a:pt x="573135" y="3134542"/>
                    <a:pt x="576316" y="3137524"/>
                    <a:pt x="583474" y="3144086"/>
                  </a:cubicBezTo>
                  <a:cubicBezTo>
                    <a:pt x="592196" y="3152535"/>
                    <a:pt x="598980" y="3162774"/>
                    <a:pt x="603356" y="3174107"/>
                  </a:cubicBezTo>
                  <a:lnTo>
                    <a:pt x="605344" y="3178282"/>
                  </a:lnTo>
                  <a:cubicBezTo>
                    <a:pt x="610294" y="3188203"/>
                    <a:pt x="615804" y="3197826"/>
                    <a:pt x="621846" y="3207111"/>
                  </a:cubicBezTo>
                  <a:cubicBezTo>
                    <a:pt x="630946" y="3220571"/>
                    <a:pt x="638419" y="3235045"/>
                    <a:pt x="644113" y="3250254"/>
                  </a:cubicBezTo>
                  <a:cubicBezTo>
                    <a:pt x="653422" y="3273337"/>
                    <a:pt x="653422" y="3299144"/>
                    <a:pt x="644113" y="3322226"/>
                  </a:cubicBezTo>
                  <a:cubicBezTo>
                    <a:pt x="640543" y="3328310"/>
                    <a:pt x="635479" y="3333360"/>
                    <a:pt x="629401" y="3336939"/>
                  </a:cubicBezTo>
                  <a:cubicBezTo>
                    <a:pt x="626582" y="3338768"/>
                    <a:pt x="623921" y="3340836"/>
                    <a:pt x="621448" y="3343102"/>
                  </a:cubicBezTo>
                  <a:cubicBezTo>
                    <a:pt x="616728" y="3349146"/>
                    <a:pt x="613770" y="3356364"/>
                    <a:pt x="612899" y="3363978"/>
                  </a:cubicBezTo>
                  <a:cubicBezTo>
                    <a:pt x="612038" y="3368790"/>
                    <a:pt x="610773" y="3373502"/>
                    <a:pt x="609121" y="3378094"/>
                  </a:cubicBezTo>
                  <a:cubicBezTo>
                    <a:pt x="605302" y="3390560"/>
                    <a:pt x="596926" y="3401138"/>
                    <a:pt x="585661" y="3407718"/>
                  </a:cubicBezTo>
                  <a:cubicBezTo>
                    <a:pt x="582529" y="3409309"/>
                    <a:pt x="579271" y="3410641"/>
                    <a:pt x="575919" y="3411695"/>
                  </a:cubicBezTo>
                  <a:cubicBezTo>
                    <a:pt x="569213" y="3413325"/>
                    <a:pt x="563379" y="3417440"/>
                    <a:pt x="559616" y="3423226"/>
                  </a:cubicBezTo>
                  <a:cubicBezTo>
                    <a:pt x="557429" y="3426805"/>
                    <a:pt x="555639" y="3430583"/>
                    <a:pt x="553651" y="3434161"/>
                  </a:cubicBezTo>
                  <a:cubicBezTo>
                    <a:pt x="550321" y="3441279"/>
                    <a:pt x="546112" y="3447959"/>
                    <a:pt x="541126" y="3454043"/>
                  </a:cubicBezTo>
                  <a:lnTo>
                    <a:pt x="538740" y="3456429"/>
                  </a:lnTo>
                  <a:cubicBezTo>
                    <a:pt x="544704" y="3461797"/>
                    <a:pt x="550470" y="3467364"/>
                    <a:pt x="556037" y="3472931"/>
                  </a:cubicBezTo>
                  <a:cubicBezTo>
                    <a:pt x="564546" y="3481162"/>
                    <a:pt x="576281" y="3485158"/>
                    <a:pt x="588047" y="3483866"/>
                  </a:cubicBezTo>
                  <a:lnTo>
                    <a:pt x="600373" y="3483866"/>
                  </a:lnTo>
                  <a:cubicBezTo>
                    <a:pt x="614283" y="3485675"/>
                    <a:pt x="627951" y="3489015"/>
                    <a:pt x="641131" y="3493807"/>
                  </a:cubicBezTo>
                  <a:cubicBezTo>
                    <a:pt x="661919" y="3503529"/>
                    <a:pt x="685571" y="3505239"/>
                    <a:pt x="707536" y="3498578"/>
                  </a:cubicBezTo>
                  <a:cubicBezTo>
                    <a:pt x="717211" y="3493906"/>
                    <a:pt x="725706" y="3487106"/>
                    <a:pt x="732389" y="3478697"/>
                  </a:cubicBezTo>
                  <a:cubicBezTo>
                    <a:pt x="735967" y="3475118"/>
                    <a:pt x="739546" y="3471340"/>
                    <a:pt x="743324" y="3468159"/>
                  </a:cubicBezTo>
                  <a:cubicBezTo>
                    <a:pt x="747356" y="3464819"/>
                    <a:pt x="751606" y="3461777"/>
                    <a:pt x="756048" y="3459013"/>
                  </a:cubicBezTo>
                  <a:cubicBezTo>
                    <a:pt x="768752" y="3453785"/>
                    <a:pt x="778055" y="3442631"/>
                    <a:pt x="780900" y="3429191"/>
                  </a:cubicBezTo>
                  <a:cubicBezTo>
                    <a:pt x="782397" y="3419707"/>
                    <a:pt x="787270" y="3411098"/>
                    <a:pt x="794619" y="3404935"/>
                  </a:cubicBezTo>
                  <a:cubicBezTo>
                    <a:pt x="796808" y="3403006"/>
                    <a:pt x="798806" y="3400879"/>
                    <a:pt x="800583" y="3398573"/>
                  </a:cubicBezTo>
                  <a:cubicBezTo>
                    <a:pt x="803581" y="3393761"/>
                    <a:pt x="805860" y="3388532"/>
                    <a:pt x="807343" y="3383065"/>
                  </a:cubicBezTo>
                  <a:cubicBezTo>
                    <a:pt x="809262" y="3372567"/>
                    <a:pt x="815176" y="3363243"/>
                    <a:pt x="823845" y="3357020"/>
                  </a:cubicBezTo>
                  <a:cubicBezTo>
                    <a:pt x="826191" y="3355509"/>
                    <a:pt x="828650" y="3354177"/>
                    <a:pt x="831201" y="3353043"/>
                  </a:cubicBezTo>
                  <a:cubicBezTo>
                    <a:pt x="835281" y="3351731"/>
                    <a:pt x="838742" y="3348968"/>
                    <a:pt x="840943" y="3345289"/>
                  </a:cubicBezTo>
                  <a:cubicBezTo>
                    <a:pt x="843037" y="3340896"/>
                    <a:pt x="844381" y="3336203"/>
                    <a:pt x="844920" y="3331372"/>
                  </a:cubicBezTo>
                  <a:lnTo>
                    <a:pt x="844920" y="3326799"/>
                  </a:lnTo>
                  <a:cubicBezTo>
                    <a:pt x="845449" y="3313379"/>
                    <a:pt x="851847" y="3300874"/>
                    <a:pt x="862416" y="3292603"/>
                  </a:cubicBezTo>
                  <a:cubicBezTo>
                    <a:pt x="870929" y="3288050"/>
                    <a:pt x="880403" y="3285604"/>
                    <a:pt x="890051" y="3285445"/>
                  </a:cubicBezTo>
                  <a:lnTo>
                    <a:pt x="896811" y="3285445"/>
                  </a:lnTo>
                  <a:cubicBezTo>
                    <a:pt x="907428" y="3283874"/>
                    <a:pt x="917630" y="3280236"/>
                    <a:pt x="926833" y="3274709"/>
                  </a:cubicBezTo>
                  <a:cubicBezTo>
                    <a:pt x="935966" y="3270593"/>
                    <a:pt x="945699" y="3267989"/>
                    <a:pt x="955661" y="3266955"/>
                  </a:cubicBezTo>
                  <a:cubicBezTo>
                    <a:pt x="961626" y="3266955"/>
                    <a:pt x="967392" y="3264967"/>
                    <a:pt x="972561" y="3263575"/>
                  </a:cubicBezTo>
                  <a:cubicBezTo>
                    <a:pt x="975297" y="3262820"/>
                    <a:pt x="978088" y="3262283"/>
                    <a:pt x="980911" y="3261985"/>
                  </a:cubicBezTo>
                  <a:cubicBezTo>
                    <a:pt x="983915" y="3261786"/>
                    <a:pt x="986868" y="3261130"/>
                    <a:pt x="989659" y="3259997"/>
                  </a:cubicBezTo>
                  <a:cubicBezTo>
                    <a:pt x="992610" y="3258287"/>
                    <a:pt x="995234" y="3256060"/>
                    <a:pt x="997413" y="3253436"/>
                  </a:cubicBezTo>
                  <a:cubicBezTo>
                    <a:pt x="998173" y="3252481"/>
                    <a:pt x="999040" y="3251606"/>
                    <a:pt x="999998" y="3250851"/>
                  </a:cubicBezTo>
                  <a:lnTo>
                    <a:pt x="992840" y="3246079"/>
                  </a:lnTo>
                  <a:cubicBezTo>
                    <a:pt x="987472" y="3242500"/>
                    <a:pt x="981905" y="3238723"/>
                    <a:pt x="976736" y="3234548"/>
                  </a:cubicBezTo>
                  <a:cubicBezTo>
                    <a:pt x="969348" y="3228722"/>
                    <a:pt x="962674" y="3222062"/>
                    <a:pt x="956854" y="3214666"/>
                  </a:cubicBezTo>
                  <a:cubicBezTo>
                    <a:pt x="953427" y="3210053"/>
                    <a:pt x="949709" y="3205679"/>
                    <a:pt x="945721" y="3201544"/>
                  </a:cubicBezTo>
                  <a:cubicBezTo>
                    <a:pt x="942692" y="3198641"/>
                    <a:pt x="939281" y="3196156"/>
                    <a:pt x="935581" y="3194187"/>
                  </a:cubicBezTo>
                  <a:cubicBezTo>
                    <a:pt x="930147" y="3191325"/>
                    <a:pt x="925294" y="3187487"/>
                    <a:pt x="921266" y="3182855"/>
                  </a:cubicBezTo>
                  <a:cubicBezTo>
                    <a:pt x="915287" y="3176572"/>
                    <a:pt x="915538" y="3166632"/>
                    <a:pt x="921825" y="3160647"/>
                  </a:cubicBezTo>
                  <a:cubicBezTo>
                    <a:pt x="922737" y="3159772"/>
                    <a:pt x="923751" y="3159017"/>
                    <a:pt x="924845" y="3158400"/>
                  </a:cubicBezTo>
                  <a:cubicBezTo>
                    <a:pt x="926781" y="3156691"/>
                    <a:pt x="928576" y="3154822"/>
                    <a:pt x="930213" y="3152834"/>
                  </a:cubicBezTo>
                  <a:cubicBezTo>
                    <a:pt x="932201" y="3150050"/>
                    <a:pt x="933791" y="3147664"/>
                    <a:pt x="935183" y="3145278"/>
                  </a:cubicBezTo>
                  <a:cubicBezTo>
                    <a:pt x="939223" y="3135397"/>
                    <a:pt x="949202" y="3129293"/>
                    <a:pt x="959837" y="3130168"/>
                  </a:cubicBezTo>
                  <a:cubicBezTo>
                    <a:pt x="972163" y="3130168"/>
                    <a:pt x="974748" y="3130168"/>
                    <a:pt x="978327" y="3120426"/>
                  </a:cubicBezTo>
                  <a:cubicBezTo>
                    <a:pt x="981486" y="3111817"/>
                    <a:pt x="984011" y="3102970"/>
                    <a:pt x="985882" y="3093983"/>
                  </a:cubicBezTo>
                  <a:cubicBezTo>
                    <a:pt x="987184" y="3087422"/>
                    <a:pt x="987184" y="3080662"/>
                    <a:pt x="985882" y="3074101"/>
                  </a:cubicBezTo>
                  <a:cubicBezTo>
                    <a:pt x="984460" y="3067580"/>
                    <a:pt x="983925" y="3060880"/>
                    <a:pt x="984291" y="3054220"/>
                  </a:cubicBezTo>
                  <a:cubicBezTo>
                    <a:pt x="985166" y="3047301"/>
                    <a:pt x="987182" y="3040581"/>
                    <a:pt x="990256" y="3034338"/>
                  </a:cubicBezTo>
                  <a:cubicBezTo>
                    <a:pt x="993188" y="3028572"/>
                    <a:pt x="994946" y="3022289"/>
                    <a:pt x="995425" y="3015848"/>
                  </a:cubicBezTo>
                  <a:cubicBezTo>
                    <a:pt x="994934" y="3010161"/>
                    <a:pt x="993019" y="3004694"/>
                    <a:pt x="989858" y="2999942"/>
                  </a:cubicBezTo>
                  <a:cubicBezTo>
                    <a:pt x="986506" y="2994554"/>
                    <a:pt x="984273" y="2988530"/>
                    <a:pt x="983297" y="2982248"/>
                  </a:cubicBezTo>
                  <a:cubicBezTo>
                    <a:pt x="983218" y="2973698"/>
                    <a:pt x="984979" y="2965209"/>
                    <a:pt x="988466" y="2957395"/>
                  </a:cubicBezTo>
                  <a:cubicBezTo>
                    <a:pt x="988466" y="2954612"/>
                    <a:pt x="990256" y="2952027"/>
                    <a:pt x="991051" y="2949641"/>
                  </a:cubicBezTo>
                  <a:cubicBezTo>
                    <a:pt x="992765" y="2936042"/>
                    <a:pt x="1002755" y="2924948"/>
                    <a:pt x="1016102" y="2921807"/>
                  </a:cubicBezTo>
                  <a:lnTo>
                    <a:pt x="1021669" y="2920216"/>
                  </a:lnTo>
                  <a:cubicBezTo>
                    <a:pt x="1029423" y="2918228"/>
                    <a:pt x="1031014" y="2917830"/>
                    <a:pt x="1033399" y="2909878"/>
                  </a:cubicBezTo>
                  <a:cubicBezTo>
                    <a:pt x="1033638" y="2907830"/>
                    <a:pt x="1033638" y="2905762"/>
                    <a:pt x="1033399" y="2903714"/>
                  </a:cubicBezTo>
                  <a:cubicBezTo>
                    <a:pt x="1033411" y="2899460"/>
                    <a:pt x="1034362" y="2895245"/>
                    <a:pt x="1036183" y="2891387"/>
                  </a:cubicBezTo>
                  <a:cubicBezTo>
                    <a:pt x="1037765" y="2888624"/>
                    <a:pt x="1039857" y="2886198"/>
                    <a:pt x="1042346" y="2884230"/>
                  </a:cubicBezTo>
                  <a:cubicBezTo>
                    <a:pt x="1043410" y="2883534"/>
                    <a:pt x="1044350" y="2882659"/>
                    <a:pt x="1045130" y="2881646"/>
                  </a:cubicBezTo>
                  <a:cubicBezTo>
                    <a:pt x="1049901" y="2875283"/>
                    <a:pt x="1049305" y="2873494"/>
                    <a:pt x="1046521" y="2864746"/>
                  </a:cubicBezTo>
                  <a:lnTo>
                    <a:pt x="1043937" y="2856992"/>
                  </a:lnTo>
                  <a:cubicBezTo>
                    <a:pt x="1042668" y="2849178"/>
                    <a:pt x="1038563" y="2842100"/>
                    <a:pt x="1032405" y="2837110"/>
                  </a:cubicBezTo>
                  <a:cubicBezTo>
                    <a:pt x="1023512" y="2830987"/>
                    <a:pt x="1017096" y="2821901"/>
                    <a:pt x="1014313" y="2811462"/>
                  </a:cubicBezTo>
                  <a:cubicBezTo>
                    <a:pt x="1010499" y="2790050"/>
                    <a:pt x="1012774" y="2768021"/>
                    <a:pt x="1020874" y="2747841"/>
                  </a:cubicBezTo>
                  <a:lnTo>
                    <a:pt x="1024452" y="2735713"/>
                  </a:lnTo>
                  <a:cubicBezTo>
                    <a:pt x="1027502" y="2711159"/>
                    <a:pt x="1048619" y="2692868"/>
                    <a:pt x="1073362" y="2693365"/>
                  </a:cubicBezTo>
                  <a:cubicBezTo>
                    <a:pt x="1078929" y="2693365"/>
                    <a:pt x="1085092" y="2693365"/>
                    <a:pt x="1091057" y="2694756"/>
                  </a:cubicBezTo>
                  <a:cubicBezTo>
                    <a:pt x="1105620" y="2698236"/>
                    <a:pt x="1120941" y="2696546"/>
                    <a:pt x="1134399" y="2689985"/>
                  </a:cubicBezTo>
                  <a:cubicBezTo>
                    <a:pt x="1139485" y="2685313"/>
                    <a:pt x="1143197" y="2679328"/>
                    <a:pt x="1145135" y="2672687"/>
                  </a:cubicBezTo>
                  <a:cubicBezTo>
                    <a:pt x="1149310" y="2662150"/>
                    <a:pt x="1154281" y="2650221"/>
                    <a:pt x="1167800" y="2647040"/>
                  </a:cubicBezTo>
                  <a:cubicBezTo>
                    <a:pt x="1176622" y="2644873"/>
                    <a:pt x="1185788" y="2648969"/>
                    <a:pt x="1190068" y="2656981"/>
                  </a:cubicBezTo>
                  <a:lnTo>
                    <a:pt x="1192454" y="2659963"/>
                  </a:lnTo>
                  <a:cubicBezTo>
                    <a:pt x="1195237" y="2663741"/>
                    <a:pt x="1198418" y="2667121"/>
                    <a:pt x="1201401" y="2670699"/>
                  </a:cubicBezTo>
                  <a:cubicBezTo>
                    <a:pt x="1206459" y="2676107"/>
                    <a:pt x="1211109" y="2681893"/>
                    <a:pt x="1215318" y="2687997"/>
                  </a:cubicBezTo>
                  <a:cubicBezTo>
                    <a:pt x="1217107" y="2690382"/>
                    <a:pt x="1218698" y="2693166"/>
                    <a:pt x="1220487" y="2696148"/>
                  </a:cubicBezTo>
                  <a:cubicBezTo>
                    <a:pt x="1224434" y="2704995"/>
                    <a:pt x="1230854" y="2712531"/>
                    <a:pt x="1238977" y="2717819"/>
                  </a:cubicBezTo>
                  <a:cubicBezTo>
                    <a:pt x="1242357" y="2719410"/>
                    <a:pt x="1244544" y="2719410"/>
                    <a:pt x="1245141" y="2718813"/>
                  </a:cubicBezTo>
                  <a:cubicBezTo>
                    <a:pt x="1247769" y="2710722"/>
                    <a:pt x="1247346" y="2701954"/>
                    <a:pt x="1243948" y="2694160"/>
                  </a:cubicBezTo>
                  <a:cubicBezTo>
                    <a:pt x="1239604" y="2683384"/>
                    <a:pt x="1240186" y="2671256"/>
                    <a:pt x="1245538" y="2660957"/>
                  </a:cubicBezTo>
                  <a:cubicBezTo>
                    <a:pt x="1248431" y="2655430"/>
                    <a:pt x="1250956" y="2649724"/>
                    <a:pt x="1253093" y="2643859"/>
                  </a:cubicBezTo>
                  <a:cubicBezTo>
                    <a:pt x="1254684" y="2638888"/>
                    <a:pt x="1256275" y="2633918"/>
                    <a:pt x="1258263" y="2629146"/>
                  </a:cubicBezTo>
                  <a:cubicBezTo>
                    <a:pt x="1266299" y="2608688"/>
                    <a:pt x="1280115" y="2590993"/>
                    <a:pt x="1298026" y="2578249"/>
                  </a:cubicBezTo>
                  <a:cubicBezTo>
                    <a:pt x="1306780" y="2572781"/>
                    <a:pt x="1313703" y="2564809"/>
                    <a:pt x="1317908" y="2555385"/>
                  </a:cubicBezTo>
                  <a:cubicBezTo>
                    <a:pt x="1319664" y="2552303"/>
                    <a:pt x="1321588" y="2549321"/>
                    <a:pt x="1323674" y="2546438"/>
                  </a:cubicBezTo>
                  <a:cubicBezTo>
                    <a:pt x="1328149" y="2541249"/>
                    <a:pt x="1331289" y="2535026"/>
                    <a:pt x="1332820" y="2528346"/>
                  </a:cubicBezTo>
                  <a:cubicBezTo>
                    <a:pt x="1332764" y="2522262"/>
                    <a:pt x="1330971" y="2516337"/>
                    <a:pt x="1327650" y="2511247"/>
                  </a:cubicBezTo>
                  <a:cubicBezTo>
                    <a:pt x="1321570" y="2502797"/>
                    <a:pt x="1320801" y="2491624"/>
                    <a:pt x="1325662" y="2482418"/>
                  </a:cubicBezTo>
                  <a:lnTo>
                    <a:pt x="1325662" y="2482418"/>
                  </a:lnTo>
                  <a:lnTo>
                    <a:pt x="1333416" y="2473273"/>
                  </a:lnTo>
                  <a:cubicBezTo>
                    <a:pt x="1341299" y="2463193"/>
                    <a:pt x="1353433" y="2457387"/>
                    <a:pt x="1366221" y="2457566"/>
                  </a:cubicBezTo>
                  <a:cubicBezTo>
                    <a:pt x="1373438" y="2458421"/>
                    <a:pt x="1379613" y="2463153"/>
                    <a:pt x="1382325" y="2469893"/>
                  </a:cubicBezTo>
                  <a:cubicBezTo>
                    <a:pt x="1382981" y="2471126"/>
                    <a:pt x="1383711" y="2472319"/>
                    <a:pt x="1384512" y="2473472"/>
                  </a:cubicBezTo>
                  <a:cubicBezTo>
                    <a:pt x="1396139" y="2488642"/>
                    <a:pt x="1412762" y="2499199"/>
                    <a:pt x="1431433" y="2503294"/>
                  </a:cubicBezTo>
                  <a:cubicBezTo>
                    <a:pt x="1434416" y="2503294"/>
                    <a:pt x="1438790" y="2506277"/>
                    <a:pt x="1443561" y="2508464"/>
                  </a:cubicBezTo>
                  <a:cubicBezTo>
                    <a:pt x="1454894" y="2513633"/>
                    <a:pt x="1473583" y="2522182"/>
                    <a:pt x="1481337" y="2518405"/>
                  </a:cubicBezTo>
                  <a:cubicBezTo>
                    <a:pt x="1483337" y="2517311"/>
                    <a:pt x="1484675" y="2515303"/>
                    <a:pt x="1484916" y="2513036"/>
                  </a:cubicBezTo>
                  <a:cubicBezTo>
                    <a:pt x="1485502" y="2509816"/>
                    <a:pt x="1485502" y="2506515"/>
                    <a:pt x="1484916" y="2503294"/>
                  </a:cubicBezTo>
                  <a:cubicBezTo>
                    <a:pt x="1483528" y="2496654"/>
                    <a:pt x="1484080" y="2489755"/>
                    <a:pt x="1486506" y="2483413"/>
                  </a:cubicBezTo>
                  <a:cubicBezTo>
                    <a:pt x="1488828" y="2478363"/>
                    <a:pt x="1491767" y="2473631"/>
                    <a:pt x="1495254" y="2469297"/>
                  </a:cubicBezTo>
                  <a:cubicBezTo>
                    <a:pt x="1498282" y="2465598"/>
                    <a:pt x="1500821" y="2461523"/>
                    <a:pt x="1502809" y="2457169"/>
                  </a:cubicBezTo>
                  <a:cubicBezTo>
                    <a:pt x="1510416" y="2442555"/>
                    <a:pt x="1504738" y="2424543"/>
                    <a:pt x="1490129" y="2416948"/>
                  </a:cubicBezTo>
                  <a:cubicBezTo>
                    <a:pt x="1489337" y="2416530"/>
                    <a:pt x="1488526" y="2416152"/>
                    <a:pt x="1487699" y="2415814"/>
                  </a:cubicBezTo>
                  <a:lnTo>
                    <a:pt x="1482530" y="2413826"/>
                  </a:lnTo>
                  <a:cubicBezTo>
                    <a:pt x="1473583" y="2410446"/>
                    <a:pt x="1462648" y="2406669"/>
                    <a:pt x="1461455" y="2392155"/>
                  </a:cubicBezTo>
                  <a:cubicBezTo>
                    <a:pt x="1460849" y="2379848"/>
                    <a:pt x="1466447" y="2368058"/>
                    <a:pt x="1476366" y="2360742"/>
                  </a:cubicBezTo>
                  <a:cubicBezTo>
                    <a:pt x="1491528" y="2350622"/>
                    <a:pt x="1496373" y="2330541"/>
                    <a:pt x="1487500" y="2314616"/>
                  </a:cubicBezTo>
                  <a:cubicBezTo>
                    <a:pt x="1483921" y="2306663"/>
                    <a:pt x="1480343" y="2307061"/>
                    <a:pt x="1470601" y="2308651"/>
                  </a:cubicBezTo>
                  <a:cubicBezTo>
                    <a:pt x="1461874" y="2311256"/>
                    <a:pt x="1452468" y="2310163"/>
                    <a:pt x="1444555" y="2305669"/>
                  </a:cubicBezTo>
                  <a:cubicBezTo>
                    <a:pt x="1428165" y="2290976"/>
                    <a:pt x="1416824" y="2271512"/>
                    <a:pt x="1412148" y="2250000"/>
                  </a:cubicBezTo>
                  <a:cubicBezTo>
                    <a:pt x="1409367" y="2240994"/>
                    <a:pt x="1408156" y="2231590"/>
                    <a:pt x="1408569" y="2222166"/>
                  </a:cubicBezTo>
                  <a:cubicBezTo>
                    <a:pt x="1409116" y="2213895"/>
                    <a:pt x="1412566" y="2206081"/>
                    <a:pt x="1418311" y="2200097"/>
                  </a:cubicBezTo>
                  <a:cubicBezTo>
                    <a:pt x="1419733" y="2198447"/>
                    <a:pt x="1421059" y="2196717"/>
                    <a:pt x="1422288" y="2194927"/>
                  </a:cubicBezTo>
                  <a:cubicBezTo>
                    <a:pt x="1426065" y="2189957"/>
                    <a:pt x="1426065" y="2189957"/>
                    <a:pt x="1424276" y="2185583"/>
                  </a:cubicBezTo>
                  <a:cubicBezTo>
                    <a:pt x="1423912" y="2184788"/>
                    <a:pt x="1423443" y="2184052"/>
                    <a:pt x="1422884" y="2183396"/>
                  </a:cubicBezTo>
                  <a:cubicBezTo>
                    <a:pt x="1420622" y="2180811"/>
                    <a:pt x="1419353" y="2177491"/>
                    <a:pt x="1419305" y="2174052"/>
                  </a:cubicBezTo>
                  <a:cubicBezTo>
                    <a:pt x="1419946" y="2167292"/>
                    <a:pt x="1424324" y="2161446"/>
                    <a:pt x="1430638" y="2158941"/>
                  </a:cubicBezTo>
                  <a:cubicBezTo>
                    <a:pt x="1432477" y="2158007"/>
                    <a:pt x="1434211" y="2156874"/>
                    <a:pt x="1435807" y="2155561"/>
                  </a:cubicBezTo>
                  <a:cubicBezTo>
                    <a:pt x="1440897" y="2151168"/>
                    <a:pt x="1445259" y="2145998"/>
                    <a:pt x="1448730" y="2140252"/>
                  </a:cubicBezTo>
                  <a:lnTo>
                    <a:pt x="1451514" y="2136077"/>
                  </a:lnTo>
                  <a:cubicBezTo>
                    <a:pt x="1453884" y="2132618"/>
                    <a:pt x="1456544" y="2129357"/>
                    <a:pt x="1459467" y="2126335"/>
                  </a:cubicBezTo>
                  <a:cubicBezTo>
                    <a:pt x="1464002" y="2121902"/>
                    <a:pt x="1467527" y="2116553"/>
                    <a:pt x="1469805" y="2110629"/>
                  </a:cubicBezTo>
                  <a:cubicBezTo>
                    <a:pt x="1471104" y="2106294"/>
                    <a:pt x="1471903" y="2101821"/>
                    <a:pt x="1472191" y="2097308"/>
                  </a:cubicBezTo>
                  <a:cubicBezTo>
                    <a:pt x="1472684" y="2088480"/>
                    <a:pt x="1475273" y="2079891"/>
                    <a:pt x="1479746" y="2072257"/>
                  </a:cubicBezTo>
                  <a:cubicBezTo>
                    <a:pt x="1480939" y="2070070"/>
                    <a:pt x="1482530" y="2068280"/>
                    <a:pt x="1483722" y="2066292"/>
                  </a:cubicBezTo>
                  <a:cubicBezTo>
                    <a:pt x="1488693" y="2059532"/>
                    <a:pt x="1491079" y="2056152"/>
                    <a:pt x="1488693" y="2048597"/>
                  </a:cubicBezTo>
                  <a:cubicBezTo>
                    <a:pt x="1487878" y="2045953"/>
                    <a:pt x="1486743" y="2043408"/>
                    <a:pt x="1485313" y="2041042"/>
                  </a:cubicBezTo>
                  <a:cubicBezTo>
                    <a:pt x="1480492" y="2034183"/>
                    <a:pt x="1480492" y="2025037"/>
                    <a:pt x="1485313" y="2018178"/>
                  </a:cubicBezTo>
                  <a:cubicBezTo>
                    <a:pt x="1485313" y="2016389"/>
                    <a:pt x="1487102" y="2014798"/>
                    <a:pt x="1488097" y="2013009"/>
                  </a:cubicBezTo>
                  <a:cubicBezTo>
                    <a:pt x="1491307" y="2008376"/>
                    <a:pt x="1493166" y="2002929"/>
                    <a:pt x="1493465" y="1997302"/>
                  </a:cubicBezTo>
                  <a:cubicBezTo>
                    <a:pt x="1493465" y="1986765"/>
                    <a:pt x="1484717" y="1980999"/>
                    <a:pt x="1475372" y="1974239"/>
                  </a:cubicBezTo>
                  <a:cubicBezTo>
                    <a:pt x="1467433" y="1969744"/>
                    <a:pt x="1460632" y="1963485"/>
                    <a:pt x="1455490" y="1955948"/>
                  </a:cubicBezTo>
                  <a:cubicBezTo>
                    <a:pt x="1451940" y="1949796"/>
                    <a:pt x="1451940" y="1942217"/>
                    <a:pt x="1455490" y="1936066"/>
                  </a:cubicBezTo>
                  <a:cubicBezTo>
                    <a:pt x="1456620" y="1933963"/>
                    <a:pt x="1457359" y="1931672"/>
                    <a:pt x="1457677" y="1929306"/>
                  </a:cubicBezTo>
                  <a:cubicBezTo>
                    <a:pt x="1458230" y="1926885"/>
                    <a:pt x="1458230" y="1924372"/>
                    <a:pt x="1457677" y="1921950"/>
                  </a:cubicBezTo>
                  <a:cubicBezTo>
                    <a:pt x="1456158" y="1917300"/>
                    <a:pt x="1456158" y="1912286"/>
                    <a:pt x="1457677" y="1907635"/>
                  </a:cubicBezTo>
                  <a:cubicBezTo>
                    <a:pt x="1459333" y="1903142"/>
                    <a:pt x="1462145" y="1899163"/>
                    <a:pt x="1465829" y="1896104"/>
                  </a:cubicBezTo>
                  <a:cubicBezTo>
                    <a:pt x="1469209" y="1892923"/>
                    <a:pt x="1470004" y="1892326"/>
                    <a:pt x="1467817" y="1886362"/>
                  </a:cubicBezTo>
                  <a:cubicBezTo>
                    <a:pt x="1466453" y="1883171"/>
                    <a:pt x="1464926" y="1880053"/>
                    <a:pt x="1463244" y="1877017"/>
                  </a:cubicBezTo>
                  <a:cubicBezTo>
                    <a:pt x="1459729" y="1871713"/>
                    <a:pt x="1457298" y="1865768"/>
                    <a:pt x="1456087" y="1859521"/>
                  </a:cubicBezTo>
                  <a:cubicBezTo>
                    <a:pt x="1452309" y="1835862"/>
                    <a:pt x="1459666" y="1818167"/>
                    <a:pt x="1475969" y="1812202"/>
                  </a:cubicBezTo>
                  <a:cubicBezTo>
                    <a:pt x="1479999" y="1810777"/>
                    <a:pt x="1484222" y="1809972"/>
                    <a:pt x="1488494" y="1809817"/>
                  </a:cubicBezTo>
                  <a:cubicBezTo>
                    <a:pt x="1492035" y="1809652"/>
                    <a:pt x="1495526" y="1808912"/>
                    <a:pt x="1498833" y="1807630"/>
                  </a:cubicBezTo>
                  <a:cubicBezTo>
                    <a:pt x="1501676" y="1806142"/>
                    <a:pt x="1504342" y="1804341"/>
                    <a:pt x="1506785" y="1802261"/>
                  </a:cubicBezTo>
                  <a:cubicBezTo>
                    <a:pt x="1508410" y="1800750"/>
                    <a:pt x="1510135" y="1799355"/>
                    <a:pt x="1511955" y="1798086"/>
                  </a:cubicBezTo>
                  <a:lnTo>
                    <a:pt x="1518317" y="1793911"/>
                  </a:lnTo>
                  <a:cubicBezTo>
                    <a:pt x="1524176" y="1791008"/>
                    <a:pt x="1529230" y="1786706"/>
                    <a:pt x="1533029" y="1781386"/>
                  </a:cubicBezTo>
                  <a:cubicBezTo>
                    <a:pt x="1536344" y="1775646"/>
                    <a:pt x="1538441" y="1769283"/>
                    <a:pt x="1539193" y="1762697"/>
                  </a:cubicBezTo>
                  <a:cubicBezTo>
                    <a:pt x="1536558" y="1763399"/>
                    <a:pt x="1533968" y="1764263"/>
                    <a:pt x="1531439" y="1765281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5" name="Полилиния: фигура 374">
              <a:extLst>
                <a:ext uri="{FF2B5EF4-FFF2-40B4-BE49-F238E27FC236}">
                  <a16:creationId xmlns:a16="http://schemas.microsoft.com/office/drawing/2014/main" id="{5EE65D9C-24B6-C735-FD22-B006E265156A}"/>
                </a:ext>
              </a:extLst>
            </p:cNvPr>
            <p:cNvSpPr/>
            <p:nvPr/>
          </p:nvSpPr>
          <p:spPr>
            <a:xfrm>
              <a:off x="3650441" y="4729522"/>
              <a:ext cx="403755" cy="606218"/>
            </a:xfrm>
            <a:custGeom>
              <a:avLst/>
              <a:gdLst>
                <a:gd name="connsiteX0" fmla="*/ 316226 w 422181"/>
                <a:gd name="connsiteY0" fmla="*/ 502507 h 632032"/>
                <a:gd name="connsiteX1" fmla="*/ 305197 w 422181"/>
                <a:gd name="connsiteY1" fmla="*/ 472463 h 632032"/>
                <a:gd name="connsiteX2" fmla="*/ 311092 w 422181"/>
                <a:gd name="connsiteY2" fmla="*/ 431580 h 632032"/>
                <a:gd name="connsiteX3" fmla="*/ 314514 w 422181"/>
                <a:gd name="connsiteY3" fmla="*/ 416938 h 632032"/>
                <a:gd name="connsiteX4" fmla="*/ 321550 w 422181"/>
                <a:gd name="connsiteY4" fmla="*/ 392598 h 632032"/>
                <a:gd name="connsiteX5" fmla="*/ 375934 w 422181"/>
                <a:gd name="connsiteY5" fmla="*/ 351905 h 632032"/>
                <a:gd name="connsiteX6" fmla="*/ 384491 w 422181"/>
                <a:gd name="connsiteY6" fmla="*/ 351905 h 632032"/>
                <a:gd name="connsiteX7" fmla="*/ 404837 w 422181"/>
                <a:gd name="connsiteY7" fmla="*/ 342207 h 632032"/>
                <a:gd name="connsiteX8" fmla="*/ 401224 w 422181"/>
                <a:gd name="connsiteY8" fmla="*/ 332129 h 632032"/>
                <a:gd name="connsiteX9" fmla="*/ 397041 w 422181"/>
                <a:gd name="connsiteY9" fmla="*/ 311593 h 632032"/>
                <a:gd name="connsiteX10" fmla="*/ 409401 w 422181"/>
                <a:gd name="connsiteY10" fmla="*/ 290105 h 632032"/>
                <a:gd name="connsiteX11" fmla="*/ 417388 w 422181"/>
                <a:gd name="connsiteY11" fmla="*/ 278886 h 632032"/>
                <a:gd name="connsiteX12" fmla="*/ 418719 w 422181"/>
                <a:gd name="connsiteY12" fmla="*/ 229636 h 632032"/>
                <a:gd name="connsiteX13" fmla="*/ 415676 w 422181"/>
                <a:gd name="connsiteY13" fmla="*/ 218798 h 632032"/>
                <a:gd name="connsiteX14" fmla="*/ 413014 w 422181"/>
                <a:gd name="connsiteY14" fmla="*/ 210431 h 632032"/>
                <a:gd name="connsiteX15" fmla="*/ 408070 w 422181"/>
                <a:gd name="connsiteY15" fmla="*/ 198641 h 632032"/>
                <a:gd name="connsiteX16" fmla="*/ 398562 w 422181"/>
                <a:gd name="connsiteY16" fmla="*/ 169548 h 632032"/>
                <a:gd name="connsiteX17" fmla="*/ 400084 w 422181"/>
                <a:gd name="connsiteY17" fmla="*/ 150532 h 632032"/>
                <a:gd name="connsiteX18" fmla="*/ 400084 w 422181"/>
                <a:gd name="connsiteY18" fmla="*/ 130186 h 632032"/>
                <a:gd name="connsiteX19" fmla="*/ 392097 w 422181"/>
                <a:gd name="connsiteY19" fmla="*/ 121819 h 632032"/>
                <a:gd name="connsiteX20" fmla="*/ 381068 w 422181"/>
                <a:gd name="connsiteY20" fmla="*/ 109459 h 632032"/>
                <a:gd name="connsiteX21" fmla="*/ 384871 w 422181"/>
                <a:gd name="connsiteY21" fmla="*/ 76943 h 632032"/>
                <a:gd name="connsiteX22" fmla="*/ 384871 w 422181"/>
                <a:gd name="connsiteY22" fmla="*/ 75612 h 632032"/>
                <a:gd name="connsiteX23" fmla="*/ 390956 w 422181"/>
                <a:gd name="connsiteY23" fmla="*/ 56596 h 632032"/>
                <a:gd name="connsiteX24" fmla="*/ 385062 w 422181"/>
                <a:gd name="connsiteY24" fmla="*/ 61540 h 632032"/>
                <a:gd name="connsiteX25" fmla="*/ 332959 w 422181"/>
                <a:gd name="connsiteY25" fmla="*/ 90063 h 632032"/>
                <a:gd name="connsiteX26" fmla="*/ 286372 w 422181"/>
                <a:gd name="connsiteY26" fmla="*/ 85880 h 632032"/>
                <a:gd name="connsiteX27" fmla="*/ 271730 w 422181"/>
                <a:gd name="connsiteY27" fmla="*/ 81316 h 632032"/>
                <a:gd name="connsiteX28" fmla="*/ 248721 w 422181"/>
                <a:gd name="connsiteY28" fmla="*/ 83978 h 632032"/>
                <a:gd name="connsiteX29" fmla="*/ 223621 w 422181"/>
                <a:gd name="connsiteY29" fmla="*/ 87782 h 632032"/>
                <a:gd name="connsiteX30" fmla="*/ 181597 w 422181"/>
                <a:gd name="connsiteY30" fmla="*/ 66484 h 632032"/>
                <a:gd name="connsiteX31" fmla="*/ 160490 w 422181"/>
                <a:gd name="connsiteY31" fmla="*/ 57927 h 632032"/>
                <a:gd name="connsiteX32" fmla="*/ 154405 w 422181"/>
                <a:gd name="connsiteY32" fmla="*/ 57927 h 632032"/>
                <a:gd name="connsiteX33" fmla="*/ 131586 w 422181"/>
                <a:gd name="connsiteY33" fmla="*/ 48039 h 632032"/>
                <a:gd name="connsiteX34" fmla="*/ 129875 w 422181"/>
                <a:gd name="connsiteY34" fmla="*/ 29024 h 632032"/>
                <a:gd name="connsiteX35" fmla="*/ 132917 w 422181"/>
                <a:gd name="connsiteY35" fmla="*/ 20277 h 632032"/>
                <a:gd name="connsiteX36" fmla="*/ 129875 w 422181"/>
                <a:gd name="connsiteY36" fmla="*/ 1262 h 632032"/>
                <a:gd name="connsiteX37" fmla="*/ 102303 w 422181"/>
                <a:gd name="connsiteY37" fmla="*/ 22559 h 632032"/>
                <a:gd name="connsiteX38" fmla="*/ 98119 w 422181"/>
                <a:gd name="connsiteY38" fmla="*/ 29594 h 632032"/>
                <a:gd name="connsiteX39" fmla="*/ 90323 w 422181"/>
                <a:gd name="connsiteY39" fmla="*/ 40243 h 632032"/>
                <a:gd name="connsiteX40" fmla="*/ 78914 w 422181"/>
                <a:gd name="connsiteY40" fmla="*/ 66104 h 632032"/>
                <a:gd name="connsiteX41" fmla="*/ 78914 w 422181"/>
                <a:gd name="connsiteY41" fmla="*/ 70668 h 632032"/>
                <a:gd name="connsiteX42" fmla="*/ 69216 w 422181"/>
                <a:gd name="connsiteY42" fmla="*/ 115544 h 632032"/>
                <a:gd name="connsiteX43" fmla="*/ 77392 w 422181"/>
                <a:gd name="connsiteY43" fmla="*/ 138553 h 632032"/>
                <a:gd name="connsiteX44" fmla="*/ 115423 w 422181"/>
                <a:gd name="connsiteY44" fmla="*/ 173541 h 632032"/>
                <a:gd name="connsiteX45" fmla="*/ 120367 w 422181"/>
                <a:gd name="connsiteY45" fmla="*/ 201684 h 632032"/>
                <a:gd name="connsiteX46" fmla="*/ 106296 w 422181"/>
                <a:gd name="connsiteY46" fmla="*/ 217086 h 632032"/>
                <a:gd name="connsiteX47" fmla="*/ 92985 w 422181"/>
                <a:gd name="connsiteY47" fmla="*/ 222981 h 632032"/>
                <a:gd name="connsiteX48" fmla="*/ 66173 w 422181"/>
                <a:gd name="connsiteY48" fmla="*/ 239905 h 632032"/>
                <a:gd name="connsiteX49" fmla="*/ 47158 w 422181"/>
                <a:gd name="connsiteY49" fmla="*/ 277936 h 632032"/>
                <a:gd name="connsiteX50" fmla="*/ 46207 w 422181"/>
                <a:gd name="connsiteY50" fmla="*/ 280598 h 632032"/>
                <a:gd name="connsiteX51" fmla="*/ 31185 w 422181"/>
                <a:gd name="connsiteY51" fmla="*/ 302275 h 632032"/>
                <a:gd name="connsiteX52" fmla="*/ 19966 w 422181"/>
                <a:gd name="connsiteY52" fmla="*/ 316537 h 632032"/>
                <a:gd name="connsiteX53" fmla="*/ 18635 w 422181"/>
                <a:gd name="connsiteY53" fmla="*/ 325854 h 632032"/>
                <a:gd name="connsiteX54" fmla="*/ 16733 w 422181"/>
                <a:gd name="connsiteY54" fmla="*/ 338214 h 632032"/>
                <a:gd name="connsiteX55" fmla="*/ 6846 w 422181"/>
                <a:gd name="connsiteY55" fmla="*/ 351525 h 632032"/>
                <a:gd name="connsiteX56" fmla="*/ 1901 w 422181"/>
                <a:gd name="connsiteY56" fmla="*/ 356659 h 632032"/>
                <a:gd name="connsiteX57" fmla="*/ 0 w 422181"/>
                <a:gd name="connsiteY57" fmla="*/ 359511 h 632032"/>
                <a:gd name="connsiteX58" fmla="*/ 13311 w 422181"/>
                <a:gd name="connsiteY58" fmla="*/ 364075 h 632032"/>
                <a:gd name="connsiteX59" fmla="*/ 25671 w 422181"/>
                <a:gd name="connsiteY59" fmla="*/ 404198 h 632032"/>
                <a:gd name="connsiteX60" fmla="*/ 23389 w 422181"/>
                <a:gd name="connsiteY60" fmla="*/ 423213 h 632032"/>
                <a:gd name="connsiteX61" fmla="*/ 20727 w 422181"/>
                <a:gd name="connsiteY61" fmla="*/ 447933 h 632032"/>
                <a:gd name="connsiteX62" fmla="*/ 9888 w 422181"/>
                <a:gd name="connsiteY62" fmla="*/ 482351 h 632032"/>
                <a:gd name="connsiteX63" fmla="*/ 5514 w 422181"/>
                <a:gd name="connsiteY63" fmla="*/ 490527 h 632032"/>
                <a:gd name="connsiteX64" fmla="*/ 7416 w 422181"/>
                <a:gd name="connsiteY64" fmla="*/ 507831 h 632032"/>
                <a:gd name="connsiteX65" fmla="*/ 40883 w 422181"/>
                <a:gd name="connsiteY65" fmla="*/ 514107 h 632032"/>
                <a:gd name="connsiteX66" fmla="*/ 48869 w 422181"/>
                <a:gd name="connsiteY66" fmla="*/ 509162 h 632032"/>
                <a:gd name="connsiteX67" fmla="*/ 76062 w 422181"/>
                <a:gd name="connsiteY67" fmla="*/ 501937 h 632032"/>
                <a:gd name="connsiteX68" fmla="*/ 88041 w 422181"/>
                <a:gd name="connsiteY68" fmla="*/ 526847 h 632032"/>
                <a:gd name="connsiteX69" fmla="*/ 88041 w 422181"/>
                <a:gd name="connsiteY69" fmla="*/ 529889 h 632032"/>
                <a:gd name="connsiteX70" fmla="*/ 91654 w 422181"/>
                <a:gd name="connsiteY70" fmla="*/ 553088 h 632032"/>
                <a:gd name="connsiteX71" fmla="*/ 102683 w 422181"/>
                <a:gd name="connsiteY71" fmla="*/ 549095 h 632032"/>
                <a:gd name="connsiteX72" fmla="*/ 132347 w 422181"/>
                <a:gd name="connsiteY72" fmla="*/ 549095 h 632032"/>
                <a:gd name="connsiteX73" fmla="*/ 151362 w 422181"/>
                <a:gd name="connsiteY73" fmla="*/ 557652 h 632032"/>
                <a:gd name="connsiteX74" fmla="*/ 163532 w 422181"/>
                <a:gd name="connsiteY74" fmla="*/ 559743 h 632032"/>
                <a:gd name="connsiteX75" fmla="*/ 178174 w 422181"/>
                <a:gd name="connsiteY75" fmla="*/ 571343 h 632032"/>
                <a:gd name="connsiteX76" fmla="*/ 173991 w 422181"/>
                <a:gd name="connsiteY76" fmla="*/ 586745 h 632032"/>
                <a:gd name="connsiteX77" fmla="*/ 152884 w 422181"/>
                <a:gd name="connsiteY77" fmla="*/ 596063 h 632032"/>
                <a:gd name="connsiteX78" fmla="*/ 141284 w 422181"/>
                <a:gd name="connsiteY78" fmla="*/ 599295 h 632032"/>
                <a:gd name="connsiteX79" fmla="*/ 136511 w 422181"/>
                <a:gd name="connsiteY79" fmla="*/ 615553 h 632032"/>
                <a:gd name="connsiteX80" fmla="*/ 137291 w 422181"/>
                <a:gd name="connsiteY80" fmla="*/ 616790 h 632032"/>
                <a:gd name="connsiteX81" fmla="*/ 159729 w 422181"/>
                <a:gd name="connsiteY81" fmla="*/ 624206 h 632032"/>
                <a:gd name="connsiteX82" fmla="*/ 168096 w 422181"/>
                <a:gd name="connsiteY82" fmla="*/ 624206 h 632032"/>
                <a:gd name="connsiteX83" fmla="*/ 188823 w 422181"/>
                <a:gd name="connsiteY83" fmla="*/ 628389 h 632032"/>
                <a:gd name="connsiteX84" fmla="*/ 209930 w 422181"/>
                <a:gd name="connsiteY84" fmla="*/ 632002 h 632032"/>
                <a:gd name="connsiteX85" fmla="*/ 226473 w 422181"/>
                <a:gd name="connsiteY85" fmla="*/ 623635 h 632032"/>
                <a:gd name="connsiteX86" fmla="*/ 237312 w 422181"/>
                <a:gd name="connsiteY86" fmla="*/ 616409 h 632032"/>
                <a:gd name="connsiteX87" fmla="*/ 261842 w 422181"/>
                <a:gd name="connsiteY87" fmla="*/ 609944 h 632032"/>
                <a:gd name="connsiteX88" fmla="*/ 278385 w 422181"/>
                <a:gd name="connsiteY88" fmla="*/ 606521 h 632032"/>
                <a:gd name="connsiteX89" fmla="*/ 295689 w 422181"/>
                <a:gd name="connsiteY89" fmla="*/ 597394 h 632032"/>
                <a:gd name="connsiteX90" fmla="*/ 312423 w 422181"/>
                <a:gd name="connsiteY90" fmla="*/ 588457 h 632032"/>
                <a:gd name="connsiteX91" fmla="*/ 318698 w 422181"/>
                <a:gd name="connsiteY91" fmla="*/ 564497 h 632032"/>
                <a:gd name="connsiteX92" fmla="*/ 325543 w 422181"/>
                <a:gd name="connsiteY92" fmla="*/ 538636 h 632032"/>
                <a:gd name="connsiteX93" fmla="*/ 316226 w 422181"/>
                <a:gd name="connsiteY93" fmla="*/ 502507 h 632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22181" h="632032">
                  <a:moveTo>
                    <a:pt x="316226" y="502507"/>
                  </a:moveTo>
                  <a:cubicBezTo>
                    <a:pt x="310863" y="493190"/>
                    <a:pt x="307118" y="483035"/>
                    <a:pt x="305197" y="472463"/>
                  </a:cubicBezTo>
                  <a:cubicBezTo>
                    <a:pt x="304246" y="458563"/>
                    <a:pt x="306243" y="444643"/>
                    <a:pt x="311092" y="431580"/>
                  </a:cubicBezTo>
                  <a:cubicBezTo>
                    <a:pt x="312499" y="426769"/>
                    <a:pt x="313640" y="421882"/>
                    <a:pt x="314514" y="416938"/>
                  </a:cubicBezTo>
                  <a:cubicBezTo>
                    <a:pt x="316131" y="408628"/>
                    <a:pt x="318489" y="400490"/>
                    <a:pt x="321550" y="392598"/>
                  </a:cubicBezTo>
                  <a:cubicBezTo>
                    <a:pt x="331533" y="370616"/>
                    <a:pt x="352032" y="355271"/>
                    <a:pt x="375934" y="351905"/>
                  </a:cubicBezTo>
                  <a:lnTo>
                    <a:pt x="384491" y="351905"/>
                  </a:lnTo>
                  <a:cubicBezTo>
                    <a:pt x="398943" y="351905"/>
                    <a:pt x="404837" y="349433"/>
                    <a:pt x="404837" y="342207"/>
                  </a:cubicBezTo>
                  <a:cubicBezTo>
                    <a:pt x="404628" y="338575"/>
                    <a:pt x="403373" y="335077"/>
                    <a:pt x="401224" y="332129"/>
                  </a:cubicBezTo>
                  <a:cubicBezTo>
                    <a:pt x="397060" y="326158"/>
                    <a:pt x="395539" y="318723"/>
                    <a:pt x="397041" y="311593"/>
                  </a:cubicBezTo>
                  <a:cubicBezTo>
                    <a:pt x="399209" y="303473"/>
                    <a:pt x="403468" y="296057"/>
                    <a:pt x="409401" y="290105"/>
                  </a:cubicBezTo>
                  <a:cubicBezTo>
                    <a:pt x="412520" y="286720"/>
                    <a:pt x="415201" y="282937"/>
                    <a:pt x="417388" y="278886"/>
                  </a:cubicBezTo>
                  <a:cubicBezTo>
                    <a:pt x="423282" y="263065"/>
                    <a:pt x="423758" y="245742"/>
                    <a:pt x="418719" y="229636"/>
                  </a:cubicBezTo>
                  <a:cubicBezTo>
                    <a:pt x="417901" y="225966"/>
                    <a:pt x="416874" y="222353"/>
                    <a:pt x="415676" y="218798"/>
                  </a:cubicBezTo>
                  <a:cubicBezTo>
                    <a:pt x="414954" y="215964"/>
                    <a:pt x="414060" y="213169"/>
                    <a:pt x="413014" y="210431"/>
                  </a:cubicBezTo>
                  <a:cubicBezTo>
                    <a:pt x="411493" y="206437"/>
                    <a:pt x="409781" y="202444"/>
                    <a:pt x="408070" y="198641"/>
                  </a:cubicBezTo>
                  <a:cubicBezTo>
                    <a:pt x="403525" y="189457"/>
                    <a:pt x="400312" y="179645"/>
                    <a:pt x="398562" y="169548"/>
                  </a:cubicBezTo>
                  <a:cubicBezTo>
                    <a:pt x="398049" y="163178"/>
                    <a:pt x="398562" y="156750"/>
                    <a:pt x="400084" y="150532"/>
                  </a:cubicBezTo>
                  <a:cubicBezTo>
                    <a:pt x="402175" y="143915"/>
                    <a:pt x="402175" y="136803"/>
                    <a:pt x="400084" y="130186"/>
                  </a:cubicBezTo>
                  <a:cubicBezTo>
                    <a:pt x="398163" y="126782"/>
                    <a:pt x="395406" y="123911"/>
                    <a:pt x="392097" y="121819"/>
                  </a:cubicBezTo>
                  <a:cubicBezTo>
                    <a:pt x="387476" y="118644"/>
                    <a:pt x="383711" y="114403"/>
                    <a:pt x="381068" y="109459"/>
                  </a:cubicBezTo>
                  <a:cubicBezTo>
                    <a:pt x="378292" y="98525"/>
                    <a:pt x="379642" y="86945"/>
                    <a:pt x="384871" y="76943"/>
                  </a:cubicBezTo>
                  <a:lnTo>
                    <a:pt x="384871" y="75612"/>
                  </a:lnTo>
                  <a:cubicBezTo>
                    <a:pt x="387438" y="69451"/>
                    <a:pt x="389473" y="63100"/>
                    <a:pt x="390956" y="56596"/>
                  </a:cubicBezTo>
                  <a:cubicBezTo>
                    <a:pt x="389074" y="58346"/>
                    <a:pt x="387115" y="60000"/>
                    <a:pt x="385062" y="61540"/>
                  </a:cubicBezTo>
                  <a:cubicBezTo>
                    <a:pt x="369336" y="73786"/>
                    <a:pt x="351747" y="83427"/>
                    <a:pt x="332959" y="90063"/>
                  </a:cubicBezTo>
                  <a:cubicBezTo>
                    <a:pt x="317424" y="94304"/>
                    <a:pt x="300899" y="92821"/>
                    <a:pt x="286372" y="85880"/>
                  </a:cubicBezTo>
                  <a:cubicBezTo>
                    <a:pt x="281618" y="84359"/>
                    <a:pt x="276864" y="82647"/>
                    <a:pt x="271730" y="81316"/>
                  </a:cubicBezTo>
                  <a:cubicBezTo>
                    <a:pt x="263971" y="79795"/>
                    <a:pt x="255928" y="80727"/>
                    <a:pt x="248721" y="83978"/>
                  </a:cubicBezTo>
                  <a:cubicBezTo>
                    <a:pt x="240773" y="87230"/>
                    <a:pt x="232178" y="88542"/>
                    <a:pt x="223621" y="87782"/>
                  </a:cubicBezTo>
                  <a:cubicBezTo>
                    <a:pt x="207648" y="85519"/>
                    <a:pt x="192873" y="78027"/>
                    <a:pt x="181597" y="66484"/>
                  </a:cubicBezTo>
                  <a:cubicBezTo>
                    <a:pt x="176310" y="60437"/>
                    <a:pt x="168476" y="57262"/>
                    <a:pt x="160490" y="57927"/>
                  </a:cubicBezTo>
                  <a:lnTo>
                    <a:pt x="154405" y="57927"/>
                  </a:lnTo>
                  <a:cubicBezTo>
                    <a:pt x="145715" y="58099"/>
                    <a:pt x="137386" y="54505"/>
                    <a:pt x="131586" y="48039"/>
                  </a:cubicBezTo>
                  <a:cubicBezTo>
                    <a:pt x="128183" y="42278"/>
                    <a:pt x="127555" y="35299"/>
                    <a:pt x="129875" y="29024"/>
                  </a:cubicBezTo>
                  <a:cubicBezTo>
                    <a:pt x="129875" y="26172"/>
                    <a:pt x="131776" y="23320"/>
                    <a:pt x="132917" y="20277"/>
                  </a:cubicBezTo>
                  <a:cubicBezTo>
                    <a:pt x="137481" y="8868"/>
                    <a:pt x="138242" y="5065"/>
                    <a:pt x="129875" y="1262"/>
                  </a:cubicBezTo>
                  <a:cubicBezTo>
                    <a:pt x="118656" y="-3873"/>
                    <a:pt x="110860" y="7346"/>
                    <a:pt x="102303" y="22559"/>
                  </a:cubicBezTo>
                  <a:cubicBezTo>
                    <a:pt x="100972" y="25031"/>
                    <a:pt x="99450" y="27503"/>
                    <a:pt x="98119" y="29594"/>
                  </a:cubicBezTo>
                  <a:cubicBezTo>
                    <a:pt x="95761" y="33321"/>
                    <a:pt x="93156" y="36877"/>
                    <a:pt x="90323" y="40243"/>
                  </a:cubicBezTo>
                  <a:cubicBezTo>
                    <a:pt x="83344" y="47070"/>
                    <a:pt x="79256" y="56330"/>
                    <a:pt x="78914" y="66104"/>
                  </a:cubicBezTo>
                  <a:lnTo>
                    <a:pt x="78914" y="70668"/>
                  </a:lnTo>
                  <a:cubicBezTo>
                    <a:pt x="80682" y="86279"/>
                    <a:pt x="77259" y="102043"/>
                    <a:pt x="69216" y="115544"/>
                  </a:cubicBezTo>
                  <a:cubicBezTo>
                    <a:pt x="63321" y="126002"/>
                    <a:pt x="65033" y="130946"/>
                    <a:pt x="77392" y="138553"/>
                  </a:cubicBezTo>
                  <a:cubicBezTo>
                    <a:pt x="93156" y="146330"/>
                    <a:pt x="106372" y="158481"/>
                    <a:pt x="115423" y="173541"/>
                  </a:cubicBezTo>
                  <a:cubicBezTo>
                    <a:pt x="120805" y="181870"/>
                    <a:pt x="122592" y="192024"/>
                    <a:pt x="120367" y="201684"/>
                  </a:cubicBezTo>
                  <a:cubicBezTo>
                    <a:pt x="118047" y="208567"/>
                    <a:pt x="112932" y="214158"/>
                    <a:pt x="106296" y="217086"/>
                  </a:cubicBezTo>
                  <a:lnTo>
                    <a:pt x="92985" y="222981"/>
                  </a:lnTo>
                  <a:cubicBezTo>
                    <a:pt x="82755" y="226233"/>
                    <a:pt x="73513" y="232070"/>
                    <a:pt x="66173" y="239905"/>
                  </a:cubicBezTo>
                  <a:cubicBezTo>
                    <a:pt x="56533" y="250648"/>
                    <a:pt x="49953" y="263788"/>
                    <a:pt x="47158" y="277936"/>
                  </a:cubicBezTo>
                  <a:lnTo>
                    <a:pt x="46207" y="280598"/>
                  </a:lnTo>
                  <a:cubicBezTo>
                    <a:pt x="43298" y="289059"/>
                    <a:pt x="38088" y="296571"/>
                    <a:pt x="31185" y="302275"/>
                  </a:cubicBezTo>
                  <a:cubicBezTo>
                    <a:pt x="26469" y="306173"/>
                    <a:pt x="22628" y="311022"/>
                    <a:pt x="19966" y="316537"/>
                  </a:cubicBezTo>
                  <a:cubicBezTo>
                    <a:pt x="18920" y="319522"/>
                    <a:pt x="18464" y="322698"/>
                    <a:pt x="18635" y="325854"/>
                  </a:cubicBezTo>
                  <a:cubicBezTo>
                    <a:pt x="18635" y="330037"/>
                    <a:pt x="17989" y="334221"/>
                    <a:pt x="16733" y="338214"/>
                  </a:cubicBezTo>
                  <a:cubicBezTo>
                    <a:pt x="14566" y="343387"/>
                    <a:pt x="11181" y="347969"/>
                    <a:pt x="6846" y="351525"/>
                  </a:cubicBezTo>
                  <a:cubicBezTo>
                    <a:pt x="5324" y="353236"/>
                    <a:pt x="3423" y="354758"/>
                    <a:pt x="1901" y="356659"/>
                  </a:cubicBezTo>
                  <a:lnTo>
                    <a:pt x="0" y="359511"/>
                  </a:lnTo>
                  <a:cubicBezTo>
                    <a:pt x="4811" y="359569"/>
                    <a:pt x="9470" y="361166"/>
                    <a:pt x="13311" y="364075"/>
                  </a:cubicBezTo>
                  <a:cubicBezTo>
                    <a:pt x="23769" y="374610"/>
                    <a:pt x="28371" y="389613"/>
                    <a:pt x="25671" y="404198"/>
                  </a:cubicBezTo>
                  <a:cubicBezTo>
                    <a:pt x="25671" y="411043"/>
                    <a:pt x="24910" y="417375"/>
                    <a:pt x="23389" y="423213"/>
                  </a:cubicBezTo>
                  <a:cubicBezTo>
                    <a:pt x="22248" y="431390"/>
                    <a:pt x="21297" y="439756"/>
                    <a:pt x="20727" y="447933"/>
                  </a:cubicBezTo>
                  <a:cubicBezTo>
                    <a:pt x="20137" y="460141"/>
                    <a:pt x="16410" y="472006"/>
                    <a:pt x="9888" y="482351"/>
                  </a:cubicBezTo>
                  <a:cubicBezTo>
                    <a:pt x="8557" y="484823"/>
                    <a:pt x="7036" y="487485"/>
                    <a:pt x="5514" y="490527"/>
                  </a:cubicBezTo>
                  <a:cubicBezTo>
                    <a:pt x="2149" y="496061"/>
                    <a:pt x="2928" y="503173"/>
                    <a:pt x="7416" y="507831"/>
                  </a:cubicBezTo>
                  <a:cubicBezTo>
                    <a:pt x="16505" y="516065"/>
                    <a:pt x="29436" y="518499"/>
                    <a:pt x="40883" y="514107"/>
                  </a:cubicBezTo>
                  <a:cubicBezTo>
                    <a:pt x="43659" y="512642"/>
                    <a:pt x="46321" y="511007"/>
                    <a:pt x="48869" y="509162"/>
                  </a:cubicBezTo>
                  <a:cubicBezTo>
                    <a:pt x="55886" y="501880"/>
                    <a:pt x="66364" y="499103"/>
                    <a:pt x="76062" y="501937"/>
                  </a:cubicBezTo>
                  <a:cubicBezTo>
                    <a:pt x="84960" y="506823"/>
                    <a:pt x="89791" y="516845"/>
                    <a:pt x="88041" y="526847"/>
                  </a:cubicBezTo>
                  <a:lnTo>
                    <a:pt x="88041" y="529889"/>
                  </a:lnTo>
                  <a:cubicBezTo>
                    <a:pt x="88041" y="537305"/>
                    <a:pt x="88041" y="551187"/>
                    <a:pt x="91654" y="553088"/>
                  </a:cubicBezTo>
                  <a:cubicBezTo>
                    <a:pt x="95267" y="554990"/>
                    <a:pt x="96598" y="553088"/>
                    <a:pt x="102683" y="549095"/>
                  </a:cubicBezTo>
                  <a:cubicBezTo>
                    <a:pt x="113141" y="542059"/>
                    <a:pt x="120367" y="538636"/>
                    <a:pt x="132347" y="549095"/>
                  </a:cubicBezTo>
                  <a:cubicBezTo>
                    <a:pt x="137386" y="554248"/>
                    <a:pt x="144175" y="557310"/>
                    <a:pt x="151362" y="557652"/>
                  </a:cubicBezTo>
                  <a:cubicBezTo>
                    <a:pt x="155451" y="558108"/>
                    <a:pt x="159520" y="558793"/>
                    <a:pt x="163532" y="559743"/>
                  </a:cubicBezTo>
                  <a:cubicBezTo>
                    <a:pt x="170112" y="560789"/>
                    <a:pt x="175664" y="565182"/>
                    <a:pt x="178174" y="571343"/>
                  </a:cubicBezTo>
                  <a:cubicBezTo>
                    <a:pt x="179714" y="576857"/>
                    <a:pt x="178098" y="582771"/>
                    <a:pt x="173991" y="586745"/>
                  </a:cubicBezTo>
                  <a:cubicBezTo>
                    <a:pt x="168286" y="592260"/>
                    <a:pt x="160813" y="595568"/>
                    <a:pt x="152884" y="596063"/>
                  </a:cubicBezTo>
                  <a:cubicBezTo>
                    <a:pt x="148871" y="596538"/>
                    <a:pt x="144973" y="597641"/>
                    <a:pt x="141284" y="599295"/>
                  </a:cubicBezTo>
                  <a:cubicBezTo>
                    <a:pt x="135485" y="602471"/>
                    <a:pt x="133336" y="609754"/>
                    <a:pt x="136511" y="615553"/>
                  </a:cubicBezTo>
                  <a:cubicBezTo>
                    <a:pt x="136740" y="615972"/>
                    <a:pt x="137006" y="616390"/>
                    <a:pt x="137291" y="616790"/>
                  </a:cubicBezTo>
                  <a:cubicBezTo>
                    <a:pt x="141855" y="624586"/>
                    <a:pt x="148510" y="624776"/>
                    <a:pt x="159729" y="624206"/>
                  </a:cubicBezTo>
                  <a:lnTo>
                    <a:pt x="168096" y="624206"/>
                  </a:lnTo>
                  <a:cubicBezTo>
                    <a:pt x="175151" y="624719"/>
                    <a:pt x="182110" y="626126"/>
                    <a:pt x="188823" y="628389"/>
                  </a:cubicBezTo>
                  <a:cubicBezTo>
                    <a:pt x="195535" y="631013"/>
                    <a:pt x="202723" y="632249"/>
                    <a:pt x="209930" y="632002"/>
                  </a:cubicBezTo>
                  <a:cubicBezTo>
                    <a:pt x="216129" y="630861"/>
                    <a:pt x="221890" y="627971"/>
                    <a:pt x="226473" y="623635"/>
                  </a:cubicBezTo>
                  <a:cubicBezTo>
                    <a:pt x="229915" y="620973"/>
                    <a:pt x="233528" y="618558"/>
                    <a:pt x="237312" y="616409"/>
                  </a:cubicBezTo>
                  <a:cubicBezTo>
                    <a:pt x="245051" y="612815"/>
                    <a:pt x="253342" y="610628"/>
                    <a:pt x="261842" y="609944"/>
                  </a:cubicBezTo>
                  <a:cubicBezTo>
                    <a:pt x="267451" y="609336"/>
                    <a:pt x="272985" y="608195"/>
                    <a:pt x="278385" y="606521"/>
                  </a:cubicBezTo>
                  <a:cubicBezTo>
                    <a:pt x="284489" y="604163"/>
                    <a:pt x="290289" y="601102"/>
                    <a:pt x="295689" y="597394"/>
                  </a:cubicBezTo>
                  <a:cubicBezTo>
                    <a:pt x="300975" y="593895"/>
                    <a:pt x="306566" y="590910"/>
                    <a:pt x="312423" y="588457"/>
                  </a:cubicBezTo>
                  <a:cubicBezTo>
                    <a:pt x="313811" y="580299"/>
                    <a:pt x="315922" y="572294"/>
                    <a:pt x="318698" y="564497"/>
                  </a:cubicBezTo>
                  <a:cubicBezTo>
                    <a:pt x="321721" y="556092"/>
                    <a:pt x="324003" y="547440"/>
                    <a:pt x="325543" y="538636"/>
                  </a:cubicBezTo>
                  <a:cubicBezTo>
                    <a:pt x="326342" y="525915"/>
                    <a:pt x="323090" y="513251"/>
                    <a:pt x="316226" y="502507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76" name="Полилиния: фигура 375">
              <a:extLst>
                <a:ext uri="{FF2B5EF4-FFF2-40B4-BE49-F238E27FC236}">
                  <a16:creationId xmlns:a16="http://schemas.microsoft.com/office/drawing/2014/main" id="{A8447B81-1829-8666-8B0E-D1B6BF8BE929}"/>
                </a:ext>
              </a:extLst>
            </p:cNvPr>
            <p:cNvSpPr/>
            <p:nvPr/>
          </p:nvSpPr>
          <p:spPr>
            <a:xfrm>
              <a:off x="3951288" y="4951238"/>
              <a:ext cx="647042" cy="491169"/>
            </a:xfrm>
            <a:custGeom>
              <a:avLst/>
              <a:gdLst>
                <a:gd name="connsiteX0" fmla="*/ 156054 w 676571"/>
                <a:gd name="connsiteY0" fmla="*/ 459412 h 512084"/>
                <a:gd name="connsiteX1" fmla="*/ 167083 w 676571"/>
                <a:gd name="connsiteY1" fmla="*/ 457891 h 512084"/>
                <a:gd name="connsiteX2" fmla="*/ 176020 w 676571"/>
                <a:gd name="connsiteY2" fmla="*/ 464546 h 512084"/>
                <a:gd name="connsiteX3" fmla="*/ 178112 w 676571"/>
                <a:gd name="connsiteY3" fmla="*/ 471201 h 512084"/>
                <a:gd name="connsiteX4" fmla="*/ 178112 w 676571"/>
                <a:gd name="connsiteY4" fmla="*/ 474054 h 512084"/>
                <a:gd name="connsiteX5" fmla="*/ 191423 w 676571"/>
                <a:gd name="connsiteY5" fmla="*/ 470060 h 512084"/>
                <a:gd name="connsiteX6" fmla="*/ 193514 w 676571"/>
                <a:gd name="connsiteY6" fmla="*/ 468159 h 512084"/>
                <a:gd name="connsiteX7" fmla="*/ 213480 w 676571"/>
                <a:gd name="connsiteY7" fmla="*/ 458461 h 512084"/>
                <a:gd name="connsiteX8" fmla="*/ 221657 w 676571"/>
                <a:gd name="connsiteY8" fmla="*/ 459982 h 512084"/>
                <a:gd name="connsiteX9" fmla="*/ 297719 w 676571"/>
                <a:gd name="connsiteY9" fmla="*/ 438114 h 512084"/>
                <a:gd name="connsiteX10" fmla="*/ 299430 w 676571"/>
                <a:gd name="connsiteY10" fmla="*/ 436593 h 512084"/>
                <a:gd name="connsiteX11" fmla="*/ 308938 w 676571"/>
                <a:gd name="connsiteY11" fmla="*/ 428987 h 512084"/>
                <a:gd name="connsiteX12" fmla="*/ 329094 w 676571"/>
                <a:gd name="connsiteY12" fmla="*/ 421951 h 512084"/>
                <a:gd name="connsiteX13" fmla="*/ 345447 w 676571"/>
                <a:gd name="connsiteY13" fmla="*/ 416627 h 512084"/>
                <a:gd name="connsiteX14" fmla="*/ 353624 w 676571"/>
                <a:gd name="connsiteY14" fmla="*/ 410352 h 512084"/>
                <a:gd name="connsiteX15" fmla="*/ 361420 w 676571"/>
                <a:gd name="connsiteY15" fmla="*/ 404267 h 512084"/>
                <a:gd name="connsiteX16" fmla="*/ 386520 w 676571"/>
                <a:gd name="connsiteY16" fmla="*/ 402175 h 512084"/>
                <a:gd name="connsiteX17" fmla="*/ 396409 w 676571"/>
                <a:gd name="connsiteY17" fmla="*/ 416057 h 512084"/>
                <a:gd name="connsiteX18" fmla="*/ 398880 w 676571"/>
                <a:gd name="connsiteY18" fmla="*/ 421191 h 512084"/>
                <a:gd name="connsiteX19" fmla="*/ 417896 w 676571"/>
                <a:gd name="connsiteY19" fmla="*/ 437164 h 512084"/>
                <a:gd name="connsiteX20" fmla="*/ 440904 w 676571"/>
                <a:gd name="connsiteY20" fmla="*/ 459221 h 512084"/>
                <a:gd name="connsiteX21" fmla="*/ 444517 w 676571"/>
                <a:gd name="connsiteY21" fmla="*/ 472913 h 512084"/>
                <a:gd name="connsiteX22" fmla="*/ 444517 w 676571"/>
                <a:gd name="connsiteY22" fmla="*/ 476526 h 512084"/>
                <a:gd name="connsiteX23" fmla="*/ 444517 w 676571"/>
                <a:gd name="connsiteY23" fmla="*/ 480709 h 512084"/>
                <a:gd name="connsiteX24" fmla="*/ 450412 w 676571"/>
                <a:gd name="connsiteY24" fmla="*/ 485463 h 512084"/>
                <a:gd name="connsiteX25" fmla="*/ 452694 w 676571"/>
                <a:gd name="connsiteY25" fmla="*/ 486414 h 512084"/>
                <a:gd name="connsiteX26" fmla="*/ 469047 w 676571"/>
                <a:gd name="connsiteY26" fmla="*/ 501246 h 512084"/>
                <a:gd name="connsiteX27" fmla="*/ 472090 w 676571"/>
                <a:gd name="connsiteY27" fmla="*/ 506570 h 512084"/>
                <a:gd name="connsiteX28" fmla="*/ 481787 w 676571"/>
                <a:gd name="connsiteY28" fmla="*/ 512084 h 512084"/>
                <a:gd name="connsiteX29" fmla="*/ 489964 w 676571"/>
                <a:gd name="connsiteY29" fmla="*/ 502957 h 512084"/>
                <a:gd name="connsiteX30" fmla="*/ 493197 w 676571"/>
                <a:gd name="connsiteY30" fmla="*/ 495731 h 512084"/>
                <a:gd name="connsiteX31" fmla="*/ 498331 w 676571"/>
                <a:gd name="connsiteY31" fmla="*/ 485273 h 512084"/>
                <a:gd name="connsiteX32" fmla="*/ 525142 w 676571"/>
                <a:gd name="connsiteY32" fmla="*/ 460172 h 512084"/>
                <a:gd name="connsiteX33" fmla="*/ 535411 w 676571"/>
                <a:gd name="connsiteY33" fmla="*/ 454658 h 512084"/>
                <a:gd name="connsiteX34" fmla="*/ 549863 w 676571"/>
                <a:gd name="connsiteY34" fmla="*/ 457320 h 512084"/>
                <a:gd name="connsiteX35" fmla="*/ 552715 w 676571"/>
                <a:gd name="connsiteY35" fmla="*/ 460743 h 512084"/>
                <a:gd name="connsiteX36" fmla="*/ 554046 w 676571"/>
                <a:gd name="connsiteY36" fmla="*/ 462454 h 512084"/>
                <a:gd name="connsiteX37" fmla="*/ 556328 w 676571"/>
                <a:gd name="connsiteY37" fmla="*/ 460363 h 512084"/>
                <a:gd name="connsiteX38" fmla="*/ 558039 w 676571"/>
                <a:gd name="connsiteY38" fmla="*/ 457891 h 512084"/>
                <a:gd name="connsiteX39" fmla="*/ 563554 w 676571"/>
                <a:gd name="connsiteY39" fmla="*/ 451235 h 512084"/>
                <a:gd name="connsiteX40" fmla="*/ 582569 w 676571"/>
                <a:gd name="connsiteY40" fmla="*/ 448383 h 512084"/>
                <a:gd name="connsiteX41" fmla="*/ 585612 w 676571"/>
                <a:gd name="connsiteY41" fmla="*/ 448383 h 512084"/>
                <a:gd name="connsiteX42" fmla="*/ 594739 w 676571"/>
                <a:gd name="connsiteY42" fmla="*/ 449714 h 512084"/>
                <a:gd name="connsiteX43" fmla="*/ 604057 w 676571"/>
                <a:gd name="connsiteY43" fmla="*/ 445531 h 512084"/>
                <a:gd name="connsiteX44" fmla="*/ 620029 w 676571"/>
                <a:gd name="connsiteY44" fmla="*/ 439826 h 512084"/>
                <a:gd name="connsiteX45" fmla="*/ 628586 w 676571"/>
                <a:gd name="connsiteY45" fmla="*/ 441347 h 512084"/>
                <a:gd name="connsiteX46" fmla="*/ 635242 w 676571"/>
                <a:gd name="connsiteY46" fmla="*/ 442488 h 512084"/>
                <a:gd name="connsiteX47" fmla="*/ 640756 w 676571"/>
                <a:gd name="connsiteY47" fmla="*/ 439065 h 512084"/>
                <a:gd name="connsiteX48" fmla="*/ 665096 w 676571"/>
                <a:gd name="connsiteY48" fmla="*/ 420050 h 512084"/>
                <a:gd name="connsiteX49" fmla="*/ 671751 w 676571"/>
                <a:gd name="connsiteY49" fmla="*/ 413775 h 512084"/>
                <a:gd name="connsiteX50" fmla="*/ 671751 w 676571"/>
                <a:gd name="connsiteY50" fmla="*/ 413775 h 512084"/>
                <a:gd name="connsiteX51" fmla="*/ 674603 w 676571"/>
                <a:gd name="connsiteY51" fmla="*/ 403697 h 512084"/>
                <a:gd name="connsiteX52" fmla="*/ 674603 w 676571"/>
                <a:gd name="connsiteY52" fmla="*/ 395140 h 512084"/>
                <a:gd name="connsiteX53" fmla="*/ 674603 w 676571"/>
                <a:gd name="connsiteY53" fmla="*/ 378596 h 512084"/>
                <a:gd name="connsiteX54" fmla="*/ 675745 w 676571"/>
                <a:gd name="connsiteY54" fmla="*/ 374033 h 512084"/>
                <a:gd name="connsiteX55" fmla="*/ 675745 w 676571"/>
                <a:gd name="connsiteY55" fmla="*/ 360532 h 512084"/>
                <a:gd name="connsiteX56" fmla="*/ 673082 w 676571"/>
                <a:gd name="connsiteY56" fmla="*/ 355017 h 512084"/>
                <a:gd name="connsiteX57" fmla="*/ 669089 w 676571"/>
                <a:gd name="connsiteY57" fmla="*/ 340756 h 512084"/>
                <a:gd name="connsiteX58" fmla="*/ 670420 w 676571"/>
                <a:gd name="connsiteY58" fmla="*/ 335812 h 512084"/>
                <a:gd name="connsiteX59" fmla="*/ 670420 w 676571"/>
                <a:gd name="connsiteY59" fmla="*/ 332769 h 512084"/>
                <a:gd name="connsiteX60" fmla="*/ 669279 w 676571"/>
                <a:gd name="connsiteY60" fmla="*/ 331248 h 512084"/>
                <a:gd name="connsiteX61" fmla="*/ 668328 w 676571"/>
                <a:gd name="connsiteY61" fmla="*/ 329917 h 512084"/>
                <a:gd name="connsiteX62" fmla="*/ 664906 w 676571"/>
                <a:gd name="connsiteY62" fmla="*/ 312233 h 512084"/>
                <a:gd name="connsiteX63" fmla="*/ 665857 w 676571"/>
                <a:gd name="connsiteY63" fmla="*/ 309190 h 512084"/>
                <a:gd name="connsiteX64" fmla="*/ 665857 w 676571"/>
                <a:gd name="connsiteY64" fmla="*/ 305577 h 512084"/>
                <a:gd name="connsiteX65" fmla="*/ 664145 w 676571"/>
                <a:gd name="connsiteY65" fmla="*/ 302154 h 512084"/>
                <a:gd name="connsiteX66" fmla="*/ 662624 w 676571"/>
                <a:gd name="connsiteY66" fmla="*/ 299492 h 512084"/>
                <a:gd name="connsiteX67" fmla="*/ 661483 w 676571"/>
                <a:gd name="connsiteY67" fmla="*/ 280477 h 512084"/>
                <a:gd name="connsiteX68" fmla="*/ 661483 w 676571"/>
                <a:gd name="connsiteY68" fmla="*/ 278195 h 512084"/>
                <a:gd name="connsiteX69" fmla="*/ 662434 w 676571"/>
                <a:gd name="connsiteY69" fmla="*/ 275723 h 512084"/>
                <a:gd name="connsiteX70" fmla="*/ 659962 w 676571"/>
                <a:gd name="connsiteY70" fmla="*/ 267927 h 512084"/>
                <a:gd name="connsiteX71" fmla="*/ 647602 w 676571"/>
                <a:gd name="connsiteY71" fmla="*/ 227044 h 512084"/>
                <a:gd name="connsiteX72" fmla="*/ 647602 w 676571"/>
                <a:gd name="connsiteY72" fmla="*/ 224001 h 512084"/>
                <a:gd name="connsiteX73" fmla="*/ 639235 w 676571"/>
                <a:gd name="connsiteY73" fmla="*/ 225142 h 512084"/>
                <a:gd name="connsiteX74" fmla="*/ 629727 w 676571"/>
                <a:gd name="connsiteY74" fmla="*/ 226283 h 512084"/>
                <a:gd name="connsiteX75" fmla="*/ 610712 w 676571"/>
                <a:gd name="connsiteY75" fmla="*/ 241495 h 512084"/>
                <a:gd name="connsiteX76" fmla="*/ 582949 w 676571"/>
                <a:gd name="connsiteY76" fmla="*/ 260511 h 512084"/>
                <a:gd name="connsiteX77" fmla="*/ 582949 w 676571"/>
                <a:gd name="connsiteY77" fmla="*/ 260511 h 512084"/>
                <a:gd name="connsiteX78" fmla="*/ 568498 w 676571"/>
                <a:gd name="connsiteY78" fmla="*/ 254426 h 512084"/>
                <a:gd name="connsiteX79" fmla="*/ 566977 w 676571"/>
                <a:gd name="connsiteY79" fmla="*/ 231798 h 512084"/>
                <a:gd name="connsiteX80" fmla="*/ 568117 w 676571"/>
                <a:gd name="connsiteY80" fmla="*/ 221719 h 512084"/>
                <a:gd name="connsiteX81" fmla="*/ 564314 w 676571"/>
                <a:gd name="connsiteY81" fmla="*/ 213923 h 512084"/>
                <a:gd name="connsiteX82" fmla="*/ 558990 w 676571"/>
                <a:gd name="connsiteY82" fmla="*/ 202514 h 512084"/>
                <a:gd name="connsiteX83" fmla="*/ 561082 w 676571"/>
                <a:gd name="connsiteY83" fmla="*/ 185400 h 512084"/>
                <a:gd name="connsiteX84" fmla="*/ 562413 w 676571"/>
                <a:gd name="connsiteY84" fmla="*/ 179315 h 512084"/>
                <a:gd name="connsiteX85" fmla="*/ 562413 w 676571"/>
                <a:gd name="connsiteY85" fmla="*/ 154595 h 512084"/>
                <a:gd name="connsiteX86" fmla="*/ 558610 w 676571"/>
                <a:gd name="connsiteY86" fmla="*/ 152694 h 512084"/>
                <a:gd name="connsiteX87" fmla="*/ 546630 w 676571"/>
                <a:gd name="connsiteY87" fmla="*/ 158208 h 512084"/>
                <a:gd name="connsiteX88" fmla="*/ 539024 w 676571"/>
                <a:gd name="connsiteY88" fmla="*/ 163152 h 512084"/>
                <a:gd name="connsiteX89" fmla="*/ 509170 w 676571"/>
                <a:gd name="connsiteY89" fmla="*/ 168666 h 512084"/>
                <a:gd name="connsiteX90" fmla="*/ 494908 w 676571"/>
                <a:gd name="connsiteY90" fmla="*/ 169617 h 512084"/>
                <a:gd name="connsiteX91" fmla="*/ 456877 w 676571"/>
                <a:gd name="connsiteY91" fmla="*/ 169617 h 512084"/>
                <a:gd name="connsiteX92" fmla="*/ 434249 w 676571"/>
                <a:gd name="connsiteY92" fmla="*/ 156116 h 512084"/>
                <a:gd name="connsiteX93" fmla="*/ 408198 w 676571"/>
                <a:gd name="connsiteY93" fmla="*/ 144137 h 512084"/>
                <a:gd name="connsiteX94" fmla="*/ 399831 w 676571"/>
                <a:gd name="connsiteY94" fmla="*/ 144137 h 512084"/>
                <a:gd name="connsiteX95" fmla="*/ 354004 w 676571"/>
                <a:gd name="connsiteY95" fmla="*/ 126643 h 512084"/>
                <a:gd name="connsiteX96" fmla="*/ 340884 w 676571"/>
                <a:gd name="connsiteY96" fmla="*/ 102873 h 512084"/>
                <a:gd name="connsiteX97" fmla="*/ 323389 w 676571"/>
                <a:gd name="connsiteY97" fmla="*/ 75491 h 512084"/>
                <a:gd name="connsiteX98" fmla="*/ 213100 w 676571"/>
                <a:gd name="connsiteY98" fmla="*/ 27572 h 512084"/>
                <a:gd name="connsiteX99" fmla="*/ 197888 w 676571"/>
                <a:gd name="connsiteY99" fmla="*/ 23389 h 512084"/>
                <a:gd name="connsiteX100" fmla="*/ 168794 w 676571"/>
                <a:gd name="connsiteY100" fmla="*/ 14642 h 512084"/>
                <a:gd name="connsiteX101" fmla="*/ 122207 w 676571"/>
                <a:gd name="connsiteY101" fmla="*/ 1331 h 512084"/>
                <a:gd name="connsiteX102" fmla="*/ 114410 w 676571"/>
                <a:gd name="connsiteY102" fmla="*/ 0 h 512084"/>
                <a:gd name="connsiteX103" fmla="*/ 111368 w 676571"/>
                <a:gd name="connsiteY103" fmla="*/ 53243 h 512084"/>
                <a:gd name="connsiteX104" fmla="*/ 101860 w 676571"/>
                <a:gd name="connsiteY104" fmla="*/ 66554 h 512084"/>
                <a:gd name="connsiteX105" fmla="*/ 91782 w 676571"/>
                <a:gd name="connsiteY105" fmla="*/ 83287 h 512084"/>
                <a:gd name="connsiteX106" fmla="*/ 94825 w 676571"/>
                <a:gd name="connsiteY106" fmla="*/ 96218 h 512084"/>
                <a:gd name="connsiteX107" fmla="*/ 99958 w 676571"/>
                <a:gd name="connsiteY107" fmla="*/ 111430 h 512084"/>
                <a:gd name="connsiteX108" fmla="*/ 69344 w 676571"/>
                <a:gd name="connsiteY108" fmla="*/ 131967 h 512084"/>
                <a:gd name="connsiteX109" fmla="*/ 61738 w 676571"/>
                <a:gd name="connsiteY109" fmla="*/ 131967 h 512084"/>
                <a:gd name="connsiteX110" fmla="*/ 15720 w 676571"/>
                <a:gd name="connsiteY110" fmla="*/ 166385 h 512084"/>
                <a:gd name="connsiteX111" fmla="*/ 9445 w 676571"/>
                <a:gd name="connsiteY111" fmla="*/ 188633 h 512084"/>
                <a:gd name="connsiteX112" fmla="*/ 5832 w 676571"/>
                <a:gd name="connsiteY112" fmla="*/ 203655 h 512084"/>
                <a:gd name="connsiteX113" fmla="*/ 128 w 676571"/>
                <a:gd name="connsiteY113" fmla="*/ 240545 h 512084"/>
                <a:gd name="connsiteX114" fmla="*/ 10016 w 676571"/>
                <a:gd name="connsiteY114" fmla="*/ 266976 h 512084"/>
                <a:gd name="connsiteX115" fmla="*/ 20855 w 676571"/>
                <a:gd name="connsiteY115" fmla="*/ 308430 h 512084"/>
                <a:gd name="connsiteX116" fmla="*/ 13629 w 676571"/>
                <a:gd name="connsiteY116" fmla="*/ 336002 h 512084"/>
                <a:gd name="connsiteX117" fmla="*/ 9065 w 676571"/>
                <a:gd name="connsiteY117" fmla="*/ 351975 h 512084"/>
                <a:gd name="connsiteX118" fmla="*/ 11727 w 676571"/>
                <a:gd name="connsiteY118" fmla="*/ 351024 h 512084"/>
                <a:gd name="connsiteX119" fmla="*/ 33595 w 676571"/>
                <a:gd name="connsiteY119" fmla="*/ 342277 h 512084"/>
                <a:gd name="connsiteX120" fmla="*/ 60216 w 676571"/>
                <a:gd name="connsiteY120" fmla="*/ 335812 h 512084"/>
                <a:gd name="connsiteX121" fmla="*/ 79232 w 676571"/>
                <a:gd name="connsiteY121" fmla="*/ 332389 h 512084"/>
                <a:gd name="connsiteX122" fmla="*/ 102050 w 676571"/>
                <a:gd name="connsiteY122" fmla="*/ 336382 h 512084"/>
                <a:gd name="connsiteX123" fmla="*/ 89880 w 676571"/>
                <a:gd name="connsiteY123" fmla="*/ 368708 h 512084"/>
                <a:gd name="connsiteX124" fmla="*/ 78471 w 676571"/>
                <a:gd name="connsiteY124" fmla="*/ 409211 h 512084"/>
                <a:gd name="connsiteX125" fmla="*/ 103381 w 676571"/>
                <a:gd name="connsiteY125" fmla="*/ 433170 h 512084"/>
                <a:gd name="connsiteX126" fmla="*/ 127721 w 676571"/>
                <a:gd name="connsiteY126" fmla="*/ 456179 h 512084"/>
                <a:gd name="connsiteX127" fmla="*/ 143314 w 676571"/>
                <a:gd name="connsiteY127" fmla="*/ 479568 h 512084"/>
                <a:gd name="connsiteX128" fmla="*/ 156054 w 676571"/>
                <a:gd name="connsiteY128" fmla="*/ 459412 h 512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676571" h="512084">
                  <a:moveTo>
                    <a:pt x="156054" y="459412"/>
                  </a:moveTo>
                  <a:cubicBezTo>
                    <a:pt x="159344" y="457358"/>
                    <a:pt x="163356" y="456807"/>
                    <a:pt x="167083" y="457891"/>
                  </a:cubicBezTo>
                  <a:cubicBezTo>
                    <a:pt x="170829" y="458841"/>
                    <a:pt x="174043" y="461237"/>
                    <a:pt x="176020" y="464546"/>
                  </a:cubicBezTo>
                  <a:cubicBezTo>
                    <a:pt x="177085" y="466637"/>
                    <a:pt x="177808" y="468881"/>
                    <a:pt x="178112" y="471201"/>
                  </a:cubicBezTo>
                  <a:cubicBezTo>
                    <a:pt x="178112" y="473103"/>
                    <a:pt x="178112" y="473673"/>
                    <a:pt x="178112" y="474054"/>
                  </a:cubicBezTo>
                  <a:cubicBezTo>
                    <a:pt x="181345" y="476145"/>
                    <a:pt x="187049" y="474054"/>
                    <a:pt x="191423" y="470060"/>
                  </a:cubicBezTo>
                  <a:lnTo>
                    <a:pt x="193514" y="468159"/>
                  </a:lnTo>
                  <a:cubicBezTo>
                    <a:pt x="198801" y="462663"/>
                    <a:pt x="205893" y="459221"/>
                    <a:pt x="213480" y="458461"/>
                  </a:cubicBezTo>
                  <a:cubicBezTo>
                    <a:pt x="216276" y="458537"/>
                    <a:pt x="219033" y="459051"/>
                    <a:pt x="221657" y="459982"/>
                  </a:cubicBezTo>
                  <a:cubicBezTo>
                    <a:pt x="249077" y="465896"/>
                    <a:pt x="277638" y="457700"/>
                    <a:pt x="297719" y="438114"/>
                  </a:cubicBezTo>
                  <a:lnTo>
                    <a:pt x="299430" y="436593"/>
                  </a:lnTo>
                  <a:cubicBezTo>
                    <a:pt x="302396" y="433817"/>
                    <a:pt x="305572" y="431269"/>
                    <a:pt x="308938" y="428987"/>
                  </a:cubicBezTo>
                  <a:cubicBezTo>
                    <a:pt x="315232" y="425583"/>
                    <a:pt x="322039" y="423206"/>
                    <a:pt x="329094" y="421951"/>
                  </a:cubicBezTo>
                  <a:cubicBezTo>
                    <a:pt x="334780" y="420982"/>
                    <a:pt x="340294" y="419194"/>
                    <a:pt x="345447" y="416627"/>
                  </a:cubicBezTo>
                  <a:cubicBezTo>
                    <a:pt x="348376" y="414821"/>
                    <a:pt x="351133" y="412729"/>
                    <a:pt x="353624" y="410352"/>
                  </a:cubicBezTo>
                  <a:lnTo>
                    <a:pt x="361420" y="404267"/>
                  </a:lnTo>
                  <a:cubicBezTo>
                    <a:pt x="368722" y="398867"/>
                    <a:pt x="378439" y="398068"/>
                    <a:pt x="386520" y="402175"/>
                  </a:cubicBezTo>
                  <a:cubicBezTo>
                    <a:pt x="391236" y="405617"/>
                    <a:pt x="394697" y="410485"/>
                    <a:pt x="396409" y="416057"/>
                  </a:cubicBezTo>
                  <a:cubicBezTo>
                    <a:pt x="397112" y="417825"/>
                    <a:pt x="397949" y="419537"/>
                    <a:pt x="398880" y="421191"/>
                  </a:cubicBezTo>
                  <a:cubicBezTo>
                    <a:pt x="403787" y="428017"/>
                    <a:pt x="410328" y="433513"/>
                    <a:pt x="417896" y="437164"/>
                  </a:cubicBezTo>
                  <a:cubicBezTo>
                    <a:pt x="427651" y="441956"/>
                    <a:pt x="435694" y="449676"/>
                    <a:pt x="440904" y="459221"/>
                  </a:cubicBezTo>
                  <a:cubicBezTo>
                    <a:pt x="443091" y="463462"/>
                    <a:pt x="444308" y="468140"/>
                    <a:pt x="444517" y="472913"/>
                  </a:cubicBezTo>
                  <a:cubicBezTo>
                    <a:pt x="444612" y="474111"/>
                    <a:pt x="444612" y="475327"/>
                    <a:pt x="444517" y="476526"/>
                  </a:cubicBezTo>
                  <a:cubicBezTo>
                    <a:pt x="444308" y="477914"/>
                    <a:pt x="444308" y="479321"/>
                    <a:pt x="444517" y="480709"/>
                  </a:cubicBezTo>
                  <a:cubicBezTo>
                    <a:pt x="444517" y="482420"/>
                    <a:pt x="446989" y="483941"/>
                    <a:pt x="450412" y="485463"/>
                  </a:cubicBezTo>
                  <a:lnTo>
                    <a:pt x="452694" y="486414"/>
                  </a:lnTo>
                  <a:cubicBezTo>
                    <a:pt x="460224" y="488429"/>
                    <a:pt x="466309" y="493963"/>
                    <a:pt x="469047" y="501246"/>
                  </a:cubicBezTo>
                  <a:cubicBezTo>
                    <a:pt x="469865" y="503128"/>
                    <a:pt x="470892" y="504915"/>
                    <a:pt x="472090" y="506570"/>
                  </a:cubicBezTo>
                  <a:cubicBezTo>
                    <a:pt x="474695" y="509327"/>
                    <a:pt x="478080" y="511248"/>
                    <a:pt x="481787" y="512084"/>
                  </a:cubicBezTo>
                  <a:cubicBezTo>
                    <a:pt x="483119" y="512084"/>
                    <a:pt x="486161" y="510183"/>
                    <a:pt x="489964" y="502957"/>
                  </a:cubicBezTo>
                  <a:cubicBezTo>
                    <a:pt x="491200" y="500618"/>
                    <a:pt x="492284" y="498203"/>
                    <a:pt x="493197" y="495731"/>
                  </a:cubicBezTo>
                  <a:cubicBezTo>
                    <a:pt x="494642" y="492118"/>
                    <a:pt x="496353" y="488619"/>
                    <a:pt x="498331" y="485273"/>
                  </a:cubicBezTo>
                  <a:cubicBezTo>
                    <a:pt x="505367" y="475080"/>
                    <a:pt x="514513" y="466523"/>
                    <a:pt x="525142" y="460172"/>
                  </a:cubicBezTo>
                  <a:cubicBezTo>
                    <a:pt x="528185" y="457700"/>
                    <a:pt x="531665" y="455837"/>
                    <a:pt x="535411" y="454658"/>
                  </a:cubicBezTo>
                  <a:cubicBezTo>
                    <a:pt x="540374" y="453137"/>
                    <a:pt x="545755" y="454144"/>
                    <a:pt x="549863" y="457320"/>
                  </a:cubicBezTo>
                  <a:cubicBezTo>
                    <a:pt x="550871" y="458404"/>
                    <a:pt x="551840" y="459545"/>
                    <a:pt x="552715" y="460743"/>
                  </a:cubicBezTo>
                  <a:cubicBezTo>
                    <a:pt x="553057" y="461389"/>
                    <a:pt x="553514" y="461960"/>
                    <a:pt x="554046" y="462454"/>
                  </a:cubicBezTo>
                  <a:cubicBezTo>
                    <a:pt x="554921" y="461903"/>
                    <a:pt x="555700" y="461180"/>
                    <a:pt x="556328" y="460363"/>
                  </a:cubicBezTo>
                  <a:cubicBezTo>
                    <a:pt x="556955" y="459583"/>
                    <a:pt x="557526" y="458765"/>
                    <a:pt x="558039" y="457891"/>
                  </a:cubicBezTo>
                  <a:cubicBezTo>
                    <a:pt x="559427" y="455342"/>
                    <a:pt x="561310" y="453080"/>
                    <a:pt x="563554" y="451235"/>
                  </a:cubicBezTo>
                  <a:cubicBezTo>
                    <a:pt x="569106" y="447394"/>
                    <a:pt x="576123" y="446348"/>
                    <a:pt x="582569" y="448383"/>
                  </a:cubicBezTo>
                  <a:lnTo>
                    <a:pt x="585612" y="448383"/>
                  </a:lnTo>
                  <a:cubicBezTo>
                    <a:pt x="588578" y="449258"/>
                    <a:pt x="591658" y="449695"/>
                    <a:pt x="594739" y="449714"/>
                  </a:cubicBezTo>
                  <a:cubicBezTo>
                    <a:pt x="598085" y="448934"/>
                    <a:pt x="601242" y="447508"/>
                    <a:pt x="604057" y="445531"/>
                  </a:cubicBezTo>
                  <a:cubicBezTo>
                    <a:pt x="608848" y="442374"/>
                    <a:pt x="614325" y="440415"/>
                    <a:pt x="620029" y="439826"/>
                  </a:cubicBezTo>
                  <a:cubicBezTo>
                    <a:pt x="622920" y="440016"/>
                    <a:pt x="625791" y="440530"/>
                    <a:pt x="628586" y="441347"/>
                  </a:cubicBezTo>
                  <a:cubicBezTo>
                    <a:pt x="630697" y="442241"/>
                    <a:pt x="632960" y="442621"/>
                    <a:pt x="635242" y="442488"/>
                  </a:cubicBezTo>
                  <a:cubicBezTo>
                    <a:pt x="637295" y="441727"/>
                    <a:pt x="639159" y="440568"/>
                    <a:pt x="640756" y="439065"/>
                  </a:cubicBezTo>
                  <a:lnTo>
                    <a:pt x="665096" y="420050"/>
                  </a:lnTo>
                  <a:cubicBezTo>
                    <a:pt x="667587" y="418262"/>
                    <a:pt x="669812" y="416152"/>
                    <a:pt x="671751" y="413775"/>
                  </a:cubicBezTo>
                  <a:lnTo>
                    <a:pt x="671751" y="413775"/>
                  </a:lnTo>
                  <a:cubicBezTo>
                    <a:pt x="673767" y="410808"/>
                    <a:pt x="674775" y="407272"/>
                    <a:pt x="674603" y="403697"/>
                  </a:cubicBezTo>
                  <a:cubicBezTo>
                    <a:pt x="674775" y="400844"/>
                    <a:pt x="674775" y="397992"/>
                    <a:pt x="674603" y="395140"/>
                  </a:cubicBezTo>
                  <a:cubicBezTo>
                    <a:pt x="673843" y="389644"/>
                    <a:pt x="673843" y="384092"/>
                    <a:pt x="674603" y="378596"/>
                  </a:cubicBezTo>
                  <a:lnTo>
                    <a:pt x="675745" y="374033"/>
                  </a:lnTo>
                  <a:cubicBezTo>
                    <a:pt x="676847" y="369602"/>
                    <a:pt x="676847" y="364962"/>
                    <a:pt x="675745" y="360532"/>
                  </a:cubicBezTo>
                  <a:cubicBezTo>
                    <a:pt x="675060" y="358611"/>
                    <a:pt x="674166" y="356748"/>
                    <a:pt x="673082" y="355017"/>
                  </a:cubicBezTo>
                  <a:cubicBezTo>
                    <a:pt x="670154" y="350853"/>
                    <a:pt x="668747" y="345833"/>
                    <a:pt x="669089" y="340756"/>
                  </a:cubicBezTo>
                  <a:cubicBezTo>
                    <a:pt x="669317" y="339063"/>
                    <a:pt x="669755" y="337390"/>
                    <a:pt x="670420" y="335812"/>
                  </a:cubicBezTo>
                  <a:cubicBezTo>
                    <a:pt x="670629" y="334804"/>
                    <a:pt x="670629" y="333777"/>
                    <a:pt x="670420" y="332769"/>
                  </a:cubicBezTo>
                  <a:cubicBezTo>
                    <a:pt x="670116" y="332199"/>
                    <a:pt x="669736" y="331685"/>
                    <a:pt x="669279" y="331248"/>
                  </a:cubicBezTo>
                  <a:lnTo>
                    <a:pt x="668328" y="329917"/>
                  </a:lnTo>
                  <a:cubicBezTo>
                    <a:pt x="664658" y="324802"/>
                    <a:pt x="663404" y="318337"/>
                    <a:pt x="664906" y="312233"/>
                  </a:cubicBezTo>
                  <a:cubicBezTo>
                    <a:pt x="665115" y="311187"/>
                    <a:pt x="665419" y="310160"/>
                    <a:pt x="665857" y="309190"/>
                  </a:cubicBezTo>
                  <a:cubicBezTo>
                    <a:pt x="666047" y="307992"/>
                    <a:pt x="666047" y="306775"/>
                    <a:pt x="665857" y="305577"/>
                  </a:cubicBezTo>
                  <a:cubicBezTo>
                    <a:pt x="665857" y="304627"/>
                    <a:pt x="665857" y="303486"/>
                    <a:pt x="664145" y="302154"/>
                  </a:cubicBezTo>
                  <a:cubicBezTo>
                    <a:pt x="663574" y="301318"/>
                    <a:pt x="663061" y="300424"/>
                    <a:pt x="662624" y="299492"/>
                  </a:cubicBezTo>
                  <a:cubicBezTo>
                    <a:pt x="659410" y="293654"/>
                    <a:pt x="658992" y="286657"/>
                    <a:pt x="661483" y="280477"/>
                  </a:cubicBezTo>
                  <a:cubicBezTo>
                    <a:pt x="661407" y="279716"/>
                    <a:pt x="661407" y="278956"/>
                    <a:pt x="661483" y="278195"/>
                  </a:cubicBezTo>
                  <a:cubicBezTo>
                    <a:pt x="661901" y="277416"/>
                    <a:pt x="662224" y="276579"/>
                    <a:pt x="662434" y="275723"/>
                  </a:cubicBezTo>
                  <a:cubicBezTo>
                    <a:pt x="662491" y="272928"/>
                    <a:pt x="661616" y="270190"/>
                    <a:pt x="659962" y="267927"/>
                  </a:cubicBezTo>
                  <a:cubicBezTo>
                    <a:pt x="653249" y="255224"/>
                    <a:pt x="649047" y="241343"/>
                    <a:pt x="647602" y="227044"/>
                  </a:cubicBezTo>
                  <a:cubicBezTo>
                    <a:pt x="647602" y="226093"/>
                    <a:pt x="647602" y="224952"/>
                    <a:pt x="647602" y="224001"/>
                  </a:cubicBezTo>
                  <a:lnTo>
                    <a:pt x="639235" y="225142"/>
                  </a:lnTo>
                  <a:lnTo>
                    <a:pt x="629727" y="226283"/>
                  </a:lnTo>
                  <a:cubicBezTo>
                    <a:pt x="621779" y="228945"/>
                    <a:pt x="615047" y="234327"/>
                    <a:pt x="610712" y="241495"/>
                  </a:cubicBezTo>
                  <a:cubicBezTo>
                    <a:pt x="604912" y="251802"/>
                    <a:pt x="594663" y="258837"/>
                    <a:pt x="582949" y="260511"/>
                  </a:cubicBezTo>
                  <a:lnTo>
                    <a:pt x="582949" y="260511"/>
                  </a:lnTo>
                  <a:cubicBezTo>
                    <a:pt x="577473" y="260663"/>
                    <a:pt x="572225" y="258438"/>
                    <a:pt x="568498" y="254426"/>
                  </a:cubicBezTo>
                  <a:cubicBezTo>
                    <a:pt x="564676" y="247485"/>
                    <a:pt x="564105" y="239194"/>
                    <a:pt x="566977" y="231798"/>
                  </a:cubicBezTo>
                  <a:cubicBezTo>
                    <a:pt x="567851" y="228508"/>
                    <a:pt x="568231" y="225123"/>
                    <a:pt x="568117" y="221719"/>
                  </a:cubicBezTo>
                  <a:cubicBezTo>
                    <a:pt x="567414" y="218886"/>
                    <a:pt x="566121" y="216224"/>
                    <a:pt x="564314" y="213923"/>
                  </a:cubicBezTo>
                  <a:cubicBezTo>
                    <a:pt x="561823" y="210500"/>
                    <a:pt x="560017" y="206621"/>
                    <a:pt x="558990" y="202514"/>
                  </a:cubicBezTo>
                  <a:cubicBezTo>
                    <a:pt x="558439" y="196733"/>
                    <a:pt x="559161" y="190876"/>
                    <a:pt x="561082" y="185400"/>
                  </a:cubicBezTo>
                  <a:cubicBezTo>
                    <a:pt x="561082" y="183308"/>
                    <a:pt x="561082" y="181217"/>
                    <a:pt x="562413" y="179315"/>
                  </a:cubicBezTo>
                  <a:cubicBezTo>
                    <a:pt x="563554" y="172279"/>
                    <a:pt x="565645" y="160300"/>
                    <a:pt x="562413" y="154595"/>
                  </a:cubicBezTo>
                  <a:cubicBezTo>
                    <a:pt x="561519" y="153397"/>
                    <a:pt x="560112" y="152694"/>
                    <a:pt x="558610" y="152694"/>
                  </a:cubicBezTo>
                  <a:cubicBezTo>
                    <a:pt x="555567" y="152694"/>
                    <a:pt x="550813" y="155356"/>
                    <a:pt x="546630" y="158208"/>
                  </a:cubicBezTo>
                  <a:cubicBezTo>
                    <a:pt x="544215" y="160033"/>
                    <a:pt x="541667" y="161688"/>
                    <a:pt x="539024" y="163152"/>
                  </a:cubicBezTo>
                  <a:cubicBezTo>
                    <a:pt x="529592" y="167164"/>
                    <a:pt x="519400" y="169047"/>
                    <a:pt x="509170" y="168666"/>
                  </a:cubicBezTo>
                  <a:lnTo>
                    <a:pt x="494908" y="169617"/>
                  </a:lnTo>
                  <a:cubicBezTo>
                    <a:pt x="482301" y="171576"/>
                    <a:pt x="469485" y="171576"/>
                    <a:pt x="456877" y="169617"/>
                  </a:cubicBezTo>
                  <a:cubicBezTo>
                    <a:pt x="448035" y="167773"/>
                    <a:pt x="440068" y="163019"/>
                    <a:pt x="434249" y="156116"/>
                  </a:cubicBezTo>
                  <a:cubicBezTo>
                    <a:pt x="427765" y="148453"/>
                    <a:pt x="418219" y="144079"/>
                    <a:pt x="408198" y="144137"/>
                  </a:cubicBezTo>
                  <a:lnTo>
                    <a:pt x="399831" y="144137"/>
                  </a:lnTo>
                  <a:cubicBezTo>
                    <a:pt x="382660" y="145772"/>
                    <a:pt x="365718" y="139288"/>
                    <a:pt x="354004" y="126643"/>
                  </a:cubicBezTo>
                  <a:cubicBezTo>
                    <a:pt x="348623" y="119321"/>
                    <a:pt x="344211" y="111335"/>
                    <a:pt x="340884" y="102873"/>
                  </a:cubicBezTo>
                  <a:cubicBezTo>
                    <a:pt x="337195" y="92548"/>
                    <a:pt x="331205" y="83173"/>
                    <a:pt x="323389" y="75491"/>
                  </a:cubicBezTo>
                  <a:cubicBezTo>
                    <a:pt x="293345" y="49440"/>
                    <a:pt x="252462" y="38411"/>
                    <a:pt x="213100" y="27572"/>
                  </a:cubicBezTo>
                  <a:lnTo>
                    <a:pt x="197888" y="23389"/>
                  </a:lnTo>
                  <a:cubicBezTo>
                    <a:pt x="188190" y="20727"/>
                    <a:pt x="178872" y="17684"/>
                    <a:pt x="168794" y="14642"/>
                  </a:cubicBezTo>
                  <a:cubicBezTo>
                    <a:pt x="153582" y="9888"/>
                    <a:pt x="137609" y="4944"/>
                    <a:pt x="122207" y="1331"/>
                  </a:cubicBezTo>
                  <a:cubicBezTo>
                    <a:pt x="119639" y="704"/>
                    <a:pt x="117034" y="266"/>
                    <a:pt x="114410" y="0"/>
                  </a:cubicBezTo>
                  <a:cubicBezTo>
                    <a:pt x="119335" y="17589"/>
                    <a:pt x="118251" y="36319"/>
                    <a:pt x="111368" y="53243"/>
                  </a:cubicBezTo>
                  <a:cubicBezTo>
                    <a:pt x="108725" y="58035"/>
                    <a:pt x="105549" y="62504"/>
                    <a:pt x="101860" y="66554"/>
                  </a:cubicBezTo>
                  <a:cubicBezTo>
                    <a:pt x="97201" y="71251"/>
                    <a:pt x="93760" y="76974"/>
                    <a:pt x="91782" y="83287"/>
                  </a:cubicBezTo>
                  <a:cubicBezTo>
                    <a:pt x="90945" y="87832"/>
                    <a:pt x="92048" y="92529"/>
                    <a:pt x="94825" y="96218"/>
                  </a:cubicBezTo>
                  <a:cubicBezTo>
                    <a:pt x="97829" y="100762"/>
                    <a:pt x="99597" y="105992"/>
                    <a:pt x="99958" y="111430"/>
                  </a:cubicBezTo>
                  <a:cubicBezTo>
                    <a:pt x="99958" y="130446"/>
                    <a:pt x="80943" y="130446"/>
                    <a:pt x="69344" y="131967"/>
                  </a:cubicBezTo>
                  <a:lnTo>
                    <a:pt x="61738" y="131967"/>
                  </a:lnTo>
                  <a:cubicBezTo>
                    <a:pt x="41543" y="134857"/>
                    <a:pt x="24201" y="147826"/>
                    <a:pt x="15720" y="166385"/>
                  </a:cubicBezTo>
                  <a:cubicBezTo>
                    <a:pt x="12868" y="173573"/>
                    <a:pt x="10757" y="181027"/>
                    <a:pt x="9445" y="188633"/>
                  </a:cubicBezTo>
                  <a:cubicBezTo>
                    <a:pt x="8304" y="193767"/>
                    <a:pt x="7354" y="198901"/>
                    <a:pt x="5832" y="203655"/>
                  </a:cubicBezTo>
                  <a:cubicBezTo>
                    <a:pt x="1402" y="215425"/>
                    <a:pt x="-538" y="227995"/>
                    <a:pt x="128" y="240545"/>
                  </a:cubicBezTo>
                  <a:cubicBezTo>
                    <a:pt x="1953" y="249843"/>
                    <a:pt x="5300" y="258761"/>
                    <a:pt x="10016" y="266976"/>
                  </a:cubicBezTo>
                  <a:cubicBezTo>
                    <a:pt x="17983" y="279279"/>
                    <a:pt x="21786" y="293807"/>
                    <a:pt x="20855" y="308430"/>
                  </a:cubicBezTo>
                  <a:cubicBezTo>
                    <a:pt x="19257" y="317823"/>
                    <a:pt x="16842" y="327046"/>
                    <a:pt x="13629" y="336002"/>
                  </a:cubicBezTo>
                  <a:cubicBezTo>
                    <a:pt x="11917" y="341516"/>
                    <a:pt x="10206" y="346650"/>
                    <a:pt x="9065" y="351975"/>
                  </a:cubicBezTo>
                  <a:lnTo>
                    <a:pt x="11727" y="351024"/>
                  </a:lnTo>
                  <a:cubicBezTo>
                    <a:pt x="19200" y="348590"/>
                    <a:pt x="26502" y="345662"/>
                    <a:pt x="33595" y="342277"/>
                  </a:cubicBezTo>
                  <a:cubicBezTo>
                    <a:pt x="42057" y="338683"/>
                    <a:pt x="51051" y="336496"/>
                    <a:pt x="60216" y="335812"/>
                  </a:cubicBezTo>
                  <a:cubicBezTo>
                    <a:pt x="66663" y="335317"/>
                    <a:pt x="73033" y="334176"/>
                    <a:pt x="79232" y="332389"/>
                  </a:cubicBezTo>
                  <a:cubicBezTo>
                    <a:pt x="93493" y="327635"/>
                    <a:pt x="99578" y="332389"/>
                    <a:pt x="102050" y="336382"/>
                  </a:cubicBezTo>
                  <a:cubicBezTo>
                    <a:pt x="107184" y="345510"/>
                    <a:pt x="99768" y="359961"/>
                    <a:pt x="89880" y="368708"/>
                  </a:cubicBezTo>
                  <a:cubicBezTo>
                    <a:pt x="72577" y="383540"/>
                    <a:pt x="66872" y="393048"/>
                    <a:pt x="78471" y="409211"/>
                  </a:cubicBezTo>
                  <a:cubicBezTo>
                    <a:pt x="85716" y="418224"/>
                    <a:pt x="94083" y="426287"/>
                    <a:pt x="103381" y="433170"/>
                  </a:cubicBezTo>
                  <a:cubicBezTo>
                    <a:pt x="112299" y="439940"/>
                    <a:pt x="120457" y="447660"/>
                    <a:pt x="127721" y="456179"/>
                  </a:cubicBezTo>
                  <a:cubicBezTo>
                    <a:pt x="133673" y="463443"/>
                    <a:pt x="138902" y="471277"/>
                    <a:pt x="143314" y="479568"/>
                  </a:cubicBezTo>
                  <a:cubicBezTo>
                    <a:pt x="145291" y="471658"/>
                    <a:pt x="149760" y="464584"/>
                    <a:pt x="156054" y="45941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77" name="Полилиния: фигура 376">
              <a:extLst>
                <a:ext uri="{FF2B5EF4-FFF2-40B4-BE49-F238E27FC236}">
                  <a16:creationId xmlns:a16="http://schemas.microsoft.com/office/drawing/2014/main" id="{66D08F0D-D81F-869B-FFC5-286479D3BB69}"/>
                </a:ext>
              </a:extLst>
            </p:cNvPr>
            <p:cNvSpPr/>
            <p:nvPr/>
          </p:nvSpPr>
          <p:spPr>
            <a:xfrm>
              <a:off x="4096530" y="5347780"/>
              <a:ext cx="629762" cy="446452"/>
            </a:xfrm>
            <a:custGeom>
              <a:avLst/>
              <a:gdLst>
                <a:gd name="connsiteX0" fmla="*/ 449524 w 658502"/>
                <a:gd name="connsiteY0" fmla="*/ 457478 h 465463"/>
                <a:gd name="connsiteX1" fmla="*/ 453707 w 658502"/>
                <a:gd name="connsiteY1" fmla="*/ 444357 h 465463"/>
                <a:gd name="connsiteX2" fmla="*/ 447432 w 658502"/>
                <a:gd name="connsiteY2" fmla="*/ 434469 h 465463"/>
                <a:gd name="connsiteX3" fmla="*/ 437734 w 658502"/>
                <a:gd name="connsiteY3" fmla="*/ 431616 h 465463"/>
                <a:gd name="connsiteX4" fmla="*/ 418719 w 658502"/>
                <a:gd name="connsiteY4" fmla="*/ 421729 h 465463"/>
                <a:gd name="connsiteX5" fmla="*/ 416056 w 658502"/>
                <a:gd name="connsiteY5" fmla="*/ 405376 h 465463"/>
                <a:gd name="connsiteX6" fmla="*/ 437924 w 658502"/>
                <a:gd name="connsiteY6" fmla="*/ 387691 h 465463"/>
                <a:gd name="connsiteX7" fmla="*/ 451045 w 658502"/>
                <a:gd name="connsiteY7" fmla="*/ 385599 h 465463"/>
                <a:gd name="connsiteX8" fmla="*/ 467208 w 658502"/>
                <a:gd name="connsiteY8" fmla="*/ 380466 h 465463"/>
                <a:gd name="connsiteX9" fmla="*/ 498013 w 658502"/>
                <a:gd name="connsiteY9" fmla="*/ 367915 h 465463"/>
                <a:gd name="connsiteX10" fmla="*/ 528437 w 658502"/>
                <a:gd name="connsiteY10" fmla="*/ 354414 h 465463"/>
                <a:gd name="connsiteX11" fmla="*/ 539466 w 658502"/>
                <a:gd name="connsiteY11" fmla="*/ 345667 h 465463"/>
                <a:gd name="connsiteX12" fmla="*/ 553918 w 658502"/>
                <a:gd name="connsiteY12" fmla="*/ 333497 h 465463"/>
                <a:gd name="connsiteX13" fmla="*/ 559623 w 658502"/>
                <a:gd name="connsiteY13" fmla="*/ 321898 h 465463"/>
                <a:gd name="connsiteX14" fmla="*/ 568750 w 658502"/>
                <a:gd name="connsiteY14" fmla="*/ 305164 h 465463"/>
                <a:gd name="connsiteX15" fmla="*/ 593090 w 658502"/>
                <a:gd name="connsiteY15" fmla="*/ 303073 h 465463"/>
                <a:gd name="connsiteX16" fmla="*/ 600126 w 658502"/>
                <a:gd name="connsiteY16" fmla="*/ 307636 h 465463"/>
                <a:gd name="connsiteX17" fmla="*/ 611535 w 658502"/>
                <a:gd name="connsiteY17" fmla="*/ 302312 h 465463"/>
                <a:gd name="connsiteX18" fmla="*/ 621423 w 658502"/>
                <a:gd name="connsiteY18" fmla="*/ 296227 h 465463"/>
                <a:gd name="connsiteX19" fmla="*/ 626367 w 658502"/>
                <a:gd name="connsiteY19" fmla="*/ 294516 h 465463"/>
                <a:gd name="connsiteX20" fmla="*/ 632262 w 658502"/>
                <a:gd name="connsiteY20" fmla="*/ 285959 h 465463"/>
                <a:gd name="connsiteX21" fmla="*/ 628649 w 658502"/>
                <a:gd name="connsiteY21" fmla="*/ 274550 h 465463"/>
                <a:gd name="connsiteX22" fmla="*/ 624846 w 658502"/>
                <a:gd name="connsiteY22" fmla="*/ 253443 h 465463"/>
                <a:gd name="connsiteX23" fmla="*/ 655650 w 658502"/>
                <a:gd name="connsiteY23" fmla="*/ 232336 h 465463"/>
                <a:gd name="connsiteX24" fmla="*/ 658503 w 658502"/>
                <a:gd name="connsiteY24" fmla="*/ 232336 h 465463"/>
                <a:gd name="connsiteX25" fmla="*/ 658503 w 658502"/>
                <a:gd name="connsiteY25" fmla="*/ 232336 h 465463"/>
                <a:gd name="connsiteX26" fmla="*/ 652798 w 658502"/>
                <a:gd name="connsiteY26" fmla="*/ 201721 h 465463"/>
                <a:gd name="connsiteX27" fmla="*/ 648424 w 658502"/>
                <a:gd name="connsiteY27" fmla="*/ 182705 h 465463"/>
                <a:gd name="connsiteX28" fmla="*/ 644241 w 658502"/>
                <a:gd name="connsiteY28" fmla="*/ 178522 h 465463"/>
                <a:gd name="connsiteX29" fmla="*/ 638156 w 658502"/>
                <a:gd name="connsiteY29" fmla="*/ 157795 h 465463"/>
                <a:gd name="connsiteX30" fmla="*/ 645572 w 658502"/>
                <a:gd name="connsiteY30" fmla="*/ 148858 h 465463"/>
                <a:gd name="connsiteX31" fmla="*/ 651847 w 658502"/>
                <a:gd name="connsiteY31" fmla="*/ 140301 h 465463"/>
                <a:gd name="connsiteX32" fmla="*/ 648995 w 658502"/>
                <a:gd name="connsiteY32" fmla="*/ 140301 h 465463"/>
                <a:gd name="connsiteX33" fmla="*/ 641769 w 658502"/>
                <a:gd name="connsiteY33" fmla="*/ 140301 h 465463"/>
                <a:gd name="connsiteX34" fmla="*/ 627508 w 658502"/>
                <a:gd name="connsiteY34" fmla="*/ 130223 h 465463"/>
                <a:gd name="connsiteX35" fmla="*/ 614387 w 658502"/>
                <a:gd name="connsiteY35" fmla="*/ 104552 h 465463"/>
                <a:gd name="connsiteX36" fmla="*/ 598034 w 658502"/>
                <a:gd name="connsiteY36" fmla="*/ 76219 h 465463"/>
                <a:gd name="connsiteX37" fmla="*/ 589477 w 658502"/>
                <a:gd name="connsiteY37" fmla="*/ 68233 h 465463"/>
                <a:gd name="connsiteX38" fmla="*/ 575596 w 658502"/>
                <a:gd name="connsiteY38" fmla="*/ 54732 h 465463"/>
                <a:gd name="connsiteX39" fmla="*/ 562285 w 658502"/>
                <a:gd name="connsiteY39" fmla="*/ 45414 h 465463"/>
                <a:gd name="connsiteX40" fmla="*/ 549354 w 658502"/>
                <a:gd name="connsiteY40" fmla="*/ 37237 h 465463"/>
                <a:gd name="connsiteX41" fmla="*/ 537945 w 658502"/>
                <a:gd name="connsiteY41" fmla="*/ 22406 h 465463"/>
                <a:gd name="connsiteX42" fmla="*/ 529578 w 658502"/>
                <a:gd name="connsiteY42" fmla="*/ 10616 h 465463"/>
                <a:gd name="connsiteX43" fmla="*/ 527867 w 658502"/>
                <a:gd name="connsiteY43" fmla="*/ 9285 h 465463"/>
                <a:gd name="connsiteX44" fmla="*/ 519120 w 658502"/>
                <a:gd name="connsiteY44" fmla="*/ 17842 h 465463"/>
                <a:gd name="connsiteX45" fmla="*/ 494780 w 658502"/>
                <a:gd name="connsiteY45" fmla="*/ 36857 h 465463"/>
                <a:gd name="connsiteX46" fmla="*/ 484702 w 658502"/>
                <a:gd name="connsiteY46" fmla="*/ 42182 h 465463"/>
                <a:gd name="connsiteX47" fmla="*/ 472913 w 658502"/>
                <a:gd name="connsiteY47" fmla="*/ 41040 h 465463"/>
                <a:gd name="connsiteX48" fmla="*/ 467208 w 658502"/>
                <a:gd name="connsiteY48" fmla="*/ 39900 h 465463"/>
                <a:gd name="connsiteX49" fmla="*/ 456940 w 658502"/>
                <a:gd name="connsiteY49" fmla="*/ 44083 h 465463"/>
                <a:gd name="connsiteX50" fmla="*/ 443439 w 658502"/>
                <a:gd name="connsiteY50" fmla="*/ 49598 h 465463"/>
                <a:gd name="connsiteX51" fmla="*/ 430508 w 658502"/>
                <a:gd name="connsiteY51" fmla="*/ 48076 h 465463"/>
                <a:gd name="connsiteX52" fmla="*/ 427656 w 658502"/>
                <a:gd name="connsiteY52" fmla="*/ 48076 h 465463"/>
                <a:gd name="connsiteX53" fmla="*/ 418338 w 658502"/>
                <a:gd name="connsiteY53" fmla="*/ 48076 h 465463"/>
                <a:gd name="connsiteX54" fmla="*/ 415296 w 658502"/>
                <a:gd name="connsiteY54" fmla="*/ 52069 h 465463"/>
                <a:gd name="connsiteX55" fmla="*/ 413014 w 658502"/>
                <a:gd name="connsiteY55" fmla="*/ 55302 h 465463"/>
                <a:gd name="connsiteX56" fmla="*/ 397802 w 658502"/>
                <a:gd name="connsiteY56" fmla="*/ 60627 h 465463"/>
                <a:gd name="connsiteX57" fmla="*/ 392097 w 658502"/>
                <a:gd name="connsiteY57" fmla="*/ 55682 h 465463"/>
                <a:gd name="connsiteX58" fmla="*/ 390766 w 658502"/>
                <a:gd name="connsiteY58" fmla="*/ 53971 h 465463"/>
                <a:gd name="connsiteX59" fmla="*/ 386392 w 658502"/>
                <a:gd name="connsiteY59" fmla="*/ 53971 h 465463"/>
                <a:gd name="connsiteX60" fmla="*/ 379357 w 658502"/>
                <a:gd name="connsiteY60" fmla="*/ 57774 h 465463"/>
                <a:gd name="connsiteX61" fmla="*/ 355588 w 658502"/>
                <a:gd name="connsiteY61" fmla="*/ 79642 h 465463"/>
                <a:gd name="connsiteX62" fmla="*/ 351404 w 658502"/>
                <a:gd name="connsiteY62" fmla="*/ 88769 h 465463"/>
                <a:gd name="connsiteX63" fmla="*/ 347601 w 658502"/>
                <a:gd name="connsiteY63" fmla="*/ 96756 h 465463"/>
                <a:gd name="connsiteX64" fmla="*/ 330107 w 658502"/>
                <a:gd name="connsiteY64" fmla="*/ 111778 h 465463"/>
                <a:gd name="connsiteX65" fmla="*/ 330107 w 658502"/>
                <a:gd name="connsiteY65" fmla="*/ 111778 h 465463"/>
                <a:gd name="connsiteX66" fmla="*/ 311092 w 658502"/>
                <a:gd name="connsiteY66" fmla="*/ 102080 h 465463"/>
                <a:gd name="connsiteX67" fmla="*/ 306908 w 658502"/>
                <a:gd name="connsiteY67" fmla="*/ 95044 h 465463"/>
                <a:gd name="connsiteX68" fmla="*/ 303105 w 658502"/>
                <a:gd name="connsiteY68" fmla="*/ 88769 h 465463"/>
                <a:gd name="connsiteX69" fmla="*/ 296260 w 658502"/>
                <a:gd name="connsiteY69" fmla="*/ 85156 h 465463"/>
                <a:gd name="connsiteX70" fmla="*/ 293598 w 658502"/>
                <a:gd name="connsiteY70" fmla="*/ 84206 h 465463"/>
                <a:gd name="connsiteX71" fmla="*/ 281808 w 658502"/>
                <a:gd name="connsiteY71" fmla="*/ 72796 h 465463"/>
                <a:gd name="connsiteX72" fmla="*/ 281808 w 658502"/>
                <a:gd name="connsiteY72" fmla="*/ 64620 h 465463"/>
                <a:gd name="connsiteX73" fmla="*/ 281808 w 658502"/>
                <a:gd name="connsiteY73" fmla="*/ 61958 h 465463"/>
                <a:gd name="connsiteX74" fmla="*/ 278956 w 658502"/>
                <a:gd name="connsiteY74" fmla="*/ 52450 h 465463"/>
                <a:gd name="connsiteX75" fmla="*/ 259940 w 658502"/>
                <a:gd name="connsiteY75" fmla="*/ 35146 h 465463"/>
                <a:gd name="connsiteX76" fmla="*/ 237882 w 658502"/>
                <a:gd name="connsiteY76" fmla="*/ 16130 h 465463"/>
                <a:gd name="connsiteX77" fmla="*/ 235030 w 658502"/>
                <a:gd name="connsiteY77" fmla="*/ 9855 h 465463"/>
                <a:gd name="connsiteX78" fmla="*/ 229325 w 658502"/>
                <a:gd name="connsiteY78" fmla="*/ 918 h 465463"/>
                <a:gd name="connsiteX79" fmla="*/ 215824 w 658502"/>
                <a:gd name="connsiteY79" fmla="*/ 3010 h 465463"/>
                <a:gd name="connsiteX80" fmla="*/ 209169 w 658502"/>
                <a:gd name="connsiteY80" fmla="*/ 8334 h 465463"/>
                <a:gd name="connsiteX81" fmla="*/ 199471 w 658502"/>
                <a:gd name="connsiteY81" fmla="*/ 15560 h 465463"/>
                <a:gd name="connsiteX82" fmla="*/ 180456 w 658502"/>
                <a:gd name="connsiteY82" fmla="*/ 22025 h 465463"/>
                <a:gd name="connsiteX83" fmla="*/ 163532 w 658502"/>
                <a:gd name="connsiteY83" fmla="*/ 27920 h 465463"/>
                <a:gd name="connsiteX84" fmla="*/ 155736 w 658502"/>
                <a:gd name="connsiteY84" fmla="*/ 34195 h 465463"/>
                <a:gd name="connsiteX85" fmla="*/ 153834 w 658502"/>
                <a:gd name="connsiteY85" fmla="*/ 35907 h 465463"/>
                <a:gd name="connsiteX86" fmla="*/ 68836 w 658502"/>
                <a:gd name="connsiteY86" fmla="*/ 60436 h 465463"/>
                <a:gd name="connsiteX87" fmla="*/ 67505 w 658502"/>
                <a:gd name="connsiteY87" fmla="*/ 60436 h 465463"/>
                <a:gd name="connsiteX88" fmla="*/ 61990 w 658502"/>
                <a:gd name="connsiteY88" fmla="*/ 59295 h 465463"/>
                <a:gd name="connsiteX89" fmla="*/ 49250 w 658502"/>
                <a:gd name="connsiteY89" fmla="*/ 66521 h 465463"/>
                <a:gd name="connsiteX90" fmla="*/ 47158 w 658502"/>
                <a:gd name="connsiteY90" fmla="*/ 68423 h 465463"/>
                <a:gd name="connsiteX91" fmla="*/ 20917 w 658502"/>
                <a:gd name="connsiteY91" fmla="*/ 72986 h 465463"/>
                <a:gd name="connsiteX92" fmla="*/ 15402 w 658502"/>
                <a:gd name="connsiteY92" fmla="*/ 63289 h 465463"/>
                <a:gd name="connsiteX93" fmla="*/ 15402 w 658502"/>
                <a:gd name="connsiteY93" fmla="*/ 60056 h 465463"/>
                <a:gd name="connsiteX94" fmla="*/ 12930 w 658502"/>
                <a:gd name="connsiteY94" fmla="*/ 58535 h 465463"/>
                <a:gd name="connsiteX95" fmla="*/ 10459 w 658502"/>
                <a:gd name="connsiteY95" fmla="*/ 58535 h 465463"/>
                <a:gd name="connsiteX96" fmla="*/ 0 w 658502"/>
                <a:gd name="connsiteY96" fmla="*/ 82494 h 465463"/>
                <a:gd name="connsiteX97" fmla="*/ 0 w 658502"/>
                <a:gd name="connsiteY97" fmla="*/ 82494 h 465463"/>
                <a:gd name="connsiteX98" fmla="*/ 19015 w 658502"/>
                <a:gd name="connsiteY98" fmla="*/ 128131 h 465463"/>
                <a:gd name="connsiteX99" fmla="*/ 20537 w 658502"/>
                <a:gd name="connsiteY99" fmla="*/ 131934 h 465463"/>
                <a:gd name="connsiteX100" fmla="*/ 53433 w 658502"/>
                <a:gd name="connsiteY100" fmla="*/ 227011 h 465463"/>
                <a:gd name="connsiteX101" fmla="*/ 66173 w 658502"/>
                <a:gd name="connsiteY101" fmla="*/ 268084 h 465463"/>
                <a:gd name="connsiteX102" fmla="*/ 82527 w 658502"/>
                <a:gd name="connsiteY102" fmla="*/ 321898 h 465463"/>
                <a:gd name="connsiteX103" fmla="*/ 93936 w 658502"/>
                <a:gd name="connsiteY103" fmla="*/ 367155 h 465463"/>
                <a:gd name="connsiteX104" fmla="*/ 95267 w 658502"/>
                <a:gd name="connsiteY104" fmla="*/ 373810 h 465463"/>
                <a:gd name="connsiteX105" fmla="*/ 104585 w 658502"/>
                <a:gd name="connsiteY105" fmla="*/ 398150 h 465463"/>
                <a:gd name="connsiteX106" fmla="*/ 116754 w 658502"/>
                <a:gd name="connsiteY106" fmla="*/ 401952 h 465463"/>
                <a:gd name="connsiteX107" fmla="*/ 139953 w 658502"/>
                <a:gd name="connsiteY107" fmla="*/ 371908 h 465463"/>
                <a:gd name="connsiteX108" fmla="*/ 161440 w 658502"/>
                <a:gd name="connsiteY108" fmla="*/ 349660 h 465463"/>
                <a:gd name="connsiteX109" fmla="*/ 190724 w 658502"/>
                <a:gd name="connsiteY109" fmla="*/ 356506 h 465463"/>
                <a:gd name="connsiteX110" fmla="*/ 199471 w 658502"/>
                <a:gd name="connsiteY110" fmla="*/ 382177 h 465463"/>
                <a:gd name="connsiteX111" fmla="*/ 199471 w 658502"/>
                <a:gd name="connsiteY111" fmla="*/ 389022 h 465463"/>
                <a:gd name="connsiteX112" fmla="*/ 214113 w 658502"/>
                <a:gd name="connsiteY112" fmla="*/ 412791 h 465463"/>
                <a:gd name="connsiteX113" fmla="*/ 291886 w 658502"/>
                <a:gd name="connsiteY113" fmla="*/ 436561 h 465463"/>
                <a:gd name="connsiteX114" fmla="*/ 324402 w 658502"/>
                <a:gd name="connsiteY114" fmla="*/ 424771 h 465463"/>
                <a:gd name="connsiteX115" fmla="*/ 368328 w 658502"/>
                <a:gd name="connsiteY115" fmla="*/ 412221 h 465463"/>
                <a:gd name="connsiteX116" fmla="*/ 422902 w 658502"/>
                <a:gd name="connsiteY116" fmla="*/ 465464 h 465463"/>
                <a:gd name="connsiteX117" fmla="*/ 433551 w 658502"/>
                <a:gd name="connsiteY117" fmla="*/ 465464 h 465463"/>
                <a:gd name="connsiteX118" fmla="*/ 449524 w 658502"/>
                <a:gd name="connsiteY118" fmla="*/ 457478 h 46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658502" h="465463">
                  <a:moveTo>
                    <a:pt x="449524" y="457478"/>
                  </a:moveTo>
                  <a:cubicBezTo>
                    <a:pt x="452756" y="453922"/>
                    <a:pt x="454278" y="449130"/>
                    <a:pt x="453707" y="444357"/>
                  </a:cubicBezTo>
                  <a:cubicBezTo>
                    <a:pt x="453137" y="440306"/>
                    <a:pt x="450836" y="436713"/>
                    <a:pt x="447432" y="434469"/>
                  </a:cubicBezTo>
                  <a:cubicBezTo>
                    <a:pt x="444351" y="433081"/>
                    <a:pt x="441081" y="432111"/>
                    <a:pt x="437734" y="431616"/>
                  </a:cubicBezTo>
                  <a:cubicBezTo>
                    <a:pt x="430337" y="430970"/>
                    <a:pt x="423492" y="427414"/>
                    <a:pt x="418719" y="421729"/>
                  </a:cubicBezTo>
                  <a:cubicBezTo>
                    <a:pt x="414973" y="417146"/>
                    <a:pt x="413946" y="410909"/>
                    <a:pt x="416056" y="405376"/>
                  </a:cubicBezTo>
                  <a:cubicBezTo>
                    <a:pt x="420240" y="396438"/>
                    <a:pt x="428303" y="389916"/>
                    <a:pt x="437924" y="387691"/>
                  </a:cubicBezTo>
                  <a:cubicBezTo>
                    <a:pt x="442184" y="386455"/>
                    <a:pt x="446595" y="385752"/>
                    <a:pt x="451045" y="385599"/>
                  </a:cubicBezTo>
                  <a:cubicBezTo>
                    <a:pt x="456826" y="385599"/>
                    <a:pt x="462473" y="383812"/>
                    <a:pt x="467208" y="380466"/>
                  </a:cubicBezTo>
                  <a:cubicBezTo>
                    <a:pt x="476659" y="374513"/>
                    <a:pt x="487079" y="370254"/>
                    <a:pt x="498013" y="367915"/>
                  </a:cubicBezTo>
                  <a:cubicBezTo>
                    <a:pt x="509080" y="365880"/>
                    <a:pt x="519500" y="361260"/>
                    <a:pt x="528437" y="354414"/>
                  </a:cubicBezTo>
                  <a:cubicBezTo>
                    <a:pt x="531917" y="351277"/>
                    <a:pt x="535606" y="348348"/>
                    <a:pt x="539466" y="345667"/>
                  </a:cubicBezTo>
                  <a:cubicBezTo>
                    <a:pt x="544734" y="342188"/>
                    <a:pt x="549602" y="338099"/>
                    <a:pt x="553918" y="333497"/>
                  </a:cubicBezTo>
                  <a:cubicBezTo>
                    <a:pt x="556466" y="329979"/>
                    <a:pt x="558406" y="326062"/>
                    <a:pt x="559623" y="321898"/>
                  </a:cubicBezTo>
                  <a:cubicBezTo>
                    <a:pt x="561562" y="315794"/>
                    <a:pt x="564662" y="310108"/>
                    <a:pt x="568750" y="305164"/>
                  </a:cubicBezTo>
                  <a:cubicBezTo>
                    <a:pt x="580159" y="292994"/>
                    <a:pt x="587765" y="297748"/>
                    <a:pt x="593090" y="303073"/>
                  </a:cubicBezTo>
                  <a:cubicBezTo>
                    <a:pt x="594934" y="305259"/>
                    <a:pt x="597368" y="306857"/>
                    <a:pt x="600126" y="307636"/>
                  </a:cubicBezTo>
                  <a:cubicBezTo>
                    <a:pt x="603548" y="307636"/>
                    <a:pt x="607351" y="305355"/>
                    <a:pt x="611535" y="302312"/>
                  </a:cubicBezTo>
                  <a:cubicBezTo>
                    <a:pt x="614520" y="299821"/>
                    <a:pt x="617848" y="297767"/>
                    <a:pt x="621423" y="296227"/>
                  </a:cubicBezTo>
                  <a:lnTo>
                    <a:pt x="626367" y="294516"/>
                  </a:lnTo>
                  <a:cubicBezTo>
                    <a:pt x="632071" y="292804"/>
                    <a:pt x="632262" y="292614"/>
                    <a:pt x="632262" y="285959"/>
                  </a:cubicBezTo>
                  <a:cubicBezTo>
                    <a:pt x="631919" y="281927"/>
                    <a:pt x="630683" y="278048"/>
                    <a:pt x="628649" y="274550"/>
                  </a:cubicBezTo>
                  <a:cubicBezTo>
                    <a:pt x="624484" y="268351"/>
                    <a:pt x="623096" y="260706"/>
                    <a:pt x="624846" y="253443"/>
                  </a:cubicBezTo>
                  <a:cubicBezTo>
                    <a:pt x="629599" y="238991"/>
                    <a:pt x="643861" y="234427"/>
                    <a:pt x="655650" y="232336"/>
                  </a:cubicBezTo>
                  <a:lnTo>
                    <a:pt x="658503" y="232336"/>
                  </a:lnTo>
                  <a:lnTo>
                    <a:pt x="658503" y="232336"/>
                  </a:lnTo>
                  <a:cubicBezTo>
                    <a:pt x="654072" y="222771"/>
                    <a:pt x="652113" y="212236"/>
                    <a:pt x="652798" y="201721"/>
                  </a:cubicBezTo>
                  <a:cubicBezTo>
                    <a:pt x="652798" y="191833"/>
                    <a:pt x="652798" y="188790"/>
                    <a:pt x="648424" y="182705"/>
                  </a:cubicBezTo>
                  <a:lnTo>
                    <a:pt x="644241" y="178522"/>
                  </a:lnTo>
                  <a:cubicBezTo>
                    <a:pt x="637225" y="174186"/>
                    <a:pt x="634600" y="165249"/>
                    <a:pt x="638156" y="157795"/>
                  </a:cubicBezTo>
                  <a:cubicBezTo>
                    <a:pt x="640001" y="154353"/>
                    <a:pt x="642530" y="151311"/>
                    <a:pt x="645572" y="148858"/>
                  </a:cubicBezTo>
                  <a:cubicBezTo>
                    <a:pt x="649565" y="145245"/>
                    <a:pt x="652798" y="142012"/>
                    <a:pt x="651847" y="140301"/>
                  </a:cubicBezTo>
                  <a:cubicBezTo>
                    <a:pt x="650916" y="139978"/>
                    <a:pt x="649927" y="139978"/>
                    <a:pt x="648995" y="140301"/>
                  </a:cubicBezTo>
                  <a:cubicBezTo>
                    <a:pt x="646637" y="140948"/>
                    <a:pt x="644127" y="140948"/>
                    <a:pt x="641769" y="140301"/>
                  </a:cubicBezTo>
                  <a:cubicBezTo>
                    <a:pt x="635817" y="139084"/>
                    <a:pt x="630645" y="135433"/>
                    <a:pt x="627508" y="130223"/>
                  </a:cubicBezTo>
                  <a:cubicBezTo>
                    <a:pt x="622050" y="122255"/>
                    <a:pt x="617639" y="113641"/>
                    <a:pt x="614387" y="104552"/>
                  </a:cubicBezTo>
                  <a:cubicBezTo>
                    <a:pt x="610888" y="94112"/>
                    <a:pt x="605336" y="84472"/>
                    <a:pt x="598034" y="76219"/>
                  </a:cubicBezTo>
                  <a:lnTo>
                    <a:pt x="589477" y="68233"/>
                  </a:lnTo>
                  <a:cubicBezTo>
                    <a:pt x="584723" y="63859"/>
                    <a:pt x="579969" y="59485"/>
                    <a:pt x="575596" y="54732"/>
                  </a:cubicBezTo>
                  <a:cubicBezTo>
                    <a:pt x="571716" y="50891"/>
                    <a:pt x="567210" y="47734"/>
                    <a:pt x="562285" y="45414"/>
                  </a:cubicBezTo>
                  <a:cubicBezTo>
                    <a:pt x="557645" y="43247"/>
                    <a:pt x="553310" y="40489"/>
                    <a:pt x="549354" y="37237"/>
                  </a:cubicBezTo>
                  <a:cubicBezTo>
                    <a:pt x="544734" y="32978"/>
                    <a:pt x="540874" y="27958"/>
                    <a:pt x="537945" y="22406"/>
                  </a:cubicBezTo>
                  <a:cubicBezTo>
                    <a:pt x="535853" y="18032"/>
                    <a:pt x="533020" y="14039"/>
                    <a:pt x="529578" y="10616"/>
                  </a:cubicBezTo>
                  <a:lnTo>
                    <a:pt x="527867" y="9285"/>
                  </a:lnTo>
                  <a:cubicBezTo>
                    <a:pt x="525338" y="12517"/>
                    <a:pt x="522410" y="15389"/>
                    <a:pt x="519120" y="17842"/>
                  </a:cubicBezTo>
                  <a:lnTo>
                    <a:pt x="494780" y="36857"/>
                  </a:lnTo>
                  <a:cubicBezTo>
                    <a:pt x="491890" y="39405"/>
                    <a:pt x="488429" y="41231"/>
                    <a:pt x="484702" y="42182"/>
                  </a:cubicBezTo>
                  <a:cubicBezTo>
                    <a:pt x="480747" y="42790"/>
                    <a:pt x="476678" y="42410"/>
                    <a:pt x="472913" y="41040"/>
                  </a:cubicBezTo>
                  <a:cubicBezTo>
                    <a:pt x="471049" y="40489"/>
                    <a:pt x="469148" y="40109"/>
                    <a:pt x="467208" y="39900"/>
                  </a:cubicBezTo>
                  <a:cubicBezTo>
                    <a:pt x="463481" y="40375"/>
                    <a:pt x="459944" y="41820"/>
                    <a:pt x="456940" y="44083"/>
                  </a:cubicBezTo>
                  <a:cubicBezTo>
                    <a:pt x="452870" y="46821"/>
                    <a:pt x="448268" y="48704"/>
                    <a:pt x="443439" y="49598"/>
                  </a:cubicBezTo>
                  <a:cubicBezTo>
                    <a:pt x="439065" y="49902"/>
                    <a:pt x="434692" y="49388"/>
                    <a:pt x="430508" y="48076"/>
                  </a:cubicBezTo>
                  <a:lnTo>
                    <a:pt x="427656" y="48076"/>
                  </a:lnTo>
                  <a:cubicBezTo>
                    <a:pt x="424670" y="46821"/>
                    <a:pt x="421324" y="46821"/>
                    <a:pt x="418338" y="48076"/>
                  </a:cubicBezTo>
                  <a:cubicBezTo>
                    <a:pt x="417140" y="49255"/>
                    <a:pt x="416114" y="50586"/>
                    <a:pt x="415296" y="52069"/>
                  </a:cubicBezTo>
                  <a:cubicBezTo>
                    <a:pt x="414649" y="53229"/>
                    <a:pt x="413889" y="54313"/>
                    <a:pt x="413014" y="55302"/>
                  </a:cubicBezTo>
                  <a:cubicBezTo>
                    <a:pt x="409800" y="60398"/>
                    <a:pt x="403487" y="62623"/>
                    <a:pt x="397802" y="60627"/>
                  </a:cubicBezTo>
                  <a:cubicBezTo>
                    <a:pt x="395482" y="59543"/>
                    <a:pt x="393504" y="57831"/>
                    <a:pt x="392097" y="55682"/>
                  </a:cubicBezTo>
                  <a:cubicBezTo>
                    <a:pt x="391755" y="55036"/>
                    <a:pt x="391299" y="54466"/>
                    <a:pt x="390766" y="53971"/>
                  </a:cubicBezTo>
                  <a:cubicBezTo>
                    <a:pt x="389397" y="53267"/>
                    <a:pt x="387762" y="53267"/>
                    <a:pt x="386392" y="53971"/>
                  </a:cubicBezTo>
                  <a:cubicBezTo>
                    <a:pt x="383864" y="54865"/>
                    <a:pt x="381487" y="56139"/>
                    <a:pt x="379357" y="57774"/>
                  </a:cubicBezTo>
                  <a:cubicBezTo>
                    <a:pt x="370058" y="63403"/>
                    <a:pt x="361977" y="70838"/>
                    <a:pt x="355588" y="79642"/>
                  </a:cubicBezTo>
                  <a:cubicBezTo>
                    <a:pt x="353952" y="82570"/>
                    <a:pt x="352564" y="85632"/>
                    <a:pt x="351404" y="88769"/>
                  </a:cubicBezTo>
                  <a:lnTo>
                    <a:pt x="347601" y="96756"/>
                  </a:lnTo>
                  <a:cubicBezTo>
                    <a:pt x="342467" y="106644"/>
                    <a:pt x="336572" y="111588"/>
                    <a:pt x="330107" y="111778"/>
                  </a:cubicBezTo>
                  <a:lnTo>
                    <a:pt x="330107" y="111778"/>
                  </a:lnTo>
                  <a:cubicBezTo>
                    <a:pt x="322729" y="111188"/>
                    <a:pt x="315902" y="107709"/>
                    <a:pt x="311092" y="102080"/>
                  </a:cubicBezTo>
                  <a:cubicBezTo>
                    <a:pt x="309532" y="99836"/>
                    <a:pt x="308125" y="97478"/>
                    <a:pt x="306908" y="95044"/>
                  </a:cubicBezTo>
                  <a:cubicBezTo>
                    <a:pt x="305995" y="92762"/>
                    <a:pt x="304721" y="90633"/>
                    <a:pt x="303105" y="88769"/>
                  </a:cubicBezTo>
                  <a:cubicBezTo>
                    <a:pt x="301014" y="87229"/>
                    <a:pt x="298713" y="86012"/>
                    <a:pt x="296260" y="85156"/>
                  </a:cubicBezTo>
                  <a:lnTo>
                    <a:pt x="293598" y="84206"/>
                  </a:lnTo>
                  <a:cubicBezTo>
                    <a:pt x="288140" y="82380"/>
                    <a:pt x="283805" y="78178"/>
                    <a:pt x="281808" y="72796"/>
                  </a:cubicBezTo>
                  <a:cubicBezTo>
                    <a:pt x="281257" y="70096"/>
                    <a:pt x="281257" y="67320"/>
                    <a:pt x="281808" y="64620"/>
                  </a:cubicBezTo>
                  <a:cubicBezTo>
                    <a:pt x="281808" y="64620"/>
                    <a:pt x="281808" y="62718"/>
                    <a:pt x="281808" y="61958"/>
                  </a:cubicBezTo>
                  <a:cubicBezTo>
                    <a:pt x="281447" y="58649"/>
                    <a:pt x="280477" y="55416"/>
                    <a:pt x="278956" y="52450"/>
                  </a:cubicBezTo>
                  <a:cubicBezTo>
                    <a:pt x="274430" y="44958"/>
                    <a:pt x="267813" y="38949"/>
                    <a:pt x="259940" y="35146"/>
                  </a:cubicBezTo>
                  <a:cubicBezTo>
                    <a:pt x="251060" y="30829"/>
                    <a:pt x="243473" y="24269"/>
                    <a:pt x="237882" y="16130"/>
                  </a:cubicBezTo>
                  <a:cubicBezTo>
                    <a:pt x="236875" y="14229"/>
                    <a:pt x="235924" y="12137"/>
                    <a:pt x="235030" y="9855"/>
                  </a:cubicBezTo>
                  <a:cubicBezTo>
                    <a:pt x="233965" y="6413"/>
                    <a:pt x="231988" y="3333"/>
                    <a:pt x="229325" y="918"/>
                  </a:cubicBezTo>
                  <a:cubicBezTo>
                    <a:pt x="224781" y="-831"/>
                    <a:pt x="219628" y="-52"/>
                    <a:pt x="215824" y="3010"/>
                  </a:cubicBezTo>
                  <a:cubicBezTo>
                    <a:pt x="213486" y="4626"/>
                    <a:pt x="211261" y="6395"/>
                    <a:pt x="209169" y="8334"/>
                  </a:cubicBezTo>
                  <a:cubicBezTo>
                    <a:pt x="206127" y="10996"/>
                    <a:pt x="202894" y="13411"/>
                    <a:pt x="199471" y="15560"/>
                  </a:cubicBezTo>
                  <a:cubicBezTo>
                    <a:pt x="193482" y="18640"/>
                    <a:pt x="187073" y="20808"/>
                    <a:pt x="180456" y="22025"/>
                  </a:cubicBezTo>
                  <a:cubicBezTo>
                    <a:pt x="174542" y="23052"/>
                    <a:pt x="168818" y="25049"/>
                    <a:pt x="163532" y="27920"/>
                  </a:cubicBezTo>
                  <a:cubicBezTo>
                    <a:pt x="160661" y="29650"/>
                    <a:pt x="158056" y="31761"/>
                    <a:pt x="155736" y="34195"/>
                  </a:cubicBezTo>
                  <a:lnTo>
                    <a:pt x="153834" y="35907"/>
                  </a:lnTo>
                  <a:cubicBezTo>
                    <a:pt x="131434" y="57869"/>
                    <a:pt x="99488" y="67092"/>
                    <a:pt x="68836" y="60436"/>
                  </a:cubicBezTo>
                  <a:lnTo>
                    <a:pt x="67505" y="60436"/>
                  </a:lnTo>
                  <a:lnTo>
                    <a:pt x="61990" y="59295"/>
                  </a:lnTo>
                  <a:cubicBezTo>
                    <a:pt x="57084" y="60303"/>
                    <a:pt x="52634" y="62832"/>
                    <a:pt x="49250" y="66521"/>
                  </a:cubicBezTo>
                  <a:lnTo>
                    <a:pt x="47158" y="68423"/>
                  </a:lnTo>
                  <a:cubicBezTo>
                    <a:pt x="40522" y="75839"/>
                    <a:pt x="29664" y="77721"/>
                    <a:pt x="20917" y="72986"/>
                  </a:cubicBezTo>
                  <a:cubicBezTo>
                    <a:pt x="17741" y="70724"/>
                    <a:pt x="15726" y="67168"/>
                    <a:pt x="15402" y="63289"/>
                  </a:cubicBezTo>
                  <a:cubicBezTo>
                    <a:pt x="15554" y="62224"/>
                    <a:pt x="15554" y="61121"/>
                    <a:pt x="15402" y="60056"/>
                  </a:cubicBezTo>
                  <a:cubicBezTo>
                    <a:pt x="14794" y="59276"/>
                    <a:pt x="13900" y="58725"/>
                    <a:pt x="12930" y="58535"/>
                  </a:cubicBezTo>
                  <a:cubicBezTo>
                    <a:pt x="11789" y="58535"/>
                    <a:pt x="10839" y="58535"/>
                    <a:pt x="10459" y="58535"/>
                  </a:cubicBezTo>
                  <a:cubicBezTo>
                    <a:pt x="5134" y="65589"/>
                    <a:pt x="1540" y="73785"/>
                    <a:pt x="0" y="82494"/>
                  </a:cubicBezTo>
                  <a:lnTo>
                    <a:pt x="0" y="82494"/>
                  </a:lnTo>
                  <a:cubicBezTo>
                    <a:pt x="7131" y="97364"/>
                    <a:pt x="13482" y="112595"/>
                    <a:pt x="19015" y="128131"/>
                  </a:cubicBezTo>
                  <a:lnTo>
                    <a:pt x="20537" y="131934"/>
                  </a:lnTo>
                  <a:cubicBezTo>
                    <a:pt x="31946" y="162929"/>
                    <a:pt x="43925" y="195065"/>
                    <a:pt x="53433" y="227011"/>
                  </a:cubicBezTo>
                  <a:cubicBezTo>
                    <a:pt x="57617" y="240702"/>
                    <a:pt x="61800" y="254393"/>
                    <a:pt x="66173" y="268084"/>
                  </a:cubicBezTo>
                  <a:cubicBezTo>
                    <a:pt x="71878" y="285959"/>
                    <a:pt x="77392" y="303833"/>
                    <a:pt x="82527" y="321898"/>
                  </a:cubicBezTo>
                  <a:cubicBezTo>
                    <a:pt x="86710" y="336350"/>
                    <a:pt x="90513" y="351562"/>
                    <a:pt x="93936" y="367155"/>
                  </a:cubicBezTo>
                  <a:cubicBezTo>
                    <a:pt x="93936" y="369056"/>
                    <a:pt x="93936" y="371338"/>
                    <a:pt x="95267" y="373810"/>
                  </a:cubicBezTo>
                  <a:cubicBezTo>
                    <a:pt x="95723" y="382709"/>
                    <a:pt x="98975" y="391228"/>
                    <a:pt x="104585" y="398150"/>
                  </a:cubicBezTo>
                  <a:cubicBezTo>
                    <a:pt x="107722" y="401401"/>
                    <a:pt x="112324" y="402828"/>
                    <a:pt x="116754" y="401952"/>
                  </a:cubicBezTo>
                  <a:cubicBezTo>
                    <a:pt x="126452" y="399291"/>
                    <a:pt x="135770" y="384268"/>
                    <a:pt x="139953" y="371908"/>
                  </a:cubicBezTo>
                  <a:cubicBezTo>
                    <a:pt x="143243" y="361545"/>
                    <a:pt x="151191" y="353311"/>
                    <a:pt x="161440" y="349660"/>
                  </a:cubicBezTo>
                  <a:cubicBezTo>
                    <a:pt x="171728" y="347055"/>
                    <a:pt x="182662" y="349603"/>
                    <a:pt x="190724" y="356506"/>
                  </a:cubicBezTo>
                  <a:cubicBezTo>
                    <a:pt x="199243" y="362001"/>
                    <a:pt x="202856" y="372631"/>
                    <a:pt x="199471" y="382177"/>
                  </a:cubicBezTo>
                  <a:cubicBezTo>
                    <a:pt x="199357" y="384459"/>
                    <a:pt x="199357" y="386740"/>
                    <a:pt x="199471" y="389022"/>
                  </a:cubicBezTo>
                  <a:cubicBezTo>
                    <a:pt x="198521" y="399100"/>
                    <a:pt x="203845" y="404044"/>
                    <a:pt x="214113" y="412791"/>
                  </a:cubicBezTo>
                  <a:cubicBezTo>
                    <a:pt x="236399" y="429696"/>
                    <a:pt x="263953" y="438120"/>
                    <a:pt x="291886" y="436561"/>
                  </a:cubicBezTo>
                  <a:cubicBezTo>
                    <a:pt x="303505" y="435268"/>
                    <a:pt x="314666" y="431236"/>
                    <a:pt x="324402" y="424771"/>
                  </a:cubicBezTo>
                  <a:cubicBezTo>
                    <a:pt x="337409" y="416176"/>
                    <a:pt x="352754" y="411803"/>
                    <a:pt x="368328" y="412221"/>
                  </a:cubicBezTo>
                  <a:cubicBezTo>
                    <a:pt x="398562" y="415644"/>
                    <a:pt x="413775" y="445118"/>
                    <a:pt x="422902" y="465464"/>
                  </a:cubicBezTo>
                  <a:cubicBezTo>
                    <a:pt x="426439" y="465179"/>
                    <a:pt x="430014" y="465179"/>
                    <a:pt x="433551" y="465464"/>
                  </a:cubicBezTo>
                  <a:cubicBezTo>
                    <a:pt x="438875" y="461661"/>
                    <a:pt x="446481" y="461661"/>
                    <a:pt x="449524" y="457478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78" name="Полилиния: фигура 377">
              <a:extLst>
                <a:ext uri="{FF2B5EF4-FFF2-40B4-BE49-F238E27FC236}">
                  <a16:creationId xmlns:a16="http://schemas.microsoft.com/office/drawing/2014/main" id="{0EA0D97E-F359-B437-1600-A2C8F602AC82}"/>
                </a:ext>
              </a:extLst>
            </p:cNvPr>
            <p:cNvSpPr/>
            <p:nvPr/>
          </p:nvSpPr>
          <p:spPr>
            <a:xfrm>
              <a:off x="4580991" y="5088211"/>
              <a:ext cx="311232" cy="537131"/>
            </a:xfrm>
            <a:custGeom>
              <a:avLst/>
              <a:gdLst>
                <a:gd name="connsiteX0" fmla="*/ 162201 w 325435"/>
                <a:gd name="connsiteY0" fmla="*/ 498774 h 560003"/>
                <a:gd name="connsiteX1" fmla="*/ 168096 w 325435"/>
                <a:gd name="connsiteY1" fmla="*/ 507901 h 560003"/>
                <a:gd name="connsiteX2" fmla="*/ 187111 w 325435"/>
                <a:gd name="connsiteY2" fmla="*/ 523494 h 560003"/>
                <a:gd name="connsiteX3" fmla="*/ 203655 w 325435"/>
                <a:gd name="connsiteY3" fmla="*/ 523494 h 560003"/>
                <a:gd name="connsiteX4" fmla="*/ 217156 w 325435"/>
                <a:gd name="connsiteY4" fmla="*/ 522543 h 560003"/>
                <a:gd name="connsiteX5" fmla="*/ 244918 w 325435"/>
                <a:gd name="connsiteY5" fmla="*/ 531670 h 560003"/>
                <a:gd name="connsiteX6" fmla="*/ 258229 w 325435"/>
                <a:gd name="connsiteY6" fmla="*/ 560003 h 560003"/>
                <a:gd name="connsiteX7" fmla="*/ 262602 w 325435"/>
                <a:gd name="connsiteY7" fmla="*/ 556580 h 560003"/>
                <a:gd name="connsiteX8" fmla="*/ 271730 w 325435"/>
                <a:gd name="connsiteY8" fmla="*/ 546312 h 560003"/>
                <a:gd name="connsiteX9" fmla="*/ 281618 w 325435"/>
                <a:gd name="connsiteY9" fmla="*/ 534903 h 560003"/>
                <a:gd name="connsiteX10" fmla="*/ 300633 w 325435"/>
                <a:gd name="connsiteY10" fmla="*/ 511134 h 560003"/>
                <a:gd name="connsiteX11" fmla="*/ 305577 w 325435"/>
                <a:gd name="connsiteY11" fmla="*/ 485653 h 560003"/>
                <a:gd name="connsiteX12" fmla="*/ 300443 w 325435"/>
                <a:gd name="connsiteY12" fmla="*/ 476526 h 560003"/>
                <a:gd name="connsiteX13" fmla="*/ 292837 w 325435"/>
                <a:gd name="connsiteY13" fmla="*/ 459602 h 560003"/>
                <a:gd name="connsiteX14" fmla="*/ 293788 w 325435"/>
                <a:gd name="connsiteY14" fmla="*/ 446291 h 560003"/>
                <a:gd name="connsiteX15" fmla="*/ 292456 w 325435"/>
                <a:gd name="connsiteY15" fmla="*/ 430508 h 560003"/>
                <a:gd name="connsiteX16" fmla="*/ 288844 w 325435"/>
                <a:gd name="connsiteY16" fmla="*/ 397231 h 560003"/>
                <a:gd name="connsiteX17" fmla="*/ 298922 w 325435"/>
                <a:gd name="connsiteY17" fmla="*/ 381449 h 560003"/>
                <a:gd name="connsiteX18" fmla="*/ 305197 w 325435"/>
                <a:gd name="connsiteY18" fmla="*/ 373272 h 560003"/>
                <a:gd name="connsiteX19" fmla="*/ 305197 w 325435"/>
                <a:gd name="connsiteY19" fmla="*/ 354257 h 560003"/>
                <a:gd name="connsiteX20" fmla="*/ 303676 w 325435"/>
                <a:gd name="connsiteY20" fmla="*/ 350073 h 560003"/>
                <a:gd name="connsiteX21" fmla="*/ 307289 w 325435"/>
                <a:gd name="connsiteY21" fmla="*/ 324973 h 560003"/>
                <a:gd name="connsiteX22" fmla="*/ 303676 w 325435"/>
                <a:gd name="connsiteY22" fmla="*/ 305958 h 560003"/>
                <a:gd name="connsiteX23" fmla="*/ 282949 w 325435"/>
                <a:gd name="connsiteY23" fmla="*/ 307099 h 560003"/>
                <a:gd name="connsiteX24" fmla="*/ 280477 w 325435"/>
                <a:gd name="connsiteY24" fmla="*/ 307099 h 560003"/>
                <a:gd name="connsiteX25" fmla="*/ 264694 w 325435"/>
                <a:gd name="connsiteY25" fmla="*/ 308240 h 560003"/>
                <a:gd name="connsiteX26" fmla="*/ 258609 w 325435"/>
                <a:gd name="connsiteY26" fmla="*/ 299112 h 560003"/>
                <a:gd name="connsiteX27" fmla="*/ 264694 w 325435"/>
                <a:gd name="connsiteY27" fmla="*/ 278385 h 560003"/>
                <a:gd name="connsiteX28" fmla="*/ 268878 w 325435"/>
                <a:gd name="connsiteY28" fmla="*/ 269638 h 560003"/>
                <a:gd name="connsiteX29" fmla="*/ 272491 w 325435"/>
                <a:gd name="connsiteY29" fmla="*/ 258990 h 560003"/>
                <a:gd name="connsiteX30" fmla="*/ 277434 w 325435"/>
                <a:gd name="connsiteY30" fmla="*/ 237312 h 560003"/>
                <a:gd name="connsiteX31" fmla="*/ 270969 w 325435"/>
                <a:gd name="connsiteY31" fmla="*/ 220579 h 560003"/>
                <a:gd name="connsiteX32" fmla="*/ 264884 w 325435"/>
                <a:gd name="connsiteY32" fmla="*/ 206317 h 560003"/>
                <a:gd name="connsiteX33" fmla="*/ 266405 w 325435"/>
                <a:gd name="connsiteY33" fmla="*/ 169808 h 560003"/>
                <a:gd name="connsiteX34" fmla="*/ 274772 w 325435"/>
                <a:gd name="connsiteY34" fmla="*/ 158018 h 560003"/>
                <a:gd name="connsiteX35" fmla="*/ 282188 w 325435"/>
                <a:gd name="connsiteY35" fmla="*/ 150031 h 560003"/>
                <a:gd name="connsiteX36" fmla="*/ 314324 w 325435"/>
                <a:gd name="connsiteY36" fmla="*/ 126643 h 560003"/>
                <a:gd name="connsiteX37" fmla="*/ 325163 w 325435"/>
                <a:gd name="connsiteY37" fmla="*/ 111240 h 560003"/>
                <a:gd name="connsiteX38" fmla="*/ 317176 w 325435"/>
                <a:gd name="connsiteY38" fmla="*/ 84238 h 560003"/>
                <a:gd name="connsiteX39" fmla="*/ 313754 w 325435"/>
                <a:gd name="connsiteY39" fmla="*/ 80815 h 560003"/>
                <a:gd name="connsiteX40" fmla="*/ 307669 w 325435"/>
                <a:gd name="connsiteY40" fmla="*/ 73970 h 560003"/>
                <a:gd name="connsiteX41" fmla="*/ 304817 w 325435"/>
                <a:gd name="connsiteY41" fmla="*/ 68075 h 560003"/>
                <a:gd name="connsiteX42" fmla="*/ 301964 w 325435"/>
                <a:gd name="connsiteY42" fmla="*/ 62561 h 560003"/>
                <a:gd name="connsiteX43" fmla="*/ 292647 w 325435"/>
                <a:gd name="connsiteY43" fmla="*/ 56476 h 560003"/>
                <a:gd name="connsiteX44" fmla="*/ 278005 w 325435"/>
                <a:gd name="connsiteY44" fmla="*/ 44876 h 560003"/>
                <a:gd name="connsiteX45" fmla="*/ 275913 w 325435"/>
                <a:gd name="connsiteY45" fmla="*/ 19396 h 560003"/>
                <a:gd name="connsiteX46" fmla="*/ 277624 w 325435"/>
                <a:gd name="connsiteY46" fmla="*/ 11029 h 560003"/>
                <a:gd name="connsiteX47" fmla="*/ 277624 w 325435"/>
                <a:gd name="connsiteY47" fmla="*/ 0 h 560003"/>
                <a:gd name="connsiteX48" fmla="*/ 254426 w 325435"/>
                <a:gd name="connsiteY48" fmla="*/ 10459 h 560003"/>
                <a:gd name="connsiteX49" fmla="*/ 248341 w 325435"/>
                <a:gd name="connsiteY49" fmla="*/ 15593 h 560003"/>
                <a:gd name="connsiteX50" fmla="*/ 234079 w 325435"/>
                <a:gd name="connsiteY50" fmla="*/ 25481 h 560003"/>
                <a:gd name="connsiteX51" fmla="*/ 212402 w 325435"/>
                <a:gd name="connsiteY51" fmla="*/ 22628 h 560003"/>
                <a:gd name="connsiteX52" fmla="*/ 202133 w 325435"/>
                <a:gd name="connsiteY52" fmla="*/ 19206 h 560003"/>
                <a:gd name="connsiteX53" fmla="*/ 187492 w 325435"/>
                <a:gd name="connsiteY53" fmla="*/ 22819 h 560003"/>
                <a:gd name="connsiteX54" fmla="*/ 160680 w 325435"/>
                <a:gd name="connsiteY54" fmla="*/ 24720 h 560003"/>
                <a:gd name="connsiteX55" fmla="*/ 155166 w 325435"/>
                <a:gd name="connsiteY55" fmla="*/ 22248 h 560003"/>
                <a:gd name="connsiteX56" fmla="*/ 145468 w 325435"/>
                <a:gd name="connsiteY56" fmla="*/ 20727 h 560003"/>
                <a:gd name="connsiteX57" fmla="*/ 142805 w 325435"/>
                <a:gd name="connsiteY57" fmla="*/ 22248 h 560003"/>
                <a:gd name="connsiteX58" fmla="*/ 132727 w 325435"/>
                <a:gd name="connsiteY58" fmla="*/ 25861 h 560003"/>
                <a:gd name="connsiteX59" fmla="*/ 124931 w 325435"/>
                <a:gd name="connsiteY59" fmla="*/ 23769 h 560003"/>
                <a:gd name="connsiteX60" fmla="*/ 120748 w 325435"/>
                <a:gd name="connsiteY60" fmla="*/ 22438 h 560003"/>
                <a:gd name="connsiteX61" fmla="*/ 101732 w 325435"/>
                <a:gd name="connsiteY61" fmla="*/ 38411 h 560003"/>
                <a:gd name="connsiteX62" fmla="*/ 91084 w 325435"/>
                <a:gd name="connsiteY62" fmla="*/ 50581 h 560003"/>
                <a:gd name="connsiteX63" fmla="*/ 62941 w 325435"/>
                <a:gd name="connsiteY63" fmla="*/ 67505 h 560003"/>
                <a:gd name="connsiteX64" fmla="*/ 42214 w 325435"/>
                <a:gd name="connsiteY64" fmla="*/ 68836 h 560003"/>
                <a:gd name="connsiteX65" fmla="*/ 25671 w 325435"/>
                <a:gd name="connsiteY65" fmla="*/ 68836 h 560003"/>
                <a:gd name="connsiteX66" fmla="*/ 10078 w 325435"/>
                <a:gd name="connsiteY66" fmla="*/ 74350 h 560003"/>
                <a:gd name="connsiteX67" fmla="*/ 0 w 325435"/>
                <a:gd name="connsiteY67" fmla="*/ 78344 h 560003"/>
                <a:gd name="connsiteX68" fmla="*/ 0 w 325435"/>
                <a:gd name="connsiteY68" fmla="*/ 78344 h 560003"/>
                <a:gd name="connsiteX69" fmla="*/ 0 w 325435"/>
                <a:gd name="connsiteY69" fmla="*/ 82717 h 560003"/>
                <a:gd name="connsiteX70" fmla="*/ 11029 w 325435"/>
                <a:gd name="connsiteY70" fmla="*/ 119227 h 560003"/>
                <a:gd name="connsiteX71" fmla="*/ 14832 w 325435"/>
                <a:gd name="connsiteY71" fmla="*/ 134629 h 560003"/>
                <a:gd name="connsiteX72" fmla="*/ 12930 w 325435"/>
                <a:gd name="connsiteY72" fmla="*/ 139573 h 560003"/>
                <a:gd name="connsiteX73" fmla="*/ 12930 w 325435"/>
                <a:gd name="connsiteY73" fmla="*/ 141284 h 560003"/>
                <a:gd name="connsiteX74" fmla="*/ 12930 w 325435"/>
                <a:gd name="connsiteY74" fmla="*/ 150602 h 560003"/>
                <a:gd name="connsiteX75" fmla="*/ 14071 w 325435"/>
                <a:gd name="connsiteY75" fmla="*/ 152503 h 560003"/>
                <a:gd name="connsiteX76" fmla="*/ 17304 w 325435"/>
                <a:gd name="connsiteY76" fmla="*/ 160300 h 560003"/>
                <a:gd name="connsiteX77" fmla="*/ 16163 w 325435"/>
                <a:gd name="connsiteY77" fmla="*/ 168857 h 560003"/>
                <a:gd name="connsiteX78" fmla="*/ 16163 w 325435"/>
                <a:gd name="connsiteY78" fmla="*/ 170948 h 560003"/>
                <a:gd name="connsiteX79" fmla="*/ 17875 w 325435"/>
                <a:gd name="connsiteY79" fmla="*/ 179886 h 560003"/>
                <a:gd name="connsiteX80" fmla="*/ 21678 w 325435"/>
                <a:gd name="connsiteY80" fmla="*/ 185970 h 560003"/>
                <a:gd name="connsiteX81" fmla="*/ 20537 w 325435"/>
                <a:gd name="connsiteY81" fmla="*/ 195668 h 560003"/>
                <a:gd name="connsiteX82" fmla="*/ 20537 w 325435"/>
                <a:gd name="connsiteY82" fmla="*/ 198521 h 560003"/>
                <a:gd name="connsiteX83" fmla="*/ 23389 w 325435"/>
                <a:gd name="connsiteY83" fmla="*/ 206127 h 560003"/>
                <a:gd name="connsiteX84" fmla="*/ 26812 w 325435"/>
                <a:gd name="connsiteY84" fmla="*/ 213733 h 560003"/>
                <a:gd name="connsiteX85" fmla="*/ 26812 w 325435"/>
                <a:gd name="connsiteY85" fmla="*/ 232748 h 560003"/>
                <a:gd name="connsiteX86" fmla="*/ 26812 w 325435"/>
                <a:gd name="connsiteY86" fmla="*/ 237122 h 560003"/>
                <a:gd name="connsiteX87" fmla="*/ 26812 w 325435"/>
                <a:gd name="connsiteY87" fmla="*/ 250433 h 560003"/>
                <a:gd name="connsiteX88" fmla="*/ 26812 w 325435"/>
                <a:gd name="connsiteY88" fmla="*/ 266596 h 560003"/>
                <a:gd name="connsiteX89" fmla="*/ 31185 w 325435"/>
                <a:gd name="connsiteY89" fmla="*/ 270209 h 560003"/>
                <a:gd name="connsiteX90" fmla="*/ 41644 w 325435"/>
                <a:gd name="connsiteY90" fmla="*/ 284470 h 560003"/>
                <a:gd name="connsiteX91" fmla="*/ 50581 w 325435"/>
                <a:gd name="connsiteY91" fmla="*/ 296640 h 560003"/>
                <a:gd name="connsiteX92" fmla="*/ 61610 w 325435"/>
                <a:gd name="connsiteY92" fmla="*/ 303486 h 560003"/>
                <a:gd name="connsiteX93" fmla="*/ 77963 w 325435"/>
                <a:gd name="connsiteY93" fmla="*/ 314895 h 560003"/>
                <a:gd name="connsiteX94" fmla="*/ 91084 w 325435"/>
                <a:gd name="connsiteY94" fmla="*/ 327825 h 560003"/>
                <a:gd name="connsiteX95" fmla="*/ 100021 w 325435"/>
                <a:gd name="connsiteY95" fmla="*/ 336192 h 560003"/>
                <a:gd name="connsiteX96" fmla="*/ 119036 w 325435"/>
                <a:gd name="connsiteY96" fmla="*/ 367948 h 560003"/>
                <a:gd name="connsiteX97" fmla="*/ 130826 w 325435"/>
                <a:gd name="connsiteY97" fmla="*/ 391337 h 560003"/>
                <a:gd name="connsiteX98" fmla="*/ 139953 w 325435"/>
                <a:gd name="connsiteY98" fmla="*/ 397802 h 560003"/>
                <a:gd name="connsiteX99" fmla="*/ 142805 w 325435"/>
                <a:gd name="connsiteY99" fmla="*/ 397802 h 560003"/>
                <a:gd name="connsiteX100" fmla="*/ 155926 w 325435"/>
                <a:gd name="connsiteY100" fmla="*/ 403697 h 560003"/>
                <a:gd name="connsiteX101" fmla="*/ 147749 w 325435"/>
                <a:gd name="connsiteY101" fmla="*/ 425754 h 560003"/>
                <a:gd name="connsiteX102" fmla="*/ 142805 w 325435"/>
                <a:gd name="connsiteY102" fmla="*/ 431079 h 560003"/>
                <a:gd name="connsiteX103" fmla="*/ 146228 w 325435"/>
                <a:gd name="connsiteY103" fmla="*/ 439446 h 560003"/>
                <a:gd name="connsiteX104" fmla="*/ 151362 w 325435"/>
                <a:gd name="connsiteY104" fmla="*/ 444770 h 560003"/>
                <a:gd name="connsiteX105" fmla="*/ 158398 w 325435"/>
                <a:gd name="connsiteY105" fmla="*/ 471772 h 560003"/>
                <a:gd name="connsiteX106" fmla="*/ 162201 w 325435"/>
                <a:gd name="connsiteY106" fmla="*/ 498774 h 56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325435" h="560003">
                  <a:moveTo>
                    <a:pt x="162201" y="498774"/>
                  </a:moveTo>
                  <a:cubicBezTo>
                    <a:pt x="163875" y="501987"/>
                    <a:pt x="165852" y="505049"/>
                    <a:pt x="168096" y="507901"/>
                  </a:cubicBezTo>
                  <a:cubicBezTo>
                    <a:pt x="172869" y="514765"/>
                    <a:pt x="179448" y="520166"/>
                    <a:pt x="187111" y="523494"/>
                  </a:cubicBezTo>
                  <a:cubicBezTo>
                    <a:pt x="192531" y="524920"/>
                    <a:pt x="198235" y="524920"/>
                    <a:pt x="203655" y="523494"/>
                  </a:cubicBezTo>
                  <a:cubicBezTo>
                    <a:pt x="208104" y="522657"/>
                    <a:pt x="212630" y="522353"/>
                    <a:pt x="217156" y="522543"/>
                  </a:cubicBezTo>
                  <a:cubicBezTo>
                    <a:pt x="226929" y="523665"/>
                    <a:pt x="236380" y="526764"/>
                    <a:pt x="244918" y="531670"/>
                  </a:cubicBezTo>
                  <a:cubicBezTo>
                    <a:pt x="253646" y="538440"/>
                    <a:pt x="258590" y="548974"/>
                    <a:pt x="258229" y="560003"/>
                  </a:cubicBezTo>
                  <a:cubicBezTo>
                    <a:pt x="259769" y="558976"/>
                    <a:pt x="261233" y="557835"/>
                    <a:pt x="262602" y="556580"/>
                  </a:cubicBezTo>
                  <a:cubicBezTo>
                    <a:pt x="265930" y="553424"/>
                    <a:pt x="268992" y="549982"/>
                    <a:pt x="271730" y="546312"/>
                  </a:cubicBezTo>
                  <a:cubicBezTo>
                    <a:pt x="274601" y="542167"/>
                    <a:pt x="277910" y="538345"/>
                    <a:pt x="281618" y="534903"/>
                  </a:cubicBezTo>
                  <a:cubicBezTo>
                    <a:pt x="289376" y="528229"/>
                    <a:pt x="295822" y="520166"/>
                    <a:pt x="300633" y="511134"/>
                  </a:cubicBezTo>
                  <a:cubicBezTo>
                    <a:pt x="305444" y="503566"/>
                    <a:pt x="307212" y="494457"/>
                    <a:pt x="305577" y="485653"/>
                  </a:cubicBezTo>
                  <a:cubicBezTo>
                    <a:pt x="304341" y="482363"/>
                    <a:pt x="302611" y="479283"/>
                    <a:pt x="300443" y="476526"/>
                  </a:cubicBezTo>
                  <a:cubicBezTo>
                    <a:pt x="296279" y="471772"/>
                    <a:pt x="293636" y="465877"/>
                    <a:pt x="292837" y="459602"/>
                  </a:cubicBezTo>
                  <a:cubicBezTo>
                    <a:pt x="292628" y="455152"/>
                    <a:pt x="292951" y="450684"/>
                    <a:pt x="293788" y="446291"/>
                  </a:cubicBezTo>
                  <a:cubicBezTo>
                    <a:pt x="295024" y="441024"/>
                    <a:pt x="294548" y="435491"/>
                    <a:pt x="292456" y="430508"/>
                  </a:cubicBezTo>
                  <a:cubicBezTo>
                    <a:pt x="286771" y="420373"/>
                    <a:pt x="285459" y="408356"/>
                    <a:pt x="288844" y="397231"/>
                  </a:cubicBezTo>
                  <a:cubicBezTo>
                    <a:pt x="291316" y="391451"/>
                    <a:pt x="294719" y="386126"/>
                    <a:pt x="298922" y="381449"/>
                  </a:cubicBezTo>
                  <a:cubicBezTo>
                    <a:pt x="301184" y="378863"/>
                    <a:pt x="303276" y="376124"/>
                    <a:pt x="305197" y="373272"/>
                  </a:cubicBezTo>
                  <a:cubicBezTo>
                    <a:pt x="310141" y="364905"/>
                    <a:pt x="309190" y="362243"/>
                    <a:pt x="305197" y="354257"/>
                  </a:cubicBezTo>
                  <a:lnTo>
                    <a:pt x="303676" y="350073"/>
                  </a:lnTo>
                  <a:cubicBezTo>
                    <a:pt x="301242" y="341574"/>
                    <a:pt x="302554" y="332446"/>
                    <a:pt x="307289" y="324973"/>
                  </a:cubicBezTo>
                  <a:cubicBezTo>
                    <a:pt x="312043" y="313944"/>
                    <a:pt x="313183" y="309951"/>
                    <a:pt x="303676" y="305958"/>
                  </a:cubicBezTo>
                  <a:cubicBezTo>
                    <a:pt x="296925" y="303334"/>
                    <a:pt x="289376" y="303752"/>
                    <a:pt x="282949" y="307099"/>
                  </a:cubicBezTo>
                  <a:lnTo>
                    <a:pt x="280477" y="307099"/>
                  </a:lnTo>
                  <a:cubicBezTo>
                    <a:pt x="275628" y="309761"/>
                    <a:pt x="269866" y="310179"/>
                    <a:pt x="264694" y="308240"/>
                  </a:cubicBezTo>
                  <a:cubicBezTo>
                    <a:pt x="261404" y="306243"/>
                    <a:pt x="259179" y="302915"/>
                    <a:pt x="258609" y="299112"/>
                  </a:cubicBezTo>
                  <a:cubicBezTo>
                    <a:pt x="258153" y="291696"/>
                    <a:pt x="260302" y="284375"/>
                    <a:pt x="264694" y="278385"/>
                  </a:cubicBezTo>
                  <a:cubicBezTo>
                    <a:pt x="266443" y="275647"/>
                    <a:pt x="267851" y="272719"/>
                    <a:pt x="268878" y="269638"/>
                  </a:cubicBezTo>
                  <a:cubicBezTo>
                    <a:pt x="268878" y="266406"/>
                    <a:pt x="271159" y="262793"/>
                    <a:pt x="272491" y="258990"/>
                  </a:cubicBezTo>
                  <a:cubicBezTo>
                    <a:pt x="275723" y="252220"/>
                    <a:pt x="277415" y="244823"/>
                    <a:pt x="277434" y="237312"/>
                  </a:cubicBezTo>
                  <a:cubicBezTo>
                    <a:pt x="275932" y="231494"/>
                    <a:pt x="273765" y="225884"/>
                    <a:pt x="270969" y="220579"/>
                  </a:cubicBezTo>
                  <a:cubicBezTo>
                    <a:pt x="268554" y="215996"/>
                    <a:pt x="266519" y="211223"/>
                    <a:pt x="264884" y="206317"/>
                  </a:cubicBezTo>
                  <a:cubicBezTo>
                    <a:pt x="259408" y="194622"/>
                    <a:pt x="259978" y="181008"/>
                    <a:pt x="266405" y="169808"/>
                  </a:cubicBezTo>
                  <a:cubicBezTo>
                    <a:pt x="268992" y="165738"/>
                    <a:pt x="271787" y="161802"/>
                    <a:pt x="274772" y="158018"/>
                  </a:cubicBezTo>
                  <a:cubicBezTo>
                    <a:pt x="276864" y="155032"/>
                    <a:pt x="279355" y="152332"/>
                    <a:pt x="282188" y="150031"/>
                  </a:cubicBezTo>
                  <a:cubicBezTo>
                    <a:pt x="291943" y="140999"/>
                    <a:pt x="302725" y="133146"/>
                    <a:pt x="314324" y="126643"/>
                  </a:cubicBezTo>
                  <a:cubicBezTo>
                    <a:pt x="319972" y="123296"/>
                    <a:pt x="323908" y="117686"/>
                    <a:pt x="325163" y="111240"/>
                  </a:cubicBezTo>
                  <a:cubicBezTo>
                    <a:pt x="326380" y="101523"/>
                    <a:pt x="323490" y="91730"/>
                    <a:pt x="317176" y="84238"/>
                  </a:cubicBezTo>
                  <a:cubicBezTo>
                    <a:pt x="316131" y="83002"/>
                    <a:pt x="314990" y="81861"/>
                    <a:pt x="313754" y="80815"/>
                  </a:cubicBezTo>
                  <a:cubicBezTo>
                    <a:pt x="311491" y="78743"/>
                    <a:pt x="309456" y="76461"/>
                    <a:pt x="307669" y="73970"/>
                  </a:cubicBezTo>
                  <a:cubicBezTo>
                    <a:pt x="306528" y="72068"/>
                    <a:pt x="305767" y="69977"/>
                    <a:pt x="304817" y="68075"/>
                  </a:cubicBezTo>
                  <a:cubicBezTo>
                    <a:pt x="304246" y="66059"/>
                    <a:pt x="303276" y="64177"/>
                    <a:pt x="301964" y="62561"/>
                  </a:cubicBezTo>
                  <a:cubicBezTo>
                    <a:pt x="299283" y="59956"/>
                    <a:pt x="296107" y="57883"/>
                    <a:pt x="292647" y="56476"/>
                  </a:cubicBezTo>
                  <a:cubicBezTo>
                    <a:pt x="286828" y="53966"/>
                    <a:pt x="281789" y="49953"/>
                    <a:pt x="278005" y="44876"/>
                  </a:cubicBezTo>
                  <a:cubicBezTo>
                    <a:pt x="273175" y="37232"/>
                    <a:pt x="272395" y="27725"/>
                    <a:pt x="275913" y="19396"/>
                  </a:cubicBezTo>
                  <a:cubicBezTo>
                    <a:pt x="275913" y="16734"/>
                    <a:pt x="277244" y="13881"/>
                    <a:pt x="277624" y="11029"/>
                  </a:cubicBezTo>
                  <a:cubicBezTo>
                    <a:pt x="278195" y="7378"/>
                    <a:pt x="278195" y="3651"/>
                    <a:pt x="277624" y="0"/>
                  </a:cubicBezTo>
                  <a:cubicBezTo>
                    <a:pt x="269277" y="1902"/>
                    <a:pt x="261386" y="5457"/>
                    <a:pt x="254426" y="10459"/>
                  </a:cubicBezTo>
                  <a:cubicBezTo>
                    <a:pt x="252258" y="11999"/>
                    <a:pt x="250223" y="13710"/>
                    <a:pt x="248341" y="15593"/>
                  </a:cubicBezTo>
                  <a:cubicBezTo>
                    <a:pt x="244367" y="19890"/>
                    <a:pt x="239499" y="23275"/>
                    <a:pt x="234079" y="25481"/>
                  </a:cubicBezTo>
                  <a:cubicBezTo>
                    <a:pt x="226759" y="27439"/>
                    <a:pt x="218962" y="26413"/>
                    <a:pt x="212402" y="22628"/>
                  </a:cubicBezTo>
                  <a:cubicBezTo>
                    <a:pt x="209226" y="20841"/>
                    <a:pt x="205746" y="19681"/>
                    <a:pt x="202133" y="19206"/>
                  </a:cubicBezTo>
                  <a:cubicBezTo>
                    <a:pt x="197037" y="19263"/>
                    <a:pt x="192017" y="20499"/>
                    <a:pt x="187492" y="22819"/>
                  </a:cubicBezTo>
                  <a:cubicBezTo>
                    <a:pt x="179277" y="27363"/>
                    <a:pt x="169465" y="28067"/>
                    <a:pt x="160680" y="24720"/>
                  </a:cubicBezTo>
                  <a:lnTo>
                    <a:pt x="155166" y="22248"/>
                  </a:lnTo>
                  <a:cubicBezTo>
                    <a:pt x="152332" y="20271"/>
                    <a:pt x="148757" y="19719"/>
                    <a:pt x="145468" y="20727"/>
                  </a:cubicBezTo>
                  <a:cubicBezTo>
                    <a:pt x="144460" y="20974"/>
                    <a:pt x="143528" y="21507"/>
                    <a:pt x="142805" y="22248"/>
                  </a:cubicBezTo>
                  <a:cubicBezTo>
                    <a:pt x="139953" y="24568"/>
                    <a:pt x="136397" y="25861"/>
                    <a:pt x="132727" y="25861"/>
                  </a:cubicBezTo>
                  <a:cubicBezTo>
                    <a:pt x="130008" y="25728"/>
                    <a:pt x="127346" y="25024"/>
                    <a:pt x="124931" y="23769"/>
                  </a:cubicBezTo>
                  <a:cubicBezTo>
                    <a:pt x="123695" y="22914"/>
                    <a:pt x="122250" y="22457"/>
                    <a:pt x="120748" y="22438"/>
                  </a:cubicBezTo>
                  <a:cubicBezTo>
                    <a:pt x="114092" y="22438"/>
                    <a:pt x="108388" y="30995"/>
                    <a:pt x="101732" y="38411"/>
                  </a:cubicBezTo>
                  <a:cubicBezTo>
                    <a:pt x="98690" y="42880"/>
                    <a:pt x="95115" y="46968"/>
                    <a:pt x="91084" y="50581"/>
                  </a:cubicBezTo>
                  <a:cubicBezTo>
                    <a:pt x="83135" y="58320"/>
                    <a:pt x="73513" y="64120"/>
                    <a:pt x="62941" y="67505"/>
                  </a:cubicBezTo>
                  <a:cubicBezTo>
                    <a:pt x="56133" y="68988"/>
                    <a:pt x="49155" y="69425"/>
                    <a:pt x="42214" y="68836"/>
                  </a:cubicBezTo>
                  <a:cubicBezTo>
                    <a:pt x="36719" y="68170"/>
                    <a:pt x="31166" y="68170"/>
                    <a:pt x="25671" y="68836"/>
                  </a:cubicBezTo>
                  <a:cubicBezTo>
                    <a:pt x="20308" y="70167"/>
                    <a:pt x="15079" y="72011"/>
                    <a:pt x="10078" y="74350"/>
                  </a:cubicBezTo>
                  <a:cubicBezTo>
                    <a:pt x="6655" y="75871"/>
                    <a:pt x="3423" y="77203"/>
                    <a:pt x="0" y="78344"/>
                  </a:cubicBezTo>
                  <a:lnTo>
                    <a:pt x="0" y="78344"/>
                  </a:lnTo>
                  <a:cubicBezTo>
                    <a:pt x="0" y="79865"/>
                    <a:pt x="0" y="81386"/>
                    <a:pt x="0" y="82717"/>
                  </a:cubicBezTo>
                  <a:cubicBezTo>
                    <a:pt x="1217" y="95495"/>
                    <a:pt x="4963" y="107912"/>
                    <a:pt x="11029" y="119227"/>
                  </a:cubicBezTo>
                  <a:cubicBezTo>
                    <a:pt x="14014" y="123771"/>
                    <a:pt x="15364" y="129210"/>
                    <a:pt x="14832" y="134629"/>
                  </a:cubicBezTo>
                  <a:cubicBezTo>
                    <a:pt x="14471" y="136359"/>
                    <a:pt x="13824" y="138033"/>
                    <a:pt x="12930" y="139573"/>
                  </a:cubicBezTo>
                  <a:lnTo>
                    <a:pt x="12930" y="141284"/>
                  </a:lnTo>
                  <a:cubicBezTo>
                    <a:pt x="11504" y="144232"/>
                    <a:pt x="11504" y="147654"/>
                    <a:pt x="12930" y="150602"/>
                  </a:cubicBezTo>
                  <a:cubicBezTo>
                    <a:pt x="13235" y="151267"/>
                    <a:pt x="13615" y="151914"/>
                    <a:pt x="14071" y="152503"/>
                  </a:cubicBezTo>
                  <a:cubicBezTo>
                    <a:pt x="15726" y="154824"/>
                    <a:pt x="16829" y="157486"/>
                    <a:pt x="17304" y="160300"/>
                  </a:cubicBezTo>
                  <a:cubicBezTo>
                    <a:pt x="17665" y="163209"/>
                    <a:pt x="17266" y="166157"/>
                    <a:pt x="16163" y="168857"/>
                  </a:cubicBezTo>
                  <a:cubicBezTo>
                    <a:pt x="16087" y="169560"/>
                    <a:pt x="16087" y="170245"/>
                    <a:pt x="16163" y="170948"/>
                  </a:cubicBezTo>
                  <a:cubicBezTo>
                    <a:pt x="15478" y="174029"/>
                    <a:pt x="16087" y="177281"/>
                    <a:pt x="17875" y="179886"/>
                  </a:cubicBezTo>
                  <a:cubicBezTo>
                    <a:pt x="19472" y="181692"/>
                    <a:pt x="20765" y="183746"/>
                    <a:pt x="21678" y="185970"/>
                  </a:cubicBezTo>
                  <a:cubicBezTo>
                    <a:pt x="22324" y="189241"/>
                    <a:pt x="21925" y="192645"/>
                    <a:pt x="20537" y="195668"/>
                  </a:cubicBezTo>
                  <a:cubicBezTo>
                    <a:pt x="20575" y="196619"/>
                    <a:pt x="20575" y="197570"/>
                    <a:pt x="20537" y="198521"/>
                  </a:cubicBezTo>
                  <a:cubicBezTo>
                    <a:pt x="20784" y="201259"/>
                    <a:pt x="21772" y="203902"/>
                    <a:pt x="23389" y="206127"/>
                  </a:cubicBezTo>
                  <a:cubicBezTo>
                    <a:pt x="24796" y="208542"/>
                    <a:pt x="25937" y="211090"/>
                    <a:pt x="26812" y="213733"/>
                  </a:cubicBezTo>
                  <a:cubicBezTo>
                    <a:pt x="28561" y="219951"/>
                    <a:pt x="28561" y="226530"/>
                    <a:pt x="26812" y="232748"/>
                  </a:cubicBezTo>
                  <a:cubicBezTo>
                    <a:pt x="26812" y="234270"/>
                    <a:pt x="26812" y="235601"/>
                    <a:pt x="26812" y="237122"/>
                  </a:cubicBezTo>
                  <a:cubicBezTo>
                    <a:pt x="26241" y="241534"/>
                    <a:pt x="26241" y="246021"/>
                    <a:pt x="26812" y="250433"/>
                  </a:cubicBezTo>
                  <a:cubicBezTo>
                    <a:pt x="27667" y="255795"/>
                    <a:pt x="27667" y="261233"/>
                    <a:pt x="26812" y="266596"/>
                  </a:cubicBezTo>
                  <a:cubicBezTo>
                    <a:pt x="28352" y="267699"/>
                    <a:pt x="29816" y="268897"/>
                    <a:pt x="31185" y="270209"/>
                  </a:cubicBezTo>
                  <a:cubicBezTo>
                    <a:pt x="35387" y="274392"/>
                    <a:pt x="38924" y="279203"/>
                    <a:pt x="41644" y="284470"/>
                  </a:cubicBezTo>
                  <a:cubicBezTo>
                    <a:pt x="44040" y="288920"/>
                    <a:pt x="47044" y="293027"/>
                    <a:pt x="50581" y="296640"/>
                  </a:cubicBezTo>
                  <a:cubicBezTo>
                    <a:pt x="54023" y="299283"/>
                    <a:pt x="57712" y="301565"/>
                    <a:pt x="61610" y="303486"/>
                  </a:cubicBezTo>
                  <a:cubicBezTo>
                    <a:pt x="67714" y="306243"/>
                    <a:pt x="73266" y="310122"/>
                    <a:pt x="77963" y="314895"/>
                  </a:cubicBezTo>
                  <a:cubicBezTo>
                    <a:pt x="82146" y="319649"/>
                    <a:pt x="86710" y="323642"/>
                    <a:pt x="91084" y="327825"/>
                  </a:cubicBezTo>
                  <a:lnTo>
                    <a:pt x="100021" y="336192"/>
                  </a:lnTo>
                  <a:cubicBezTo>
                    <a:pt x="108445" y="345377"/>
                    <a:pt x="114910" y="356177"/>
                    <a:pt x="119036" y="367948"/>
                  </a:cubicBezTo>
                  <a:cubicBezTo>
                    <a:pt x="121965" y="376219"/>
                    <a:pt x="125920" y="384073"/>
                    <a:pt x="130826" y="391337"/>
                  </a:cubicBezTo>
                  <a:cubicBezTo>
                    <a:pt x="132803" y="394684"/>
                    <a:pt x="136131" y="397041"/>
                    <a:pt x="139953" y="397802"/>
                  </a:cubicBezTo>
                  <a:lnTo>
                    <a:pt x="142805" y="397802"/>
                  </a:lnTo>
                  <a:cubicBezTo>
                    <a:pt x="147997" y="396756"/>
                    <a:pt x="153264" y="399133"/>
                    <a:pt x="155926" y="403697"/>
                  </a:cubicBezTo>
                  <a:cubicBezTo>
                    <a:pt x="161440" y="413014"/>
                    <a:pt x="153074" y="420621"/>
                    <a:pt x="147749" y="425754"/>
                  </a:cubicBezTo>
                  <a:cubicBezTo>
                    <a:pt x="145753" y="427162"/>
                    <a:pt x="144060" y="428968"/>
                    <a:pt x="142805" y="431079"/>
                  </a:cubicBezTo>
                  <a:cubicBezTo>
                    <a:pt x="141094" y="434692"/>
                    <a:pt x="141665" y="435262"/>
                    <a:pt x="146228" y="439446"/>
                  </a:cubicBezTo>
                  <a:cubicBezTo>
                    <a:pt x="148073" y="441081"/>
                    <a:pt x="149803" y="442868"/>
                    <a:pt x="151362" y="444770"/>
                  </a:cubicBezTo>
                  <a:cubicBezTo>
                    <a:pt x="158056" y="452034"/>
                    <a:pt x="160699" y="462169"/>
                    <a:pt x="158398" y="471772"/>
                  </a:cubicBezTo>
                  <a:cubicBezTo>
                    <a:pt x="157200" y="480956"/>
                    <a:pt x="158512" y="490274"/>
                    <a:pt x="162201" y="49877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79" name="Полилиния: фигура 378">
              <a:extLst>
                <a:ext uri="{FF2B5EF4-FFF2-40B4-BE49-F238E27FC236}">
                  <a16:creationId xmlns:a16="http://schemas.microsoft.com/office/drawing/2014/main" id="{2AF4C32D-8790-C895-582C-C43D7FDB1ADD}"/>
                </a:ext>
              </a:extLst>
            </p:cNvPr>
            <p:cNvSpPr/>
            <p:nvPr/>
          </p:nvSpPr>
          <p:spPr>
            <a:xfrm>
              <a:off x="4022192" y="4545059"/>
              <a:ext cx="878776" cy="645675"/>
            </a:xfrm>
            <a:custGeom>
              <a:avLst/>
              <a:gdLst>
                <a:gd name="connsiteX0" fmla="*/ 503676 w 918880"/>
                <a:gd name="connsiteY0" fmla="*/ 671246 h 673169"/>
                <a:gd name="connsiteX1" fmla="*/ 510141 w 918880"/>
                <a:gd name="connsiteY1" fmla="*/ 673148 h 673169"/>
                <a:gd name="connsiteX2" fmla="*/ 530107 w 918880"/>
                <a:gd name="connsiteY2" fmla="*/ 658886 h 673169"/>
                <a:gd name="connsiteX3" fmla="*/ 555968 w 918880"/>
                <a:gd name="connsiteY3" fmla="*/ 639871 h 673169"/>
                <a:gd name="connsiteX4" fmla="*/ 566046 w 918880"/>
                <a:gd name="connsiteY4" fmla="*/ 638540 h 673169"/>
                <a:gd name="connsiteX5" fmla="*/ 574794 w 918880"/>
                <a:gd name="connsiteY5" fmla="*/ 638540 h 673169"/>
                <a:gd name="connsiteX6" fmla="*/ 583160 w 918880"/>
                <a:gd name="connsiteY6" fmla="*/ 636448 h 673169"/>
                <a:gd name="connsiteX7" fmla="*/ 585252 w 918880"/>
                <a:gd name="connsiteY7" fmla="*/ 636448 h 673169"/>
                <a:gd name="connsiteX8" fmla="*/ 592478 w 918880"/>
                <a:gd name="connsiteY8" fmla="*/ 633405 h 673169"/>
                <a:gd name="connsiteX9" fmla="*/ 610162 w 918880"/>
                <a:gd name="connsiteY9" fmla="*/ 627131 h 673169"/>
                <a:gd name="connsiteX10" fmla="*/ 629178 w 918880"/>
                <a:gd name="connsiteY10" fmla="*/ 627131 h 673169"/>
                <a:gd name="connsiteX11" fmla="*/ 646672 w 918880"/>
                <a:gd name="connsiteY11" fmla="*/ 626180 h 673169"/>
                <a:gd name="connsiteX12" fmla="*/ 670631 w 918880"/>
                <a:gd name="connsiteY12" fmla="*/ 611538 h 673169"/>
                <a:gd name="connsiteX13" fmla="*/ 679568 w 918880"/>
                <a:gd name="connsiteY13" fmla="*/ 601079 h 673169"/>
                <a:gd name="connsiteX14" fmla="*/ 704859 w 918880"/>
                <a:gd name="connsiteY14" fmla="*/ 580923 h 673169"/>
                <a:gd name="connsiteX15" fmla="*/ 714937 w 918880"/>
                <a:gd name="connsiteY15" fmla="*/ 583015 h 673169"/>
                <a:gd name="connsiteX16" fmla="*/ 717979 w 918880"/>
                <a:gd name="connsiteY16" fmla="*/ 584156 h 673169"/>
                <a:gd name="connsiteX17" fmla="*/ 721782 w 918880"/>
                <a:gd name="connsiteY17" fmla="*/ 582634 h 673169"/>
                <a:gd name="connsiteX18" fmla="*/ 729008 w 918880"/>
                <a:gd name="connsiteY18" fmla="*/ 579402 h 673169"/>
                <a:gd name="connsiteX19" fmla="*/ 745362 w 918880"/>
                <a:gd name="connsiteY19" fmla="*/ 581684 h 673169"/>
                <a:gd name="connsiteX20" fmla="*/ 750115 w 918880"/>
                <a:gd name="connsiteY20" fmla="*/ 583966 h 673169"/>
                <a:gd name="connsiteX21" fmla="*/ 769131 w 918880"/>
                <a:gd name="connsiteY21" fmla="*/ 581874 h 673169"/>
                <a:gd name="connsiteX22" fmla="*/ 788146 w 918880"/>
                <a:gd name="connsiteY22" fmla="*/ 577501 h 673169"/>
                <a:gd name="connsiteX23" fmla="*/ 802408 w 918880"/>
                <a:gd name="connsiteY23" fmla="*/ 581874 h 673169"/>
                <a:gd name="connsiteX24" fmla="*/ 816099 w 918880"/>
                <a:gd name="connsiteY24" fmla="*/ 584536 h 673169"/>
                <a:gd name="connsiteX25" fmla="*/ 826557 w 918880"/>
                <a:gd name="connsiteY25" fmla="*/ 576740 h 673169"/>
                <a:gd name="connsiteX26" fmla="*/ 833783 w 918880"/>
                <a:gd name="connsiteY26" fmla="*/ 570655 h 673169"/>
                <a:gd name="connsiteX27" fmla="*/ 862687 w 918880"/>
                <a:gd name="connsiteY27" fmla="*/ 558105 h 673169"/>
                <a:gd name="connsiteX28" fmla="*/ 864778 w 918880"/>
                <a:gd name="connsiteY28" fmla="*/ 549358 h 673169"/>
                <a:gd name="connsiteX29" fmla="*/ 867060 w 918880"/>
                <a:gd name="connsiteY29" fmla="*/ 544794 h 673169"/>
                <a:gd name="connsiteX30" fmla="*/ 867060 w 918880"/>
                <a:gd name="connsiteY30" fmla="*/ 541181 h 673169"/>
                <a:gd name="connsiteX31" fmla="*/ 865349 w 918880"/>
                <a:gd name="connsiteY31" fmla="*/ 538519 h 673169"/>
                <a:gd name="connsiteX32" fmla="*/ 860975 w 918880"/>
                <a:gd name="connsiteY32" fmla="*/ 529011 h 673169"/>
                <a:gd name="connsiteX33" fmla="*/ 875237 w 918880"/>
                <a:gd name="connsiteY33" fmla="*/ 501439 h 673169"/>
                <a:gd name="connsiteX34" fmla="*/ 880371 w 918880"/>
                <a:gd name="connsiteY34" fmla="*/ 495164 h 673169"/>
                <a:gd name="connsiteX35" fmla="*/ 893491 w 918880"/>
                <a:gd name="connsiteY35" fmla="*/ 478430 h 673169"/>
                <a:gd name="connsiteX36" fmla="*/ 915739 w 918880"/>
                <a:gd name="connsiteY36" fmla="*/ 446485 h 673169"/>
                <a:gd name="connsiteX37" fmla="*/ 917641 w 918880"/>
                <a:gd name="connsiteY37" fmla="*/ 431272 h 673169"/>
                <a:gd name="connsiteX38" fmla="*/ 902239 w 918880"/>
                <a:gd name="connsiteY38" fmla="*/ 427469 h 673169"/>
                <a:gd name="connsiteX39" fmla="*/ 892160 w 918880"/>
                <a:gd name="connsiteY39" fmla="*/ 427469 h 673169"/>
                <a:gd name="connsiteX40" fmla="*/ 867250 w 918880"/>
                <a:gd name="connsiteY40" fmla="*/ 419482 h 673169"/>
                <a:gd name="connsiteX41" fmla="*/ 856601 w 918880"/>
                <a:gd name="connsiteY41" fmla="*/ 415299 h 673169"/>
                <a:gd name="connsiteX42" fmla="*/ 830931 w 918880"/>
                <a:gd name="connsiteY42" fmla="*/ 392861 h 673169"/>
                <a:gd name="connsiteX43" fmla="*/ 830931 w 918880"/>
                <a:gd name="connsiteY43" fmla="*/ 332582 h 673169"/>
                <a:gd name="connsiteX44" fmla="*/ 853369 w 918880"/>
                <a:gd name="connsiteY44" fmla="*/ 303299 h 673169"/>
                <a:gd name="connsiteX45" fmla="*/ 863257 w 918880"/>
                <a:gd name="connsiteY45" fmla="*/ 296453 h 673169"/>
                <a:gd name="connsiteX46" fmla="*/ 873906 w 918880"/>
                <a:gd name="connsiteY46" fmla="*/ 286755 h 673169"/>
                <a:gd name="connsiteX47" fmla="*/ 869912 w 918880"/>
                <a:gd name="connsiteY47" fmla="*/ 266028 h 673169"/>
                <a:gd name="connsiteX48" fmla="*/ 849756 w 918880"/>
                <a:gd name="connsiteY48" fmla="*/ 261845 h 673169"/>
                <a:gd name="connsiteX49" fmla="*/ 845002 w 918880"/>
                <a:gd name="connsiteY49" fmla="*/ 261845 h 673169"/>
                <a:gd name="connsiteX50" fmla="*/ 814578 w 918880"/>
                <a:gd name="connsiteY50" fmla="*/ 235033 h 673169"/>
                <a:gd name="connsiteX51" fmla="*/ 810204 w 918880"/>
                <a:gd name="connsiteY51" fmla="*/ 219250 h 673169"/>
                <a:gd name="connsiteX52" fmla="*/ 799936 w 918880"/>
                <a:gd name="connsiteY52" fmla="*/ 211644 h 673169"/>
                <a:gd name="connsiteX53" fmla="*/ 791188 w 918880"/>
                <a:gd name="connsiteY53" fmla="*/ 207841 h 673169"/>
                <a:gd name="connsiteX54" fmla="*/ 779969 w 918880"/>
                <a:gd name="connsiteY54" fmla="*/ 194721 h 673169"/>
                <a:gd name="connsiteX55" fmla="*/ 774645 w 918880"/>
                <a:gd name="connsiteY55" fmla="*/ 186924 h 673169"/>
                <a:gd name="connsiteX56" fmla="*/ 707141 w 918880"/>
                <a:gd name="connsiteY56" fmla="*/ 173994 h 673169"/>
                <a:gd name="connsiteX57" fmla="*/ 691358 w 918880"/>
                <a:gd name="connsiteY57" fmla="*/ 175895 h 673169"/>
                <a:gd name="connsiteX58" fmla="*/ 627276 w 918880"/>
                <a:gd name="connsiteY58" fmla="*/ 167529 h 673169"/>
                <a:gd name="connsiteX59" fmla="*/ 628607 w 918880"/>
                <a:gd name="connsiteY59" fmla="*/ 126075 h 673169"/>
                <a:gd name="connsiteX60" fmla="*/ 635833 w 918880"/>
                <a:gd name="connsiteY60" fmla="*/ 105158 h 673169"/>
                <a:gd name="connsiteX61" fmla="*/ 615296 w 918880"/>
                <a:gd name="connsiteY61" fmla="*/ 52866 h 673169"/>
                <a:gd name="connsiteX62" fmla="*/ 595330 w 918880"/>
                <a:gd name="connsiteY62" fmla="*/ 52866 h 673169"/>
                <a:gd name="connsiteX63" fmla="*/ 576315 w 918880"/>
                <a:gd name="connsiteY63" fmla="*/ 37654 h 673169"/>
                <a:gd name="connsiteX64" fmla="*/ 559201 w 918880"/>
                <a:gd name="connsiteY64" fmla="*/ 23963 h 673169"/>
                <a:gd name="connsiteX65" fmla="*/ 535242 w 918880"/>
                <a:gd name="connsiteY65" fmla="*/ 31379 h 673169"/>
                <a:gd name="connsiteX66" fmla="*/ 522121 w 918880"/>
                <a:gd name="connsiteY66" fmla="*/ 47161 h 673169"/>
                <a:gd name="connsiteX67" fmla="*/ 484090 w 918880"/>
                <a:gd name="connsiteY67" fmla="*/ 76825 h 673169"/>
                <a:gd name="connsiteX68" fmla="*/ 460701 w 918880"/>
                <a:gd name="connsiteY68" fmla="*/ 68649 h 673169"/>
                <a:gd name="connsiteX69" fmla="*/ 446440 w 918880"/>
                <a:gd name="connsiteY69" fmla="*/ 62183 h 673169"/>
                <a:gd name="connsiteX70" fmla="*/ 440165 w 918880"/>
                <a:gd name="connsiteY70" fmla="*/ 62183 h 673169"/>
                <a:gd name="connsiteX71" fmla="*/ 426093 w 918880"/>
                <a:gd name="connsiteY71" fmla="*/ 60092 h 673169"/>
                <a:gd name="connsiteX72" fmla="*/ 414494 w 918880"/>
                <a:gd name="connsiteY72" fmla="*/ 46591 h 673169"/>
                <a:gd name="connsiteX73" fmla="*/ 409930 w 918880"/>
                <a:gd name="connsiteY73" fmla="*/ 39365 h 673169"/>
                <a:gd name="connsiteX74" fmla="*/ 382358 w 918880"/>
                <a:gd name="connsiteY74" fmla="*/ 39365 h 673169"/>
                <a:gd name="connsiteX75" fmla="*/ 372660 w 918880"/>
                <a:gd name="connsiteY75" fmla="*/ 42978 h 673169"/>
                <a:gd name="connsiteX76" fmla="*/ 315614 w 918880"/>
                <a:gd name="connsiteY76" fmla="*/ 34231 h 673169"/>
                <a:gd name="connsiteX77" fmla="*/ 312191 w 918880"/>
                <a:gd name="connsiteY77" fmla="*/ 31949 h 673169"/>
                <a:gd name="connsiteX78" fmla="*/ 275681 w 918880"/>
                <a:gd name="connsiteY78" fmla="*/ 17878 h 673169"/>
                <a:gd name="connsiteX79" fmla="*/ 212360 w 918880"/>
                <a:gd name="connsiteY79" fmla="*/ 5327 h 673169"/>
                <a:gd name="connsiteX80" fmla="*/ 180604 w 918880"/>
                <a:gd name="connsiteY80" fmla="*/ 7609 h 673169"/>
                <a:gd name="connsiteX81" fmla="*/ 177182 w 918880"/>
                <a:gd name="connsiteY81" fmla="*/ 14835 h 673169"/>
                <a:gd name="connsiteX82" fmla="*/ 172618 w 918880"/>
                <a:gd name="connsiteY82" fmla="*/ 23963 h 673169"/>
                <a:gd name="connsiteX83" fmla="*/ 164442 w 918880"/>
                <a:gd name="connsiteY83" fmla="*/ 32710 h 673169"/>
                <a:gd name="connsiteX84" fmla="*/ 156835 w 918880"/>
                <a:gd name="connsiteY84" fmla="*/ 41457 h 673169"/>
                <a:gd name="connsiteX85" fmla="*/ 156835 w 918880"/>
                <a:gd name="connsiteY85" fmla="*/ 50204 h 673169"/>
                <a:gd name="connsiteX86" fmla="*/ 156835 w 918880"/>
                <a:gd name="connsiteY86" fmla="*/ 62754 h 673169"/>
                <a:gd name="connsiteX87" fmla="*/ 150180 w 918880"/>
                <a:gd name="connsiteY87" fmla="*/ 76445 h 673169"/>
                <a:gd name="connsiteX88" fmla="*/ 144856 w 918880"/>
                <a:gd name="connsiteY88" fmla="*/ 86713 h 673169"/>
                <a:gd name="connsiteX89" fmla="*/ 142384 w 918880"/>
                <a:gd name="connsiteY89" fmla="*/ 101165 h 673169"/>
                <a:gd name="connsiteX90" fmla="*/ 132306 w 918880"/>
                <a:gd name="connsiteY90" fmla="*/ 132731 h 673169"/>
                <a:gd name="connsiteX91" fmla="*/ 106825 w 918880"/>
                <a:gd name="connsiteY91" fmla="*/ 144900 h 673169"/>
                <a:gd name="connsiteX92" fmla="*/ 98458 w 918880"/>
                <a:gd name="connsiteY92" fmla="*/ 143379 h 673169"/>
                <a:gd name="connsiteX93" fmla="*/ 60427 w 918880"/>
                <a:gd name="connsiteY93" fmla="*/ 173804 h 673169"/>
                <a:gd name="connsiteX94" fmla="*/ 57195 w 918880"/>
                <a:gd name="connsiteY94" fmla="*/ 186734 h 673169"/>
                <a:gd name="connsiteX95" fmla="*/ 53962 w 918880"/>
                <a:gd name="connsiteY95" fmla="*/ 200996 h 673169"/>
                <a:gd name="connsiteX96" fmla="*/ 40271 w 918880"/>
                <a:gd name="connsiteY96" fmla="*/ 215257 h 673169"/>
                <a:gd name="connsiteX97" fmla="*/ 38369 w 918880"/>
                <a:gd name="connsiteY97" fmla="*/ 216779 h 673169"/>
                <a:gd name="connsiteX98" fmla="*/ 29623 w 918880"/>
                <a:gd name="connsiteY98" fmla="*/ 222673 h 673169"/>
                <a:gd name="connsiteX99" fmla="*/ 15741 w 918880"/>
                <a:gd name="connsiteY99" fmla="*/ 232942 h 673169"/>
                <a:gd name="connsiteX100" fmla="*/ 10987 w 918880"/>
                <a:gd name="connsiteY100" fmla="*/ 238076 h 673169"/>
                <a:gd name="connsiteX101" fmla="*/ 4332 w 918880"/>
                <a:gd name="connsiteY101" fmla="*/ 273444 h 673169"/>
                <a:gd name="connsiteX102" fmla="*/ 4332 w 918880"/>
                <a:gd name="connsiteY102" fmla="*/ 274776 h 673169"/>
                <a:gd name="connsiteX103" fmla="*/ 339 w 918880"/>
                <a:gd name="connsiteY103" fmla="*/ 299115 h 673169"/>
                <a:gd name="connsiteX104" fmla="*/ 8325 w 918880"/>
                <a:gd name="connsiteY104" fmla="*/ 307482 h 673169"/>
                <a:gd name="connsiteX105" fmla="*/ 19354 w 918880"/>
                <a:gd name="connsiteY105" fmla="*/ 319652 h 673169"/>
                <a:gd name="connsiteX106" fmla="*/ 19354 w 918880"/>
                <a:gd name="connsiteY106" fmla="*/ 346463 h 673169"/>
                <a:gd name="connsiteX107" fmla="*/ 17833 w 918880"/>
                <a:gd name="connsiteY107" fmla="*/ 362246 h 673169"/>
                <a:gd name="connsiteX108" fmla="*/ 26580 w 918880"/>
                <a:gd name="connsiteY108" fmla="*/ 388488 h 673169"/>
                <a:gd name="connsiteX109" fmla="*/ 31714 w 918880"/>
                <a:gd name="connsiteY109" fmla="*/ 400847 h 673169"/>
                <a:gd name="connsiteX110" fmla="*/ 35898 w 918880"/>
                <a:gd name="connsiteY110" fmla="*/ 413588 h 673169"/>
                <a:gd name="connsiteX111" fmla="*/ 48828 w 918880"/>
                <a:gd name="connsiteY111" fmla="*/ 415679 h 673169"/>
                <a:gd name="connsiteX112" fmla="*/ 96366 w 918880"/>
                <a:gd name="connsiteY112" fmla="*/ 429180 h 673169"/>
                <a:gd name="connsiteX113" fmla="*/ 125080 w 918880"/>
                <a:gd name="connsiteY113" fmla="*/ 437927 h 673169"/>
                <a:gd name="connsiteX114" fmla="*/ 140292 w 918880"/>
                <a:gd name="connsiteY114" fmla="*/ 442111 h 673169"/>
                <a:gd name="connsiteX115" fmla="*/ 254384 w 918880"/>
                <a:gd name="connsiteY115" fmla="*/ 492121 h 673169"/>
                <a:gd name="connsiteX116" fmla="*/ 274731 w 918880"/>
                <a:gd name="connsiteY116" fmla="*/ 523307 h 673169"/>
                <a:gd name="connsiteX117" fmla="*/ 286330 w 918880"/>
                <a:gd name="connsiteY117" fmla="*/ 544794 h 673169"/>
                <a:gd name="connsiteX118" fmla="*/ 324361 w 918880"/>
                <a:gd name="connsiteY118" fmla="*/ 558105 h 673169"/>
                <a:gd name="connsiteX119" fmla="*/ 333108 w 918880"/>
                <a:gd name="connsiteY119" fmla="*/ 558105 h 673169"/>
                <a:gd name="connsiteX120" fmla="*/ 365814 w 918880"/>
                <a:gd name="connsiteY120" fmla="*/ 573507 h 673169"/>
                <a:gd name="connsiteX121" fmla="*/ 383118 w 918880"/>
                <a:gd name="connsiteY121" fmla="*/ 583966 h 673169"/>
                <a:gd name="connsiteX122" fmla="*/ 417346 w 918880"/>
                <a:gd name="connsiteY122" fmla="*/ 583966 h 673169"/>
                <a:gd name="connsiteX123" fmla="*/ 431417 w 918880"/>
                <a:gd name="connsiteY123" fmla="*/ 583015 h 673169"/>
                <a:gd name="connsiteX124" fmla="*/ 457659 w 918880"/>
                <a:gd name="connsiteY124" fmla="*/ 578451 h 673169"/>
                <a:gd name="connsiteX125" fmla="*/ 463744 w 918880"/>
                <a:gd name="connsiteY125" fmla="*/ 574458 h 673169"/>
                <a:gd name="connsiteX126" fmla="*/ 482759 w 918880"/>
                <a:gd name="connsiteY126" fmla="*/ 566852 h 673169"/>
                <a:gd name="connsiteX127" fmla="*/ 493788 w 918880"/>
                <a:gd name="connsiteY127" fmla="*/ 573317 h 673169"/>
                <a:gd name="connsiteX128" fmla="*/ 496260 w 918880"/>
                <a:gd name="connsiteY128" fmla="*/ 605073 h 673169"/>
                <a:gd name="connsiteX129" fmla="*/ 494549 w 918880"/>
                <a:gd name="connsiteY129" fmla="*/ 613059 h 673169"/>
                <a:gd name="connsiteX130" fmla="*/ 492647 w 918880"/>
                <a:gd name="connsiteY130" fmla="*/ 625609 h 673169"/>
                <a:gd name="connsiteX131" fmla="*/ 496450 w 918880"/>
                <a:gd name="connsiteY131" fmla="*/ 633025 h 673169"/>
                <a:gd name="connsiteX132" fmla="*/ 501775 w 918880"/>
                <a:gd name="connsiteY132" fmla="*/ 645385 h 673169"/>
                <a:gd name="connsiteX133" fmla="*/ 500443 w 918880"/>
                <a:gd name="connsiteY133" fmla="*/ 658886 h 673169"/>
                <a:gd name="connsiteX134" fmla="*/ 503676 w 918880"/>
                <a:gd name="connsiteY134" fmla="*/ 671246 h 673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918880" h="673169">
                  <a:moveTo>
                    <a:pt x="503676" y="671246"/>
                  </a:moveTo>
                  <a:cubicBezTo>
                    <a:pt x="505540" y="672634"/>
                    <a:pt x="507821" y="673300"/>
                    <a:pt x="510141" y="673148"/>
                  </a:cubicBezTo>
                  <a:cubicBezTo>
                    <a:pt x="518128" y="673148"/>
                    <a:pt x="523832" y="666682"/>
                    <a:pt x="530107" y="658886"/>
                  </a:cubicBezTo>
                  <a:cubicBezTo>
                    <a:pt x="536078" y="649569"/>
                    <a:pt x="545282" y="642780"/>
                    <a:pt x="555968" y="639871"/>
                  </a:cubicBezTo>
                  <a:lnTo>
                    <a:pt x="566046" y="638540"/>
                  </a:lnTo>
                  <a:lnTo>
                    <a:pt x="574794" y="638540"/>
                  </a:lnTo>
                  <a:cubicBezTo>
                    <a:pt x="577627" y="638026"/>
                    <a:pt x="580422" y="637323"/>
                    <a:pt x="583160" y="636448"/>
                  </a:cubicBezTo>
                  <a:lnTo>
                    <a:pt x="585252" y="636448"/>
                  </a:lnTo>
                  <a:lnTo>
                    <a:pt x="592478" y="633405"/>
                  </a:lnTo>
                  <a:cubicBezTo>
                    <a:pt x="598144" y="630724"/>
                    <a:pt x="604077" y="628614"/>
                    <a:pt x="610162" y="627131"/>
                  </a:cubicBezTo>
                  <a:cubicBezTo>
                    <a:pt x="616475" y="626408"/>
                    <a:pt x="622864" y="626408"/>
                    <a:pt x="629178" y="627131"/>
                  </a:cubicBezTo>
                  <a:cubicBezTo>
                    <a:pt x="635015" y="627682"/>
                    <a:pt x="640929" y="627359"/>
                    <a:pt x="646672" y="626180"/>
                  </a:cubicBezTo>
                  <a:cubicBezTo>
                    <a:pt x="655609" y="623061"/>
                    <a:pt x="663785" y="618079"/>
                    <a:pt x="670631" y="611538"/>
                  </a:cubicBezTo>
                  <a:cubicBezTo>
                    <a:pt x="673921" y="608343"/>
                    <a:pt x="676925" y="604826"/>
                    <a:pt x="679568" y="601079"/>
                  </a:cubicBezTo>
                  <a:cubicBezTo>
                    <a:pt x="685026" y="591306"/>
                    <a:pt x="694115" y="584061"/>
                    <a:pt x="704859" y="580923"/>
                  </a:cubicBezTo>
                  <a:cubicBezTo>
                    <a:pt x="708358" y="580600"/>
                    <a:pt x="711856" y="581342"/>
                    <a:pt x="714937" y="583015"/>
                  </a:cubicBezTo>
                  <a:cubicBezTo>
                    <a:pt x="716078" y="583015"/>
                    <a:pt x="717409" y="584536"/>
                    <a:pt x="717979" y="584156"/>
                  </a:cubicBezTo>
                  <a:cubicBezTo>
                    <a:pt x="719425" y="584270"/>
                    <a:pt x="720832" y="583718"/>
                    <a:pt x="721782" y="582634"/>
                  </a:cubicBezTo>
                  <a:cubicBezTo>
                    <a:pt x="723855" y="580923"/>
                    <a:pt x="726346" y="579820"/>
                    <a:pt x="729008" y="579402"/>
                  </a:cubicBezTo>
                  <a:cubicBezTo>
                    <a:pt x="734542" y="577938"/>
                    <a:pt x="740437" y="578755"/>
                    <a:pt x="745362" y="581684"/>
                  </a:cubicBezTo>
                  <a:lnTo>
                    <a:pt x="750115" y="583966"/>
                  </a:lnTo>
                  <a:cubicBezTo>
                    <a:pt x="756429" y="586285"/>
                    <a:pt x="763464" y="585506"/>
                    <a:pt x="769131" y="581874"/>
                  </a:cubicBezTo>
                  <a:cubicBezTo>
                    <a:pt x="775121" y="579174"/>
                    <a:pt x="781586" y="577671"/>
                    <a:pt x="788146" y="577501"/>
                  </a:cubicBezTo>
                  <a:cubicBezTo>
                    <a:pt x="793128" y="578090"/>
                    <a:pt x="797958" y="579573"/>
                    <a:pt x="802408" y="581874"/>
                  </a:cubicBezTo>
                  <a:cubicBezTo>
                    <a:pt x="806477" y="584460"/>
                    <a:pt x="811364" y="585411"/>
                    <a:pt x="816099" y="584536"/>
                  </a:cubicBezTo>
                  <a:cubicBezTo>
                    <a:pt x="820035" y="582596"/>
                    <a:pt x="823572" y="579953"/>
                    <a:pt x="826557" y="576740"/>
                  </a:cubicBezTo>
                  <a:cubicBezTo>
                    <a:pt x="828839" y="574553"/>
                    <a:pt x="831235" y="572518"/>
                    <a:pt x="833783" y="570655"/>
                  </a:cubicBezTo>
                  <a:cubicBezTo>
                    <a:pt x="842454" y="564551"/>
                    <a:pt x="852304" y="560272"/>
                    <a:pt x="862687" y="558105"/>
                  </a:cubicBezTo>
                  <a:cubicBezTo>
                    <a:pt x="862972" y="555100"/>
                    <a:pt x="863675" y="552153"/>
                    <a:pt x="864778" y="549358"/>
                  </a:cubicBezTo>
                  <a:cubicBezTo>
                    <a:pt x="865387" y="547760"/>
                    <a:pt x="866147" y="546239"/>
                    <a:pt x="867060" y="544794"/>
                  </a:cubicBezTo>
                  <a:cubicBezTo>
                    <a:pt x="868201" y="543082"/>
                    <a:pt x="868201" y="543082"/>
                    <a:pt x="867060" y="541181"/>
                  </a:cubicBezTo>
                  <a:cubicBezTo>
                    <a:pt x="866680" y="540192"/>
                    <a:pt x="866090" y="539279"/>
                    <a:pt x="865349" y="538519"/>
                  </a:cubicBezTo>
                  <a:cubicBezTo>
                    <a:pt x="862820" y="535952"/>
                    <a:pt x="861279" y="532586"/>
                    <a:pt x="860975" y="529011"/>
                  </a:cubicBezTo>
                  <a:cubicBezTo>
                    <a:pt x="862173" y="518381"/>
                    <a:pt x="867250" y="508570"/>
                    <a:pt x="875237" y="501439"/>
                  </a:cubicBezTo>
                  <a:cubicBezTo>
                    <a:pt x="877138" y="499157"/>
                    <a:pt x="879040" y="497065"/>
                    <a:pt x="880371" y="495164"/>
                  </a:cubicBezTo>
                  <a:cubicBezTo>
                    <a:pt x="884364" y="489459"/>
                    <a:pt x="888928" y="483945"/>
                    <a:pt x="893491" y="478430"/>
                  </a:cubicBezTo>
                  <a:cubicBezTo>
                    <a:pt x="902391" y="468904"/>
                    <a:pt x="909883" y="458141"/>
                    <a:pt x="915739" y="446485"/>
                  </a:cubicBezTo>
                  <a:cubicBezTo>
                    <a:pt x="918211" y="441160"/>
                    <a:pt x="920303" y="435075"/>
                    <a:pt x="917641" y="431272"/>
                  </a:cubicBezTo>
                  <a:cubicBezTo>
                    <a:pt x="914979" y="427469"/>
                    <a:pt x="910035" y="427089"/>
                    <a:pt x="902239" y="427469"/>
                  </a:cubicBezTo>
                  <a:cubicBezTo>
                    <a:pt x="898873" y="427659"/>
                    <a:pt x="895526" y="427659"/>
                    <a:pt x="892160" y="427469"/>
                  </a:cubicBezTo>
                  <a:cubicBezTo>
                    <a:pt x="883546" y="425910"/>
                    <a:pt x="875160" y="423229"/>
                    <a:pt x="867250" y="419482"/>
                  </a:cubicBezTo>
                  <a:cubicBezTo>
                    <a:pt x="863637" y="417961"/>
                    <a:pt x="860024" y="416440"/>
                    <a:pt x="856601" y="415299"/>
                  </a:cubicBezTo>
                  <a:cubicBezTo>
                    <a:pt x="845344" y="411629"/>
                    <a:pt x="836084" y="403510"/>
                    <a:pt x="830931" y="392861"/>
                  </a:cubicBezTo>
                  <a:cubicBezTo>
                    <a:pt x="820815" y="374036"/>
                    <a:pt x="820815" y="351408"/>
                    <a:pt x="830931" y="332582"/>
                  </a:cubicBezTo>
                  <a:cubicBezTo>
                    <a:pt x="837073" y="321858"/>
                    <a:pt x="844622" y="312008"/>
                    <a:pt x="853369" y="303299"/>
                  </a:cubicBezTo>
                  <a:cubicBezTo>
                    <a:pt x="856449" y="300713"/>
                    <a:pt x="859758" y="298431"/>
                    <a:pt x="863257" y="296453"/>
                  </a:cubicBezTo>
                  <a:cubicBezTo>
                    <a:pt x="867782" y="294494"/>
                    <a:pt x="871529" y="291072"/>
                    <a:pt x="873906" y="286755"/>
                  </a:cubicBezTo>
                  <a:cubicBezTo>
                    <a:pt x="876587" y="279643"/>
                    <a:pt x="875046" y="271638"/>
                    <a:pt x="869912" y="266028"/>
                  </a:cubicBezTo>
                  <a:cubicBezTo>
                    <a:pt x="864588" y="260894"/>
                    <a:pt x="859074" y="261085"/>
                    <a:pt x="849756" y="261845"/>
                  </a:cubicBezTo>
                  <a:lnTo>
                    <a:pt x="845002" y="261845"/>
                  </a:lnTo>
                  <a:cubicBezTo>
                    <a:pt x="820472" y="263556"/>
                    <a:pt x="817049" y="247773"/>
                    <a:pt x="814578" y="235033"/>
                  </a:cubicBezTo>
                  <a:cubicBezTo>
                    <a:pt x="813798" y="229614"/>
                    <a:pt x="812315" y="224309"/>
                    <a:pt x="810204" y="219250"/>
                  </a:cubicBezTo>
                  <a:cubicBezTo>
                    <a:pt x="807732" y="214307"/>
                    <a:pt x="805070" y="213356"/>
                    <a:pt x="799936" y="211644"/>
                  </a:cubicBezTo>
                  <a:cubicBezTo>
                    <a:pt x="794801" y="209933"/>
                    <a:pt x="794421" y="209553"/>
                    <a:pt x="791188" y="207841"/>
                  </a:cubicBezTo>
                  <a:cubicBezTo>
                    <a:pt x="786187" y="204723"/>
                    <a:pt x="782270" y="200140"/>
                    <a:pt x="779969" y="194721"/>
                  </a:cubicBezTo>
                  <a:cubicBezTo>
                    <a:pt x="778601" y="191869"/>
                    <a:pt x="776794" y="189244"/>
                    <a:pt x="774645" y="186924"/>
                  </a:cubicBezTo>
                  <a:cubicBezTo>
                    <a:pt x="758482" y="171902"/>
                    <a:pt x="718930" y="173233"/>
                    <a:pt x="707141" y="173994"/>
                  </a:cubicBezTo>
                  <a:cubicBezTo>
                    <a:pt x="702577" y="173994"/>
                    <a:pt x="697062" y="175135"/>
                    <a:pt x="691358" y="175895"/>
                  </a:cubicBezTo>
                  <a:cubicBezTo>
                    <a:pt x="669490" y="179128"/>
                    <a:pt x="642298" y="182931"/>
                    <a:pt x="627276" y="167529"/>
                  </a:cubicBezTo>
                  <a:cubicBezTo>
                    <a:pt x="612254" y="152126"/>
                    <a:pt x="622142" y="138435"/>
                    <a:pt x="628607" y="126075"/>
                  </a:cubicBezTo>
                  <a:cubicBezTo>
                    <a:pt x="632733" y="119819"/>
                    <a:pt x="635224" y="112631"/>
                    <a:pt x="635833" y="105158"/>
                  </a:cubicBezTo>
                  <a:cubicBezTo>
                    <a:pt x="632638" y="86504"/>
                    <a:pt x="625660" y="68706"/>
                    <a:pt x="615296" y="52866"/>
                  </a:cubicBezTo>
                  <a:cubicBezTo>
                    <a:pt x="608812" y="55053"/>
                    <a:pt x="601814" y="55053"/>
                    <a:pt x="595330" y="52866"/>
                  </a:cubicBezTo>
                  <a:cubicBezTo>
                    <a:pt x="587762" y="49557"/>
                    <a:pt x="581202" y="44309"/>
                    <a:pt x="576315" y="37654"/>
                  </a:cubicBezTo>
                  <a:cubicBezTo>
                    <a:pt x="572207" y="31379"/>
                    <a:pt x="566218" y="26587"/>
                    <a:pt x="559201" y="23963"/>
                  </a:cubicBezTo>
                  <a:cubicBezTo>
                    <a:pt x="550454" y="21947"/>
                    <a:pt x="541307" y="24780"/>
                    <a:pt x="535242" y="31379"/>
                  </a:cubicBezTo>
                  <a:cubicBezTo>
                    <a:pt x="530374" y="36208"/>
                    <a:pt x="525981" y="41495"/>
                    <a:pt x="522121" y="47161"/>
                  </a:cubicBezTo>
                  <a:cubicBezTo>
                    <a:pt x="512233" y="60472"/>
                    <a:pt x="501014" y="75684"/>
                    <a:pt x="484090" y="76825"/>
                  </a:cubicBezTo>
                  <a:cubicBezTo>
                    <a:pt x="475590" y="76787"/>
                    <a:pt x="467356" y="73916"/>
                    <a:pt x="460701" y="68649"/>
                  </a:cubicBezTo>
                  <a:cubicBezTo>
                    <a:pt x="456499" y="65454"/>
                    <a:pt x="451612" y="63248"/>
                    <a:pt x="446440" y="62183"/>
                  </a:cubicBezTo>
                  <a:cubicBezTo>
                    <a:pt x="444367" y="61898"/>
                    <a:pt x="442237" y="61898"/>
                    <a:pt x="440165" y="62183"/>
                  </a:cubicBezTo>
                  <a:cubicBezTo>
                    <a:pt x="435373" y="63039"/>
                    <a:pt x="430429" y="62297"/>
                    <a:pt x="426093" y="60092"/>
                  </a:cubicBezTo>
                  <a:cubicBezTo>
                    <a:pt x="420807" y="57030"/>
                    <a:pt x="416719" y="52277"/>
                    <a:pt x="414494" y="46591"/>
                  </a:cubicBezTo>
                  <a:cubicBezTo>
                    <a:pt x="413296" y="44005"/>
                    <a:pt x="411756" y="41571"/>
                    <a:pt x="409930" y="39365"/>
                  </a:cubicBezTo>
                  <a:cubicBezTo>
                    <a:pt x="402324" y="31949"/>
                    <a:pt x="394528" y="34611"/>
                    <a:pt x="382358" y="39365"/>
                  </a:cubicBezTo>
                  <a:cubicBezTo>
                    <a:pt x="379182" y="40734"/>
                    <a:pt x="375950" y="41951"/>
                    <a:pt x="372660" y="42978"/>
                  </a:cubicBezTo>
                  <a:cubicBezTo>
                    <a:pt x="353226" y="47523"/>
                    <a:pt x="332785" y="44385"/>
                    <a:pt x="315614" y="34231"/>
                  </a:cubicBezTo>
                  <a:lnTo>
                    <a:pt x="312191" y="31949"/>
                  </a:lnTo>
                  <a:cubicBezTo>
                    <a:pt x="301942" y="23297"/>
                    <a:pt x="289087" y="18334"/>
                    <a:pt x="275681" y="17878"/>
                  </a:cubicBezTo>
                  <a:cubicBezTo>
                    <a:pt x="253928" y="18125"/>
                    <a:pt x="232364" y="13846"/>
                    <a:pt x="212360" y="5327"/>
                  </a:cubicBezTo>
                  <a:cubicBezTo>
                    <a:pt x="195627" y="-2469"/>
                    <a:pt x="186880" y="-1708"/>
                    <a:pt x="180604" y="7609"/>
                  </a:cubicBezTo>
                  <a:cubicBezTo>
                    <a:pt x="179121" y="9834"/>
                    <a:pt x="177981" y="12268"/>
                    <a:pt x="177182" y="14835"/>
                  </a:cubicBezTo>
                  <a:cubicBezTo>
                    <a:pt x="176003" y="18049"/>
                    <a:pt x="174482" y="21110"/>
                    <a:pt x="172618" y="23963"/>
                  </a:cubicBezTo>
                  <a:cubicBezTo>
                    <a:pt x="170298" y="27233"/>
                    <a:pt x="167541" y="30181"/>
                    <a:pt x="164442" y="32710"/>
                  </a:cubicBezTo>
                  <a:cubicBezTo>
                    <a:pt x="161247" y="34972"/>
                    <a:pt x="158623" y="37977"/>
                    <a:pt x="156835" y="41457"/>
                  </a:cubicBezTo>
                  <a:cubicBezTo>
                    <a:pt x="156094" y="44328"/>
                    <a:pt x="156094" y="47332"/>
                    <a:pt x="156835" y="50204"/>
                  </a:cubicBezTo>
                  <a:cubicBezTo>
                    <a:pt x="157710" y="54349"/>
                    <a:pt x="157710" y="58608"/>
                    <a:pt x="156835" y="62754"/>
                  </a:cubicBezTo>
                  <a:cubicBezTo>
                    <a:pt x="155561" y="67717"/>
                    <a:pt x="153299" y="72376"/>
                    <a:pt x="150180" y="76445"/>
                  </a:cubicBezTo>
                  <a:cubicBezTo>
                    <a:pt x="147860" y="79544"/>
                    <a:pt x="146054" y="83024"/>
                    <a:pt x="144856" y="86713"/>
                  </a:cubicBezTo>
                  <a:cubicBezTo>
                    <a:pt x="143715" y="91847"/>
                    <a:pt x="143144" y="96601"/>
                    <a:pt x="142384" y="101165"/>
                  </a:cubicBezTo>
                  <a:cubicBezTo>
                    <a:pt x="141661" y="112346"/>
                    <a:pt x="138200" y="123185"/>
                    <a:pt x="132306" y="132731"/>
                  </a:cubicBezTo>
                  <a:cubicBezTo>
                    <a:pt x="122988" y="147372"/>
                    <a:pt x="116523" y="146802"/>
                    <a:pt x="106825" y="144900"/>
                  </a:cubicBezTo>
                  <a:cubicBezTo>
                    <a:pt x="104068" y="144235"/>
                    <a:pt x="101272" y="143721"/>
                    <a:pt x="98458" y="143379"/>
                  </a:cubicBezTo>
                  <a:cubicBezTo>
                    <a:pt x="79443" y="141478"/>
                    <a:pt x="64991" y="166198"/>
                    <a:pt x="60427" y="173804"/>
                  </a:cubicBezTo>
                  <a:cubicBezTo>
                    <a:pt x="58488" y="177854"/>
                    <a:pt x="57385" y="182246"/>
                    <a:pt x="57195" y="186734"/>
                  </a:cubicBezTo>
                  <a:cubicBezTo>
                    <a:pt x="56928" y="191640"/>
                    <a:pt x="55845" y="196451"/>
                    <a:pt x="53962" y="200996"/>
                  </a:cubicBezTo>
                  <a:cubicBezTo>
                    <a:pt x="50730" y="206871"/>
                    <a:pt x="46014" y="211796"/>
                    <a:pt x="40271" y="215257"/>
                  </a:cubicBezTo>
                  <a:lnTo>
                    <a:pt x="38369" y="216779"/>
                  </a:lnTo>
                  <a:lnTo>
                    <a:pt x="29623" y="222673"/>
                  </a:lnTo>
                  <a:cubicBezTo>
                    <a:pt x="24659" y="225621"/>
                    <a:pt x="20020" y="229062"/>
                    <a:pt x="15741" y="232942"/>
                  </a:cubicBezTo>
                  <a:lnTo>
                    <a:pt x="10987" y="238076"/>
                  </a:lnTo>
                  <a:cubicBezTo>
                    <a:pt x="11938" y="250246"/>
                    <a:pt x="9637" y="262453"/>
                    <a:pt x="4332" y="273444"/>
                  </a:cubicBezTo>
                  <a:lnTo>
                    <a:pt x="4332" y="274776"/>
                  </a:lnTo>
                  <a:cubicBezTo>
                    <a:pt x="681" y="282324"/>
                    <a:pt x="-707" y="290786"/>
                    <a:pt x="339" y="299115"/>
                  </a:cubicBezTo>
                  <a:cubicBezTo>
                    <a:pt x="2259" y="302519"/>
                    <a:pt x="5017" y="305390"/>
                    <a:pt x="8325" y="307482"/>
                  </a:cubicBezTo>
                  <a:cubicBezTo>
                    <a:pt x="12927" y="310581"/>
                    <a:pt x="16711" y="314765"/>
                    <a:pt x="19354" y="319652"/>
                  </a:cubicBezTo>
                  <a:cubicBezTo>
                    <a:pt x="22111" y="328380"/>
                    <a:pt x="22111" y="337735"/>
                    <a:pt x="19354" y="346463"/>
                  </a:cubicBezTo>
                  <a:cubicBezTo>
                    <a:pt x="18042" y="351616"/>
                    <a:pt x="17529" y="356941"/>
                    <a:pt x="17833" y="362246"/>
                  </a:cubicBezTo>
                  <a:cubicBezTo>
                    <a:pt x="19392" y="371393"/>
                    <a:pt x="22339" y="380235"/>
                    <a:pt x="26580" y="388488"/>
                  </a:cubicBezTo>
                  <a:cubicBezTo>
                    <a:pt x="28291" y="392671"/>
                    <a:pt x="30193" y="396664"/>
                    <a:pt x="31714" y="400847"/>
                  </a:cubicBezTo>
                  <a:cubicBezTo>
                    <a:pt x="33235" y="405031"/>
                    <a:pt x="34376" y="408454"/>
                    <a:pt x="35898" y="413588"/>
                  </a:cubicBezTo>
                  <a:cubicBezTo>
                    <a:pt x="40252" y="413987"/>
                    <a:pt x="44569" y="414691"/>
                    <a:pt x="48828" y="415679"/>
                  </a:cubicBezTo>
                  <a:cubicBezTo>
                    <a:pt x="64801" y="419292"/>
                    <a:pt x="80774" y="424236"/>
                    <a:pt x="96366" y="429180"/>
                  </a:cubicBezTo>
                  <a:cubicBezTo>
                    <a:pt x="106064" y="432223"/>
                    <a:pt x="115382" y="435265"/>
                    <a:pt x="125080" y="437927"/>
                  </a:cubicBezTo>
                  <a:lnTo>
                    <a:pt x="140292" y="442111"/>
                  </a:lnTo>
                  <a:cubicBezTo>
                    <a:pt x="181612" y="449945"/>
                    <a:pt x="220632" y="467040"/>
                    <a:pt x="254384" y="492121"/>
                  </a:cubicBezTo>
                  <a:cubicBezTo>
                    <a:pt x="263417" y="500869"/>
                    <a:pt x="270357" y="511517"/>
                    <a:pt x="274731" y="523307"/>
                  </a:cubicBezTo>
                  <a:cubicBezTo>
                    <a:pt x="277754" y="530894"/>
                    <a:pt x="281652" y="538101"/>
                    <a:pt x="286330" y="544794"/>
                  </a:cubicBezTo>
                  <a:cubicBezTo>
                    <a:pt x="296275" y="554872"/>
                    <a:pt x="310309" y="559778"/>
                    <a:pt x="324361" y="558105"/>
                  </a:cubicBezTo>
                  <a:lnTo>
                    <a:pt x="333108" y="558105"/>
                  </a:lnTo>
                  <a:cubicBezTo>
                    <a:pt x="345753" y="558181"/>
                    <a:pt x="357714" y="563809"/>
                    <a:pt x="365814" y="573507"/>
                  </a:cubicBezTo>
                  <a:cubicBezTo>
                    <a:pt x="370359" y="578717"/>
                    <a:pt x="376406" y="582368"/>
                    <a:pt x="383118" y="583966"/>
                  </a:cubicBezTo>
                  <a:cubicBezTo>
                    <a:pt x="394471" y="585582"/>
                    <a:pt x="405994" y="585582"/>
                    <a:pt x="417346" y="583966"/>
                  </a:cubicBezTo>
                  <a:lnTo>
                    <a:pt x="431417" y="583015"/>
                  </a:lnTo>
                  <a:cubicBezTo>
                    <a:pt x="440393" y="583338"/>
                    <a:pt x="449330" y="581779"/>
                    <a:pt x="457659" y="578451"/>
                  </a:cubicBezTo>
                  <a:cubicBezTo>
                    <a:pt x="459788" y="577272"/>
                    <a:pt x="461823" y="575941"/>
                    <a:pt x="463744" y="574458"/>
                  </a:cubicBezTo>
                  <a:cubicBezTo>
                    <a:pt x="468954" y="569723"/>
                    <a:pt x="475704" y="567023"/>
                    <a:pt x="482759" y="566852"/>
                  </a:cubicBezTo>
                  <a:cubicBezTo>
                    <a:pt x="487152" y="567441"/>
                    <a:pt x="491126" y="569780"/>
                    <a:pt x="493788" y="573317"/>
                  </a:cubicBezTo>
                  <a:cubicBezTo>
                    <a:pt x="498371" y="583262"/>
                    <a:pt x="499245" y="594538"/>
                    <a:pt x="496260" y="605073"/>
                  </a:cubicBezTo>
                  <a:cubicBezTo>
                    <a:pt x="496260" y="608305"/>
                    <a:pt x="495119" y="610587"/>
                    <a:pt x="494549" y="613059"/>
                  </a:cubicBezTo>
                  <a:cubicBezTo>
                    <a:pt x="493141" y="617091"/>
                    <a:pt x="492514" y="621350"/>
                    <a:pt x="492647" y="625609"/>
                  </a:cubicBezTo>
                  <a:cubicBezTo>
                    <a:pt x="493351" y="628328"/>
                    <a:pt x="494644" y="630858"/>
                    <a:pt x="496450" y="633025"/>
                  </a:cubicBezTo>
                  <a:cubicBezTo>
                    <a:pt x="499131" y="636695"/>
                    <a:pt x="500938" y="640917"/>
                    <a:pt x="501775" y="645385"/>
                  </a:cubicBezTo>
                  <a:cubicBezTo>
                    <a:pt x="502060" y="649930"/>
                    <a:pt x="501603" y="654494"/>
                    <a:pt x="500443" y="658886"/>
                  </a:cubicBezTo>
                  <a:cubicBezTo>
                    <a:pt x="503296" y="662499"/>
                    <a:pt x="501965" y="668774"/>
                    <a:pt x="503676" y="67124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0" name="Полилиния: фигура 379">
              <a:extLst>
                <a:ext uri="{FF2B5EF4-FFF2-40B4-BE49-F238E27FC236}">
                  <a16:creationId xmlns:a16="http://schemas.microsoft.com/office/drawing/2014/main" id="{A713AA45-E60B-DC58-1E53-54CDEB2F5A1F}"/>
                </a:ext>
              </a:extLst>
            </p:cNvPr>
            <p:cNvSpPr/>
            <p:nvPr/>
          </p:nvSpPr>
          <p:spPr>
            <a:xfrm>
              <a:off x="4504067" y="5578468"/>
              <a:ext cx="416001" cy="406853"/>
            </a:xfrm>
            <a:custGeom>
              <a:avLst/>
              <a:gdLst>
                <a:gd name="connsiteX0" fmla="*/ 419670 w 434986"/>
                <a:gd name="connsiteY0" fmla="*/ 326304 h 424177"/>
                <a:gd name="connsiteX1" fmla="*/ 418148 w 434986"/>
                <a:gd name="connsiteY1" fmla="*/ 315656 h 424177"/>
                <a:gd name="connsiteX2" fmla="*/ 412824 w 434986"/>
                <a:gd name="connsiteY2" fmla="*/ 311472 h 424177"/>
                <a:gd name="connsiteX3" fmla="*/ 403506 w 434986"/>
                <a:gd name="connsiteY3" fmla="*/ 302725 h 424177"/>
                <a:gd name="connsiteX4" fmla="*/ 401605 w 434986"/>
                <a:gd name="connsiteY4" fmla="*/ 287513 h 424177"/>
                <a:gd name="connsiteX5" fmla="*/ 420621 w 434986"/>
                <a:gd name="connsiteY5" fmla="*/ 275153 h 424177"/>
                <a:gd name="connsiteX6" fmla="*/ 434502 w 434986"/>
                <a:gd name="connsiteY6" fmla="*/ 268497 h 424177"/>
                <a:gd name="connsiteX7" fmla="*/ 434502 w 434986"/>
                <a:gd name="connsiteY7" fmla="*/ 263363 h 424177"/>
                <a:gd name="connsiteX8" fmla="*/ 416817 w 434986"/>
                <a:gd name="connsiteY8" fmla="*/ 243017 h 424177"/>
                <a:gd name="connsiteX9" fmla="*/ 412444 w 434986"/>
                <a:gd name="connsiteY9" fmla="*/ 239213 h 424177"/>
                <a:gd name="connsiteX10" fmla="*/ 380688 w 434986"/>
                <a:gd name="connsiteY10" fmla="*/ 203275 h 424177"/>
                <a:gd name="connsiteX11" fmla="*/ 371751 w 434986"/>
                <a:gd name="connsiteY11" fmla="*/ 175702 h 424177"/>
                <a:gd name="connsiteX12" fmla="*/ 365856 w 434986"/>
                <a:gd name="connsiteY12" fmla="*/ 155166 h 424177"/>
                <a:gd name="connsiteX13" fmla="*/ 359201 w 434986"/>
                <a:gd name="connsiteY13" fmla="*/ 144136 h 424177"/>
                <a:gd name="connsiteX14" fmla="*/ 352926 w 434986"/>
                <a:gd name="connsiteY14" fmla="*/ 152123 h 424177"/>
                <a:gd name="connsiteX15" fmla="*/ 345319 w 434986"/>
                <a:gd name="connsiteY15" fmla="*/ 161631 h 424177"/>
                <a:gd name="connsiteX16" fmla="*/ 329347 w 434986"/>
                <a:gd name="connsiteY16" fmla="*/ 168666 h 424177"/>
                <a:gd name="connsiteX17" fmla="*/ 327635 w 434986"/>
                <a:gd name="connsiteY17" fmla="*/ 168666 h 424177"/>
                <a:gd name="connsiteX18" fmla="*/ 294548 w 434986"/>
                <a:gd name="connsiteY18" fmla="*/ 144707 h 424177"/>
                <a:gd name="connsiteX19" fmla="*/ 291506 w 434986"/>
                <a:gd name="connsiteY19" fmla="*/ 122079 h 424177"/>
                <a:gd name="connsiteX20" fmla="*/ 292457 w 434986"/>
                <a:gd name="connsiteY20" fmla="*/ 118466 h 424177"/>
                <a:gd name="connsiteX21" fmla="*/ 292457 w 434986"/>
                <a:gd name="connsiteY21" fmla="*/ 106866 h 424177"/>
                <a:gd name="connsiteX22" fmla="*/ 292457 w 434986"/>
                <a:gd name="connsiteY22" fmla="*/ 90894 h 424177"/>
                <a:gd name="connsiteX23" fmla="*/ 325734 w 434986"/>
                <a:gd name="connsiteY23" fmla="*/ 57997 h 424177"/>
                <a:gd name="connsiteX24" fmla="*/ 329157 w 434986"/>
                <a:gd name="connsiteY24" fmla="*/ 56095 h 424177"/>
                <a:gd name="connsiteX25" fmla="*/ 320409 w 434986"/>
                <a:gd name="connsiteY25" fmla="*/ 30615 h 424177"/>
                <a:gd name="connsiteX26" fmla="*/ 297781 w 434986"/>
                <a:gd name="connsiteY26" fmla="*/ 23199 h 424177"/>
                <a:gd name="connsiteX27" fmla="*/ 286372 w 434986"/>
                <a:gd name="connsiteY27" fmla="*/ 23199 h 424177"/>
                <a:gd name="connsiteX28" fmla="*/ 264504 w 434986"/>
                <a:gd name="connsiteY28" fmla="*/ 21868 h 424177"/>
                <a:gd name="connsiteX29" fmla="*/ 237883 w 434986"/>
                <a:gd name="connsiteY29" fmla="*/ 0 h 424177"/>
                <a:gd name="connsiteX30" fmla="*/ 235030 w 434986"/>
                <a:gd name="connsiteY30" fmla="*/ 951 h 424177"/>
                <a:gd name="connsiteX31" fmla="*/ 232178 w 434986"/>
                <a:gd name="connsiteY31" fmla="*/ 951 h 424177"/>
                <a:gd name="connsiteX32" fmla="*/ 209169 w 434986"/>
                <a:gd name="connsiteY32" fmla="*/ 14832 h 424177"/>
                <a:gd name="connsiteX33" fmla="*/ 212022 w 434986"/>
                <a:gd name="connsiteY33" fmla="*/ 27953 h 424177"/>
                <a:gd name="connsiteX34" fmla="*/ 216966 w 434986"/>
                <a:gd name="connsiteY34" fmla="*/ 44116 h 424177"/>
                <a:gd name="connsiteX35" fmla="*/ 203465 w 434986"/>
                <a:gd name="connsiteY35" fmla="*/ 63131 h 424177"/>
                <a:gd name="connsiteX36" fmla="*/ 199091 w 434986"/>
                <a:gd name="connsiteY36" fmla="*/ 64652 h 424177"/>
                <a:gd name="connsiteX37" fmla="*/ 191865 w 434986"/>
                <a:gd name="connsiteY37" fmla="*/ 69216 h 424177"/>
                <a:gd name="connsiteX38" fmla="*/ 172850 w 434986"/>
                <a:gd name="connsiteY38" fmla="*/ 76632 h 424177"/>
                <a:gd name="connsiteX39" fmla="*/ 160300 w 434986"/>
                <a:gd name="connsiteY39" fmla="*/ 69216 h 424177"/>
                <a:gd name="connsiteX40" fmla="*/ 151363 w 434986"/>
                <a:gd name="connsiteY40" fmla="*/ 70737 h 424177"/>
                <a:gd name="connsiteX41" fmla="*/ 144517 w 434986"/>
                <a:gd name="connsiteY41" fmla="*/ 84048 h 424177"/>
                <a:gd name="connsiteX42" fmla="*/ 136911 w 434986"/>
                <a:gd name="connsiteY42" fmla="*/ 98690 h 424177"/>
                <a:gd name="connsiteX43" fmla="*/ 120558 w 434986"/>
                <a:gd name="connsiteY43" fmla="*/ 112761 h 424177"/>
                <a:gd name="connsiteX44" fmla="*/ 110289 w 434986"/>
                <a:gd name="connsiteY44" fmla="*/ 120748 h 424177"/>
                <a:gd name="connsiteX45" fmla="*/ 75491 w 434986"/>
                <a:gd name="connsiteY45" fmla="*/ 136721 h 424177"/>
                <a:gd name="connsiteX46" fmla="*/ 48109 w 434986"/>
                <a:gd name="connsiteY46" fmla="*/ 147560 h 424177"/>
                <a:gd name="connsiteX47" fmla="*/ 26622 w 434986"/>
                <a:gd name="connsiteY47" fmla="*/ 154595 h 424177"/>
                <a:gd name="connsiteX48" fmla="*/ 15403 w 434986"/>
                <a:gd name="connsiteY48" fmla="*/ 156306 h 424177"/>
                <a:gd name="connsiteX49" fmla="*/ 761 w 434986"/>
                <a:gd name="connsiteY49" fmla="*/ 167335 h 424177"/>
                <a:gd name="connsiteX50" fmla="*/ 2092 w 434986"/>
                <a:gd name="connsiteY50" fmla="*/ 173991 h 424177"/>
                <a:gd name="connsiteX51" fmla="*/ 14832 w 434986"/>
                <a:gd name="connsiteY51" fmla="*/ 179315 h 424177"/>
                <a:gd name="connsiteX52" fmla="*/ 27763 w 434986"/>
                <a:gd name="connsiteY52" fmla="*/ 183689 h 424177"/>
                <a:gd name="connsiteX53" fmla="*/ 39172 w 434986"/>
                <a:gd name="connsiteY53" fmla="*/ 201183 h 424177"/>
                <a:gd name="connsiteX54" fmla="*/ 32326 w 434986"/>
                <a:gd name="connsiteY54" fmla="*/ 223240 h 424177"/>
                <a:gd name="connsiteX55" fmla="*/ 6465 w 434986"/>
                <a:gd name="connsiteY55" fmla="*/ 231037 h 424177"/>
                <a:gd name="connsiteX56" fmla="*/ 0 w 434986"/>
                <a:gd name="connsiteY56" fmla="*/ 231037 h 424177"/>
                <a:gd name="connsiteX57" fmla="*/ 2472 w 434986"/>
                <a:gd name="connsiteY57" fmla="*/ 237312 h 424177"/>
                <a:gd name="connsiteX58" fmla="*/ 13501 w 434986"/>
                <a:gd name="connsiteY58" fmla="*/ 261271 h 424177"/>
                <a:gd name="connsiteX59" fmla="*/ 37841 w 434986"/>
                <a:gd name="connsiteY59" fmla="*/ 284660 h 424177"/>
                <a:gd name="connsiteX60" fmla="*/ 42405 w 434986"/>
                <a:gd name="connsiteY60" fmla="*/ 287893 h 424177"/>
                <a:gd name="connsiteX61" fmla="*/ 69596 w 434986"/>
                <a:gd name="connsiteY61" fmla="*/ 321741 h 424177"/>
                <a:gd name="connsiteX62" fmla="*/ 71118 w 434986"/>
                <a:gd name="connsiteY62" fmla="*/ 325354 h 424177"/>
                <a:gd name="connsiteX63" fmla="*/ 88992 w 434986"/>
                <a:gd name="connsiteY63" fmla="*/ 347792 h 424177"/>
                <a:gd name="connsiteX64" fmla="*/ 102493 w 434986"/>
                <a:gd name="connsiteY64" fmla="*/ 351405 h 424177"/>
                <a:gd name="connsiteX65" fmla="*/ 120367 w 434986"/>
                <a:gd name="connsiteY65" fmla="*/ 356538 h 424177"/>
                <a:gd name="connsiteX66" fmla="*/ 126833 w 434986"/>
                <a:gd name="connsiteY66" fmla="*/ 359581 h 424177"/>
                <a:gd name="connsiteX67" fmla="*/ 151553 w 434986"/>
                <a:gd name="connsiteY67" fmla="*/ 365476 h 424177"/>
                <a:gd name="connsiteX68" fmla="*/ 166005 w 434986"/>
                <a:gd name="connsiteY68" fmla="*/ 356538 h 424177"/>
                <a:gd name="connsiteX69" fmla="*/ 189393 w 434986"/>
                <a:gd name="connsiteY69" fmla="*/ 346651 h 424177"/>
                <a:gd name="connsiteX70" fmla="*/ 204606 w 434986"/>
                <a:gd name="connsiteY70" fmla="*/ 358820 h 424177"/>
                <a:gd name="connsiteX71" fmla="*/ 215254 w 434986"/>
                <a:gd name="connsiteY71" fmla="*/ 384681 h 424177"/>
                <a:gd name="connsiteX72" fmla="*/ 229896 w 434986"/>
                <a:gd name="connsiteY72" fmla="*/ 414535 h 424177"/>
                <a:gd name="connsiteX73" fmla="*/ 229896 w 434986"/>
                <a:gd name="connsiteY73" fmla="*/ 414535 h 424177"/>
                <a:gd name="connsiteX74" fmla="*/ 238263 w 434986"/>
                <a:gd name="connsiteY74" fmla="*/ 420620 h 424177"/>
                <a:gd name="connsiteX75" fmla="*/ 280477 w 434986"/>
                <a:gd name="connsiteY75" fmla="*/ 417578 h 424177"/>
                <a:gd name="connsiteX76" fmla="*/ 289795 w 434986"/>
                <a:gd name="connsiteY76" fmla="*/ 412064 h 424177"/>
                <a:gd name="connsiteX77" fmla="*/ 290935 w 434986"/>
                <a:gd name="connsiteY77" fmla="*/ 412064 h 424177"/>
                <a:gd name="connsiteX78" fmla="*/ 301774 w 434986"/>
                <a:gd name="connsiteY78" fmla="*/ 403316 h 424177"/>
                <a:gd name="connsiteX79" fmla="*/ 321931 w 434986"/>
                <a:gd name="connsiteY79" fmla="*/ 388675 h 424177"/>
                <a:gd name="connsiteX80" fmla="*/ 355778 w 434986"/>
                <a:gd name="connsiteY80" fmla="*/ 378406 h 424177"/>
                <a:gd name="connsiteX81" fmla="*/ 367567 w 434986"/>
                <a:gd name="connsiteY81" fmla="*/ 375744 h 424177"/>
                <a:gd name="connsiteX82" fmla="*/ 387724 w 434986"/>
                <a:gd name="connsiteY82" fmla="*/ 371751 h 424177"/>
                <a:gd name="connsiteX83" fmla="*/ 412824 w 434986"/>
                <a:gd name="connsiteY83" fmla="*/ 366426 h 424177"/>
                <a:gd name="connsiteX84" fmla="*/ 428227 w 434986"/>
                <a:gd name="connsiteY84" fmla="*/ 352545 h 424177"/>
                <a:gd name="connsiteX85" fmla="*/ 428227 w 434986"/>
                <a:gd name="connsiteY85" fmla="*/ 352545 h 424177"/>
                <a:gd name="connsiteX86" fmla="*/ 421191 w 434986"/>
                <a:gd name="connsiteY86" fmla="*/ 333530 h 424177"/>
                <a:gd name="connsiteX87" fmla="*/ 419670 w 434986"/>
                <a:gd name="connsiteY87" fmla="*/ 326304 h 424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434986" h="424177">
                  <a:moveTo>
                    <a:pt x="419670" y="326304"/>
                  </a:moveTo>
                  <a:cubicBezTo>
                    <a:pt x="420202" y="322691"/>
                    <a:pt x="419670" y="318983"/>
                    <a:pt x="418148" y="315656"/>
                  </a:cubicBezTo>
                  <a:cubicBezTo>
                    <a:pt x="416665" y="313925"/>
                    <a:pt x="414840" y="312518"/>
                    <a:pt x="412824" y="311472"/>
                  </a:cubicBezTo>
                  <a:cubicBezTo>
                    <a:pt x="408983" y="309456"/>
                    <a:pt x="405751" y="306433"/>
                    <a:pt x="403506" y="302725"/>
                  </a:cubicBezTo>
                  <a:cubicBezTo>
                    <a:pt x="400540" y="298219"/>
                    <a:pt x="399837" y="292609"/>
                    <a:pt x="401605" y="287513"/>
                  </a:cubicBezTo>
                  <a:cubicBezTo>
                    <a:pt x="404648" y="280287"/>
                    <a:pt x="413014" y="277625"/>
                    <a:pt x="420621" y="275153"/>
                  </a:cubicBezTo>
                  <a:cubicBezTo>
                    <a:pt x="428227" y="272681"/>
                    <a:pt x="432790" y="271540"/>
                    <a:pt x="434502" y="268497"/>
                  </a:cubicBezTo>
                  <a:cubicBezTo>
                    <a:pt x="435148" y="266843"/>
                    <a:pt x="435148" y="265018"/>
                    <a:pt x="434502" y="263363"/>
                  </a:cubicBezTo>
                  <a:cubicBezTo>
                    <a:pt x="430432" y="255187"/>
                    <a:pt x="424348" y="248189"/>
                    <a:pt x="416817" y="243017"/>
                  </a:cubicBezTo>
                  <a:lnTo>
                    <a:pt x="412444" y="239213"/>
                  </a:lnTo>
                  <a:cubicBezTo>
                    <a:pt x="399818" y="229212"/>
                    <a:pt x="389074" y="217042"/>
                    <a:pt x="380688" y="203275"/>
                  </a:cubicBezTo>
                  <a:cubicBezTo>
                    <a:pt x="376239" y="194623"/>
                    <a:pt x="373215" y="185324"/>
                    <a:pt x="371751" y="175702"/>
                  </a:cubicBezTo>
                  <a:cubicBezTo>
                    <a:pt x="370515" y="168666"/>
                    <a:pt x="368537" y="161783"/>
                    <a:pt x="365856" y="155166"/>
                  </a:cubicBezTo>
                  <a:cubicBezTo>
                    <a:pt x="363955" y="151305"/>
                    <a:pt x="361730" y="147616"/>
                    <a:pt x="359201" y="144136"/>
                  </a:cubicBezTo>
                  <a:cubicBezTo>
                    <a:pt x="356805" y="146552"/>
                    <a:pt x="354694" y="149214"/>
                    <a:pt x="352926" y="152123"/>
                  </a:cubicBezTo>
                  <a:cubicBezTo>
                    <a:pt x="350720" y="155546"/>
                    <a:pt x="348172" y="158722"/>
                    <a:pt x="345319" y="161631"/>
                  </a:cubicBezTo>
                  <a:cubicBezTo>
                    <a:pt x="341098" y="165947"/>
                    <a:pt x="335375" y="168477"/>
                    <a:pt x="329347" y="168666"/>
                  </a:cubicBezTo>
                  <a:lnTo>
                    <a:pt x="327635" y="168666"/>
                  </a:lnTo>
                  <a:cubicBezTo>
                    <a:pt x="313792" y="165567"/>
                    <a:pt x="301831" y="156896"/>
                    <a:pt x="294548" y="144707"/>
                  </a:cubicBezTo>
                  <a:cubicBezTo>
                    <a:pt x="289414" y="138318"/>
                    <a:pt x="288235" y="129609"/>
                    <a:pt x="291506" y="122079"/>
                  </a:cubicBezTo>
                  <a:lnTo>
                    <a:pt x="292457" y="118466"/>
                  </a:lnTo>
                  <a:cubicBezTo>
                    <a:pt x="293312" y="114644"/>
                    <a:pt x="293312" y="110689"/>
                    <a:pt x="292457" y="106866"/>
                  </a:cubicBezTo>
                  <a:cubicBezTo>
                    <a:pt x="291392" y="101599"/>
                    <a:pt x="291392" y="96161"/>
                    <a:pt x="292457" y="90894"/>
                  </a:cubicBezTo>
                  <a:cubicBezTo>
                    <a:pt x="296450" y="73399"/>
                    <a:pt x="311472" y="65223"/>
                    <a:pt x="325734" y="57997"/>
                  </a:cubicBezTo>
                  <a:lnTo>
                    <a:pt x="329157" y="56095"/>
                  </a:lnTo>
                  <a:cubicBezTo>
                    <a:pt x="329157" y="45066"/>
                    <a:pt x="327065" y="34798"/>
                    <a:pt x="320409" y="30615"/>
                  </a:cubicBezTo>
                  <a:cubicBezTo>
                    <a:pt x="313431" y="26660"/>
                    <a:pt x="305749" y="24130"/>
                    <a:pt x="297781" y="23199"/>
                  </a:cubicBezTo>
                  <a:cubicBezTo>
                    <a:pt x="293997" y="22724"/>
                    <a:pt x="290156" y="22724"/>
                    <a:pt x="286372" y="23199"/>
                  </a:cubicBezTo>
                  <a:cubicBezTo>
                    <a:pt x="279089" y="24701"/>
                    <a:pt x="271540" y="24245"/>
                    <a:pt x="264504" y="21868"/>
                  </a:cubicBezTo>
                  <a:cubicBezTo>
                    <a:pt x="253646" y="17418"/>
                    <a:pt x="244367" y="9793"/>
                    <a:pt x="237883" y="0"/>
                  </a:cubicBezTo>
                  <a:lnTo>
                    <a:pt x="235030" y="951"/>
                  </a:lnTo>
                  <a:lnTo>
                    <a:pt x="232178" y="951"/>
                  </a:lnTo>
                  <a:cubicBezTo>
                    <a:pt x="220198" y="3993"/>
                    <a:pt x="211641" y="6656"/>
                    <a:pt x="209169" y="14832"/>
                  </a:cubicBezTo>
                  <a:cubicBezTo>
                    <a:pt x="208276" y="19415"/>
                    <a:pt x="209302" y="24168"/>
                    <a:pt x="212022" y="27953"/>
                  </a:cubicBezTo>
                  <a:cubicBezTo>
                    <a:pt x="214931" y="32878"/>
                    <a:pt x="216624" y="38411"/>
                    <a:pt x="216966" y="44116"/>
                  </a:cubicBezTo>
                  <a:cubicBezTo>
                    <a:pt x="216966" y="57807"/>
                    <a:pt x="211451" y="60469"/>
                    <a:pt x="203465" y="63131"/>
                  </a:cubicBezTo>
                  <a:lnTo>
                    <a:pt x="199091" y="64652"/>
                  </a:lnTo>
                  <a:cubicBezTo>
                    <a:pt x="196486" y="65850"/>
                    <a:pt x="194052" y="67371"/>
                    <a:pt x="191865" y="69216"/>
                  </a:cubicBezTo>
                  <a:cubicBezTo>
                    <a:pt x="186845" y="74236"/>
                    <a:pt x="179943" y="76917"/>
                    <a:pt x="172850" y="76632"/>
                  </a:cubicBezTo>
                  <a:cubicBezTo>
                    <a:pt x="168020" y="75453"/>
                    <a:pt x="163666" y="72867"/>
                    <a:pt x="160300" y="69216"/>
                  </a:cubicBezTo>
                  <a:cubicBezTo>
                    <a:pt x="156306" y="65603"/>
                    <a:pt x="156306" y="65603"/>
                    <a:pt x="151363" y="70737"/>
                  </a:cubicBezTo>
                  <a:cubicBezTo>
                    <a:pt x="148149" y="74635"/>
                    <a:pt x="145829" y="79180"/>
                    <a:pt x="144517" y="84048"/>
                  </a:cubicBezTo>
                  <a:cubicBezTo>
                    <a:pt x="142711" y="89277"/>
                    <a:pt x="140144" y="94202"/>
                    <a:pt x="136911" y="98690"/>
                  </a:cubicBezTo>
                  <a:cubicBezTo>
                    <a:pt x="132024" y="104014"/>
                    <a:pt x="126548" y="108730"/>
                    <a:pt x="120558" y="112761"/>
                  </a:cubicBezTo>
                  <a:cubicBezTo>
                    <a:pt x="116964" y="115195"/>
                    <a:pt x="113522" y="117857"/>
                    <a:pt x="110289" y="120748"/>
                  </a:cubicBezTo>
                  <a:cubicBezTo>
                    <a:pt x="100192" y="128867"/>
                    <a:pt x="88232" y="134363"/>
                    <a:pt x="75491" y="136721"/>
                  </a:cubicBezTo>
                  <a:cubicBezTo>
                    <a:pt x="65793" y="138698"/>
                    <a:pt x="56533" y="142368"/>
                    <a:pt x="48109" y="147560"/>
                  </a:cubicBezTo>
                  <a:cubicBezTo>
                    <a:pt x="41834" y="152028"/>
                    <a:pt x="34323" y="154481"/>
                    <a:pt x="26622" y="154595"/>
                  </a:cubicBezTo>
                  <a:cubicBezTo>
                    <a:pt x="22838" y="154842"/>
                    <a:pt x="19092" y="155413"/>
                    <a:pt x="15403" y="156306"/>
                  </a:cubicBezTo>
                  <a:cubicBezTo>
                    <a:pt x="9242" y="157866"/>
                    <a:pt x="3955" y="161840"/>
                    <a:pt x="761" y="167335"/>
                  </a:cubicBezTo>
                  <a:cubicBezTo>
                    <a:pt x="0" y="169636"/>
                    <a:pt x="494" y="172166"/>
                    <a:pt x="2092" y="173991"/>
                  </a:cubicBezTo>
                  <a:cubicBezTo>
                    <a:pt x="4374" y="177224"/>
                    <a:pt x="9318" y="178174"/>
                    <a:pt x="14832" y="179315"/>
                  </a:cubicBezTo>
                  <a:cubicBezTo>
                    <a:pt x="19358" y="180019"/>
                    <a:pt x="23731" y="181502"/>
                    <a:pt x="27763" y="183689"/>
                  </a:cubicBezTo>
                  <a:cubicBezTo>
                    <a:pt x="33981" y="187530"/>
                    <a:pt x="38164" y="193938"/>
                    <a:pt x="39172" y="201183"/>
                  </a:cubicBezTo>
                  <a:cubicBezTo>
                    <a:pt x="40256" y="209188"/>
                    <a:pt x="37746" y="217251"/>
                    <a:pt x="32326" y="223240"/>
                  </a:cubicBezTo>
                  <a:cubicBezTo>
                    <a:pt x="25138" y="229269"/>
                    <a:pt x="15783" y="232102"/>
                    <a:pt x="6465" y="231037"/>
                  </a:cubicBezTo>
                  <a:lnTo>
                    <a:pt x="0" y="231037"/>
                  </a:lnTo>
                  <a:cubicBezTo>
                    <a:pt x="0" y="233129"/>
                    <a:pt x="1521" y="235220"/>
                    <a:pt x="2472" y="237312"/>
                  </a:cubicBezTo>
                  <a:cubicBezTo>
                    <a:pt x="5419" y="245622"/>
                    <a:pt x="9108" y="253646"/>
                    <a:pt x="13501" y="261271"/>
                  </a:cubicBezTo>
                  <a:cubicBezTo>
                    <a:pt x="20042" y="270551"/>
                    <a:pt x="28314" y="278480"/>
                    <a:pt x="37841" y="284660"/>
                  </a:cubicBezTo>
                  <a:lnTo>
                    <a:pt x="42405" y="287893"/>
                  </a:lnTo>
                  <a:cubicBezTo>
                    <a:pt x="54479" y="296374"/>
                    <a:pt x="63911" y="308125"/>
                    <a:pt x="69596" y="321741"/>
                  </a:cubicBezTo>
                  <a:lnTo>
                    <a:pt x="71118" y="325354"/>
                  </a:lnTo>
                  <a:cubicBezTo>
                    <a:pt x="75491" y="336192"/>
                    <a:pt x="78724" y="344369"/>
                    <a:pt x="88992" y="347792"/>
                  </a:cubicBezTo>
                  <a:cubicBezTo>
                    <a:pt x="93423" y="349237"/>
                    <a:pt x="97929" y="350453"/>
                    <a:pt x="102493" y="351405"/>
                  </a:cubicBezTo>
                  <a:cubicBezTo>
                    <a:pt x="108597" y="352583"/>
                    <a:pt x="114568" y="354294"/>
                    <a:pt x="120367" y="356538"/>
                  </a:cubicBezTo>
                  <a:lnTo>
                    <a:pt x="126833" y="359581"/>
                  </a:lnTo>
                  <a:cubicBezTo>
                    <a:pt x="134154" y="364316"/>
                    <a:pt x="142882" y="366408"/>
                    <a:pt x="151553" y="365476"/>
                  </a:cubicBezTo>
                  <a:cubicBezTo>
                    <a:pt x="156877" y="363422"/>
                    <a:pt x="161783" y="360380"/>
                    <a:pt x="166005" y="356538"/>
                  </a:cubicBezTo>
                  <a:cubicBezTo>
                    <a:pt x="172089" y="350130"/>
                    <a:pt x="180570" y="346556"/>
                    <a:pt x="189393" y="346651"/>
                  </a:cubicBezTo>
                  <a:cubicBezTo>
                    <a:pt x="195992" y="348305"/>
                    <a:pt x="201544" y="352735"/>
                    <a:pt x="204606" y="358820"/>
                  </a:cubicBezTo>
                  <a:cubicBezTo>
                    <a:pt x="209322" y="366902"/>
                    <a:pt x="212915" y="375611"/>
                    <a:pt x="215254" y="384681"/>
                  </a:cubicBezTo>
                  <a:cubicBezTo>
                    <a:pt x="217650" y="395672"/>
                    <a:pt x="222689" y="405903"/>
                    <a:pt x="229896" y="414535"/>
                  </a:cubicBezTo>
                  <a:lnTo>
                    <a:pt x="229896" y="414535"/>
                  </a:lnTo>
                  <a:cubicBezTo>
                    <a:pt x="232387" y="416950"/>
                    <a:pt x="235201" y="419004"/>
                    <a:pt x="238263" y="420620"/>
                  </a:cubicBezTo>
                  <a:cubicBezTo>
                    <a:pt x="252030" y="426268"/>
                    <a:pt x="267661" y="425146"/>
                    <a:pt x="280477" y="417578"/>
                  </a:cubicBezTo>
                  <a:cubicBezTo>
                    <a:pt x="283748" y="416038"/>
                    <a:pt x="286866" y="414193"/>
                    <a:pt x="289795" y="412064"/>
                  </a:cubicBezTo>
                  <a:lnTo>
                    <a:pt x="290935" y="412064"/>
                  </a:lnTo>
                  <a:cubicBezTo>
                    <a:pt x="294738" y="409401"/>
                    <a:pt x="298351" y="406169"/>
                    <a:pt x="301774" y="403316"/>
                  </a:cubicBezTo>
                  <a:cubicBezTo>
                    <a:pt x="307954" y="397745"/>
                    <a:pt x="314724" y="392839"/>
                    <a:pt x="321931" y="388675"/>
                  </a:cubicBezTo>
                  <a:cubicBezTo>
                    <a:pt x="332636" y="383597"/>
                    <a:pt x="344045" y="380137"/>
                    <a:pt x="355778" y="378406"/>
                  </a:cubicBezTo>
                  <a:lnTo>
                    <a:pt x="367567" y="375744"/>
                  </a:lnTo>
                  <a:cubicBezTo>
                    <a:pt x="374033" y="374223"/>
                    <a:pt x="380878" y="372892"/>
                    <a:pt x="387724" y="371751"/>
                  </a:cubicBezTo>
                  <a:cubicBezTo>
                    <a:pt x="396186" y="370420"/>
                    <a:pt x="404552" y="368632"/>
                    <a:pt x="412824" y="366426"/>
                  </a:cubicBezTo>
                  <a:cubicBezTo>
                    <a:pt x="420050" y="364848"/>
                    <a:pt x="425907" y="359562"/>
                    <a:pt x="428227" y="352545"/>
                  </a:cubicBezTo>
                  <a:lnTo>
                    <a:pt x="428227" y="352545"/>
                  </a:lnTo>
                  <a:cubicBezTo>
                    <a:pt x="424956" y="346593"/>
                    <a:pt x="422579" y="340186"/>
                    <a:pt x="421191" y="333530"/>
                  </a:cubicBezTo>
                  <a:cubicBezTo>
                    <a:pt x="420544" y="331153"/>
                    <a:pt x="420031" y="328738"/>
                    <a:pt x="419670" y="32630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1" name="Полилиния: фигура 380">
              <a:extLst>
                <a:ext uri="{FF2B5EF4-FFF2-40B4-BE49-F238E27FC236}">
                  <a16:creationId xmlns:a16="http://schemas.microsoft.com/office/drawing/2014/main" id="{EF220938-CB89-6FEC-EC7C-3087467F49B8}"/>
                </a:ext>
              </a:extLst>
            </p:cNvPr>
            <p:cNvSpPr/>
            <p:nvPr/>
          </p:nvSpPr>
          <p:spPr>
            <a:xfrm>
              <a:off x="4792459" y="5247983"/>
              <a:ext cx="280685" cy="481877"/>
            </a:xfrm>
            <a:custGeom>
              <a:avLst/>
              <a:gdLst>
                <a:gd name="connsiteX0" fmla="*/ 1361 w 293494"/>
                <a:gd name="connsiteY0" fmla="*/ 469300 h 502396"/>
                <a:gd name="connsiteX1" fmla="*/ 2502 w 293494"/>
                <a:gd name="connsiteY1" fmla="*/ 482420 h 502396"/>
                <a:gd name="connsiteX2" fmla="*/ 27792 w 293494"/>
                <a:gd name="connsiteY2" fmla="*/ 502386 h 502396"/>
                <a:gd name="connsiteX3" fmla="*/ 37300 w 293494"/>
                <a:gd name="connsiteY3" fmla="*/ 498393 h 502396"/>
                <a:gd name="connsiteX4" fmla="*/ 43385 w 293494"/>
                <a:gd name="connsiteY4" fmla="*/ 490597 h 502396"/>
                <a:gd name="connsiteX5" fmla="*/ 51942 w 293494"/>
                <a:gd name="connsiteY5" fmla="*/ 480138 h 502396"/>
                <a:gd name="connsiteX6" fmla="*/ 55555 w 293494"/>
                <a:gd name="connsiteY6" fmla="*/ 477476 h 502396"/>
                <a:gd name="connsiteX7" fmla="*/ 61449 w 293494"/>
                <a:gd name="connsiteY7" fmla="*/ 474624 h 502396"/>
                <a:gd name="connsiteX8" fmla="*/ 89592 w 293494"/>
                <a:gd name="connsiteY8" fmla="*/ 471011 h 502396"/>
                <a:gd name="connsiteX9" fmla="*/ 97959 w 293494"/>
                <a:gd name="connsiteY9" fmla="*/ 471011 h 502396"/>
                <a:gd name="connsiteX10" fmla="*/ 144737 w 293494"/>
                <a:gd name="connsiteY10" fmla="*/ 456179 h 502396"/>
                <a:gd name="connsiteX11" fmla="*/ 150822 w 293494"/>
                <a:gd name="connsiteY11" fmla="*/ 437164 h 502396"/>
                <a:gd name="connsiteX12" fmla="*/ 165464 w 293494"/>
                <a:gd name="connsiteY12" fmla="*/ 407500 h 502396"/>
                <a:gd name="connsiteX13" fmla="*/ 175161 w 293494"/>
                <a:gd name="connsiteY13" fmla="*/ 401034 h 502396"/>
                <a:gd name="connsiteX14" fmla="*/ 179535 w 293494"/>
                <a:gd name="connsiteY14" fmla="*/ 398943 h 502396"/>
                <a:gd name="connsiteX15" fmla="*/ 179535 w 293494"/>
                <a:gd name="connsiteY15" fmla="*/ 398943 h 502396"/>
                <a:gd name="connsiteX16" fmla="*/ 188472 w 293494"/>
                <a:gd name="connsiteY16" fmla="*/ 392668 h 502396"/>
                <a:gd name="connsiteX17" fmla="*/ 190754 w 293494"/>
                <a:gd name="connsiteY17" fmla="*/ 390386 h 502396"/>
                <a:gd name="connsiteX18" fmla="*/ 201212 w 293494"/>
                <a:gd name="connsiteY18" fmla="*/ 373652 h 502396"/>
                <a:gd name="connsiteX19" fmla="*/ 207297 w 293494"/>
                <a:gd name="connsiteY19" fmla="*/ 362433 h 502396"/>
                <a:gd name="connsiteX20" fmla="*/ 228214 w 293494"/>
                <a:gd name="connsiteY20" fmla="*/ 347031 h 502396"/>
                <a:gd name="connsiteX21" fmla="*/ 236581 w 293494"/>
                <a:gd name="connsiteY21" fmla="*/ 343608 h 502396"/>
                <a:gd name="connsiteX22" fmla="*/ 253695 w 293494"/>
                <a:gd name="connsiteY22" fmla="*/ 320980 h 502396"/>
                <a:gd name="connsiteX23" fmla="*/ 256928 w 293494"/>
                <a:gd name="connsiteY23" fmla="*/ 309190 h 502396"/>
                <a:gd name="connsiteX24" fmla="*/ 267957 w 293494"/>
                <a:gd name="connsiteY24" fmla="*/ 283900 h 502396"/>
                <a:gd name="connsiteX25" fmla="*/ 277084 w 293494"/>
                <a:gd name="connsiteY25" fmla="*/ 276674 h 502396"/>
                <a:gd name="connsiteX26" fmla="*/ 287732 w 293494"/>
                <a:gd name="connsiteY26" fmla="*/ 266405 h 502396"/>
                <a:gd name="connsiteX27" fmla="*/ 287732 w 293494"/>
                <a:gd name="connsiteY27" fmla="*/ 206127 h 502396"/>
                <a:gd name="connsiteX28" fmla="*/ 267386 w 293494"/>
                <a:gd name="connsiteY28" fmla="*/ 167145 h 502396"/>
                <a:gd name="connsiteX29" fmla="*/ 251033 w 293494"/>
                <a:gd name="connsiteY29" fmla="*/ 138432 h 502396"/>
                <a:gd name="connsiteX30" fmla="*/ 249131 w 293494"/>
                <a:gd name="connsiteY30" fmla="*/ 134439 h 502396"/>
                <a:gd name="connsiteX31" fmla="*/ 232968 w 293494"/>
                <a:gd name="connsiteY31" fmla="*/ 108958 h 502396"/>
                <a:gd name="connsiteX32" fmla="*/ 219657 w 293494"/>
                <a:gd name="connsiteY32" fmla="*/ 84428 h 502396"/>
                <a:gd name="connsiteX33" fmla="*/ 220989 w 293494"/>
                <a:gd name="connsiteY33" fmla="*/ 70737 h 502396"/>
                <a:gd name="connsiteX34" fmla="*/ 216044 w 293494"/>
                <a:gd name="connsiteY34" fmla="*/ 44686 h 502396"/>
                <a:gd name="connsiteX35" fmla="*/ 200262 w 293494"/>
                <a:gd name="connsiteY35" fmla="*/ 46207 h 502396"/>
                <a:gd name="connsiteX36" fmla="*/ 186951 w 293494"/>
                <a:gd name="connsiteY36" fmla="*/ 49250 h 502396"/>
                <a:gd name="connsiteX37" fmla="*/ 172119 w 293494"/>
                <a:gd name="connsiteY37" fmla="*/ 47919 h 502396"/>
                <a:gd name="connsiteX38" fmla="*/ 154435 w 293494"/>
                <a:gd name="connsiteY38" fmla="*/ 47919 h 502396"/>
                <a:gd name="connsiteX39" fmla="*/ 143596 w 293494"/>
                <a:gd name="connsiteY39" fmla="*/ 51151 h 502396"/>
                <a:gd name="connsiteX40" fmla="*/ 94916 w 293494"/>
                <a:gd name="connsiteY40" fmla="*/ 42024 h 502396"/>
                <a:gd name="connsiteX41" fmla="*/ 85028 w 293494"/>
                <a:gd name="connsiteY41" fmla="*/ 29094 h 502396"/>
                <a:gd name="connsiteX42" fmla="*/ 62971 w 293494"/>
                <a:gd name="connsiteY42" fmla="*/ 0 h 502396"/>
                <a:gd name="connsiteX43" fmla="*/ 56886 w 293494"/>
                <a:gd name="connsiteY43" fmla="*/ 8747 h 502396"/>
                <a:gd name="connsiteX44" fmla="*/ 56886 w 293494"/>
                <a:gd name="connsiteY44" fmla="*/ 36700 h 502396"/>
                <a:gd name="connsiteX45" fmla="*/ 62400 w 293494"/>
                <a:gd name="connsiteY45" fmla="*/ 49440 h 502396"/>
                <a:gd name="connsiteX46" fmla="*/ 69626 w 293494"/>
                <a:gd name="connsiteY46" fmla="*/ 68455 h 502396"/>
                <a:gd name="connsiteX47" fmla="*/ 64302 w 293494"/>
                <a:gd name="connsiteY47" fmla="*/ 95647 h 502396"/>
                <a:gd name="connsiteX48" fmla="*/ 61069 w 293494"/>
                <a:gd name="connsiteY48" fmla="*/ 105345 h 502396"/>
                <a:gd name="connsiteX49" fmla="*/ 55935 w 293494"/>
                <a:gd name="connsiteY49" fmla="*/ 116564 h 502396"/>
                <a:gd name="connsiteX50" fmla="*/ 50801 w 293494"/>
                <a:gd name="connsiteY50" fmla="*/ 129685 h 502396"/>
                <a:gd name="connsiteX51" fmla="*/ 50801 w 293494"/>
                <a:gd name="connsiteY51" fmla="*/ 131776 h 502396"/>
                <a:gd name="connsiteX52" fmla="*/ 57837 w 293494"/>
                <a:gd name="connsiteY52" fmla="*/ 130065 h 502396"/>
                <a:gd name="connsiteX53" fmla="*/ 60689 w 293494"/>
                <a:gd name="connsiteY53" fmla="*/ 129114 h 502396"/>
                <a:gd name="connsiteX54" fmla="*/ 77042 w 293494"/>
                <a:gd name="connsiteY54" fmla="*/ 125692 h 502396"/>
                <a:gd name="connsiteX55" fmla="*/ 89592 w 293494"/>
                <a:gd name="connsiteY55" fmla="*/ 128734 h 502396"/>
                <a:gd name="connsiteX56" fmla="*/ 97959 w 293494"/>
                <a:gd name="connsiteY56" fmla="*/ 162391 h 502396"/>
                <a:gd name="connsiteX57" fmla="*/ 94536 w 293494"/>
                <a:gd name="connsiteY57" fmla="*/ 179315 h 502396"/>
                <a:gd name="connsiteX58" fmla="*/ 96248 w 293494"/>
                <a:gd name="connsiteY58" fmla="*/ 183308 h 502396"/>
                <a:gd name="connsiteX59" fmla="*/ 94916 w 293494"/>
                <a:gd name="connsiteY59" fmla="*/ 212402 h 502396"/>
                <a:gd name="connsiteX60" fmla="*/ 87881 w 293494"/>
                <a:gd name="connsiteY60" fmla="*/ 221910 h 502396"/>
                <a:gd name="connsiteX61" fmla="*/ 79704 w 293494"/>
                <a:gd name="connsiteY61" fmla="*/ 234460 h 502396"/>
                <a:gd name="connsiteX62" fmla="*/ 82937 w 293494"/>
                <a:gd name="connsiteY62" fmla="*/ 259750 h 502396"/>
                <a:gd name="connsiteX63" fmla="*/ 85028 w 293494"/>
                <a:gd name="connsiteY63" fmla="*/ 281618 h 502396"/>
                <a:gd name="connsiteX64" fmla="*/ 85028 w 293494"/>
                <a:gd name="connsiteY64" fmla="*/ 292456 h 502396"/>
                <a:gd name="connsiteX65" fmla="*/ 90353 w 293494"/>
                <a:gd name="connsiteY65" fmla="*/ 303866 h 502396"/>
                <a:gd name="connsiteX66" fmla="*/ 97389 w 293494"/>
                <a:gd name="connsiteY66" fmla="*/ 316416 h 502396"/>
                <a:gd name="connsiteX67" fmla="*/ 91684 w 293494"/>
                <a:gd name="connsiteY67" fmla="*/ 349693 h 502396"/>
                <a:gd name="connsiteX68" fmla="*/ 69436 w 293494"/>
                <a:gd name="connsiteY68" fmla="*/ 376314 h 502396"/>
                <a:gd name="connsiteX69" fmla="*/ 60879 w 293494"/>
                <a:gd name="connsiteY69" fmla="*/ 386392 h 502396"/>
                <a:gd name="connsiteX70" fmla="*/ 50421 w 293494"/>
                <a:gd name="connsiteY70" fmla="*/ 398182 h 502396"/>
                <a:gd name="connsiteX71" fmla="*/ 39392 w 293494"/>
                <a:gd name="connsiteY71" fmla="*/ 406169 h 502396"/>
                <a:gd name="connsiteX72" fmla="*/ 29884 w 293494"/>
                <a:gd name="connsiteY72" fmla="*/ 411303 h 502396"/>
                <a:gd name="connsiteX73" fmla="*/ 28553 w 293494"/>
                <a:gd name="connsiteY73" fmla="*/ 411303 h 502396"/>
                <a:gd name="connsiteX74" fmla="*/ 2312 w 293494"/>
                <a:gd name="connsiteY74" fmla="*/ 436213 h 502396"/>
                <a:gd name="connsiteX75" fmla="*/ 2312 w 293494"/>
                <a:gd name="connsiteY75" fmla="*/ 447812 h 502396"/>
                <a:gd name="connsiteX76" fmla="*/ 2312 w 293494"/>
                <a:gd name="connsiteY76" fmla="*/ 464166 h 50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293494" h="502396">
                  <a:moveTo>
                    <a:pt x="1361" y="469300"/>
                  </a:moveTo>
                  <a:cubicBezTo>
                    <a:pt x="-351" y="475765"/>
                    <a:pt x="-921" y="477857"/>
                    <a:pt x="2502" y="482420"/>
                  </a:cubicBezTo>
                  <a:cubicBezTo>
                    <a:pt x="12390" y="495161"/>
                    <a:pt x="21517" y="501436"/>
                    <a:pt x="27792" y="502386"/>
                  </a:cubicBezTo>
                  <a:cubicBezTo>
                    <a:pt x="31405" y="502539"/>
                    <a:pt x="34885" y="501074"/>
                    <a:pt x="37300" y="498393"/>
                  </a:cubicBezTo>
                  <a:cubicBezTo>
                    <a:pt x="39620" y="496035"/>
                    <a:pt x="41673" y="493430"/>
                    <a:pt x="43385" y="490597"/>
                  </a:cubicBezTo>
                  <a:cubicBezTo>
                    <a:pt x="45781" y="486756"/>
                    <a:pt x="48652" y="483238"/>
                    <a:pt x="51942" y="480138"/>
                  </a:cubicBezTo>
                  <a:cubicBezTo>
                    <a:pt x="53064" y="479150"/>
                    <a:pt x="54281" y="478256"/>
                    <a:pt x="55555" y="477476"/>
                  </a:cubicBezTo>
                  <a:cubicBezTo>
                    <a:pt x="57418" y="476335"/>
                    <a:pt x="59396" y="475385"/>
                    <a:pt x="61449" y="474624"/>
                  </a:cubicBezTo>
                  <a:cubicBezTo>
                    <a:pt x="70577" y="471943"/>
                    <a:pt x="80084" y="470726"/>
                    <a:pt x="89592" y="471011"/>
                  </a:cubicBezTo>
                  <a:lnTo>
                    <a:pt x="97959" y="471011"/>
                  </a:lnTo>
                  <a:cubicBezTo>
                    <a:pt x="114997" y="473369"/>
                    <a:pt x="132168" y="467911"/>
                    <a:pt x="144737" y="456179"/>
                  </a:cubicBezTo>
                  <a:cubicBezTo>
                    <a:pt x="148483" y="450512"/>
                    <a:pt x="150575" y="443933"/>
                    <a:pt x="150822" y="437164"/>
                  </a:cubicBezTo>
                  <a:cubicBezTo>
                    <a:pt x="150327" y="425431"/>
                    <a:pt x="155842" y="414231"/>
                    <a:pt x="165464" y="407500"/>
                  </a:cubicBezTo>
                  <a:cubicBezTo>
                    <a:pt x="168563" y="405142"/>
                    <a:pt x="171796" y="402993"/>
                    <a:pt x="175161" y="401034"/>
                  </a:cubicBezTo>
                  <a:lnTo>
                    <a:pt x="179535" y="398943"/>
                  </a:lnTo>
                  <a:lnTo>
                    <a:pt x="179535" y="398943"/>
                  </a:lnTo>
                  <a:cubicBezTo>
                    <a:pt x="182767" y="397231"/>
                    <a:pt x="185753" y="395121"/>
                    <a:pt x="188472" y="392668"/>
                  </a:cubicBezTo>
                  <a:lnTo>
                    <a:pt x="190754" y="390386"/>
                  </a:lnTo>
                  <a:cubicBezTo>
                    <a:pt x="194899" y="385252"/>
                    <a:pt x="198398" y="379623"/>
                    <a:pt x="201212" y="373652"/>
                  </a:cubicBezTo>
                  <a:cubicBezTo>
                    <a:pt x="203114" y="369849"/>
                    <a:pt x="205016" y="366046"/>
                    <a:pt x="207297" y="362433"/>
                  </a:cubicBezTo>
                  <a:cubicBezTo>
                    <a:pt x="212070" y="354846"/>
                    <a:pt x="219543" y="349351"/>
                    <a:pt x="228214" y="347031"/>
                  </a:cubicBezTo>
                  <a:cubicBezTo>
                    <a:pt x="231086" y="346099"/>
                    <a:pt x="233881" y="344958"/>
                    <a:pt x="236581" y="343608"/>
                  </a:cubicBezTo>
                  <a:cubicBezTo>
                    <a:pt x="244986" y="338550"/>
                    <a:pt x="251128" y="330449"/>
                    <a:pt x="253695" y="320980"/>
                  </a:cubicBezTo>
                  <a:cubicBezTo>
                    <a:pt x="255140" y="317158"/>
                    <a:pt x="256224" y="313202"/>
                    <a:pt x="256928" y="309190"/>
                  </a:cubicBezTo>
                  <a:cubicBezTo>
                    <a:pt x="258087" y="299872"/>
                    <a:pt x="261910" y="291087"/>
                    <a:pt x="267957" y="283900"/>
                  </a:cubicBezTo>
                  <a:cubicBezTo>
                    <a:pt x="270752" y="281199"/>
                    <a:pt x="273813" y="278766"/>
                    <a:pt x="277084" y="276674"/>
                  </a:cubicBezTo>
                  <a:cubicBezTo>
                    <a:pt x="281419" y="274164"/>
                    <a:pt x="285070" y="270646"/>
                    <a:pt x="287732" y="266405"/>
                  </a:cubicBezTo>
                  <a:cubicBezTo>
                    <a:pt x="295415" y="247048"/>
                    <a:pt x="295415" y="225484"/>
                    <a:pt x="287732" y="206127"/>
                  </a:cubicBezTo>
                  <a:cubicBezTo>
                    <a:pt x="282446" y="192417"/>
                    <a:pt x="275620" y="179334"/>
                    <a:pt x="267386" y="167145"/>
                  </a:cubicBezTo>
                  <a:cubicBezTo>
                    <a:pt x="261377" y="157904"/>
                    <a:pt x="255920" y="148320"/>
                    <a:pt x="251033" y="138432"/>
                  </a:cubicBezTo>
                  <a:lnTo>
                    <a:pt x="249131" y="134439"/>
                  </a:lnTo>
                  <a:cubicBezTo>
                    <a:pt x="245651" y="124874"/>
                    <a:pt x="240137" y="116184"/>
                    <a:pt x="232968" y="108958"/>
                  </a:cubicBezTo>
                  <a:cubicBezTo>
                    <a:pt x="224772" y="103463"/>
                    <a:pt x="219791" y="94297"/>
                    <a:pt x="219657" y="84428"/>
                  </a:cubicBezTo>
                  <a:cubicBezTo>
                    <a:pt x="219657" y="79827"/>
                    <a:pt x="220114" y="75244"/>
                    <a:pt x="220989" y="70737"/>
                  </a:cubicBezTo>
                  <a:cubicBezTo>
                    <a:pt x="223080" y="57236"/>
                    <a:pt x="224031" y="48109"/>
                    <a:pt x="216044" y="44686"/>
                  </a:cubicBezTo>
                  <a:cubicBezTo>
                    <a:pt x="210777" y="43260"/>
                    <a:pt x="205168" y="43792"/>
                    <a:pt x="200262" y="46207"/>
                  </a:cubicBezTo>
                  <a:cubicBezTo>
                    <a:pt x="195983" y="47805"/>
                    <a:pt x="191495" y="48831"/>
                    <a:pt x="186951" y="49250"/>
                  </a:cubicBezTo>
                  <a:cubicBezTo>
                    <a:pt x="181969" y="49307"/>
                    <a:pt x="177006" y="48869"/>
                    <a:pt x="172119" y="47919"/>
                  </a:cubicBezTo>
                  <a:cubicBezTo>
                    <a:pt x="166281" y="46683"/>
                    <a:pt x="160272" y="46683"/>
                    <a:pt x="154435" y="47919"/>
                  </a:cubicBezTo>
                  <a:lnTo>
                    <a:pt x="143596" y="51151"/>
                  </a:lnTo>
                  <a:cubicBezTo>
                    <a:pt x="127813" y="56095"/>
                    <a:pt x="109939" y="61800"/>
                    <a:pt x="94916" y="42024"/>
                  </a:cubicBezTo>
                  <a:lnTo>
                    <a:pt x="85028" y="29094"/>
                  </a:lnTo>
                  <a:cubicBezTo>
                    <a:pt x="77612" y="19205"/>
                    <a:pt x="70387" y="10078"/>
                    <a:pt x="62971" y="0"/>
                  </a:cubicBezTo>
                  <a:cubicBezTo>
                    <a:pt x="60765" y="2795"/>
                    <a:pt x="58730" y="5705"/>
                    <a:pt x="56886" y="8747"/>
                  </a:cubicBezTo>
                  <a:cubicBezTo>
                    <a:pt x="51181" y="18255"/>
                    <a:pt x="52702" y="24530"/>
                    <a:pt x="56886" y="36700"/>
                  </a:cubicBezTo>
                  <a:cubicBezTo>
                    <a:pt x="58502" y="41035"/>
                    <a:pt x="60347" y="45295"/>
                    <a:pt x="62400" y="49440"/>
                  </a:cubicBezTo>
                  <a:cubicBezTo>
                    <a:pt x="65633" y="55430"/>
                    <a:pt x="68067" y="61819"/>
                    <a:pt x="69626" y="68455"/>
                  </a:cubicBezTo>
                  <a:cubicBezTo>
                    <a:pt x="70272" y="77830"/>
                    <a:pt x="68428" y="87205"/>
                    <a:pt x="64302" y="95647"/>
                  </a:cubicBezTo>
                  <a:cubicBezTo>
                    <a:pt x="63161" y="99070"/>
                    <a:pt x="61830" y="102493"/>
                    <a:pt x="61069" y="105345"/>
                  </a:cubicBezTo>
                  <a:cubicBezTo>
                    <a:pt x="59871" y="109300"/>
                    <a:pt x="58160" y="113084"/>
                    <a:pt x="55935" y="116564"/>
                  </a:cubicBezTo>
                  <a:cubicBezTo>
                    <a:pt x="53159" y="120443"/>
                    <a:pt x="51409" y="124950"/>
                    <a:pt x="50801" y="129685"/>
                  </a:cubicBezTo>
                  <a:cubicBezTo>
                    <a:pt x="50649" y="130370"/>
                    <a:pt x="50649" y="131092"/>
                    <a:pt x="50801" y="131776"/>
                  </a:cubicBezTo>
                  <a:cubicBezTo>
                    <a:pt x="53235" y="131662"/>
                    <a:pt x="55631" y="131073"/>
                    <a:pt x="57837" y="130065"/>
                  </a:cubicBezTo>
                  <a:lnTo>
                    <a:pt x="60689" y="129114"/>
                  </a:lnTo>
                  <a:cubicBezTo>
                    <a:pt x="65918" y="127061"/>
                    <a:pt x="71432" y="125901"/>
                    <a:pt x="77042" y="125692"/>
                  </a:cubicBezTo>
                  <a:cubicBezTo>
                    <a:pt x="81416" y="125654"/>
                    <a:pt x="85732" y="126699"/>
                    <a:pt x="89592" y="128734"/>
                  </a:cubicBezTo>
                  <a:cubicBezTo>
                    <a:pt x="108608" y="138242"/>
                    <a:pt x="102332" y="152694"/>
                    <a:pt x="97959" y="162391"/>
                  </a:cubicBezTo>
                  <a:cubicBezTo>
                    <a:pt x="94745" y="167411"/>
                    <a:pt x="93528" y="173439"/>
                    <a:pt x="94536" y="179315"/>
                  </a:cubicBezTo>
                  <a:lnTo>
                    <a:pt x="96248" y="183308"/>
                  </a:lnTo>
                  <a:cubicBezTo>
                    <a:pt x="101610" y="192417"/>
                    <a:pt x="101096" y="203826"/>
                    <a:pt x="94916" y="212402"/>
                  </a:cubicBezTo>
                  <a:cubicBezTo>
                    <a:pt x="92844" y="215768"/>
                    <a:pt x="90505" y="218943"/>
                    <a:pt x="87881" y="221910"/>
                  </a:cubicBezTo>
                  <a:cubicBezTo>
                    <a:pt x="84420" y="225560"/>
                    <a:pt x="81644" y="229820"/>
                    <a:pt x="79704" y="234460"/>
                  </a:cubicBezTo>
                  <a:cubicBezTo>
                    <a:pt x="77289" y="242979"/>
                    <a:pt x="78468" y="252106"/>
                    <a:pt x="82937" y="259750"/>
                  </a:cubicBezTo>
                  <a:cubicBezTo>
                    <a:pt x="85941" y="266634"/>
                    <a:pt x="86664" y="274297"/>
                    <a:pt x="85028" y="281618"/>
                  </a:cubicBezTo>
                  <a:cubicBezTo>
                    <a:pt x="84534" y="285212"/>
                    <a:pt x="84534" y="288863"/>
                    <a:pt x="85028" y="292456"/>
                  </a:cubicBezTo>
                  <a:cubicBezTo>
                    <a:pt x="85713" y="296678"/>
                    <a:pt x="87558" y="300633"/>
                    <a:pt x="90353" y="303866"/>
                  </a:cubicBezTo>
                  <a:cubicBezTo>
                    <a:pt x="93471" y="307555"/>
                    <a:pt x="95867" y="311814"/>
                    <a:pt x="97389" y="316416"/>
                  </a:cubicBezTo>
                  <a:cubicBezTo>
                    <a:pt x="99765" y="327825"/>
                    <a:pt x="97731" y="339729"/>
                    <a:pt x="91684" y="349693"/>
                  </a:cubicBezTo>
                  <a:cubicBezTo>
                    <a:pt x="86036" y="359904"/>
                    <a:pt x="78487" y="368936"/>
                    <a:pt x="69436" y="376314"/>
                  </a:cubicBezTo>
                  <a:cubicBezTo>
                    <a:pt x="66393" y="379509"/>
                    <a:pt x="63541" y="382875"/>
                    <a:pt x="60879" y="386392"/>
                  </a:cubicBezTo>
                  <a:cubicBezTo>
                    <a:pt x="57760" y="390633"/>
                    <a:pt x="54262" y="394588"/>
                    <a:pt x="50421" y="398182"/>
                  </a:cubicBezTo>
                  <a:cubicBezTo>
                    <a:pt x="47017" y="401206"/>
                    <a:pt x="43328" y="403887"/>
                    <a:pt x="39392" y="406169"/>
                  </a:cubicBezTo>
                  <a:lnTo>
                    <a:pt x="29884" y="411303"/>
                  </a:lnTo>
                  <a:lnTo>
                    <a:pt x="28553" y="411303"/>
                  </a:lnTo>
                  <a:cubicBezTo>
                    <a:pt x="16383" y="417578"/>
                    <a:pt x="4974" y="424043"/>
                    <a:pt x="2312" y="436213"/>
                  </a:cubicBezTo>
                  <a:cubicBezTo>
                    <a:pt x="1456" y="440035"/>
                    <a:pt x="1456" y="443990"/>
                    <a:pt x="2312" y="447812"/>
                  </a:cubicBezTo>
                  <a:cubicBezTo>
                    <a:pt x="3567" y="453194"/>
                    <a:pt x="3567" y="458784"/>
                    <a:pt x="2312" y="46416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2" name="Полилиния: фигура 381">
              <a:extLst>
                <a:ext uri="{FF2B5EF4-FFF2-40B4-BE49-F238E27FC236}">
                  <a16:creationId xmlns:a16="http://schemas.microsoft.com/office/drawing/2014/main" id="{459BD386-7715-4A7B-C12C-E13B832C520B}"/>
                </a:ext>
              </a:extLst>
            </p:cNvPr>
            <p:cNvSpPr/>
            <p:nvPr/>
          </p:nvSpPr>
          <p:spPr>
            <a:xfrm>
              <a:off x="4860320" y="5441136"/>
              <a:ext cx="732692" cy="460704"/>
            </a:xfrm>
            <a:custGeom>
              <a:avLst/>
              <a:gdLst>
                <a:gd name="connsiteX0" fmla="*/ 739888 w 766129"/>
                <a:gd name="connsiteY0" fmla="*/ 153639 h 480322"/>
                <a:gd name="connsiteX1" fmla="*/ 737607 w 766129"/>
                <a:gd name="connsiteY1" fmla="*/ 115608 h 480322"/>
                <a:gd name="connsiteX2" fmla="*/ 740459 w 766129"/>
                <a:gd name="connsiteY2" fmla="*/ 110093 h 480322"/>
                <a:gd name="connsiteX3" fmla="*/ 744642 w 766129"/>
                <a:gd name="connsiteY3" fmla="*/ 99635 h 480322"/>
                <a:gd name="connsiteX4" fmla="*/ 744642 w 766129"/>
                <a:gd name="connsiteY4" fmla="*/ 92789 h 480322"/>
                <a:gd name="connsiteX5" fmla="*/ 744642 w 766129"/>
                <a:gd name="connsiteY5" fmla="*/ 83852 h 480322"/>
                <a:gd name="connsiteX6" fmla="*/ 757953 w 766129"/>
                <a:gd name="connsiteY6" fmla="*/ 63696 h 480322"/>
                <a:gd name="connsiteX7" fmla="*/ 756812 w 766129"/>
                <a:gd name="connsiteY7" fmla="*/ 60653 h 480322"/>
                <a:gd name="connsiteX8" fmla="*/ 733614 w 766129"/>
                <a:gd name="connsiteY8" fmla="*/ 52667 h 480322"/>
                <a:gd name="connsiteX9" fmla="*/ 686836 w 766129"/>
                <a:gd name="connsiteY9" fmla="*/ 44300 h 480322"/>
                <a:gd name="connsiteX10" fmla="*/ 663827 w 766129"/>
                <a:gd name="connsiteY10" fmla="*/ 32891 h 480322"/>
                <a:gd name="connsiteX11" fmla="*/ 642150 w 766129"/>
                <a:gd name="connsiteY11" fmla="*/ 22052 h 480322"/>
                <a:gd name="connsiteX12" fmla="*/ 631691 w 766129"/>
                <a:gd name="connsiteY12" fmla="*/ 15587 h 480322"/>
                <a:gd name="connsiteX13" fmla="*/ 588146 w 766129"/>
                <a:gd name="connsiteY13" fmla="*/ 1515 h 480322"/>
                <a:gd name="connsiteX14" fmla="*/ 588146 w 766129"/>
                <a:gd name="connsiteY14" fmla="*/ 1515 h 480322"/>
                <a:gd name="connsiteX15" fmla="*/ 579779 w 766129"/>
                <a:gd name="connsiteY15" fmla="*/ 6840 h 480322"/>
                <a:gd name="connsiteX16" fmla="*/ 579779 w 766129"/>
                <a:gd name="connsiteY16" fmla="*/ 6840 h 480322"/>
                <a:gd name="connsiteX17" fmla="*/ 576356 w 766129"/>
                <a:gd name="connsiteY17" fmla="*/ 10072 h 480322"/>
                <a:gd name="connsiteX18" fmla="*/ 566088 w 766129"/>
                <a:gd name="connsiteY18" fmla="*/ 18629 h 480322"/>
                <a:gd name="connsiteX19" fmla="*/ 554108 w 766129"/>
                <a:gd name="connsiteY19" fmla="*/ 21482 h 480322"/>
                <a:gd name="connsiteX20" fmla="*/ 547643 w 766129"/>
                <a:gd name="connsiteY20" fmla="*/ 22623 h 480322"/>
                <a:gd name="connsiteX21" fmla="*/ 530339 w 766129"/>
                <a:gd name="connsiteY21" fmla="*/ 26235 h 480322"/>
                <a:gd name="connsiteX22" fmla="*/ 505999 w 766129"/>
                <a:gd name="connsiteY22" fmla="*/ 32511 h 480322"/>
                <a:gd name="connsiteX23" fmla="*/ 473673 w 766129"/>
                <a:gd name="connsiteY23" fmla="*/ 44110 h 480322"/>
                <a:gd name="connsiteX24" fmla="*/ 466828 w 766129"/>
                <a:gd name="connsiteY24" fmla="*/ 44110 h 480322"/>
                <a:gd name="connsiteX25" fmla="*/ 445340 w 766129"/>
                <a:gd name="connsiteY25" fmla="*/ 49434 h 480322"/>
                <a:gd name="connsiteX26" fmla="*/ 433360 w 766129"/>
                <a:gd name="connsiteY26" fmla="*/ 74724 h 480322"/>
                <a:gd name="connsiteX27" fmla="*/ 433360 w 766129"/>
                <a:gd name="connsiteY27" fmla="*/ 79098 h 480322"/>
                <a:gd name="connsiteX28" fmla="*/ 428227 w 766129"/>
                <a:gd name="connsiteY28" fmla="*/ 96022 h 480322"/>
                <a:gd name="connsiteX29" fmla="*/ 413965 w 766129"/>
                <a:gd name="connsiteY29" fmla="*/ 108001 h 480322"/>
                <a:gd name="connsiteX30" fmla="*/ 408260 w 766129"/>
                <a:gd name="connsiteY30" fmla="*/ 111044 h 480322"/>
                <a:gd name="connsiteX31" fmla="*/ 397041 w 766129"/>
                <a:gd name="connsiteY31" fmla="*/ 130059 h 480322"/>
                <a:gd name="connsiteX32" fmla="*/ 389055 w 766129"/>
                <a:gd name="connsiteY32" fmla="*/ 147934 h 480322"/>
                <a:gd name="connsiteX33" fmla="*/ 382019 w 766129"/>
                <a:gd name="connsiteY33" fmla="*/ 155540 h 480322"/>
                <a:gd name="connsiteX34" fmla="*/ 375744 w 766129"/>
                <a:gd name="connsiteY34" fmla="*/ 162956 h 480322"/>
                <a:gd name="connsiteX35" fmla="*/ 371941 w 766129"/>
                <a:gd name="connsiteY35" fmla="*/ 173605 h 480322"/>
                <a:gd name="connsiteX36" fmla="*/ 368138 w 766129"/>
                <a:gd name="connsiteY36" fmla="*/ 184634 h 480322"/>
                <a:gd name="connsiteX37" fmla="*/ 343608 w 766129"/>
                <a:gd name="connsiteY37" fmla="*/ 208403 h 480322"/>
                <a:gd name="connsiteX38" fmla="*/ 331628 w 766129"/>
                <a:gd name="connsiteY38" fmla="*/ 217340 h 480322"/>
                <a:gd name="connsiteX39" fmla="*/ 321740 w 766129"/>
                <a:gd name="connsiteY39" fmla="*/ 226848 h 480322"/>
                <a:gd name="connsiteX40" fmla="*/ 294168 w 766129"/>
                <a:gd name="connsiteY40" fmla="*/ 247574 h 480322"/>
                <a:gd name="connsiteX41" fmla="*/ 267737 w 766129"/>
                <a:gd name="connsiteY41" fmla="*/ 252518 h 480322"/>
                <a:gd name="connsiteX42" fmla="*/ 223431 w 766129"/>
                <a:gd name="connsiteY42" fmla="*/ 243201 h 480322"/>
                <a:gd name="connsiteX43" fmla="*/ 186921 w 766129"/>
                <a:gd name="connsiteY43" fmla="*/ 234264 h 480322"/>
                <a:gd name="connsiteX44" fmla="*/ 175702 w 766129"/>
                <a:gd name="connsiteY44" fmla="*/ 234264 h 480322"/>
                <a:gd name="connsiteX45" fmla="*/ 137671 w 766129"/>
                <a:gd name="connsiteY45" fmla="*/ 220573 h 480322"/>
                <a:gd name="connsiteX46" fmla="*/ 119987 w 766129"/>
                <a:gd name="connsiteY46" fmla="*/ 203839 h 480322"/>
                <a:gd name="connsiteX47" fmla="*/ 111810 w 766129"/>
                <a:gd name="connsiteY47" fmla="*/ 208023 h 480322"/>
                <a:gd name="connsiteX48" fmla="*/ 103063 w 766129"/>
                <a:gd name="connsiteY48" fmla="*/ 212586 h 480322"/>
                <a:gd name="connsiteX49" fmla="*/ 93365 w 766129"/>
                <a:gd name="connsiteY49" fmla="*/ 234074 h 480322"/>
                <a:gd name="connsiteX50" fmla="*/ 84808 w 766129"/>
                <a:gd name="connsiteY50" fmla="*/ 259744 h 480322"/>
                <a:gd name="connsiteX51" fmla="*/ 30234 w 766129"/>
                <a:gd name="connsiteY51" fmla="*/ 278760 h 480322"/>
                <a:gd name="connsiteX52" fmla="*/ 21678 w 766129"/>
                <a:gd name="connsiteY52" fmla="*/ 278760 h 480322"/>
                <a:gd name="connsiteX53" fmla="*/ 0 w 766129"/>
                <a:gd name="connsiteY53" fmla="*/ 280851 h 480322"/>
                <a:gd name="connsiteX54" fmla="*/ 7036 w 766129"/>
                <a:gd name="connsiteY54" fmla="*/ 292451 h 480322"/>
                <a:gd name="connsiteX55" fmla="*/ 13501 w 766129"/>
                <a:gd name="connsiteY55" fmla="*/ 315079 h 480322"/>
                <a:gd name="connsiteX56" fmla="*/ 21487 w 766129"/>
                <a:gd name="connsiteY56" fmla="*/ 339609 h 480322"/>
                <a:gd name="connsiteX57" fmla="*/ 50771 w 766129"/>
                <a:gd name="connsiteY57" fmla="*/ 372886 h 480322"/>
                <a:gd name="connsiteX58" fmla="*/ 54954 w 766129"/>
                <a:gd name="connsiteY58" fmla="*/ 376309 h 480322"/>
                <a:gd name="connsiteX59" fmla="*/ 76062 w 766129"/>
                <a:gd name="connsiteY59" fmla="*/ 401599 h 480322"/>
                <a:gd name="connsiteX60" fmla="*/ 76062 w 766129"/>
                <a:gd name="connsiteY60" fmla="*/ 415100 h 480322"/>
                <a:gd name="connsiteX61" fmla="*/ 55715 w 766129"/>
                <a:gd name="connsiteY61" fmla="*/ 427270 h 480322"/>
                <a:gd name="connsiteX62" fmla="*/ 42785 w 766129"/>
                <a:gd name="connsiteY62" fmla="*/ 433355 h 480322"/>
                <a:gd name="connsiteX63" fmla="*/ 44306 w 766129"/>
                <a:gd name="connsiteY63" fmla="*/ 439250 h 480322"/>
                <a:gd name="connsiteX64" fmla="*/ 49820 w 766129"/>
                <a:gd name="connsiteY64" fmla="*/ 444004 h 480322"/>
                <a:gd name="connsiteX65" fmla="*/ 58377 w 766129"/>
                <a:gd name="connsiteY65" fmla="*/ 451419 h 480322"/>
                <a:gd name="connsiteX66" fmla="*/ 61800 w 766129"/>
                <a:gd name="connsiteY66" fmla="*/ 468153 h 480322"/>
                <a:gd name="connsiteX67" fmla="*/ 61800 w 766129"/>
                <a:gd name="connsiteY67" fmla="*/ 474618 h 480322"/>
                <a:gd name="connsiteX68" fmla="*/ 63511 w 766129"/>
                <a:gd name="connsiteY68" fmla="*/ 480323 h 480322"/>
                <a:gd name="connsiteX69" fmla="*/ 103253 w 766129"/>
                <a:gd name="connsiteY69" fmla="*/ 445525 h 480322"/>
                <a:gd name="connsiteX70" fmla="*/ 119036 w 766129"/>
                <a:gd name="connsiteY70" fmla="*/ 436968 h 480322"/>
                <a:gd name="connsiteX71" fmla="*/ 124170 w 766129"/>
                <a:gd name="connsiteY71" fmla="*/ 433925 h 480322"/>
                <a:gd name="connsiteX72" fmla="*/ 158018 w 766129"/>
                <a:gd name="connsiteY72" fmla="*/ 414910 h 480322"/>
                <a:gd name="connsiteX73" fmla="*/ 177033 w 766129"/>
                <a:gd name="connsiteY73" fmla="*/ 408635 h 480322"/>
                <a:gd name="connsiteX74" fmla="*/ 197570 w 766129"/>
                <a:gd name="connsiteY74" fmla="*/ 401599 h 480322"/>
                <a:gd name="connsiteX75" fmla="*/ 210691 w 766129"/>
                <a:gd name="connsiteY75" fmla="*/ 389619 h 480322"/>
                <a:gd name="connsiteX76" fmla="*/ 219057 w 766129"/>
                <a:gd name="connsiteY76" fmla="*/ 380682 h 480322"/>
                <a:gd name="connsiteX77" fmla="*/ 245679 w 766129"/>
                <a:gd name="connsiteY77" fmla="*/ 374027 h 480322"/>
                <a:gd name="connsiteX78" fmla="*/ 257659 w 766129"/>
                <a:gd name="connsiteY78" fmla="*/ 374027 h 480322"/>
                <a:gd name="connsiteX79" fmla="*/ 271920 w 766129"/>
                <a:gd name="connsiteY79" fmla="*/ 368512 h 480322"/>
                <a:gd name="connsiteX80" fmla="*/ 293788 w 766129"/>
                <a:gd name="connsiteY80" fmla="*/ 361286 h 480322"/>
                <a:gd name="connsiteX81" fmla="*/ 322311 w 766129"/>
                <a:gd name="connsiteY81" fmla="*/ 370033 h 480322"/>
                <a:gd name="connsiteX82" fmla="*/ 323832 w 766129"/>
                <a:gd name="connsiteY82" fmla="*/ 370033 h 480322"/>
                <a:gd name="connsiteX83" fmla="*/ 352545 w 766129"/>
                <a:gd name="connsiteY83" fmla="*/ 380302 h 480322"/>
                <a:gd name="connsiteX84" fmla="*/ 374983 w 766129"/>
                <a:gd name="connsiteY84" fmla="*/ 378971 h 480322"/>
                <a:gd name="connsiteX85" fmla="*/ 396851 w 766129"/>
                <a:gd name="connsiteY85" fmla="*/ 377450 h 480322"/>
                <a:gd name="connsiteX86" fmla="*/ 440777 w 766129"/>
                <a:gd name="connsiteY86" fmla="*/ 419093 h 480322"/>
                <a:gd name="connsiteX87" fmla="*/ 442678 w 766129"/>
                <a:gd name="connsiteY87" fmla="*/ 425368 h 480322"/>
                <a:gd name="connsiteX88" fmla="*/ 482991 w 766129"/>
                <a:gd name="connsiteY88" fmla="*/ 446856 h 480322"/>
                <a:gd name="connsiteX89" fmla="*/ 500105 w 766129"/>
                <a:gd name="connsiteY89" fmla="*/ 448567 h 480322"/>
                <a:gd name="connsiteX90" fmla="*/ 547073 w 766129"/>
                <a:gd name="connsiteY90" fmla="*/ 446856 h 480322"/>
                <a:gd name="connsiteX91" fmla="*/ 588336 w 766129"/>
                <a:gd name="connsiteY91" fmla="*/ 443813 h 480322"/>
                <a:gd name="connsiteX92" fmla="*/ 633592 w 766129"/>
                <a:gd name="connsiteY92" fmla="*/ 454842 h 480322"/>
                <a:gd name="connsiteX93" fmla="*/ 671623 w 766129"/>
                <a:gd name="connsiteY93" fmla="*/ 464730 h 480322"/>
                <a:gd name="connsiteX94" fmla="*/ 733803 w 766129"/>
                <a:gd name="connsiteY94" fmla="*/ 426699 h 480322"/>
                <a:gd name="connsiteX95" fmla="*/ 728099 w 766129"/>
                <a:gd name="connsiteY95" fmla="*/ 350638 h 480322"/>
                <a:gd name="connsiteX96" fmla="*/ 706802 w 766129"/>
                <a:gd name="connsiteY96" fmla="*/ 294733 h 480322"/>
                <a:gd name="connsiteX97" fmla="*/ 717070 w 766129"/>
                <a:gd name="connsiteY97" fmla="*/ 262977 h 480322"/>
                <a:gd name="connsiteX98" fmla="*/ 720683 w 766129"/>
                <a:gd name="connsiteY98" fmla="*/ 256322 h 480322"/>
                <a:gd name="connsiteX99" fmla="*/ 726768 w 766129"/>
                <a:gd name="connsiteY99" fmla="*/ 240539 h 480322"/>
                <a:gd name="connsiteX100" fmla="*/ 738938 w 766129"/>
                <a:gd name="connsiteY100" fmla="*/ 214298 h 480322"/>
                <a:gd name="connsiteX101" fmla="*/ 749206 w 766129"/>
                <a:gd name="connsiteY101" fmla="*/ 202508 h 480322"/>
                <a:gd name="connsiteX102" fmla="*/ 761756 w 766129"/>
                <a:gd name="connsiteY102" fmla="*/ 186535 h 480322"/>
                <a:gd name="connsiteX103" fmla="*/ 764228 w 766129"/>
                <a:gd name="connsiteY103" fmla="*/ 180450 h 480322"/>
                <a:gd name="connsiteX104" fmla="*/ 766130 w 766129"/>
                <a:gd name="connsiteY104" fmla="*/ 175506 h 480322"/>
                <a:gd name="connsiteX105" fmla="*/ 739888 w 766129"/>
                <a:gd name="connsiteY105" fmla="*/ 153639 h 480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766129" h="480322">
                  <a:moveTo>
                    <a:pt x="739888" y="153639"/>
                  </a:moveTo>
                  <a:cubicBezTo>
                    <a:pt x="731541" y="142572"/>
                    <a:pt x="730647" y="127588"/>
                    <a:pt x="737607" y="115608"/>
                  </a:cubicBezTo>
                  <a:lnTo>
                    <a:pt x="740459" y="110093"/>
                  </a:lnTo>
                  <a:cubicBezTo>
                    <a:pt x="742475" y="106880"/>
                    <a:pt x="743882" y="103343"/>
                    <a:pt x="744642" y="99635"/>
                  </a:cubicBezTo>
                  <a:cubicBezTo>
                    <a:pt x="745099" y="97372"/>
                    <a:pt x="745099" y="95052"/>
                    <a:pt x="744642" y="92789"/>
                  </a:cubicBezTo>
                  <a:cubicBezTo>
                    <a:pt x="744338" y="89823"/>
                    <a:pt x="744338" y="86818"/>
                    <a:pt x="744642" y="83852"/>
                  </a:cubicBezTo>
                  <a:cubicBezTo>
                    <a:pt x="745384" y="75314"/>
                    <a:pt x="750385" y="67727"/>
                    <a:pt x="757953" y="63696"/>
                  </a:cubicBezTo>
                  <a:lnTo>
                    <a:pt x="756812" y="60653"/>
                  </a:lnTo>
                  <a:cubicBezTo>
                    <a:pt x="751678" y="47533"/>
                    <a:pt x="748446" y="47343"/>
                    <a:pt x="733614" y="52667"/>
                  </a:cubicBezTo>
                  <a:cubicBezTo>
                    <a:pt x="717641" y="58352"/>
                    <a:pt x="699842" y="55177"/>
                    <a:pt x="686836" y="44300"/>
                  </a:cubicBezTo>
                  <a:cubicBezTo>
                    <a:pt x="679420" y="40003"/>
                    <a:pt x="671738" y="36200"/>
                    <a:pt x="663827" y="32891"/>
                  </a:cubicBezTo>
                  <a:cubicBezTo>
                    <a:pt x="656411" y="29658"/>
                    <a:pt x="649185" y="26045"/>
                    <a:pt x="642150" y="22052"/>
                  </a:cubicBezTo>
                  <a:cubicBezTo>
                    <a:pt x="638726" y="20150"/>
                    <a:pt x="635304" y="17869"/>
                    <a:pt x="631691" y="15587"/>
                  </a:cubicBezTo>
                  <a:cubicBezTo>
                    <a:pt x="614007" y="4368"/>
                    <a:pt x="600696" y="-3428"/>
                    <a:pt x="588146" y="1515"/>
                  </a:cubicBezTo>
                  <a:lnTo>
                    <a:pt x="588146" y="1515"/>
                  </a:lnTo>
                  <a:cubicBezTo>
                    <a:pt x="585065" y="2808"/>
                    <a:pt x="582251" y="4596"/>
                    <a:pt x="579779" y="6840"/>
                  </a:cubicBezTo>
                  <a:lnTo>
                    <a:pt x="579779" y="6840"/>
                  </a:lnTo>
                  <a:cubicBezTo>
                    <a:pt x="578505" y="7771"/>
                    <a:pt x="577364" y="8855"/>
                    <a:pt x="576356" y="10072"/>
                  </a:cubicBezTo>
                  <a:cubicBezTo>
                    <a:pt x="573504" y="13552"/>
                    <a:pt x="570024" y="16461"/>
                    <a:pt x="566088" y="18629"/>
                  </a:cubicBezTo>
                  <a:cubicBezTo>
                    <a:pt x="562285" y="20246"/>
                    <a:pt x="558235" y="21215"/>
                    <a:pt x="554108" y="21482"/>
                  </a:cubicBezTo>
                  <a:cubicBezTo>
                    <a:pt x="551940" y="21748"/>
                    <a:pt x="549773" y="22128"/>
                    <a:pt x="547643" y="22623"/>
                  </a:cubicBezTo>
                  <a:cubicBezTo>
                    <a:pt x="541957" y="24220"/>
                    <a:pt x="536177" y="25437"/>
                    <a:pt x="530339" y="26235"/>
                  </a:cubicBezTo>
                  <a:cubicBezTo>
                    <a:pt x="521953" y="27129"/>
                    <a:pt x="513757" y="29240"/>
                    <a:pt x="505999" y="32511"/>
                  </a:cubicBezTo>
                  <a:cubicBezTo>
                    <a:pt x="496073" y="38424"/>
                    <a:pt x="485102" y="42360"/>
                    <a:pt x="473673" y="44110"/>
                  </a:cubicBezTo>
                  <a:lnTo>
                    <a:pt x="466828" y="44110"/>
                  </a:lnTo>
                  <a:cubicBezTo>
                    <a:pt x="459355" y="44224"/>
                    <a:pt x="451996" y="46049"/>
                    <a:pt x="445340" y="49434"/>
                  </a:cubicBezTo>
                  <a:cubicBezTo>
                    <a:pt x="437867" y="55728"/>
                    <a:pt x="433493" y="64951"/>
                    <a:pt x="433360" y="74724"/>
                  </a:cubicBezTo>
                  <a:lnTo>
                    <a:pt x="433360" y="79098"/>
                  </a:lnTo>
                  <a:cubicBezTo>
                    <a:pt x="432733" y="85012"/>
                    <a:pt x="431003" y="90755"/>
                    <a:pt x="428227" y="96022"/>
                  </a:cubicBezTo>
                  <a:cubicBezTo>
                    <a:pt x="424956" y="101517"/>
                    <a:pt x="419936" y="105739"/>
                    <a:pt x="413965" y="108001"/>
                  </a:cubicBezTo>
                  <a:cubicBezTo>
                    <a:pt x="411987" y="108876"/>
                    <a:pt x="410086" y="109884"/>
                    <a:pt x="408260" y="111044"/>
                  </a:cubicBezTo>
                  <a:cubicBezTo>
                    <a:pt x="402289" y="115760"/>
                    <a:pt x="398277" y="122548"/>
                    <a:pt x="397041" y="130059"/>
                  </a:cubicBezTo>
                  <a:cubicBezTo>
                    <a:pt x="395292" y="136392"/>
                    <a:pt x="392611" y="142420"/>
                    <a:pt x="389055" y="147934"/>
                  </a:cubicBezTo>
                  <a:cubicBezTo>
                    <a:pt x="387001" y="150729"/>
                    <a:pt x="384643" y="153277"/>
                    <a:pt x="382019" y="155540"/>
                  </a:cubicBezTo>
                  <a:cubicBezTo>
                    <a:pt x="379623" y="157727"/>
                    <a:pt x="377512" y="160218"/>
                    <a:pt x="375744" y="162956"/>
                  </a:cubicBezTo>
                  <a:cubicBezTo>
                    <a:pt x="373919" y="166284"/>
                    <a:pt x="372625" y="169878"/>
                    <a:pt x="371941" y="173605"/>
                  </a:cubicBezTo>
                  <a:cubicBezTo>
                    <a:pt x="371104" y="177408"/>
                    <a:pt x="369830" y="181116"/>
                    <a:pt x="368138" y="184634"/>
                  </a:cubicBezTo>
                  <a:cubicBezTo>
                    <a:pt x="362376" y="194712"/>
                    <a:pt x="353876" y="202964"/>
                    <a:pt x="343608" y="208403"/>
                  </a:cubicBezTo>
                  <a:cubicBezTo>
                    <a:pt x="339444" y="211141"/>
                    <a:pt x="335431" y="214126"/>
                    <a:pt x="331628" y="217340"/>
                  </a:cubicBezTo>
                  <a:cubicBezTo>
                    <a:pt x="328148" y="220306"/>
                    <a:pt x="324840" y="223482"/>
                    <a:pt x="321740" y="226848"/>
                  </a:cubicBezTo>
                  <a:cubicBezTo>
                    <a:pt x="314229" y="235747"/>
                    <a:pt x="304797" y="242820"/>
                    <a:pt x="294168" y="247574"/>
                  </a:cubicBezTo>
                  <a:cubicBezTo>
                    <a:pt x="285744" y="250883"/>
                    <a:pt x="276788" y="252575"/>
                    <a:pt x="267737" y="252518"/>
                  </a:cubicBezTo>
                  <a:cubicBezTo>
                    <a:pt x="252581" y="251758"/>
                    <a:pt x="237616" y="248601"/>
                    <a:pt x="223431" y="243201"/>
                  </a:cubicBezTo>
                  <a:cubicBezTo>
                    <a:pt x="211641" y="238847"/>
                    <a:pt x="199395" y="235842"/>
                    <a:pt x="186921" y="234264"/>
                  </a:cubicBezTo>
                  <a:lnTo>
                    <a:pt x="175702" y="234264"/>
                  </a:lnTo>
                  <a:cubicBezTo>
                    <a:pt x="161631" y="235424"/>
                    <a:pt x="147768" y="230442"/>
                    <a:pt x="137671" y="220573"/>
                  </a:cubicBezTo>
                  <a:cubicBezTo>
                    <a:pt x="131776" y="214678"/>
                    <a:pt x="125882" y="209163"/>
                    <a:pt x="119987" y="203839"/>
                  </a:cubicBezTo>
                  <a:lnTo>
                    <a:pt x="111810" y="208023"/>
                  </a:lnTo>
                  <a:cubicBezTo>
                    <a:pt x="108806" y="209353"/>
                    <a:pt x="105878" y="210875"/>
                    <a:pt x="103063" y="212586"/>
                  </a:cubicBezTo>
                  <a:cubicBezTo>
                    <a:pt x="95647" y="216960"/>
                    <a:pt x="94506" y="223615"/>
                    <a:pt x="93365" y="234074"/>
                  </a:cubicBezTo>
                  <a:cubicBezTo>
                    <a:pt x="93213" y="243296"/>
                    <a:pt x="90228" y="252271"/>
                    <a:pt x="84808" y="259744"/>
                  </a:cubicBezTo>
                  <a:cubicBezTo>
                    <a:pt x="70547" y="274177"/>
                    <a:pt x="50391" y="281213"/>
                    <a:pt x="30234" y="278760"/>
                  </a:cubicBezTo>
                  <a:lnTo>
                    <a:pt x="21678" y="278760"/>
                  </a:lnTo>
                  <a:cubicBezTo>
                    <a:pt x="14394" y="278684"/>
                    <a:pt x="7131" y="279387"/>
                    <a:pt x="0" y="280851"/>
                  </a:cubicBezTo>
                  <a:cubicBezTo>
                    <a:pt x="2738" y="284464"/>
                    <a:pt x="5096" y="288344"/>
                    <a:pt x="7036" y="292451"/>
                  </a:cubicBezTo>
                  <a:cubicBezTo>
                    <a:pt x="9945" y="299753"/>
                    <a:pt x="12113" y="307340"/>
                    <a:pt x="13501" y="315079"/>
                  </a:cubicBezTo>
                  <a:cubicBezTo>
                    <a:pt x="14870" y="323617"/>
                    <a:pt x="17551" y="331907"/>
                    <a:pt x="21487" y="339609"/>
                  </a:cubicBezTo>
                  <a:cubicBezTo>
                    <a:pt x="29227" y="352330"/>
                    <a:pt x="39134" y="363587"/>
                    <a:pt x="50771" y="372886"/>
                  </a:cubicBezTo>
                  <a:lnTo>
                    <a:pt x="54954" y="376309"/>
                  </a:lnTo>
                  <a:cubicBezTo>
                    <a:pt x="64063" y="382774"/>
                    <a:pt x="71327" y="391483"/>
                    <a:pt x="76062" y="401599"/>
                  </a:cubicBezTo>
                  <a:cubicBezTo>
                    <a:pt x="77982" y="405897"/>
                    <a:pt x="77982" y="410803"/>
                    <a:pt x="76062" y="415100"/>
                  </a:cubicBezTo>
                  <a:cubicBezTo>
                    <a:pt x="71155" y="421698"/>
                    <a:pt x="63835" y="426072"/>
                    <a:pt x="55715" y="427270"/>
                  </a:cubicBezTo>
                  <a:cubicBezTo>
                    <a:pt x="50391" y="428791"/>
                    <a:pt x="43925" y="430693"/>
                    <a:pt x="42785" y="433355"/>
                  </a:cubicBezTo>
                  <a:cubicBezTo>
                    <a:pt x="41644" y="436017"/>
                    <a:pt x="42785" y="436587"/>
                    <a:pt x="44306" y="439250"/>
                  </a:cubicBezTo>
                  <a:cubicBezTo>
                    <a:pt x="45694" y="441303"/>
                    <a:pt x="47595" y="442939"/>
                    <a:pt x="49820" y="444004"/>
                  </a:cubicBezTo>
                  <a:cubicBezTo>
                    <a:pt x="53224" y="445753"/>
                    <a:pt x="56152" y="448301"/>
                    <a:pt x="58377" y="451419"/>
                  </a:cubicBezTo>
                  <a:cubicBezTo>
                    <a:pt x="61306" y="456478"/>
                    <a:pt x="62504" y="462353"/>
                    <a:pt x="61800" y="468153"/>
                  </a:cubicBezTo>
                  <a:cubicBezTo>
                    <a:pt x="61800" y="470245"/>
                    <a:pt x="61800" y="472527"/>
                    <a:pt x="61800" y="474618"/>
                  </a:cubicBezTo>
                  <a:cubicBezTo>
                    <a:pt x="62199" y="476577"/>
                    <a:pt x="62770" y="478478"/>
                    <a:pt x="63511" y="480323"/>
                  </a:cubicBezTo>
                  <a:cubicBezTo>
                    <a:pt x="72087" y="464274"/>
                    <a:pt x="86216" y="451914"/>
                    <a:pt x="103253" y="445525"/>
                  </a:cubicBezTo>
                  <a:cubicBezTo>
                    <a:pt x="108578" y="442863"/>
                    <a:pt x="113902" y="440200"/>
                    <a:pt x="119036" y="436968"/>
                  </a:cubicBezTo>
                  <a:lnTo>
                    <a:pt x="124170" y="433925"/>
                  </a:lnTo>
                  <a:cubicBezTo>
                    <a:pt x="134952" y="426737"/>
                    <a:pt x="146266" y="420367"/>
                    <a:pt x="158018" y="414910"/>
                  </a:cubicBezTo>
                  <a:cubicBezTo>
                    <a:pt x="164236" y="412476"/>
                    <a:pt x="170587" y="410384"/>
                    <a:pt x="177033" y="408635"/>
                  </a:cubicBezTo>
                  <a:cubicBezTo>
                    <a:pt x="184088" y="406942"/>
                    <a:pt x="190971" y="404585"/>
                    <a:pt x="197570" y="401599"/>
                  </a:cubicBezTo>
                  <a:cubicBezTo>
                    <a:pt x="202761" y="398595"/>
                    <a:pt x="207230" y="394507"/>
                    <a:pt x="210691" y="389619"/>
                  </a:cubicBezTo>
                  <a:cubicBezTo>
                    <a:pt x="213219" y="386406"/>
                    <a:pt x="216015" y="383420"/>
                    <a:pt x="219057" y="380682"/>
                  </a:cubicBezTo>
                  <a:cubicBezTo>
                    <a:pt x="226302" y="374255"/>
                    <a:pt x="236247" y="371764"/>
                    <a:pt x="245679" y="374027"/>
                  </a:cubicBezTo>
                  <a:cubicBezTo>
                    <a:pt x="249653" y="374692"/>
                    <a:pt x="253684" y="374692"/>
                    <a:pt x="257659" y="374027"/>
                  </a:cubicBezTo>
                  <a:cubicBezTo>
                    <a:pt x="262678" y="372981"/>
                    <a:pt x="267489" y="371117"/>
                    <a:pt x="271920" y="368512"/>
                  </a:cubicBezTo>
                  <a:cubicBezTo>
                    <a:pt x="278480" y="364291"/>
                    <a:pt x="286010" y="361800"/>
                    <a:pt x="293788" y="361286"/>
                  </a:cubicBezTo>
                  <a:cubicBezTo>
                    <a:pt x="303904" y="361629"/>
                    <a:pt x="313754" y="364633"/>
                    <a:pt x="322311" y="370033"/>
                  </a:cubicBezTo>
                  <a:lnTo>
                    <a:pt x="323832" y="370033"/>
                  </a:lnTo>
                  <a:cubicBezTo>
                    <a:pt x="332598" y="375396"/>
                    <a:pt x="342372" y="378875"/>
                    <a:pt x="352545" y="380302"/>
                  </a:cubicBezTo>
                  <a:cubicBezTo>
                    <a:pt x="360056" y="380606"/>
                    <a:pt x="367567" y="380150"/>
                    <a:pt x="374983" y="378971"/>
                  </a:cubicBezTo>
                  <a:cubicBezTo>
                    <a:pt x="382209" y="377792"/>
                    <a:pt x="389530" y="377278"/>
                    <a:pt x="396851" y="377450"/>
                  </a:cubicBezTo>
                  <a:cubicBezTo>
                    <a:pt x="428036" y="378591"/>
                    <a:pt x="434882" y="398367"/>
                    <a:pt x="440777" y="419093"/>
                  </a:cubicBezTo>
                  <a:lnTo>
                    <a:pt x="442678" y="425368"/>
                  </a:lnTo>
                  <a:cubicBezTo>
                    <a:pt x="448573" y="443052"/>
                    <a:pt x="461693" y="444384"/>
                    <a:pt x="482991" y="446856"/>
                  </a:cubicBezTo>
                  <a:cubicBezTo>
                    <a:pt x="488505" y="446856"/>
                    <a:pt x="494400" y="446856"/>
                    <a:pt x="500105" y="448567"/>
                  </a:cubicBezTo>
                  <a:cubicBezTo>
                    <a:pt x="515754" y="450564"/>
                    <a:pt x="531613" y="449974"/>
                    <a:pt x="547073" y="446856"/>
                  </a:cubicBezTo>
                  <a:cubicBezTo>
                    <a:pt x="560669" y="444288"/>
                    <a:pt x="574512" y="443281"/>
                    <a:pt x="588336" y="443813"/>
                  </a:cubicBezTo>
                  <a:cubicBezTo>
                    <a:pt x="603853" y="445372"/>
                    <a:pt x="619084" y="449081"/>
                    <a:pt x="633592" y="454842"/>
                  </a:cubicBezTo>
                  <a:cubicBezTo>
                    <a:pt x="645857" y="459558"/>
                    <a:pt x="658617" y="462867"/>
                    <a:pt x="671623" y="464730"/>
                  </a:cubicBezTo>
                  <a:cubicBezTo>
                    <a:pt x="695202" y="467392"/>
                    <a:pt x="719352" y="442482"/>
                    <a:pt x="733803" y="426699"/>
                  </a:cubicBezTo>
                  <a:cubicBezTo>
                    <a:pt x="758333" y="401409"/>
                    <a:pt x="744262" y="377450"/>
                    <a:pt x="728099" y="350638"/>
                  </a:cubicBezTo>
                  <a:cubicBezTo>
                    <a:pt x="716234" y="334190"/>
                    <a:pt x="708893" y="314908"/>
                    <a:pt x="706802" y="294733"/>
                  </a:cubicBezTo>
                  <a:cubicBezTo>
                    <a:pt x="707600" y="283475"/>
                    <a:pt x="711118" y="272580"/>
                    <a:pt x="717070" y="262977"/>
                  </a:cubicBezTo>
                  <a:cubicBezTo>
                    <a:pt x="718382" y="260828"/>
                    <a:pt x="719599" y="258604"/>
                    <a:pt x="720683" y="256322"/>
                  </a:cubicBezTo>
                  <a:cubicBezTo>
                    <a:pt x="722965" y="251378"/>
                    <a:pt x="724867" y="246053"/>
                    <a:pt x="726768" y="240539"/>
                  </a:cubicBezTo>
                  <a:cubicBezTo>
                    <a:pt x="729563" y="231259"/>
                    <a:pt x="733651" y="222417"/>
                    <a:pt x="738938" y="214298"/>
                  </a:cubicBezTo>
                  <a:cubicBezTo>
                    <a:pt x="742113" y="210152"/>
                    <a:pt x="745536" y="206216"/>
                    <a:pt x="749206" y="202508"/>
                  </a:cubicBezTo>
                  <a:cubicBezTo>
                    <a:pt x="754264" y="197944"/>
                    <a:pt x="758524" y="192544"/>
                    <a:pt x="761756" y="186535"/>
                  </a:cubicBezTo>
                  <a:cubicBezTo>
                    <a:pt x="762688" y="184557"/>
                    <a:pt x="763525" y="182523"/>
                    <a:pt x="764228" y="180450"/>
                  </a:cubicBezTo>
                  <a:cubicBezTo>
                    <a:pt x="764228" y="178929"/>
                    <a:pt x="765369" y="177218"/>
                    <a:pt x="766130" y="175506"/>
                  </a:cubicBezTo>
                  <a:cubicBezTo>
                    <a:pt x="756337" y="169573"/>
                    <a:pt x="747494" y="162195"/>
                    <a:pt x="739888" y="15363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3" name="Полилиния: фигура 382">
              <a:extLst>
                <a:ext uri="{FF2B5EF4-FFF2-40B4-BE49-F238E27FC236}">
                  <a16:creationId xmlns:a16="http://schemas.microsoft.com/office/drawing/2014/main" id="{5495551F-636A-30CB-816A-FAC220F51C7C}"/>
                </a:ext>
              </a:extLst>
            </p:cNvPr>
            <p:cNvSpPr/>
            <p:nvPr/>
          </p:nvSpPr>
          <p:spPr>
            <a:xfrm>
              <a:off x="4607278" y="2206816"/>
              <a:ext cx="31179" cy="31788"/>
            </a:xfrm>
            <a:custGeom>
              <a:avLst/>
              <a:gdLst>
                <a:gd name="connsiteX0" fmla="*/ 1797 w 32602"/>
                <a:gd name="connsiteY0" fmla="*/ 15822 h 33142"/>
                <a:gd name="connsiteX1" fmla="*/ 5410 w 32602"/>
                <a:gd name="connsiteY1" fmla="*/ 17724 h 33142"/>
                <a:gd name="connsiteX2" fmla="*/ 7882 w 32602"/>
                <a:gd name="connsiteY2" fmla="*/ 20576 h 33142"/>
                <a:gd name="connsiteX3" fmla="*/ 19671 w 32602"/>
                <a:gd name="connsiteY3" fmla="*/ 31605 h 33142"/>
                <a:gd name="connsiteX4" fmla="*/ 31081 w 32602"/>
                <a:gd name="connsiteY4" fmla="*/ 29737 h 33142"/>
                <a:gd name="connsiteX5" fmla="*/ 32602 w 32602"/>
                <a:gd name="connsiteY5" fmla="*/ 25520 h 33142"/>
                <a:gd name="connsiteX6" fmla="*/ 24425 w 32602"/>
                <a:gd name="connsiteY6" fmla="*/ 12019 h 33142"/>
                <a:gd name="connsiteX7" fmla="*/ 24425 w 32602"/>
                <a:gd name="connsiteY7" fmla="*/ 8406 h 33142"/>
                <a:gd name="connsiteX8" fmla="*/ 21573 w 32602"/>
                <a:gd name="connsiteY8" fmla="*/ 5744 h 33142"/>
                <a:gd name="connsiteX9" fmla="*/ 276 w 32602"/>
                <a:gd name="connsiteY9" fmla="*/ 610 h 33142"/>
                <a:gd name="connsiteX10" fmla="*/ 276 w 32602"/>
                <a:gd name="connsiteY10" fmla="*/ 8596 h 33142"/>
                <a:gd name="connsiteX11" fmla="*/ 1797 w 32602"/>
                <a:gd name="connsiteY11" fmla="*/ 15822 h 33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602" h="33142">
                  <a:moveTo>
                    <a:pt x="1797" y="15822"/>
                  </a:moveTo>
                  <a:lnTo>
                    <a:pt x="5410" y="17724"/>
                  </a:lnTo>
                  <a:cubicBezTo>
                    <a:pt x="6342" y="18583"/>
                    <a:pt x="7159" y="19540"/>
                    <a:pt x="7882" y="20576"/>
                  </a:cubicBezTo>
                  <a:cubicBezTo>
                    <a:pt x="11191" y="24864"/>
                    <a:pt x="15165" y="28589"/>
                    <a:pt x="19671" y="31605"/>
                  </a:cubicBezTo>
                  <a:cubicBezTo>
                    <a:pt x="23341" y="34240"/>
                    <a:pt x="28457" y="33406"/>
                    <a:pt x="31081" y="29737"/>
                  </a:cubicBezTo>
                  <a:cubicBezTo>
                    <a:pt x="31974" y="28502"/>
                    <a:pt x="32507" y="27039"/>
                    <a:pt x="32602" y="25520"/>
                  </a:cubicBezTo>
                  <a:cubicBezTo>
                    <a:pt x="32602" y="18674"/>
                    <a:pt x="25756" y="17914"/>
                    <a:pt x="24425" y="12019"/>
                  </a:cubicBezTo>
                  <a:cubicBezTo>
                    <a:pt x="24615" y="10821"/>
                    <a:pt x="24615" y="9604"/>
                    <a:pt x="24425" y="8406"/>
                  </a:cubicBezTo>
                  <a:cubicBezTo>
                    <a:pt x="23722" y="7292"/>
                    <a:pt x="22733" y="6375"/>
                    <a:pt x="21573" y="5744"/>
                  </a:cubicBezTo>
                  <a:cubicBezTo>
                    <a:pt x="15659" y="809"/>
                    <a:pt x="7787" y="-1090"/>
                    <a:pt x="276" y="610"/>
                  </a:cubicBezTo>
                  <a:cubicBezTo>
                    <a:pt x="656" y="3259"/>
                    <a:pt x="656" y="5947"/>
                    <a:pt x="276" y="8596"/>
                  </a:cubicBezTo>
                  <a:cubicBezTo>
                    <a:pt x="-390" y="11110"/>
                    <a:pt x="162" y="13793"/>
                    <a:pt x="1797" y="1582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4" name="Полилиния: фигура 383">
              <a:extLst>
                <a:ext uri="{FF2B5EF4-FFF2-40B4-BE49-F238E27FC236}">
                  <a16:creationId xmlns:a16="http://schemas.microsoft.com/office/drawing/2014/main" id="{88978FF1-815B-1A9B-8BE8-20F965880765}"/>
                </a:ext>
              </a:extLst>
            </p:cNvPr>
            <p:cNvSpPr/>
            <p:nvPr/>
          </p:nvSpPr>
          <p:spPr>
            <a:xfrm>
              <a:off x="4698461" y="2035850"/>
              <a:ext cx="34132" cy="30601"/>
            </a:xfrm>
            <a:custGeom>
              <a:avLst/>
              <a:gdLst>
                <a:gd name="connsiteX0" fmla="*/ 5332 w 35690"/>
                <a:gd name="connsiteY0" fmla="*/ 17415 h 31904"/>
                <a:gd name="connsiteX1" fmla="*/ 15220 w 35690"/>
                <a:gd name="connsiteY1" fmla="*/ 30916 h 31904"/>
                <a:gd name="connsiteX2" fmla="*/ 25869 w 35690"/>
                <a:gd name="connsiteY2" fmla="*/ 30916 h 31904"/>
                <a:gd name="connsiteX3" fmla="*/ 31384 w 35690"/>
                <a:gd name="connsiteY3" fmla="*/ 28254 h 31904"/>
                <a:gd name="connsiteX4" fmla="*/ 34236 w 35690"/>
                <a:gd name="connsiteY4" fmla="*/ 14372 h 31904"/>
                <a:gd name="connsiteX5" fmla="*/ 34236 w 35690"/>
                <a:gd name="connsiteY5" fmla="*/ 1632 h 31904"/>
                <a:gd name="connsiteX6" fmla="*/ 27390 w 35690"/>
                <a:gd name="connsiteY6" fmla="*/ 111 h 31904"/>
                <a:gd name="connsiteX7" fmla="*/ 18833 w 35690"/>
                <a:gd name="connsiteY7" fmla="*/ 111 h 31904"/>
                <a:gd name="connsiteX8" fmla="*/ 16361 w 35690"/>
                <a:gd name="connsiteY8" fmla="*/ 1632 h 31904"/>
                <a:gd name="connsiteX9" fmla="*/ 7234 w 35690"/>
                <a:gd name="connsiteY9" fmla="*/ 3914 h 31904"/>
                <a:gd name="connsiteX10" fmla="*/ 8 w 35690"/>
                <a:gd name="connsiteY10" fmla="*/ 9428 h 31904"/>
                <a:gd name="connsiteX11" fmla="*/ 5332 w 35690"/>
                <a:gd name="connsiteY11" fmla="*/ 17415 h 3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690" h="31904">
                  <a:moveTo>
                    <a:pt x="5332" y="17415"/>
                  </a:moveTo>
                  <a:cubicBezTo>
                    <a:pt x="9326" y="21408"/>
                    <a:pt x="10086" y="28444"/>
                    <a:pt x="15220" y="30916"/>
                  </a:cubicBezTo>
                  <a:cubicBezTo>
                    <a:pt x="18643" y="32234"/>
                    <a:pt x="22446" y="32234"/>
                    <a:pt x="25869" y="30916"/>
                  </a:cubicBezTo>
                  <a:cubicBezTo>
                    <a:pt x="27904" y="30505"/>
                    <a:pt x="29805" y="29590"/>
                    <a:pt x="31384" y="28254"/>
                  </a:cubicBezTo>
                  <a:cubicBezTo>
                    <a:pt x="34806" y="24831"/>
                    <a:pt x="33475" y="19126"/>
                    <a:pt x="34236" y="14372"/>
                  </a:cubicBezTo>
                  <a:cubicBezTo>
                    <a:pt x="34997" y="9619"/>
                    <a:pt x="37088" y="4484"/>
                    <a:pt x="34236" y="1632"/>
                  </a:cubicBezTo>
                  <a:cubicBezTo>
                    <a:pt x="32220" y="290"/>
                    <a:pt x="29786" y="-254"/>
                    <a:pt x="27390" y="111"/>
                  </a:cubicBezTo>
                  <a:lnTo>
                    <a:pt x="18833" y="111"/>
                  </a:lnTo>
                  <a:cubicBezTo>
                    <a:pt x="17883" y="111"/>
                    <a:pt x="17122" y="1252"/>
                    <a:pt x="16361" y="1632"/>
                  </a:cubicBezTo>
                  <a:lnTo>
                    <a:pt x="7234" y="3914"/>
                  </a:lnTo>
                  <a:cubicBezTo>
                    <a:pt x="4001" y="3914"/>
                    <a:pt x="198" y="6196"/>
                    <a:pt x="8" y="9428"/>
                  </a:cubicBezTo>
                  <a:cubicBezTo>
                    <a:pt x="-182" y="12661"/>
                    <a:pt x="3051" y="14943"/>
                    <a:pt x="5332" y="1741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5" name="Полилиния: фигура 384">
              <a:extLst>
                <a:ext uri="{FF2B5EF4-FFF2-40B4-BE49-F238E27FC236}">
                  <a16:creationId xmlns:a16="http://schemas.microsoft.com/office/drawing/2014/main" id="{591D5D96-0C4A-E1C8-F9F9-CE2366CB64AE}"/>
                </a:ext>
              </a:extLst>
            </p:cNvPr>
            <p:cNvSpPr/>
            <p:nvPr/>
          </p:nvSpPr>
          <p:spPr>
            <a:xfrm>
              <a:off x="4943973" y="2016060"/>
              <a:ext cx="31909" cy="25624"/>
            </a:xfrm>
            <a:custGeom>
              <a:avLst/>
              <a:gdLst>
                <a:gd name="connsiteX0" fmla="*/ 19015 w 33365"/>
                <a:gd name="connsiteY0" fmla="*/ 26448 h 26715"/>
                <a:gd name="connsiteX1" fmla="*/ 22438 w 33365"/>
                <a:gd name="connsiteY1" fmla="*/ 23406 h 26715"/>
                <a:gd name="connsiteX2" fmla="*/ 28523 w 33365"/>
                <a:gd name="connsiteY2" fmla="*/ 21694 h 26715"/>
                <a:gd name="connsiteX3" fmla="*/ 33277 w 33365"/>
                <a:gd name="connsiteY3" fmla="*/ 12377 h 26715"/>
                <a:gd name="connsiteX4" fmla="*/ 28333 w 33365"/>
                <a:gd name="connsiteY4" fmla="*/ 1918 h 26715"/>
                <a:gd name="connsiteX5" fmla="*/ 26622 w 33365"/>
                <a:gd name="connsiteY5" fmla="*/ 207 h 26715"/>
                <a:gd name="connsiteX6" fmla="*/ 24150 w 33365"/>
                <a:gd name="connsiteY6" fmla="*/ 207 h 26715"/>
                <a:gd name="connsiteX7" fmla="*/ 9698 w 33365"/>
                <a:gd name="connsiteY7" fmla="*/ 4580 h 26715"/>
                <a:gd name="connsiteX8" fmla="*/ 6656 w 33365"/>
                <a:gd name="connsiteY8" fmla="*/ 4580 h 26715"/>
                <a:gd name="connsiteX9" fmla="*/ 1141 w 33365"/>
                <a:gd name="connsiteY9" fmla="*/ 11236 h 26715"/>
                <a:gd name="connsiteX10" fmla="*/ 0 w 33365"/>
                <a:gd name="connsiteY10" fmla="*/ 15419 h 26715"/>
                <a:gd name="connsiteX11" fmla="*/ 19015 w 33365"/>
                <a:gd name="connsiteY11" fmla="*/ 26448 h 26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65" h="26715">
                  <a:moveTo>
                    <a:pt x="19015" y="26448"/>
                  </a:moveTo>
                  <a:cubicBezTo>
                    <a:pt x="20347" y="26448"/>
                    <a:pt x="21297" y="24166"/>
                    <a:pt x="22438" y="23406"/>
                  </a:cubicBezTo>
                  <a:cubicBezTo>
                    <a:pt x="23579" y="22645"/>
                    <a:pt x="26622" y="23406"/>
                    <a:pt x="28523" y="21694"/>
                  </a:cubicBezTo>
                  <a:cubicBezTo>
                    <a:pt x="31908" y="19895"/>
                    <a:pt x="33809" y="16172"/>
                    <a:pt x="33277" y="12377"/>
                  </a:cubicBezTo>
                  <a:cubicBezTo>
                    <a:pt x="32630" y="8501"/>
                    <a:pt x="30919" y="4881"/>
                    <a:pt x="28333" y="1918"/>
                  </a:cubicBezTo>
                  <a:cubicBezTo>
                    <a:pt x="27915" y="1215"/>
                    <a:pt x="27325" y="627"/>
                    <a:pt x="26622" y="207"/>
                  </a:cubicBezTo>
                  <a:cubicBezTo>
                    <a:pt x="25823" y="-69"/>
                    <a:pt x="24948" y="-69"/>
                    <a:pt x="24150" y="207"/>
                  </a:cubicBezTo>
                  <a:cubicBezTo>
                    <a:pt x="19015" y="207"/>
                    <a:pt x="14642" y="4200"/>
                    <a:pt x="9698" y="4580"/>
                  </a:cubicBezTo>
                  <a:lnTo>
                    <a:pt x="6656" y="4580"/>
                  </a:lnTo>
                  <a:cubicBezTo>
                    <a:pt x="3803" y="4580"/>
                    <a:pt x="2282" y="8383"/>
                    <a:pt x="1141" y="11236"/>
                  </a:cubicBezTo>
                  <a:cubicBezTo>
                    <a:pt x="476" y="12534"/>
                    <a:pt x="76" y="13961"/>
                    <a:pt x="0" y="15419"/>
                  </a:cubicBezTo>
                  <a:cubicBezTo>
                    <a:pt x="190" y="21314"/>
                    <a:pt x="14452" y="28159"/>
                    <a:pt x="19015" y="26448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6" name="Полилиния: фигура 385">
              <a:extLst>
                <a:ext uri="{FF2B5EF4-FFF2-40B4-BE49-F238E27FC236}">
                  <a16:creationId xmlns:a16="http://schemas.microsoft.com/office/drawing/2014/main" id="{BEFE9044-8F0D-F984-603A-A3A58BEC0FF6}"/>
                </a:ext>
              </a:extLst>
            </p:cNvPr>
            <p:cNvSpPr/>
            <p:nvPr/>
          </p:nvSpPr>
          <p:spPr>
            <a:xfrm>
              <a:off x="4976327" y="2002762"/>
              <a:ext cx="221787" cy="339112"/>
            </a:xfrm>
            <a:custGeom>
              <a:avLst/>
              <a:gdLst>
                <a:gd name="connsiteX0" fmla="*/ 34054 w 231909"/>
                <a:gd name="connsiteY0" fmla="*/ 190534 h 353552"/>
                <a:gd name="connsiteX1" fmla="*/ 25878 w 231909"/>
                <a:gd name="connsiteY1" fmla="*/ 190534 h 353552"/>
                <a:gd name="connsiteX2" fmla="*/ 6862 w 231909"/>
                <a:gd name="connsiteY2" fmla="*/ 195668 h 353552"/>
                <a:gd name="connsiteX3" fmla="*/ 17 w 231909"/>
                <a:gd name="connsiteY3" fmla="*/ 211071 h 353552"/>
                <a:gd name="connsiteX4" fmla="*/ 12947 w 231909"/>
                <a:gd name="connsiteY4" fmla="*/ 230086 h 353552"/>
                <a:gd name="connsiteX5" fmla="*/ 34815 w 231909"/>
                <a:gd name="connsiteY5" fmla="*/ 237882 h 353552"/>
                <a:gd name="connsiteX6" fmla="*/ 38428 w 231909"/>
                <a:gd name="connsiteY6" fmla="*/ 239974 h 353552"/>
                <a:gd name="connsiteX7" fmla="*/ 44893 w 231909"/>
                <a:gd name="connsiteY7" fmla="*/ 236742 h 353552"/>
                <a:gd name="connsiteX8" fmla="*/ 57824 w 231909"/>
                <a:gd name="connsiteY8" fmla="*/ 198711 h 353552"/>
                <a:gd name="connsiteX9" fmla="*/ 57824 w 231909"/>
                <a:gd name="connsiteY9" fmla="*/ 193957 h 353552"/>
                <a:gd name="connsiteX10" fmla="*/ 61056 w 231909"/>
                <a:gd name="connsiteY10" fmla="*/ 191295 h 353552"/>
                <a:gd name="connsiteX11" fmla="*/ 62958 w 231909"/>
                <a:gd name="connsiteY11" fmla="*/ 189203 h 353552"/>
                <a:gd name="connsiteX12" fmla="*/ 76649 w 231909"/>
                <a:gd name="connsiteY12" fmla="*/ 180456 h 353552"/>
                <a:gd name="connsiteX13" fmla="*/ 80452 w 231909"/>
                <a:gd name="connsiteY13" fmla="*/ 177984 h 353552"/>
                <a:gd name="connsiteX14" fmla="*/ 85206 w 231909"/>
                <a:gd name="connsiteY14" fmla="*/ 177984 h 353552"/>
                <a:gd name="connsiteX15" fmla="*/ 85206 w 231909"/>
                <a:gd name="connsiteY15" fmla="*/ 182738 h 353552"/>
                <a:gd name="connsiteX16" fmla="*/ 83684 w 231909"/>
                <a:gd name="connsiteY16" fmla="*/ 184449 h 353552"/>
                <a:gd name="connsiteX17" fmla="*/ 80832 w 231909"/>
                <a:gd name="connsiteY17" fmla="*/ 189774 h 353552"/>
                <a:gd name="connsiteX18" fmla="*/ 77980 w 231909"/>
                <a:gd name="connsiteY18" fmla="*/ 197380 h 353552"/>
                <a:gd name="connsiteX19" fmla="*/ 75888 w 231909"/>
                <a:gd name="connsiteY19" fmla="*/ 204225 h 353552"/>
                <a:gd name="connsiteX20" fmla="*/ 75888 w 231909"/>
                <a:gd name="connsiteY20" fmla="*/ 208218 h 353552"/>
                <a:gd name="connsiteX21" fmla="*/ 75888 w 231909"/>
                <a:gd name="connsiteY21" fmla="*/ 219247 h 353552"/>
                <a:gd name="connsiteX22" fmla="*/ 74557 w 231909"/>
                <a:gd name="connsiteY22" fmla="*/ 224572 h 353552"/>
                <a:gd name="connsiteX23" fmla="*/ 71515 w 231909"/>
                <a:gd name="connsiteY23" fmla="*/ 230086 h 353552"/>
                <a:gd name="connsiteX24" fmla="*/ 63908 w 231909"/>
                <a:gd name="connsiteY24" fmla="*/ 239974 h 353552"/>
                <a:gd name="connsiteX25" fmla="*/ 53450 w 231909"/>
                <a:gd name="connsiteY25" fmla="*/ 251574 h 353552"/>
                <a:gd name="connsiteX26" fmla="*/ 55351 w 231909"/>
                <a:gd name="connsiteY26" fmla="*/ 265835 h 353552"/>
                <a:gd name="connsiteX27" fmla="*/ 60486 w 231909"/>
                <a:gd name="connsiteY27" fmla="*/ 265835 h 353552"/>
                <a:gd name="connsiteX28" fmla="*/ 63908 w 231909"/>
                <a:gd name="connsiteY28" fmla="*/ 262603 h 353552"/>
                <a:gd name="connsiteX29" fmla="*/ 65810 w 231909"/>
                <a:gd name="connsiteY29" fmla="*/ 262603 h 353552"/>
                <a:gd name="connsiteX30" fmla="*/ 67712 w 231909"/>
                <a:gd name="connsiteY30" fmla="*/ 262603 h 353552"/>
                <a:gd name="connsiteX31" fmla="*/ 70564 w 231909"/>
                <a:gd name="connsiteY31" fmla="*/ 269828 h 353552"/>
                <a:gd name="connsiteX32" fmla="*/ 101559 w 231909"/>
                <a:gd name="connsiteY32" fmla="*/ 324973 h 353552"/>
                <a:gd name="connsiteX33" fmla="*/ 105552 w 231909"/>
                <a:gd name="connsiteY33" fmla="*/ 327445 h 353552"/>
                <a:gd name="connsiteX34" fmla="*/ 115060 w 231909"/>
                <a:gd name="connsiteY34" fmla="*/ 324022 h 353552"/>
                <a:gd name="connsiteX35" fmla="*/ 132174 w 231909"/>
                <a:gd name="connsiteY35" fmla="*/ 330868 h 353552"/>
                <a:gd name="connsiteX36" fmla="*/ 139590 w 231909"/>
                <a:gd name="connsiteY36" fmla="*/ 330868 h 353552"/>
                <a:gd name="connsiteX37" fmla="*/ 166972 w 231909"/>
                <a:gd name="connsiteY37" fmla="*/ 348552 h 353552"/>
                <a:gd name="connsiteX38" fmla="*/ 209947 w 231909"/>
                <a:gd name="connsiteY38" fmla="*/ 349503 h 353552"/>
                <a:gd name="connsiteX39" fmla="*/ 222306 w 231909"/>
                <a:gd name="connsiteY39" fmla="*/ 344559 h 353552"/>
                <a:gd name="connsiteX40" fmla="*/ 231814 w 231909"/>
                <a:gd name="connsiteY40" fmla="*/ 323262 h 353552"/>
                <a:gd name="connsiteX41" fmla="*/ 223067 w 231909"/>
                <a:gd name="connsiteY41" fmla="*/ 301014 h 353552"/>
                <a:gd name="connsiteX42" fmla="*/ 216412 w 231909"/>
                <a:gd name="connsiteY42" fmla="*/ 282949 h 353552"/>
                <a:gd name="connsiteX43" fmla="*/ 219454 w 231909"/>
                <a:gd name="connsiteY43" fmla="*/ 276294 h 353552"/>
                <a:gd name="connsiteX44" fmla="*/ 224208 w 231909"/>
                <a:gd name="connsiteY44" fmla="*/ 247010 h 353552"/>
                <a:gd name="connsiteX45" fmla="*/ 224208 w 231909"/>
                <a:gd name="connsiteY45" fmla="*/ 208979 h 353552"/>
                <a:gd name="connsiteX46" fmla="*/ 203862 w 231909"/>
                <a:gd name="connsiteY46" fmla="*/ 177414 h 353552"/>
                <a:gd name="connsiteX47" fmla="*/ 184846 w 231909"/>
                <a:gd name="connsiteY47" fmla="*/ 179125 h 353552"/>
                <a:gd name="connsiteX48" fmla="*/ 182184 w 231909"/>
                <a:gd name="connsiteY48" fmla="*/ 189393 h 353552"/>
                <a:gd name="connsiteX49" fmla="*/ 176099 w 231909"/>
                <a:gd name="connsiteY49" fmla="*/ 206507 h 353552"/>
                <a:gd name="connsiteX50" fmla="*/ 171345 w 231909"/>
                <a:gd name="connsiteY50" fmla="*/ 213163 h 353552"/>
                <a:gd name="connsiteX51" fmla="*/ 167732 w 231909"/>
                <a:gd name="connsiteY51" fmla="*/ 219818 h 353552"/>
                <a:gd name="connsiteX52" fmla="*/ 162979 w 231909"/>
                <a:gd name="connsiteY52" fmla="*/ 224191 h 353552"/>
                <a:gd name="connsiteX53" fmla="*/ 158035 w 231909"/>
                <a:gd name="connsiteY53" fmla="*/ 229706 h 353552"/>
                <a:gd name="connsiteX54" fmla="*/ 151379 w 231909"/>
                <a:gd name="connsiteY54" fmla="*/ 229706 h 353552"/>
                <a:gd name="connsiteX55" fmla="*/ 151379 w 231909"/>
                <a:gd name="connsiteY55" fmla="*/ 226093 h 353552"/>
                <a:gd name="connsiteX56" fmla="*/ 153851 w 231909"/>
                <a:gd name="connsiteY56" fmla="*/ 219628 h 353552"/>
                <a:gd name="connsiteX57" fmla="*/ 158985 w 231909"/>
                <a:gd name="connsiteY57" fmla="*/ 216015 h 353552"/>
                <a:gd name="connsiteX58" fmla="*/ 163359 w 231909"/>
                <a:gd name="connsiteY58" fmla="*/ 211261 h 353552"/>
                <a:gd name="connsiteX59" fmla="*/ 169063 w 231909"/>
                <a:gd name="connsiteY59" fmla="*/ 199662 h 353552"/>
                <a:gd name="connsiteX60" fmla="*/ 166972 w 231909"/>
                <a:gd name="connsiteY60" fmla="*/ 174561 h 353552"/>
                <a:gd name="connsiteX61" fmla="*/ 137688 w 231909"/>
                <a:gd name="connsiteY61" fmla="*/ 164103 h 353552"/>
                <a:gd name="connsiteX62" fmla="*/ 128370 w 231909"/>
                <a:gd name="connsiteY62" fmla="*/ 173610 h 353552"/>
                <a:gd name="connsiteX63" fmla="*/ 107263 w 231909"/>
                <a:gd name="connsiteY63" fmla="*/ 176082 h 353552"/>
                <a:gd name="connsiteX64" fmla="*/ 112778 w 231909"/>
                <a:gd name="connsiteY64" fmla="*/ 164293 h 353552"/>
                <a:gd name="connsiteX65" fmla="*/ 127610 w 231909"/>
                <a:gd name="connsiteY65" fmla="*/ 161250 h 353552"/>
                <a:gd name="connsiteX66" fmla="*/ 139209 w 231909"/>
                <a:gd name="connsiteY66" fmla="*/ 140143 h 353552"/>
                <a:gd name="connsiteX67" fmla="*/ 140350 w 231909"/>
                <a:gd name="connsiteY67" fmla="*/ 126452 h 353552"/>
                <a:gd name="connsiteX68" fmla="*/ 135216 w 231909"/>
                <a:gd name="connsiteY68" fmla="*/ 96218 h 353552"/>
                <a:gd name="connsiteX69" fmla="*/ 152520 w 231909"/>
                <a:gd name="connsiteY69" fmla="*/ 83478 h 353552"/>
                <a:gd name="connsiteX70" fmla="*/ 144534 w 231909"/>
                <a:gd name="connsiteY70" fmla="*/ 59898 h 353552"/>
                <a:gd name="connsiteX71" fmla="*/ 123236 w 231909"/>
                <a:gd name="connsiteY71" fmla="*/ 42785 h 353552"/>
                <a:gd name="connsiteX72" fmla="*/ 117722 w 231909"/>
                <a:gd name="connsiteY72" fmla="*/ 27002 h 353552"/>
                <a:gd name="connsiteX73" fmla="*/ 109355 w 231909"/>
                <a:gd name="connsiteY73" fmla="*/ 17304 h 353552"/>
                <a:gd name="connsiteX74" fmla="*/ 103080 w 231909"/>
                <a:gd name="connsiteY74" fmla="*/ 7036 h 353552"/>
                <a:gd name="connsiteX75" fmla="*/ 96995 w 231909"/>
                <a:gd name="connsiteY75" fmla="*/ 0 h 353552"/>
                <a:gd name="connsiteX76" fmla="*/ 90340 w 231909"/>
                <a:gd name="connsiteY76" fmla="*/ 3993 h 353552"/>
                <a:gd name="connsiteX77" fmla="*/ 71324 w 231909"/>
                <a:gd name="connsiteY77" fmla="*/ 30805 h 353552"/>
                <a:gd name="connsiteX78" fmla="*/ 61627 w 231909"/>
                <a:gd name="connsiteY78" fmla="*/ 35559 h 353552"/>
                <a:gd name="connsiteX79" fmla="*/ 42611 w 231909"/>
                <a:gd name="connsiteY79" fmla="*/ 47158 h 353552"/>
                <a:gd name="connsiteX80" fmla="*/ 32153 w 231909"/>
                <a:gd name="connsiteY80" fmla="*/ 57997 h 353552"/>
                <a:gd name="connsiteX81" fmla="*/ 30631 w 231909"/>
                <a:gd name="connsiteY81" fmla="*/ 70737 h 353552"/>
                <a:gd name="connsiteX82" fmla="*/ 27779 w 231909"/>
                <a:gd name="connsiteY82" fmla="*/ 81006 h 353552"/>
                <a:gd name="connsiteX83" fmla="*/ 34625 w 231909"/>
                <a:gd name="connsiteY83" fmla="*/ 93175 h 353552"/>
                <a:gd name="connsiteX84" fmla="*/ 27969 w 231909"/>
                <a:gd name="connsiteY84" fmla="*/ 115423 h 353552"/>
                <a:gd name="connsiteX85" fmla="*/ 13328 w 231909"/>
                <a:gd name="connsiteY85" fmla="*/ 134439 h 353552"/>
                <a:gd name="connsiteX86" fmla="*/ 7433 w 231909"/>
                <a:gd name="connsiteY86" fmla="*/ 145658 h 353552"/>
                <a:gd name="connsiteX87" fmla="*/ 13137 w 231909"/>
                <a:gd name="connsiteY87" fmla="*/ 155736 h 353552"/>
                <a:gd name="connsiteX88" fmla="*/ 21694 w 231909"/>
                <a:gd name="connsiteY88" fmla="*/ 153644 h 353552"/>
                <a:gd name="connsiteX89" fmla="*/ 26068 w 231909"/>
                <a:gd name="connsiteY89" fmla="*/ 153644 h 353552"/>
                <a:gd name="connsiteX90" fmla="*/ 27399 w 231909"/>
                <a:gd name="connsiteY90" fmla="*/ 154975 h 353552"/>
                <a:gd name="connsiteX91" fmla="*/ 30061 w 231909"/>
                <a:gd name="connsiteY91" fmla="*/ 167906 h 353552"/>
                <a:gd name="connsiteX92" fmla="*/ 38998 w 231909"/>
                <a:gd name="connsiteY92" fmla="*/ 184069 h 353552"/>
                <a:gd name="connsiteX93" fmla="*/ 34054 w 231909"/>
                <a:gd name="connsiteY93" fmla="*/ 190534 h 35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231909" h="353552">
                  <a:moveTo>
                    <a:pt x="34054" y="190534"/>
                  </a:moveTo>
                  <a:cubicBezTo>
                    <a:pt x="31354" y="191010"/>
                    <a:pt x="28578" y="191010"/>
                    <a:pt x="25878" y="190534"/>
                  </a:cubicBezTo>
                  <a:cubicBezTo>
                    <a:pt x="19127" y="189846"/>
                    <a:pt x="12358" y="191675"/>
                    <a:pt x="6862" y="195668"/>
                  </a:cubicBezTo>
                  <a:cubicBezTo>
                    <a:pt x="2299" y="199456"/>
                    <a:pt x="-231" y="205151"/>
                    <a:pt x="17" y="211071"/>
                  </a:cubicBezTo>
                  <a:cubicBezTo>
                    <a:pt x="1690" y="218848"/>
                    <a:pt x="6330" y="225669"/>
                    <a:pt x="12947" y="230086"/>
                  </a:cubicBezTo>
                  <a:cubicBezTo>
                    <a:pt x="19222" y="234840"/>
                    <a:pt x="28350" y="233319"/>
                    <a:pt x="34815" y="237882"/>
                  </a:cubicBezTo>
                  <a:cubicBezTo>
                    <a:pt x="35899" y="238761"/>
                    <a:pt x="37116" y="239467"/>
                    <a:pt x="38428" y="239974"/>
                  </a:cubicBezTo>
                  <a:cubicBezTo>
                    <a:pt x="40900" y="239974"/>
                    <a:pt x="43182" y="238643"/>
                    <a:pt x="44893" y="236742"/>
                  </a:cubicBezTo>
                  <a:cubicBezTo>
                    <a:pt x="54382" y="226466"/>
                    <a:pt x="59098" y="212647"/>
                    <a:pt x="57824" y="198711"/>
                  </a:cubicBezTo>
                  <a:cubicBezTo>
                    <a:pt x="57538" y="197140"/>
                    <a:pt x="57538" y="195528"/>
                    <a:pt x="57824" y="193957"/>
                  </a:cubicBezTo>
                  <a:cubicBezTo>
                    <a:pt x="57824" y="192626"/>
                    <a:pt x="60105" y="192245"/>
                    <a:pt x="61056" y="191295"/>
                  </a:cubicBezTo>
                  <a:cubicBezTo>
                    <a:pt x="61741" y="190643"/>
                    <a:pt x="62368" y="189943"/>
                    <a:pt x="62958" y="189203"/>
                  </a:cubicBezTo>
                  <a:cubicBezTo>
                    <a:pt x="67236" y="185851"/>
                    <a:pt x="71819" y="182922"/>
                    <a:pt x="76649" y="180456"/>
                  </a:cubicBezTo>
                  <a:cubicBezTo>
                    <a:pt x="77771" y="179418"/>
                    <a:pt x="79045" y="178581"/>
                    <a:pt x="80452" y="177984"/>
                  </a:cubicBezTo>
                  <a:cubicBezTo>
                    <a:pt x="81916" y="177134"/>
                    <a:pt x="83741" y="177134"/>
                    <a:pt x="85206" y="177984"/>
                  </a:cubicBezTo>
                  <a:cubicBezTo>
                    <a:pt x="86327" y="179374"/>
                    <a:pt x="86327" y="181348"/>
                    <a:pt x="85206" y="182738"/>
                  </a:cubicBezTo>
                  <a:lnTo>
                    <a:pt x="83684" y="184449"/>
                  </a:lnTo>
                  <a:cubicBezTo>
                    <a:pt x="82429" y="186048"/>
                    <a:pt x="81479" y="187849"/>
                    <a:pt x="80832" y="189774"/>
                  </a:cubicBezTo>
                  <a:lnTo>
                    <a:pt x="77980" y="197380"/>
                  </a:lnTo>
                  <a:cubicBezTo>
                    <a:pt x="77029" y="199574"/>
                    <a:pt x="76325" y="201871"/>
                    <a:pt x="75888" y="204225"/>
                  </a:cubicBezTo>
                  <a:cubicBezTo>
                    <a:pt x="75698" y="205551"/>
                    <a:pt x="75698" y="206893"/>
                    <a:pt x="75888" y="208218"/>
                  </a:cubicBezTo>
                  <a:lnTo>
                    <a:pt x="75888" y="219247"/>
                  </a:lnTo>
                  <a:cubicBezTo>
                    <a:pt x="75850" y="221099"/>
                    <a:pt x="75394" y="222921"/>
                    <a:pt x="74557" y="224572"/>
                  </a:cubicBezTo>
                  <a:cubicBezTo>
                    <a:pt x="73663" y="226471"/>
                    <a:pt x="72636" y="228312"/>
                    <a:pt x="71515" y="230086"/>
                  </a:cubicBezTo>
                  <a:cubicBezTo>
                    <a:pt x="69309" y="233619"/>
                    <a:pt x="66761" y="236930"/>
                    <a:pt x="63908" y="239974"/>
                  </a:cubicBezTo>
                  <a:cubicBezTo>
                    <a:pt x="59934" y="243368"/>
                    <a:pt x="56416" y="247268"/>
                    <a:pt x="53450" y="251574"/>
                  </a:cubicBezTo>
                  <a:cubicBezTo>
                    <a:pt x="50560" y="256162"/>
                    <a:pt x="51358" y="262167"/>
                    <a:pt x="55351" y="265835"/>
                  </a:cubicBezTo>
                  <a:cubicBezTo>
                    <a:pt x="56968" y="266649"/>
                    <a:pt x="58869" y="266649"/>
                    <a:pt x="60486" y="265835"/>
                  </a:cubicBezTo>
                  <a:cubicBezTo>
                    <a:pt x="62387" y="265835"/>
                    <a:pt x="62387" y="263553"/>
                    <a:pt x="63908" y="262603"/>
                  </a:cubicBezTo>
                  <a:cubicBezTo>
                    <a:pt x="64517" y="262386"/>
                    <a:pt x="65201" y="262386"/>
                    <a:pt x="65810" y="262603"/>
                  </a:cubicBezTo>
                  <a:cubicBezTo>
                    <a:pt x="65810" y="262603"/>
                    <a:pt x="67141" y="262603"/>
                    <a:pt x="67712" y="262603"/>
                  </a:cubicBezTo>
                  <a:cubicBezTo>
                    <a:pt x="68282" y="262603"/>
                    <a:pt x="69993" y="267547"/>
                    <a:pt x="70564" y="269828"/>
                  </a:cubicBezTo>
                  <a:cubicBezTo>
                    <a:pt x="75128" y="290903"/>
                    <a:pt x="85928" y="310118"/>
                    <a:pt x="101559" y="324973"/>
                  </a:cubicBezTo>
                  <a:cubicBezTo>
                    <a:pt x="102643" y="326146"/>
                    <a:pt x="104012" y="327000"/>
                    <a:pt x="105552" y="327445"/>
                  </a:cubicBezTo>
                  <a:cubicBezTo>
                    <a:pt x="108975" y="327445"/>
                    <a:pt x="111637" y="324593"/>
                    <a:pt x="115060" y="324022"/>
                  </a:cubicBezTo>
                  <a:cubicBezTo>
                    <a:pt x="121335" y="322691"/>
                    <a:pt x="125899" y="330487"/>
                    <a:pt x="132174" y="330868"/>
                  </a:cubicBezTo>
                  <a:cubicBezTo>
                    <a:pt x="134646" y="331054"/>
                    <a:pt x="137118" y="331054"/>
                    <a:pt x="139590" y="330868"/>
                  </a:cubicBezTo>
                  <a:cubicBezTo>
                    <a:pt x="150809" y="329537"/>
                    <a:pt x="158605" y="342277"/>
                    <a:pt x="166972" y="348552"/>
                  </a:cubicBezTo>
                  <a:cubicBezTo>
                    <a:pt x="180530" y="354871"/>
                    <a:pt x="196122" y="355215"/>
                    <a:pt x="209947" y="349503"/>
                  </a:cubicBezTo>
                  <a:cubicBezTo>
                    <a:pt x="214339" y="348657"/>
                    <a:pt x="218541" y="346978"/>
                    <a:pt x="222306" y="344559"/>
                  </a:cubicBezTo>
                  <a:cubicBezTo>
                    <a:pt x="228943" y="339586"/>
                    <a:pt x="232556" y="331528"/>
                    <a:pt x="231814" y="323262"/>
                  </a:cubicBezTo>
                  <a:cubicBezTo>
                    <a:pt x="230902" y="315205"/>
                    <a:pt x="227897" y="307530"/>
                    <a:pt x="223067" y="301014"/>
                  </a:cubicBezTo>
                  <a:cubicBezTo>
                    <a:pt x="219264" y="295499"/>
                    <a:pt x="214700" y="289224"/>
                    <a:pt x="216412" y="282949"/>
                  </a:cubicBezTo>
                  <a:cubicBezTo>
                    <a:pt x="217153" y="280616"/>
                    <a:pt x="218180" y="278380"/>
                    <a:pt x="219454" y="276294"/>
                  </a:cubicBezTo>
                  <a:cubicBezTo>
                    <a:pt x="223143" y="266993"/>
                    <a:pt x="224779" y="257001"/>
                    <a:pt x="224208" y="247010"/>
                  </a:cubicBezTo>
                  <a:cubicBezTo>
                    <a:pt x="225482" y="234365"/>
                    <a:pt x="225482" y="221624"/>
                    <a:pt x="224208" y="208979"/>
                  </a:cubicBezTo>
                  <a:cubicBezTo>
                    <a:pt x="222592" y="195904"/>
                    <a:pt x="215100" y="184280"/>
                    <a:pt x="203862" y="177414"/>
                  </a:cubicBezTo>
                  <a:cubicBezTo>
                    <a:pt x="197948" y="173287"/>
                    <a:pt x="189923" y="174008"/>
                    <a:pt x="184846" y="179125"/>
                  </a:cubicBezTo>
                  <a:cubicBezTo>
                    <a:pt x="183097" y="182264"/>
                    <a:pt x="182184" y="185799"/>
                    <a:pt x="182184" y="189393"/>
                  </a:cubicBezTo>
                  <a:cubicBezTo>
                    <a:pt x="181252" y="195431"/>
                    <a:pt x="179180" y="201236"/>
                    <a:pt x="176099" y="206507"/>
                  </a:cubicBezTo>
                  <a:cubicBezTo>
                    <a:pt x="174768" y="208979"/>
                    <a:pt x="172867" y="210881"/>
                    <a:pt x="171345" y="213163"/>
                  </a:cubicBezTo>
                  <a:cubicBezTo>
                    <a:pt x="170281" y="215458"/>
                    <a:pt x="169082" y="217682"/>
                    <a:pt x="167732" y="219818"/>
                  </a:cubicBezTo>
                  <a:cubicBezTo>
                    <a:pt x="166249" y="221373"/>
                    <a:pt x="164652" y="222834"/>
                    <a:pt x="162979" y="224191"/>
                  </a:cubicBezTo>
                  <a:cubicBezTo>
                    <a:pt x="161438" y="226118"/>
                    <a:pt x="159784" y="227958"/>
                    <a:pt x="158035" y="229706"/>
                  </a:cubicBezTo>
                  <a:cubicBezTo>
                    <a:pt x="156114" y="231339"/>
                    <a:pt x="153300" y="231339"/>
                    <a:pt x="151379" y="229706"/>
                  </a:cubicBezTo>
                  <a:cubicBezTo>
                    <a:pt x="150980" y="228533"/>
                    <a:pt x="150980" y="227266"/>
                    <a:pt x="151379" y="226093"/>
                  </a:cubicBezTo>
                  <a:cubicBezTo>
                    <a:pt x="151436" y="223720"/>
                    <a:pt x="152311" y="221440"/>
                    <a:pt x="153851" y="219628"/>
                  </a:cubicBezTo>
                  <a:cubicBezTo>
                    <a:pt x="155429" y="218255"/>
                    <a:pt x="157160" y="217045"/>
                    <a:pt x="158985" y="216015"/>
                  </a:cubicBezTo>
                  <a:cubicBezTo>
                    <a:pt x="160640" y="214617"/>
                    <a:pt x="162104" y="213022"/>
                    <a:pt x="163359" y="211261"/>
                  </a:cubicBezTo>
                  <a:cubicBezTo>
                    <a:pt x="166002" y="207808"/>
                    <a:pt x="167942" y="203866"/>
                    <a:pt x="169063" y="199662"/>
                  </a:cubicBezTo>
                  <a:cubicBezTo>
                    <a:pt x="171631" y="191337"/>
                    <a:pt x="170870" y="182348"/>
                    <a:pt x="166972" y="174561"/>
                  </a:cubicBezTo>
                  <a:cubicBezTo>
                    <a:pt x="161457" y="164103"/>
                    <a:pt x="147006" y="157067"/>
                    <a:pt x="137688" y="164103"/>
                  </a:cubicBezTo>
                  <a:cubicBezTo>
                    <a:pt x="134075" y="166765"/>
                    <a:pt x="131983" y="171138"/>
                    <a:pt x="128370" y="173610"/>
                  </a:cubicBezTo>
                  <a:cubicBezTo>
                    <a:pt x="121905" y="177104"/>
                    <a:pt x="114356" y="177988"/>
                    <a:pt x="107263" y="176082"/>
                  </a:cubicBezTo>
                  <a:cubicBezTo>
                    <a:pt x="103841" y="172279"/>
                    <a:pt x="107263" y="166004"/>
                    <a:pt x="112778" y="164293"/>
                  </a:cubicBezTo>
                  <a:cubicBezTo>
                    <a:pt x="117779" y="163572"/>
                    <a:pt x="122723" y="162557"/>
                    <a:pt x="127610" y="161250"/>
                  </a:cubicBezTo>
                  <a:cubicBezTo>
                    <a:pt x="134436" y="156308"/>
                    <a:pt x="138696" y="148562"/>
                    <a:pt x="139209" y="140143"/>
                  </a:cubicBezTo>
                  <a:cubicBezTo>
                    <a:pt x="140255" y="135658"/>
                    <a:pt x="140635" y="131046"/>
                    <a:pt x="140350" y="126452"/>
                  </a:cubicBezTo>
                  <a:cubicBezTo>
                    <a:pt x="138639" y="115804"/>
                    <a:pt x="129321" y="104965"/>
                    <a:pt x="135216" y="96218"/>
                  </a:cubicBezTo>
                  <a:cubicBezTo>
                    <a:pt x="141111" y="87471"/>
                    <a:pt x="148337" y="89372"/>
                    <a:pt x="152520" y="83478"/>
                  </a:cubicBezTo>
                  <a:cubicBezTo>
                    <a:pt x="156703" y="77583"/>
                    <a:pt x="152520" y="64462"/>
                    <a:pt x="144534" y="59898"/>
                  </a:cubicBezTo>
                  <a:cubicBezTo>
                    <a:pt x="136547" y="55335"/>
                    <a:pt x="127800" y="50771"/>
                    <a:pt x="123236" y="42785"/>
                  </a:cubicBezTo>
                  <a:cubicBezTo>
                    <a:pt x="121012" y="37669"/>
                    <a:pt x="119167" y="32395"/>
                    <a:pt x="117722" y="27002"/>
                  </a:cubicBezTo>
                  <a:cubicBezTo>
                    <a:pt x="116144" y="22898"/>
                    <a:pt x="113177" y="19472"/>
                    <a:pt x="109355" y="17304"/>
                  </a:cubicBezTo>
                  <a:cubicBezTo>
                    <a:pt x="104601" y="13881"/>
                    <a:pt x="104601" y="13691"/>
                    <a:pt x="103080" y="7036"/>
                  </a:cubicBezTo>
                  <a:cubicBezTo>
                    <a:pt x="103080" y="3803"/>
                    <a:pt x="100228" y="380"/>
                    <a:pt x="96995" y="0"/>
                  </a:cubicBezTo>
                  <a:cubicBezTo>
                    <a:pt x="94276" y="221"/>
                    <a:pt x="91823" y="1696"/>
                    <a:pt x="90340" y="3993"/>
                  </a:cubicBezTo>
                  <a:cubicBezTo>
                    <a:pt x="83494" y="12550"/>
                    <a:pt x="81212" y="24720"/>
                    <a:pt x="71324" y="30805"/>
                  </a:cubicBezTo>
                  <a:cubicBezTo>
                    <a:pt x="68320" y="32802"/>
                    <a:pt x="65049" y="34401"/>
                    <a:pt x="61627" y="35559"/>
                  </a:cubicBezTo>
                  <a:cubicBezTo>
                    <a:pt x="55028" y="38980"/>
                    <a:pt x="48677" y="42857"/>
                    <a:pt x="42611" y="47158"/>
                  </a:cubicBezTo>
                  <a:cubicBezTo>
                    <a:pt x="37971" y="49446"/>
                    <a:pt x="34263" y="53277"/>
                    <a:pt x="32153" y="57997"/>
                  </a:cubicBezTo>
                  <a:cubicBezTo>
                    <a:pt x="30822" y="61990"/>
                    <a:pt x="32153" y="66554"/>
                    <a:pt x="30631" y="70737"/>
                  </a:cubicBezTo>
                  <a:cubicBezTo>
                    <a:pt x="29224" y="74015"/>
                    <a:pt x="28254" y="77469"/>
                    <a:pt x="27779" y="81006"/>
                  </a:cubicBezTo>
                  <a:cubicBezTo>
                    <a:pt x="27779" y="85759"/>
                    <a:pt x="32723" y="88802"/>
                    <a:pt x="34625" y="93175"/>
                  </a:cubicBezTo>
                  <a:cubicBezTo>
                    <a:pt x="38047" y="100591"/>
                    <a:pt x="32913" y="108958"/>
                    <a:pt x="27969" y="115423"/>
                  </a:cubicBezTo>
                  <a:lnTo>
                    <a:pt x="13328" y="134439"/>
                  </a:lnTo>
                  <a:cubicBezTo>
                    <a:pt x="10494" y="137649"/>
                    <a:pt x="8459" y="141497"/>
                    <a:pt x="7433" y="145658"/>
                  </a:cubicBezTo>
                  <a:cubicBezTo>
                    <a:pt x="6615" y="149961"/>
                    <a:pt x="9030" y="154230"/>
                    <a:pt x="13137" y="155736"/>
                  </a:cubicBezTo>
                  <a:cubicBezTo>
                    <a:pt x="16161" y="156171"/>
                    <a:pt x="19222" y="155420"/>
                    <a:pt x="21694" y="153644"/>
                  </a:cubicBezTo>
                  <a:cubicBezTo>
                    <a:pt x="23025" y="153644"/>
                    <a:pt x="24737" y="151933"/>
                    <a:pt x="26068" y="153644"/>
                  </a:cubicBezTo>
                  <a:cubicBezTo>
                    <a:pt x="26638" y="153935"/>
                    <a:pt x="27114" y="154403"/>
                    <a:pt x="27399" y="154975"/>
                  </a:cubicBezTo>
                  <a:cubicBezTo>
                    <a:pt x="28977" y="159115"/>
                    <a:pt x="29871" y="163481"/>
                    <a:pt x="30061" y="167906"/>
                  </a:cubicBezTo>
                  <a:cubicBezTo>
                    <a:pt x="31012" y="174942"/>
                    <a:pt x="36146" y="178174"/>
                    <a:pt x="38998" y="184069"/>
                  </a:cubicBezTo>
                  <a:cubicBezTo>
                    <a:pt x="39949" y="186161"/>
                    <a:pt x="36906" y="189203"/>
                    <a:pt x="34054" y="19053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7" name="Полилиния: фигура 386">
              <a:extLst>
                <a:ext uri="{FF2B5EF4-FFF2-40B4-BE49-F238E27FC236}">
                  <a16:creationId xmlns:a16="http://schemas.microsoft.com/office/drawing/2014/main" id="{3B43B250-7C4E-70F8-5768-CE72F1C878E4}"/>
                </a:ext>
              </a:extLst>
            </p:cNvPr>
            <p:cNvSpPr/>
            <p:nvPr/>
          </p:nvSpPr>
          <p:spPr>
            <a:xfrm>
              <a:off x="5202039" y="2240640"/>
              <a:ext cx="158158" cy="205929"/>
            </a:xfrm>
            <a:custGeom>
              <a:avLst/>
              <a:gdLst>
                <a:gd name="connsiteX0" fmla="*/ 29650 w 165376"/>
                <a:gd name="connsiteY0" fmla="*/ 208742 h 214698"/>
                <a:gd name="connsiteX1" fmla="*/ 42961 w 165376"/>
                <a:gd name="connsiteY1" fmla="*/ 193340 h 214698"/>
                <a:gd name="connsiteX2" fmla="*/ 60265 w 165376"/>
                <a:gd name="connsiteY2" fmla="*/ 174324 h 214698"/>
                <a:gd name="connsiteX3" fmla="*/ 84224 w 165376"/>
                <a:gd name="connsiteY3" fmla="*/ 170711 h 214698"/>
                <a:gd name="connsiteX4" fmla="*/ 89358 w 165376"/>
                <a:gd name="connsiteY4" fmla="*/ 172423 h 214698"/>
                <a:gd name="connsiteX5" fmla="*/ 96204 w 165376"/>
                <a:gd name="connsiteY5" fmla="*/ 170141 h 214698"/>
                <a:gd name="connsiteX6" fmla="*/ 117881 w 165376"/>
                <a:gd name="connsiteY6" fmla="*/ 153217 h 214698"/>
                <a:gd name="connsiteX7" fmla="*/ 133664 w 165376"/>
                <a:gd name="connsiteY7" fmla="*/ 144280 h 214698"/>
                <a:gd name="connsiteX8" fmla="*/ 142791 w 165376"/>
                <a:gd name="connsiteY8" fmla="*/ 134012 h 214698"/>
                <a:gd name="connsiteX9" fmla="*/ 152679 w 165376"/>
                <a:gd name="connsiteY9" fmla="*/ 134012 h 214698"/>
                <a:gd name="connsiteX10" fmla="*/ 156672 w 165376"/>
                <a:gd name="connsiteY10" fmla="*/ 122602 h 214698"/>
                <a:gd name="connsiteX11" fmla="*/ 163898 w 165376"/>
                <a:gd name="connsiteY11" fmla="*/ 113095 h 214698"/>
                <a:gd name="connsiteX12" fmla="*/ 160476 w 165376"/>
                <a:gd name="connsiteY12" fmla="*/ 90086 h 214698"/>
                <a:gd name="connsiteX13" fmla="*/ 140510 w 165376"/>
                <a:gd name="connsiteY13" fmla="*/ 69169 h 214698"/>
                <a:gd name="connsiteX14" fmla="*/ 134615 w 165376"/>
                <a:gd name="connsiteY14" fmla="*/ 67268 h 214698"/>
                <a:gd name="connsiteX15" fmla="*/ 130812 w 165376"/>
                <a:gd name="connsiteY15" fmla="*/ 63465 h 214698"/>
                <a:gd name="connsiteX16" fmla="*/ 115789 w 165376"/>
                <a:gd name="connsiteY16" fmla="*/ 47111 h 214698"/>
                <a:gd name="connsiteX17" fmla="*/ 109324 w 165376"/>
                <a:gd name="connsiteY17" fmla="*/ 43498 h 214698"/>
                <a:gd name="connsiteX18" fmla="*/ 104761 w 165376"/>
                <a:gd name="connsiteY18" fmla="*/ 35132 h 214698"/>
                <a:gd name="connsiteX19" fmla="*/ 92971 w 165376"/>
                <a:gd name="connsiteY19" fmla="*/ 33230 h 214698"/>
                <a:gd name="connsiteX20" fmla="*/ 83464 w 165376"/>
                <a:gd name="connsiteY20" fmla="*/ 41787 h 214698"/>
                <a:gd name="connsiteX21" fmla="*/ 78710 w 165376"/>
                <a:gd name="connsiteY21" fmla="*/ 48633 h 214698"/>
                <a:gd name="connsiteX22" fmla="*/ 74526 w 165376"/>
                <a:gd name="connsiteY22" fmla="*/ 67648 h 214698"/>
                <a:gd name="connsiteX23" fmla="*/ 70153 w 165376"/>
                <a:gd name="connsiteY23" fmla="*/ 69549 h 214698"/>
                <a:gd name="connsiteX24" fmla="*/ 68632 w 165376"/>
                <a:gd name="connsiteY24" fmla="*/ 67838 h 214698"/>
                <a:gd name="connsiteX25" fmla="*/ 68632 w 165376"/>
                <a:gd name="connsiteY25" fmla="*/ 41026 h 214698"/>
                <a:gd name="connsiteX26" fmla="*/ 72054 w 165376"/>
                <a:gd name="connsiteY26" fmla="*/ 14025 h 214698"/>
                <a:gd name="connsiteX27" fmla="*/ 51898 w 165376"/>
                <a:gd name="connsiteY27" fmla="*/ 904 h 214698"/>
                <a:gd name="connsiteX28" fmla="*/ 39728 w 165376"/>
                <a:gd name="connsiteY28" fmla="*/ 15356 h 214698"/>
                <a:gd name="connsiteX29" fmla="*/ 28319 w 165376"/>
                <a:gd name="connsiteY29" fmla="*/ 28857 h 214698"/>
                <a:gd name="connsiteX30" fmla="*/ 22614 w 165376"/>
                <a:gd name="connsiteY30" fmla="*/ 45020 h 214698"/>
                <a:gd name="connsiteX31" fmla="*/ 26417 w 165376"/>
                <a:gd name="connsiteY31" fmla="*/ 61183 h 214698"/>
                <a:gd name="connsiteX32" fmla="*/ 20903 w 165376"/>
                <a:gd name="connsiteY32" fmla="*/ 75064 h 214698"/>
                <a:gd name="connsiteX33" fmla="*/ 23375 w 165376"/>
                <a:gd name="connsiteY33" fmla="*/ 91037 h 214698"/>
                <a:gd name="connsiteX34" fmla="*/ 11585 w 165376"/>
                <a:gd name="connsiteY34" fmla="*/ 124314 h 214698"/>
                <a:gd name="connsiteX35" fmla="*/ 10444 w 165376"/>
                <a:gd name="connsiteY35" fmla="*/ 164246 h 214698"/>
                <a:gd name="connsiteX36" fmla="*/ 7212 w 165376"/>
                <a:gd name="connsiteY36" fmla="*/ 170141 h 214698"/>
                <a:gd name="connsiteX37" fmla="*/ 5500 w 165376"/>
                <a:gd name="connsiteY37" fmla="*/ 180980 h 214698"/>
                <a:gd name="connsiteX38" fmla="*/ 1127 w 165376"/>
                <a:gd name="connsiteY38" fmla="*/ 194100 h 214698"/>
                <a:gd name="connsiteX39" fmla="*/ 1127 w 165376"/>
                <a:gd name="connsiteY39" fmla="*/ 207601 h 214698"/>
                <a:gd name="connsiteX40" fmla="*/ 29650 w 165376"/>
                <a:gd name="connsiteY40" fmla="*/ 208742 h 21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65376" h="214698">
                  <a:moveTo>
                    <a:pt x="29650" y="208742"/>
                  </a:moveTo>
                  <a:cubicBezTo>
                    <a:pt x="34784" y="204245"/>
                    <a:pt x="39253" y="199063"/>
                    <a:pt x="42961" y="193340"/>
                  </a:cubicBezTo>
                  <a:cubicBezTo>
                    <a:pt x="47467" y="185960"/>
                    <a:pt x="53343" y="179506"/>
                    <a:pt x="60265" y="174324"/>
                  </a:cubicBezTo>
                  <a:cubicBezTo>
                    <a:pt x="67224" y="169403"/>
                    <a:pt x="76123" y="168064"/>
                    <a:pt x="84224" y="170711"/>
                  </a:cubicBezTo>
                  <a:cubicBezTo>
                    <a:pt x="85878" y="171451"/>
                    <a:pt x="87589" y="172025"/>
                    <a:pt x="89358" y="172423"/>
                  </a:cubicBezTo>
                  <a:cubicBezTo>
                    <a:pt x="91830" y="172423"/>
                    <a:pt x="94226" y="171622"/>
                    <a:pt x="96204" y="170141"/>
                  </a:cubicBezTo>
                  <a:cubicBezTo>
                    <a:pt x="104000" y="165007"/>
                    <a:pt x="109895" y="157591"/>
                    <a:pt x="117881" y="153217"/>
                  </a:cubicBezTo>
                  <a:cubicBezTo>
                    <a:pt x="123662" y="151283"/>
                    <a:pt x="129024" y="148249"/>
                    <a:pt x="133664" y="144280"/>
                  </a:cubicBezTo>
                  <a:cubicBezTo>
                    <a:pt x="136706" y="140667"/>
                    <a:pt x="138227" y="135343"/>
                    <a:pt x="142791" y="134012"/>
                  </a:cubicBezTo>
                  <a:cubicBezTo>
                    <a:pt x="147355" y="132681"/>
                    <a:pt x="149827" y="134962"/>
                    <a:pt x="152679" y="134012"/>
                  </a:cubicBezTo>
                  <a:cubicBezTo>
                    <a:pt x="155531" y="133061"/>
                    <a:pt x="155151" y="126405"/>
                    <a:pt x="156672" y="122602"/>
                  </a:cubicBezTo>
                  <a:cubicBezTo>
                    <a:pt x="158194" y="118799"/>
                    <a:pt x="161807" y="116518"/>
                    <a:pt x="163898" y="113095"/>
                  </a:cubicBezTo>
                  <a:cubicBezTo>
                    <a:pt x="166732" y="105340"/>
                    <a:pt x="165438" y="96679"/>
                    <a:pt x="160476" y="90086"/>
                  </a:cubicBezTo>
                  <a:cubicBezTo>
                    <a:pt x="155912" y="81339"/>
                    <a:pt x="150207" y="71071"/>
                    <a:pt x="140510" y="69169"/>
                  </a:cubicBezTo>
                  <a:cubicBezTo>
                    <a:pt x="138475" y="68797"/>
                    <a:pt x="136478" y="68157"/>
                    <a:pt x="134615" y="67268"/>
                  </a:cubicBezTo>
                  <a:cubicBezTo>
                    <a:pt x="133074" y="66300"/>
                    <a:pt x="131781" y="65001"/>
                    <a:pt x="130812" y="63465"/>
                  </a:cubicBezTo>
                  <a:cubicBezTo>
                    <a:pt x="127047" y="56990"/>
                    <a:pt x="121931" y="51411"/>
                    <a:pt x="115789" y="47111"/>
                  </a:cubicBezTo>
                  <a:cubicBezTo>
                    <a:pt x="113412" y="46343"/>
                    <a:pt x="111226" y="45115"/>
                    <a:pt x="109324" y="43498"/>
                  </a:cubicBezTo>
                  <a:cubicBezTo>
                    <a:pt x="107233" y="41217"/>
                    <a:pt x="106852" y="37604"/>
                    <a:pt x="104761" y="35132"/>
                  </a:cubicBezTo>
                  <a:cubicBezTo>
                    <a:pt x="101661" y="31986"/>
                    <a:pt x="96888" y="31216"/>
                    <a:pt x="92971" y="33230"/>
                  </a:cubicBezTo>
                  <a:cubicBezTo>
                    <a:pt x="89206" y="35343"/>
                    <a:pt x="85954" y="38265"/>
                    <a:pt x="83464" y="41787"/>
                  </a:cubicBezTo>
                  <a:cubicBezTo>
                    <a:pt x="81486" y="43766"/>
                    <a:pt x="79869" y="46084"/>
                    <a:pt x="78710" y="48633"/>
                  </a:cubicBezTo>
                  <a:cubicBezTo>
                    <a:pt x="76238" y="54718"/>
                    <a:pt x="78710" y="62324"/>
                    <a:pt x="74526" y="67648"/>
                  </a:cubicBezTo>
                  <a:cubicBezTo>
                    <a:pt x="73575" y="69169"/>
                    <a:pt x="71674" y="70500"/>
                    <a:pt x="70153" y="69549"/>
                  </a:cubicBezTo>
                  <a:cubicBezTo>
                    <a:pt x="69506" y="69124"/>
                    <a:pt x="68973" y="68534"/>
                    <a:pt x="68632" y="67838"/>
                  </a:cubicBezTo>
                  <a:cubicBezTo>
                    <a:pt x="65380" y="59197"/>
                    <a:pt x="65380" y="49667"/>
                    <a:pt x="68632" y="41026"/>
                  </a:cubicBezTo>
                  <a:cubicBezTo>
                    <a:pt x="72016" y="32452"/>
                    <a:pt x="73195" y="23169"/>
                    <a:pt x="72054" y="14025"/>
                  </a:cubicBezTo>
                  <a:cubicBezTo>
                    <a:pt x="69962" y="5087"/>
                    <a:pt x="60265" y="-2709"/>
                    <a:pt x="51898" y="904"/>
                  </a:cubicBezTo>
                  <a:cubicBezTo>
                    <a:pt x="43531" y="4517"/>
                    <a:pt x="43341" y="10031"/>
                    <a:pt x="39728" y="15356"/>
                  </a:cubicBezTo>
                  <a:cubicBezTo>
                    <a:pt x="36115" y="20680"/>
                    <a:pt x="31932" y="24103"/>
                    <a:pt x="28319" y="28857"/>
                  </a:cubicBezTo>
                  <a:cubicBezTo>
                    <a:pt x="24363" y="33287"/>
                    <a:pt x="22329" y="39093"/>
                    <a:pt x="22614" y="45020"/>
                  </a:cubicBezTo>
                  <a:cubicBezTo>
                    <a:pt x="22614" y="50724"/>
                    <a:pt x="26988" y="55668"/>
                    <a:pt x="26417" y="61183"/>
                  </a:cubicBezTo>
                  <a:cubicBezTo>
                    <a:pt x="25847" y="66697"/>
                    <a:pt x="21854" y="70120"/>
                    <a:pt x="20903" y="75064"/>
                  </a:cubicBezTo>
                  <a:cubicBezTo>
                    <a:pt x="19952" y="80008"/>
                    <a:pt x="22994" y="85713"/>
                    <a:pt x="23375" y="91037"/>
                  </a:cubicBezTo>
                  <a:cubicBezTo>
                    <a:pt x="24516" y="103017"/>
                    <a:pt x="14057" y="112714"/>
                    <a:pt x="11585" y="124314"/>
                  </a:cubicBezTo>
                  <a:cubicBezTo>
                    <a:pt x="9113" y="135913"/>
                    <a:pt x="16529" y="152266"/>
                    <a:pt x="10444" y="164246"/>
                  </a:cubicBezTo>
                  <a:cubicBezTo>
                    <a:pt x="9227" y="166129"/>
                    <a:pt x="8143" y="168099"/>
                    <a:pt x="7212" y="170141"/>
                  </a:cubicBezTo>
                  <a:cubicBezTo>
                    <a:pt x="6261" y="173684"/>
                    <a:pt x="5690" y="177315"/>
                    <a:pt x="5500" y="180980"/>
                  </a:cubicBezTo>
                  <a:cubicBezTo>
                    <a:pt x="4416" y="185469"/>
                    <a:pt x="2952" y="189858"/>
                    <a:pt x="1127" y="194100"/>
                  </a:cubicBezTo>
                  <a:cubicBezTo>
                    <a:pt x="-376" y="198474"/>
                    <a:pt x="-376" y="203228"/>
                    <a:pt x="1127" y="207601"/>
                  </a:cubicBezTo>
                  <a:cubicBezTo>
                    <a:pt x="4550" y="219581"/>
                    <a:pt x="22614" y="213876"/>
                    <a:pt x="29650" y="20874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8" name="Полилиния: фигура 387">
              <a:extLst>
                <a:ext uri="{FF2B5EF4-FFF2-40B4-BE49-F238E27FC236}">
                  <a16:creationId xmlns:a16="http://schemas.microsoft.com/office/drawing/2014/main" id="{C6CF85EB-413B-41E9-8984-9AEC4A40E0BD}"/>
                </a:ext>
              </a:extLst>
            </p:cNvPr>
            <p:cNvSpPr/>
            <p:nvPr/>
          </p:nvSpPr>
          <p:spPr>
            <a:xfrm>
              <a:off x="5375528" y="2361336"/>
              <a:ext cx="52139" cy="38640"/>
            </a:xfrm>
            <a:custGeom>
              <a:avLst/>
              <a:gdLst>
                <a:gd name="connsiteX0" fmla="*/ 3979 w 54518"/>
                <a:gd name="connsiteY0" fmla="*/ 23579 h 40285"/>
                <a:gd name="connsiteX1" fmla="*/ 9493 w 54518"/>
                <a:gd name="connsiteY1" fmla="*/ 26431 h 40285"/>
                <a:gd name="connsiteX2" fmla="*/ 19572 w 54518"/>
                <a:gd name="connsiteY2" fmla="*/ 33847 h 40285"/>
                <a:gd name="connsiteX3" fmla="*/ 26607 w 54518"/>
                <a:gd name="connsiteY3" fmla="*/ 36510 h 40285"/>
                <a:gd name="connsiteX4" fmla="*/ 35354 w 54518"/>
                <a:gd name="connsiteY4" fmla="*/ 39932 h 40285"/>
                <a:gd name="connsiteX5" fmla="*/ 44102 w 54518"/>
                <a:gd name="connsiteY5" fmla="*/ 36890 h 40285"/>
                <a:gd name="connsiteX6" fmla="*/ 54370 w 54518"/>
                <a:gd name="connsiteY6" fmla="*/ 26812 h 40285"/>
                <a:gd name="connsiteX7" fmla="*/ 47334 w 54518"/>
                <a:gd name="connsiteY7" fmla="*/ 14832 h 40285"/>
                <a:gd name="connsiteX8" fmla="*/ 37065 w 54518"/>
                <a:gd name="connsiteY8" fmla="*/ 12930 h 40285"/>
                <a:gd name="connsiteX9" fmla="*/ 32122 w 54518"/>
                <a:gd name="connsiteY9" fmla="*/ 22058 h 40285"/>
                <a:gd name="connsiteX10" fmla="*/ 29650 w 54518"/>
                <a:gd name="connsiteY10" fmla="*/ 25290 h 40285"/>
                <a:gd name="connsiteX11" fmla="*/ 24516 w 54518"/>
                <a:gd name="connsiteY11" fmla="*/ 25290 h 40285"/>
                <a:gd name="connsiteX12" fmla="*/ 13106 w 54518"/>
                <a:gd name="connsiteY12" fmla="*/ 22058 h 40285"/>
                <a:gd name="connsiteX13" fmla="*/ 17290 w 54518"/>
                <a:gd name="connsiteY13" fmla="*/ 8937 h 40285"/>
                <a:gd name="connsiteX14" fmla="*/ 18811 w 54518"/>
                <a:gd name="connsiteY14" fmla="*/ 7226 h 40285"/>
                <a:gd name="connsiteX15" fmla="*/ 18811 w 54518"/>
                <a:gd name="connsiteY15" fmla="*/ 4754 h 40285"/>
                <a:gd name="connsiteX16" fmla="*/ 11014 w 54518"/>
                <a:gd name="connsiteY16" fmla="*/ 0 h 40285"/>
                <a:gd name="connsiteX17" fmla="*/ 4169 w 54518"/>
                <a:gd name="connsiteY17" fmla="*/ 5705 h 40285"/>
                <a:gd name="connsiteX18" fmla="*/ 556 w 54518"/>
                <a:gd name="connsiteY18" fmla="*/ 16733 h 40285"/>
                <a:gd name="connsiteX19" fmla="*/ 556 w 54518"/>
                <a:gd name="connsiteY19" fmla="*/ 21107 h 40285"/>
                <a:gd name="connsiteX20" fmla="*/ 3979 w 54518"/>
                <a:gd name="connsiteY20" fmla="*/ 23579 h 4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518" h="40285">
                  <a:moveTo>
                    <a:pt x="3979" y="23579"/>
                  </a:moveTo>
                  <a:lnTo>
                    <a:pt x="9493" y="26431"/>
                  </a:lnTo>
                  <a:cubicBezTo>
                    <a:pt x="13125" y="28514"/>
                    <a:pt x="16510" y="31001"/>
                    <a:pt x="19572" y="33847"/>
                  </a:cubicBezTo>
                  <a:cubicBezTo>
                    <a:pt x="22233" y="36319"/>
                    <a:pt x="23565" y="35559"/>
                    <a:pt x="26607" y="36510"/>
                  </a:cubicBezTo>
                  <a:cubicBezTo>
                    <a:pt x="29650" y="37460"/>
                    <a:pt x="32502" y="38982"/>
                    <a:pt x="35354" y="39932"/>
                  </a:cubicBezTo>
                  <a:cubicBezTo>
                    <a:pt x="38206" y="40883"/>
                    <a:pt x="40678" y="39932"/>
                    <a:pt x="44102" y="36890"/>
                  </a:cubicBezTo>
                  <a:cubicBezTo>
                    <a:pt x="47847" y="33872"/>
                    <a:pt x="51289" y="30497"/>
                    <a:pt x="54370" y="26812"/>
                  </a:cubicBezTo>
                  <a:cubicBezTo>
                    <a:pt x="55510" y="23579"/>
                    <a:pt x="49806" y="17494"/>
                    <a:pt x="47334" y="14832"/>
                  </a:cubicBezTo>
                  <a:cubicBezTo>
                    <a:pt x="44425" y="12577"/>
                    <a:pt x="40602" y="11869"/>
                    <a:pt x="37065" y="12930"/>
                  </a:cubicBezTo>
                  <a:lnTo>
                    <a:pt x="32122" y="22058"/>
                  </a:lnTo>
                  <a:cubicBezTo>
                    <a:pt x="31513" y="23286"/>
                    <a:pt x="30676" y="24385"/>
                    <a:pt x="29650" y="25290"/>
                  </a:cubicBezTo>
                  <a:cubicBezTo>
                    <a:pt x="27976" y="25855"/>
                    <a:pt x="26189" y="25855"/>
                    <a:pt x="24516" y="25290"/>
                  </a:cubicBezTo>
                  <a:cubicBezTo>
                    <a:pt x="20446" y="25716"/>
                    <a:pt x="16358" y="24560"/>
                    <a:pt x="13106" y="22058"/>
                  </a:cubicBezTo>
                  <a:cubicBezTo>
                    <a:pt x="11813" y="17243"/>
                    <a:pt x="13449" y="12115"/>
                    <a:pt x="17290" y="8937"/>
                  </a:cubicBezTo>
                  <a:cubicBezTo>
                    <a:pt x="17974" y="8559"/>
                    <a:pt x="18507" y="7954"/>
                    <a:pt x="18811" y="7226"/>
                  </a:cubicBezTo>
                  <a:cubicBezTo>
                    <a:pt x="19134" y="6435"/>
                    <a:pt x="19134" y="5545"/>
                    <a:pt x="18811" y="4754"/>
                  </a:cubicBezTo>
                  <a:cubicBezTo>
                    <a:pt x="16947" y="2187"/>
                    <a:pt x="14152" y="474"/>
                    <a:pt x="11014" y="0"/>
                  </a:cubicBezTo>
                  <a:cubicBezTo>
                    <a:pt x="7972" y="0"/>
                    <a:pt x="5690" y="3043"/>
                    <a:pt x="4169" y="5705"/>
                  </a:cubicBezTo>
                  <a:cubicBezTo>
                    <a:pt x="2515" y="9217"/>
                    <a:pt x="1298" y="12921"/>
                    <a:pt x="556" y="16733"/>
                  </a:cubicBezTo>
                  <a:cubicBezTo>
                    <a:pt x="-185" y="18097"/>
                    <a:pt x="-185" y="19744"/>
                    <a:pt x="556" y="21107"/>
                  </a:cubicBezTo>
                  <a:cubicBezTo>
                    <a:pt x="1317" y="23009"/>
                    <a:pt x="2838" y="23009"/>
                    <a:pt x="3979" y="2357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89" name="Полилиния: фигура 388">
              <a:extLst>
                <a:ext uri="{FF2B5EF4-FFF2-40B4-BE49-F238E27FC236}">
                  <a16:creationId xmlns:a16="http://schemas.microsoft.com/office/drawing/2014/main" id="{0565D5DF-0F4E-5CAB-CAF2-CDF699CDDA10}"/>
                </a:ext>
              </a:extLst>
            </p:cNvPr>
            <p:cNvSpPr/>
            <p:nvPr/>
          </p:nvSpPr>
          <p:spPr>
            <a:xfrm>
              <a:off x="5440595" y="2486180"/>
              <a:ext cx="14692" cy="14849"/>
            </a:xfrm>
            <a:custGeom>
              <a:avLst/>
              <a:gdLst>
                <a:gd name="connsiteX0" fmla="*/ 8200 w 15362"/>
                <a:gd name="connsiteY0" fmla="*/ 15307 h 15481"/>
                <a:gd name="connsiteX1" fmla="*/ 11623 w 15362"/>
                <a:gd name="connsiteY1" fmla="*/ 13786 h 15481"/>
                <a:gd name="connsiteX2" fmla="*/ 13905 w 15362"/>
                <a:gd name="connsiteY2" fmla="*/ 8842 h 15481"/>
                <a:gd name="connsiteX3" fmla="*/ 13905 w 15362"/>
                <a:gd name="connsiteY3" fmla="*/ 285 h 15481"/>
                <a:gd name="connsiteX4" fmla="*/ 9722 w 15362"/>
                <a:gd name="connsiteY4" fmla="*/ 285 h 15481"/>
                <a:gd name="connsiteX5" fmla="*/ 3637 w 15362"/>
                <a:gd name="connsiteY5" fmla="*/ 285 h 15481"/>
                <a:gd name="connsiteX6" fmla="*/ 214 w 15362"/>
                <a:gd name="connsiteY6" fmla="*/ 1236 h 15481"/>
                <a:gd name="connsiteX7" fmla="*/ 214 w 15362"/>
                <a:gd name="connsiteY7" fmla="*/ 3898 h 15481"/>
                <a:gd name="connsiteX8" fmla="*/ 2116 w 15362"/>
                <a:gd name="connsiteY8" fmla="*/ 13025 h 15481"/>
                <a:gd name="connsiteX9" fmla="*/ 8200 w 15362"/>
                <a:gd name="connsiteY9" fmla="*/ 15307 h 15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62" h="15481">
                  <a:moveTo>
                    <a:pt x="8200" y="15307"/>
                  </a:moveTo>
                  <a:cubicBezTo>
                    <a:pt x="9722" y="15307"/>
                    <a:pt x="10863" y="15307"/>
                    <a:pt x="11623" y="13786"/>
                  </a:cubicBezTo>
                  <a:cubicBezTo>
                    <a:pt x="12498" y="12193"/>
                    <a:pt x="13259" y="10540"/>
                    <a:pt x="13905" y="8842"/>
                  </a:cubicBezTo>
                  <a:cubicBezTo>
                    <a:pt x="15236" y="6180"/>
                    <a:pt x="16377" y="2187"/>
                    <a:pt x="13905" y="285"/>
                  </a:cubicBezTo>
                  <a:cubicBezTo>
                    <a:pt x="12536" y="-95"/>
                    <a:pt x="11091" y="-95"/>
                    <a:pt x="9722" y="285"/>
                  </a:cubicBezTo>
                  <a:lnTo>
                    <a:pt x="3637" y="285"/>
                  </a:lnTo>
                  <a:cubicBezTo>
                    <a:pt x="2306" y="285"/>
                    <a:pt x="785" y="285"/>
                    <a:pt x="214" y="1236"/>
                  </a:cubicBezTo>
                  <a:cubicBezTo>
                    <a:pt x="-71" y="2099"/>
                    <a:pt x="-71" y="3035"/>
                    <a:pt x="214" y="3898"/>
                  </a:cubicBezTo>
                  <a:cubicBezTo>
                    <a:pt x="366" y="7020"/>
                    <a:pt x="1013" y="10101"/>
                    <a:pt x="2116" y="13025"/>
                  </a:cubicBezTo>
                  <a:cubicBezTo>
                    <a:pt x="3466" y="14980"/>
                    <a:pt x="5900" y="15889"/>
                    <a:pt x="8200" y="15307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90" name="Полилиния: фигура 389">
              <a:extLst>
                <a:ext uri="{FF2B5EF4-FFF2-40B4-BE49-F238E27FC236}">
                  <a16:creationId xmlns:a16="http://schemas.microsoft.com/office/drawing/2014/main" id="{2CA700A2-8237-9798-7861-1FD526F9BC84}"/>
                </a:ext>
              </a:extLst>
            </p:cNvPr>
            <p:cNvSpPr/>
            <p:nvPr/>
          </p:nvSpPr>
          <p:spPr>
            <a:xfrm>
              <a:off x="5120099" y="2674388"/>
              <a:ext cx="40058" cy="24026"/>
            </a:xfrm>
            <a:custGeom>
              <a:avLst/>
              <a:gdLst>
                <a:gd name="connsiteX0" fmla="*/ 5419 w 41886"/>
                <a:gd name="connsiteY0" fmla="*/ 22740 h 25049"/>
                <a:gd name="connsiteX1" fmla="*/ 24435 w 41886"/>
                <a:gd name="connsiteY1" fmla="*/ 22740 h 25049"/>
                <a:gd name="connsiteX2" fmla="*/ 38696 w 41886"/>
                <a:gd name="connsiteY2" fmla="*/ 11521 h 25049"/>
                <a:gd name="connsiteX3" fmla="*/ 40788 w 41886"/>
                <a:gd name="connsiteY3" fmla="*/ 10570 h 25049"/>
                <a:gd name="connsiteX4" fmla="*/ 40788 w 41886"/>
                <a:gd name="connsiteY4" fmla="*/ 1062 h 25049"/>
                <a:gd name="connsiteX5" fmla="*/ 31090 w 41886"/>
                <a:gd name="connsiteY5" fmla="*/ 1062 h 25049"/>
                <a:gd name="connsiteX6" fmla="*/ 23294 w 41886"/>
                <a:gd name="connsiteY6" fmla="*/ 7338 h 25049"/>
                <a:gd name="connsiteX7" fmla="*/ 13976 w 41886"/>
                <a:gd name="connsiteY7" fmla="*/ 2584 h 25049"/>
                <a:gd name="connsiteX8" fmla="*/ 11124 w 41886"/>
                <a:gd name="connsiteY8" fmla="*/ 1443 h 25049"/>
                <a:gd name="connsiteX9" fmla="*/ 3708 w 41886"/>
                <a:gd name="connsiteY9" fmla="*/ 3725 h 25049"/>
                <a:gd name="connsiteX10" fmla="*/ 285 w 41886"/>
                <a:gd name="connsiteY10" fmla="*/ 12472 h 25049"/>
                <a:gd name="connsiteX11" fmla="*/ 285 w 41886"/>
                <a:gd name="connsiteY11" fmla="*/ 15704 h 25049"/>
                <a:gd name="connsiteX12" fmla="*/ 5419 w 41886"/>
                <a:gd name="connsiteY12" fmla="*/ 22740 h 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886" h="25049">
                  <a:moveTo>
                    <a:pt x="5419" y="22740"/>
                  </a:moveTo>
                  <a:cubicBezTo>
                    <a:pt x="11390" y="25819"/>
                    <a:pt x="18464" y="25819"/>
                    <a:pt x="24435" y="22740"/>
                  </a:cubicBezTo>
                  <a:cubicBezTo>
                    <a:pt x="29379" y="18557"/>
                    <a:pt x="32041" y="13993"/>
                    <a:pt x="38696" y="11521"/>
                  </a:cubicBezTo>
                  <a:lnTo>
                    <a:pt x="40788" y="10570"/>
                  </a:lnTo>
                  <a:cubicBezTo>
                    <a:pt x="43260" y="8478"/>
                    <a:pt x="40788" y="4295"/>
                    <a:pt x="40788" y="1062"/>
                  </a:cubicBezTo>
                  <a:cubicBezTo>
                    <a:pt x="37707" y="-354"/>
                    <a:pt x="34171" y="-354"/>
                    <a:pt x="31090" y="1062"/>
                  </a:cubicBezTo>
                  <a:cubicBezTo>
                    <a:pt x="27952" y="2369"/>
                    <a:pt x="25233" y="4546"/>
                    <a:pt x="23294" y="7338"/>
                  </a:cubicBezTo>
                  <a:lnTo>
                    <a:pt x="13976" y="2584"/>
                  </a:lnTo>
                  <a:lnTo>
                    <a:pt x="11124" y="1443"/>
                  </a:lnTo>
                  <a:cubicBezTo>
                    <a:pt x="8424" y="943"/>
                    <a:pt x="5648" y="1795"/>
                    <a:pt x="3708" y="3725"/>
                  </a:cubicBezTo>
                  <a:cubicBezTo>
                    <a:pt x="2015" y="6394"/>
                    <a:pt x="856" y="9365"/>
                    <a:pt x="285" y="12472"/>
                  </a:cubicBezTo>
                  <a:cubicBezTo>
                    <a:pt x="-95" y="13516"/>
                    <a:pt x="-95" y="14660"/>
                    <a:pt x="285" y="15704"/>
                  </a:cubicBezTo>
                  <a:cubicBezTo>
                    <a:pt x="856" y="18557"/>
                    <a:pt x="5610" y="19697"/>
                    <a:pt x="5419" y="22740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91" name="Полилиния: фигура 390">
              <a:extLst>
                <a:ext uri="{FF2B5EF4-FFF2-40B4-BE49-F238E27FC236}">
                  <a16:creationId xmlns:a16="http://schemas.microsoft.com/office/drawing/2014/main" id="{972A1EF4-363A-E084-C23B-C64A4B21FA6B}"/>
                </a:ext>
              </a:extLst>
            </p:cNvPr>
            <p:cNvSpPr/>
            <p:nvPr/>
          </p:nvSpPr>
          <p:spPr>
            <a:xfrm>
              <a:off x="5109762" y="2554909"/>
              <a:ext cx="29350" cy="31089"/>
            </a:xfrm>
            <a:custGeom>
              <a:avLst/>
              <a:gdLst>
                <a:gd name="connsiteX0" fmla="*/ 25736 w 30689"/>
                <a:gd name="connsiteY0" fmla="*/ 21614 h 32413"/>
                <a:gd name="connsiteX1" fmla="*/ 30490 w 30689"/>
                <a:gd name="connsiteY1" fmla="*/ 16480 h 32413"/>
                <a:gd name="connsiteX2" fmla="*/ 30490 w 30689"/>
                <a:gd name="connsiteY2" fmla="*/ 13057 h 32413"/>
                <a:gd name="connsiteX3" fmla="*/ 28969 w 30689"/>
                <a:gd name="connsiteY3" fmla="*/ 3740 h 32413"/>
                <a:gd name="connsiteX4" fmla="*/ 28969 w 30689"/>
                <a:gd name="connsiteY4" fmla="*/ 1648 h 32413"/>
                <a:gd name="connsiteX5" fmla="*/ 28018 w 30689"/>
                <a:gd name="connsiteY5" fmla="*/ 1648 h 32413"/>
                <a:gd name="connsiteX6" fmla="*/ 28018 w 30689"/>
                <a:gd name="connsiteY6" fmla="*/ 507 h 32413"/>
                <a:gd name="connsiteX7" fmla="*/ 27067 w 30689"/>
                <a:gd name="connsiteY7" fmla="*/ 507 h 32413"/>
                <a:gd name="connsiteX8" fmla="*/ 22313 w 30689"/>
                <a:gd name="connsiteY8" fmla="*/ 3169 h 32413"/>
                <a:gd name="connsiteX9" fmla="*/ 18510 w 30689"/>
                <a:gd name="connsiteY9" fmla="*/ 7162 h 32413"/>
                <a:gd name="connsiteX10" fmla="*/ 12235 w 30689"/>
                <a:gd name="connsiteY10" fmla="*/ 10015 h 32413"/>
                <a:gd name="connsiteX11" fmla="*/ 9383 w 30689"/>
                <a:gd name="connsiteY11" fmla="*/ 13628 h 32413"/>
                <a:gd name="connsiteX12" fmla="*/ 1396 w 30689"/>
                <a:gd name="connsiteY12" fmla="*/ 30361 h 32413"/>
                <a:gd name="connsiteX13" fmla="*/ 3488 w 30689"/>
                <a:gd name="connsiteY13" fmla="*/ 32263 h 32413"/>
                <a:gd name="connsiteX14" fmla="*/ 5770 w 30689"/>
                <a:gd name="connsiteY14" fmla="*/ 32263 h 32413"/>
                <a:gd name="connsiteX15" fmla="*/ 21173 w 30689"/>
                <a:gd name="connsiteY15" fmla="*/ 29411 h 32413"/>
                <a:gd name="connsiteX16" fmla="*/ 25736 w 30689"/>
                <a:gd name="connsiteY16" fmla="*/ 21614 h 32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689" h="32413">
                  <a:moveTo>
                    <a:pt x="25736" y="21614"/>
                  </a:moveTo>
                  <a:cubicBezTo>
                    <a:pt x="27257" y="19713"/>
                    <a:pt x="29539" y="18952"/>
                    <a:pt x="30490" y="16480"/>
                  </a:cubicBezTo>
                  <a:cubicBezTo>
                    <a:pt x="30756" y="15356"/>
                    <a:pt x="30756" y="14181"/>
                    <a:pt x="30490" y="13057"/>
                  </a:cubicBezTo>
                  <a:cubicBezTo>
                    <a:pt x="30490" y="9635"/>
                    <a:pt x="28398" y="6972"/>
                    <a:pt x="28969" y="3740"/>
                  </a:cubicBezTo>
                  <a:cubicBezTo>
                    <a:pt x="29539" y="507"/>
                    <a:pt x="28969" y="2219"/>
                    <a:pt x="28969" y="1648"/>
                  </a:cubicBezTo>
                  <a:lnTo>
                    <a:pt x="28018" y="1648"/>
                  </a:lnTo>
                  <a:cubicBezTo>
                    <a:pt x="28018" y="1648"/>
                    <a:pt x="28018" y="1648"/>
                    <a:pt x="28018" y="507"/>
                  </a:cubicBezTo>
                  <a:cubicBezTo>
                    <a:pt x="28018" y="-634"/>
                    <a:pt x="28018" y="507"/>
                    <a:pt x="27067" y="507"/>
                  </a:cubicBezTo>
                  <a:cubicBezTo>
                    <a:pt x="25204" y="741"/>
                    <a:pt x="23492" y="1696"/>
                    <a:pt x="22313" y="3169"/>
                  </a:cubicBezTo>
                  <a:cubicBezTo>
                    <a:pt x="21306" y="4721"/>
                    <a:pt x="20013" y="6075"/>
                    <a:pt x="18510" y="7162"/>
                  </a:cubicBezTo>
                  <a:cubicBezTo>
                    <a:pt x="16609" y="8493"/>
                    <a:pt x="14137" y="8684"/>
                    <a:pt x="12235" y="10015"/>
                  </a:cubicBezTo>
                  <a:cubicBezTo>
                    <a:pt x="11132" y="11099"/>
                    <a:pt x="10182" y="12312"/>
                    <a:pt x="9383" y="13628"/>
                  </a:cubicBezTo>
                  <a:cubicBezTo>
                    <a:pt x="5960" y="18572"/>
                    <a:pt x="-3547" y="22945"/>
                    <a:pt x="1396" y="30361"/>
                  </a:cubicBezTo>
                  <a:cubicBezTo>
                    <a:pt x="1948" y="31137"/>
                    <a:pt x="2671" y="31785"/>
                    <a:pt x="3488" y="32263"/>
                  </a:cubicBezTo>
                  <a:lnTo>
                    <a:pt x="5770" y="32263"/>
                  </a:lnTo>
                  <a:cubicBezTo>
                    <a:pt x="11475" y="32263"/>
                    <a:pt x="16989" y="33404"/>
                    <a:pt x="21173" y="29411"/>
                  </a:cubicBezTo>
                  <a:cubicBezTo>
                    <a:pt x="25356" y="25417"/>
                    <a:pt x="23835" y="23706"/>
                    <a:pt x="25736" y="2161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92" name="Полилиния: фигура 391">
              <a:extLst>
                <a:ext uri="{FF2B5EF4-FFF2-40B4-BE49-F238E27FC236}">
                  <a16:creationId xmlns:a16="http://schemas.microsoft.com/office/drawing/2014/main" id="{AEE2EBB1-455E-3E18-0079-7E925E08EA6C}"/>
                </a:ext>
              </a:extLst>
            </p:cNvPr>
            <p:cNvSpPr/>
            <p:nvPr/>
          </p:nvSpPr>
          <p:spPr>
            <a:xfrm>
              <a:off x="5093464" y="2626934"/>
              <a:ext cx="13687" cy="11205"/>
            </a:xfrm>
            <a:custGeom>
              <a:avLst/>
              <a:gdLst>
                <a:gd name="connsiteX0" fmla="*/ 2086 w 14312"/>
                <a:gd name="connsiteY0" fmla="*/ 1667 h 11682"/>
                <a:gd name="connsiteX1" fmla="*/ 1705 w 14312"/>
                <a:gd name="connsiteY1" fmla="*/ 10802 h 11682"/>
                <a:gd name="connsiteX2" fmla="*/ 2086 w 14312"/>
                <a:gd name="connsiteY2" fmla="*/ 11175 h 11682"/>
                <a:gd name="connsiteX3" fmla="*/ 7410 w 14312"/>
                <a:gd name="connsiteY3" fmla="*/ 11175 h 11682"/>
                <a:gd name="connsiteX4" fmla="*/ 8551 w 14312"/>
                <a:gd name="connsiteY4" fmla="*/ 11175 h 11682"/>
                <a:gd name="connsiteX5" fmla="*/ 14255 w 14312"/>
                <a:gd name="connsiteY5" fmla="*/ 4519 h 11682"/>
                <a:gd name="connsiteX6" fmla="*/ 12354 w 14312"/>
                <a:gd name="connsiteY6" fmla="*/ 1857 h 11682"/>
                <a:gd name="connsiteX7" fmla="*/ 2086 w 14312"/>
                <a:gd name="connsiteY7" fmla="*/ 1667 h 11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12" h="11682">
                  <a:moveTo>
                    <a:pt x="2086" y="1667"/>
                  </a:moveTo>
                  <a:cubicBezTo>
                    <a:pt x="-539" y="4088"/>
                    <a:pt x="-710" y="8178"/>
                    <a:pt x="1705" y="10802"/>
                  </a:cubicBezTo>
                  <a:cubicBezTo>
                    <a:pt x="1838" y="10931"/>
                    <a:pt x="1952" y="11055"/>
                    <a:pt x="2086" y="11175"/>
                  </a:cubicBezTo>
                  <a:cubicBezTo>
                    <a:pt x="3797" y="11852"/>
                    <a:pt x="5698" y="11852"/>
                    <a:pt x="7410" y="11175"/>
                  </a:cubicBezTo>
                  <a:lnTo>
                    <a:pt x="8551" y="11175"/>
                  </a:lnTo>
                  <a:cubicBezTo>
                    <a:pt x="11023" y="10034"/>
                    <a:pt x="14826" y="7942"/>
                    <a:pt x="14255" y="4519"/>
                  </a:cubicBezTo>
                  <a:cubicBezTo>
                    <a:pt x="13894" y="3466"/>
                    <a:pt x="13228" y="2540"/>
                    <a:pt x="12354" y="1857"/>
                  </a:cubicBezTo>
                  <a:cubicBezTo>
                    <a:pt x="9368" y="-546"/>
                    <a:pt x="5147" y="-624"/>
                    <a:pt x="2086" y="1667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93" name="Полилиния: фигура 392">
              <a:extLst>
                <a:ext uri="{FF2B5EF4-FFF2-40B4-BE49-F238E27FC236}">
                  <a16:creationId xmlns:a16="http://schemas.microsoft.com/office/drawing/2014/main" id="{8512C060-3D9B-2B7D-19AA-1935447AF6ED}"/>
                </a:ext>
              </a:extLst>
            </p:cNvPr>
            <p:cNvSpPr/>
            <p:nvPr/>
          </p:nvSpPr>
          <p:spPr>
            <a:xfrm>
              <a:off x="4916195" y="2549012"/>
              <a:ext cx="20950" cy="26872"/>
            </a:xfrm>
            <a:custGeom>
              <a:avLst/>
              <a:gdLst>
                <a:gd name="connsiteX0" fmla="*/ 7749 w 21906"/>
                <a:gd name="connsiteY0" fmla="*/ 21487 h 28016"/>
                <a:gd name="connsiteX1" fmla="*/ 8890 w 21906"/>
                <a:gd name="connsiteY1" fmla="*/ 16163 h 28016"/>
                <a:gd name="connsiteX2" fmla="*/ 11552 w 21906"/>
                <a:gd name="connsiteY2" fmla="*/ 15022 h 28016"/>
                <a:gd name="connsiteX3" fmla="*/ 17256 w 21906"/>
                <a:gd name="connsiteY3" fmla="*/ 13501 h 28016"/>
                <a:gd name="connsiteX4" fmla="*/ 20109 w 21906"/>
                <a:gd name="connsiteY4" fmla="*/ 12170 h 28016"/>
                <a:gd name="connsiteX5" fmla="*/ 21250 w 21906"/>
                <a:gd name="connsiteY5" fmla="*/ 5895 h 28016"/>
                <a:gd name="connsiteX6" fmla="*/ 16116 w 21906"/>
                <a:gd name="connsiteY6" fmla="*/ 1141 h 28016"/>
                <a:gd name="connsiteX7" fmla="*/ 11932 w 21906"/>
                <a:gd name="connsiteY7" fmla="*/ 0 h 28016"/>
                <a:gd name="connsiteX8" fmla="*/ 5087 w 21906"/>
                <a:gd name="connsiteY8" fmla="*/ 4754 h 28016"/>
                <a:gd name="connsiteX9" fmla="*/ 143 w 21906"/>
                <a:gd name="connsiteY9" fmla="*/ 12550 h 28016"/>
                <a:gd name="connsiteX10" fmla="*/ 143 w 21906"/>
                <a:gd name="connsiteY10" fmla="*/ 16733 h 28016"/>
                <a:gd name="connsiteX11" fmla="*/ 143 w 21906"/>
                <a:gd name="connsiteY11" fmla="*/ 22248 h 28016"/>
                <a:gd name="connsiteX12" fmla="*/ 143 w 21906"/>
                <a:gd name="connsiteY12" fmla="*/ 25100 h 28016"/>
                <a:gd name="connsiteX13" fmla="*/ 7749 w 21906"/>
                <a:gd name="connsiteY13" fmla="*/ 21487 h 2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906" h="28016">
                  <a:moveTo>
                    <a:pt x="7749" y="21487"/>
                  </a:moveTo>
                  <a:cubicBezTo>
                    <a:pt x="7749" y="19586"/>
                    <a:pt x="7749" y="17494"/>
                    <a:pt x="8890" y="16163"/>
                  </a:cubicBezTo>
                  <a:cubicBezTo>
                    <a:pt x="9631" y="15515"/>
                    <a:pt x="10563" y="15117"/>
                    <a:pt x="11552" y="15022"/>
                  </a:cubicBezTo>
                  <a:lnTo>
                    <a:pt x="17256" y="13501"/>
                  </a:lnTo>
                  <a:cubicBezTo>
                    <a:pt x="18283" y="13256"/>
                    <a:pt x="19253" y="12803"/>
                    <a:pt x="20109" y="12170"/>
                  </a:cubicBezTo>
                  <a:cubicBezTo>
                    <a:pt x="21972" y="10635"/>
                    <a:pt x="22448" y="7985"/>
                    <a:pt x="21250" y="5895"/>
                  </a:cubicBezTo>
                  <a:cubicBezTo>
                    <a:pt x="20071" y="3811"/>
                    <a:pt x="18283" y="2149"/>
                    <a:pt x="16116" y="1141"/>
                  </a:cubicBezTo>
                  <a:cubicBezTo>
                    <a:pt x="14822" y="451"/>
                    <a:pt x="13396" y="59"/>
                    <a:pt x="11932" y="0"/>
                  </a:cubicBezTo>
                  <a:cubicBezTo>
                    <a:pt x="9080" y="0"/>
                    <a:pt x="6988" y="2662"/>
                    <a:pt x="5087" y="4754"/>
                  </a:cubicBezTo>
                  <a:cubicBezTo>
                    <a:pt x="2938" y="7005"/>
                    <a:pt x="1264" y="9654"/>
                    <a:pt x="143" y="12550"/>
                  </a:cubicBezTo>
                  <a:cubicBezTo>
                    <a:pt x="143" y="13881"/>
                    <a:pt x="143" y="15212"/>
                    <a:pt x="143" y="16733"/>
                  </a:cubicBezTo>
                  <a:cubicBezTo>
                    <a:pt x="257" y="18570"/>
                    <a:pt x="257" y="20411"/>
                    <a:pt x="143" y="22248"/>
                  </a:cubicBezTo>
                  <a:cubicBezTo>
                    <a:pt x="-48" y="23189"/>
                    <a:pt x="-48" y="24159"/>
                    <a:pt x="143" y="25100"/>
                  </a:cubicBezTo>
                  <a:cubicBezTo>
                    <a:pt x="1474" y="31756"/>
                    <a:pt x="7749" y="25481"/>
                    <a:pt x="7749" y="21487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94" name="Полилиния: фигура 393">
              <a:extLst>
                <a:ext uri="{FF2B5EF4-FFF2-40B4-BE49-F238E27FC236}">
                  <a16:creationId xmlns:a16="http://schemas.microsoft.com/office/drawing/2014/main" id="{A89B1F1F-FAF5-E7B8-3A37-787A7BE0FCFF}"/>
                </a:ext>
              </a:extLst>
            </p:cNvPr>
            <p:cNvSpPr/>
            <p:nvPr/>
          </p:nvSpPr>
          <p:spPr>
            <a:xfrm>
              <a:off x="4753753" y="2914266"/>
              <a:ext cx="14184" cy="8276"/>
            </a:xfrm>
            <a:custGeom>
              <a:avLst/>
              <a:gdLst>
                <a:gd name="connsiteX0" fmla="*/ 3613 w 14831"/>
                <a:gd name="connsiteY0" fmla="*/ 8628 h 8628"/>
                <a:gd name="connsiteX1" fmla="*/ 4754 w 14831"/>
                <a:gd name="connsiteY1" fmla="*/ 8628 h 8628"/>
                <a:gd name="connsiteX2" fmla="*/ 5705 w 14831"/>
                <a:gd name="connsiteY2" fmla="*/ 8628 h 8628"/>
                <a:gd name="connsiteX3" fmla="*/ 6846 w 14831"/>
                <a:gd name="connsiteY3" fmla="*/ 8628 h 8628"/>
                <a:gd name="connsiteX4" fmla="*/ 8557 w 14831"/>
                <a:gd name="connsiteY4" fmla="*/ 8628 h 8628"/>
                <a:gd name="connsiteX5" fmla="*/ 12360 w 14831"/>
                <a:gd name="connsiteY5" fmla="*/ 6346 h 8628"/>
                <a:gd name="connsiteX6" fmla="*/ 14832 w 14831"/>
                <a:gd name="connsiteY6" fmla="*/ 2543 h 8628"/>
                <a:gd name="connsiteX7" fmla="*/ 14832 w 14831"/>
                <a:gd name="connsiteY7" fmla="*/ 2543 h 8628"/>
                <a:gd name="connsiteX8" fmla="*/ 8557 w 14831"/>
                <a:gd name="connsiteY8" fmla="*/ 71 h 8628"/>
                <a:gd name="connsiteX9" fmla="*/ 5705 w 14831"/>
                <a:gd name="connsiteY9" fmla="*/ 71 h 8628"/>
                <a:gd name="connsiteX10" fmla="*/ 3803 w 14831"/>
                <a:gd name="connsiteY10" fmla="*/ 71 h 8628"/>
                <a:gd name="connsiteX11" fmla="*/ 1331 w 14831"/>
                <a:gd name="connsiteY11" fmla="*/ 71 h 8628"/>
                <a:gd name="connsiteX12" fmla="*/ 0 w 14831"/>
                <a:gd name="connsiteY12" fmla="*/ 71 h 8628"/>
                <a:gd name="connsiteX13" fmla="*/ 0 w 14831"/>
                <a:gd name="connsiteY13" fmla="*/ 1783 h 8628"/>
                <a:gd name="connsiteX14" fmla="*/ 0 w 14831"/>
                <a:gd name="connsiteY14" fmla="*/ 4445 h 8628"/>
                <a:gd name="connsiteX15" fmla="*/ 1521 w 14831"/>
                <a:gd name="connsiteY15" fmla="*/ 5966 h 8628"/>
                <a:gd name="connsiteX16" fmla="*/ 3613 w 14831"/>
                <a:gd name="connsiteY16" fmla="*/ 8628 h 8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831" h="8628">
                  <a:moveTo>
                    <a:pt x="3613" y="8628"/>
                  </a:moveTo>
                  <a:lnTo>
                    <a:pt x="4754" y="8628"/>
                  </a:lnTo>
                  <a:cubicBezTo>
                    <a:pt x="4754" y="8628"/>
                    <a:pt x="4754" y="8628"/>
                    <a:pt x="5705" y="8628"/>
                  </a:cubicBezTo>
                  <a:lnTo>
                    <a:pt x="6846" y="8628"/>
                  </a:lnTo>
                  <a:lnTo>
                    <a:pt x="8557" y="8628"/>
                  </a:lnTo>
                  <a:cubicBezTo>
                    <a:pt x="9926" y="8058"/>
                    <a:pt x="11200" y="7278"/>
                    <a:pt x="12360" y="6346"/>
                  </a:cubicBezTo>
                  <a:cubicBezTo>
                    <a:pt x="13558" y="5377"/>
                    <a:pt x="14433" y="4045"/>
                    <a:pt x="14832" y="2543"/>
                  </a:cubicBezTo>
                  <a:lnTo>
                    <a:pt x="14832" y="2543"/>
                  </a:lnTo>
                  <a:cubicBezTo>
                    <a:pt x="13044" y="1098"/>
                    <a:pt x="10858" y="223"/>
                    <a:pt x="8557" y="71"/>
                  </a:cubicBezTo>
                  <a:lnTo>
                    <a:pt x="5705" y="71"/>
                  </a:lnTo>
                  <a:lnTo>
                    <a:pt x="3803" y="71"/>
                  </a:lnTo>
                  <a:lnTo>
                    <a:pt x="1331" y="71"/>
                  </a:lnTo>
                  <a:cubicBezTo>
                    <a:pt x="894" y="-24"/>
                    <a:pt x="437" y="-24"/>
                    <a:pt x="0" y="71"/>
                  </a:cubicBezTo>
                  <a:cubicBezTo>
                    <a:pt x="0" y="71"/>
                    <a:pt x="0" y="1212"/>
                    <a:pt x="0" y="1783"/>
                  </a:cubicBezTo>
                  <a:cubicBezTo>
                    <a:pt x="0" y="2353"/>
                    <a:pt x="0" y="3494"/>
                    <a:pt x="0" y="4445"/>
                  </a:cubicBezTo>
                  <a:cubicBezTo>
                    <a:pt x="342" y="5091"/>
                    <a:pt x="875" y="5624"/>
                    <a:pt x="1521" y="5966"/>
                  </a:cubicBezTo>
                  <a:cubicBezTo>
                    <a:pt x="2149" y="6917"/>
                    <a:pt x="2852" y="7791"/>
                    <a:pt x="3613" y="8628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95" name="Полилиния: фигура 394">
              <a:extLst>
                <a:ext uri="{FF2B5EF4-FFF2-40B4-BE49-F238E27FC236}">
                  <a16:creationId xmlns:a16="http://schemas.microsoft.com/office/drawing/2014/main" id="{AB845210-1213-F07B-59CF-97208354CBD4}"/>
                </a:ext>
              </a:extLst>
            </p:cNvPr>
            <p:cNvSpPr/>
            <p:nvPr/>
          </p:nvSpPr>
          <p:spPr>
            <a:xfrm>
              <a:off x="4782487" y="2872597"/>
              <a:ext cx="10751" cy="9797"/>
            </a:xfrm>
            <a:custGeom>
              <a:avLst/>
              <a:gdLst>
                <a:gd name="connsiteX0" fmla="*/ 0 w 11242"/>
                <a:gd name="connsiteY0" fmla="*/ 6245 h 10214"/>
                <a:gd name="connsiteX1" fmla="*/ 2472 w 11242"/>
                <a:gd name="connsiteY1" fmla="*/ 9288 h 10214"/>
                <a:gd name="connsiteX2" fmla="*/ 2472 w 11242"/>
                <a:gd name="connsiteY2" fmla="*/ 9288 h 10214"/>
                <a:gd name="connsiteX3" fmla="*/ 9127 w 11242"/>
                <a:gd name="connsiteY3" fmla="*/ 9288 h 10214"/>
                <a:gd name="connsiteX4" fmla="*/ 11029 w 11242"/>
                <a:gd name="connsiteY4" fmla="*/ 6055 h 10214"/>
                <a:gd name="connsiteX5" fmla="*/ 11029 w 11242"/>
                <a:gd name="connsiteY5" fmla="*/ 6055 h 10214"/>
                <a:gd name="connsiteX6" fmla="*/ 11029 w 11242"/>
                <a:gd name="connsiteY6" fmla="*/ 6055 h 10214"/>
                <a:gd name="connsiteX7" fmla="*/ 11029 w 11242"/>
                <a:gd name="connsiteY7" fmla="*/ 3774 h 10214"/>
                <a:gd name="connsiteX8" fmla="*/ 9127 w 11242"/>
                <a:gd name="connsiteY8" fmla="*/ 2633 h 10214"/>
                <a:gd name="connsiteX9" fmla="*/ 9127 w 11242"/>
                <a:gd name="connsiteY9" fmla="*/ 351 h 10214"/>
                <a:gd name="connsiteX10" fmla="*/ 9127 w 11242"/>
                <a:gd name="connsiteY10" fmla="*/ 351 h 10214"/>
                <a:gd name="connsiteX11" fmla="*/ 3042 w 11242"/>
                <a:gd name="connsiteY11" fmla="*/ 1872 h 10214"/>
                <a:gd name="connsiteX12" fmla="*/ 190 w 11242"/>
                <a:gd name="connsiteY12" fmla="*/ 6055 h 10214"/>
                <a:gd name="connsiteX13" fmla="*/ 190 w 11242"/>
                <a:gd name="connsiteY13" fmla="*/ 6055 h 10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2" h="10214">
                  <a:moveTo>
                    <a:pt x="0" y="6245"/>
                  </a:moveTo>
                  <a:cubicBezTo>
                    <a:pt x="0" y="7957"/>
                    <a:pt x="0" y="9668"/>
                    <a:pt x="2472" y="9288"/>
                  </a:cubicBezTo>
                  <a:lnTo>
                    <a:pt x="2472" y="9288"/>
                  </a:lnTo>
                  <a:cubicBezTo>
                    <a:pt x="4525" y="10524"/>
                    <a:pt x="7074" y="10524"/>
                    <a:pt x="9127" y="9288"/>
                  </a:cubicBezTo>
                  <a:cubicBezTo>
                    <a:pt x="10002" y="8375"/>
                    <a:pt x="10667" y="7272"/>
                    <a:pt x="11029" y="6055"/>
                  </a:cubicBezTo>
                  <a:cubicBezTo>
                    <a:pt x="11029" y="6055"/>
                    <a:pt x="11029" y="6055"/>
                    <a:pt x="11029" y="6055"/>
                  </a:cubicBezTo>
                  <a:lnTo>
                    <a:pt x="11029" y="6055"/>
                  </a:lnTo>
                  <a:cubicBezTo>
                    <a:pt x="11314" y="5314"/>
                    <a:pt x="11314" y="4515"/>
                    <a:pt x="11029" y="3774"/>
                  </a:cubicBezTo>
                  <a:cubicBezTo>
                    <a:pt x="10439" y="3317"/>
                    <a:pt x="9793" y="2937"/>
                    <a:pt x="9127" y="2633"/>
                  </a:cubicBezTo>
                  <a:cubicBezTo>
                    <a:pt x="9337" y="1891"/>
                    <a:pt x="9337" y="1092"/>
                    <a:pt x="9127" y="351"/>
                  </a:cubicBezTo>
                  <a:cubicBezTo>
                    <a:pt x="9127" y="351"/>
                    <a:pt x="9127" y="351"/>
                    <a:pt x="9127" y="351"/>
                  </a:cubicBezTo>
                  <a:cubicBezTo>
                    <a:pt x="6978" y="-448"/>
                    <a:pt x="4564" y="142"/>
                    <a:pt x="3042" y="1872"/>
                  </a:cubicBezTo>
                  <a:cubicBezTo>
                    <a:pt x="1901" y="3203"/>
                    <a:pt x="1521" y="4914"/>
                    <a:pt x="190" y="6055"/>
                  </a:cubicBezTo>
                  <a:lnTo>
                    <a:pt x="190" y="6055"/>
                  </a:ln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96" name="Полилиния: фигура 395">
              <a:extLst>
                <a:ext uri="{FF2B5EF4-FFF2-40B4-BE49-F238E27FC236}">
                  <a16:creationId xmlns:a16="http://schemas.microsoft.com/office/drawing/2014/main" id="{2277E5B1-519B-CC9C-63F4-A1E69F7AAEA5}"/>
                </a:ext>
              </a:extLst>
            </p:cNvPr>
            <p:cNvSpPr/>
            <p:nvPr/>
          </p:nvSpPr>
          <p:spPr>
            <a:xfrm>
              <a:off x="4678244" y="2949862"/>
              <a:ext cx="19029" cy="6864"/>
            </a:xfrm>
            <a:custGeom>
              <a:avLst/>
              <a:gdLst>
                <a:gd name="connsiteX0" fmla="*/ 3845 w 19897"/>
                <a:gd name="connsiteY0" fmla="*/ 1752 h 7156"/>
                <a:gd name="connsiteX1" fmla="*/ 993 w 19897"/>
                <a:gd name="connsiteY1" fmla="*/ 3463 h 7156"/>
                <a:gd name="connsiteX2" fmla="*/ 42 w 19897"/>
                <a:gd name="connsiteY2" fmla="*/ 6315 h 7156"/>
                <a:gd name="connsiteX3" fmla="*/ 8599 w 19897"/>
                <a:gd name="connsiteY3" fmla="*/ 6315 h 7156"/>
                <a:gd name="connsiteX4" fmla="*/ 10691 w 19897"/>
                <a:gd name="connsiteY4" fmla="*/ 6315 h 7156"/>
                <a:gd name="connsiteX5" fmla="*/ 12782 w 19897"/>
                <a:gd name="connsiteY5" fmla="*/ 6315 h 7156"/>
                <a:gd name="connsiteX6" fmla="*/ 18107 w 19897"/>
                <a:gd name="connsiteY6" fmla="*/ 3843 h 7156"/>
                <a:gd name="connsiteX7" fmla="*/ 11451 w 19897"/>
                <a:gd name="connsiteY7" fmla="*/ 40 h 7156"/>
                <a:gd name="connsiteX8" fmla="*/ 3845 w 19897"/>
                <a:gd name="connsiteY8" fmla="*/ 1752 h 7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97" h="7156">
                  <a:moveTo>
                    <a:pt x="3845" y="1752"/>
                  </a:moveTo>
                  <a:cubicBezTo>
                    <a:pt x="2837" y="2208"/>
                    <a:pt x="1867" y="2779"/>
                    <a:pt x="993" y="3463"/>
                  </a:cubicBezTo>
                  <a:cubicBezTo>
                    <a:pt x="232" y="4205"/>
                    <a:pt x="-129" y="5270"/>
                    <a:pt x="42" y="6315"/>
                  </a:cubicBezTo>
                  <a:cubicBezTo>
                    <a:pt x="2780" y="7437"/>
                    <a:pt x="5860" y="7437"/>
                    <a:pt x="8599" y="6315"/>
                  </a:cubicBezTo>
                  <a:lnTo>
                    <a:pt x="10691" y="6315"/>
                  </a:lnTo>
                  <a:cubicBezTo>
                    <a:pt x="11356" y="6030"/>
                    <a:pt x="12117" y="6030"/>
                    <a:pt x="12782" y="6315"/>
                  </a:cubicBezTo>
                  <a:cubicBezTo>
                    <a:pt x="15444" y="6315"/>
                    <a:pt x="23431" y="8597"/>
                    <a:pt x="18107" y="3843"/>
                  </a:cubicBezTo>
                  <a:cubicBezTo>
                    <a:pt x="16281" y="1980"/>
                    <a:pt x="13980" y="649"/>
                    <a:pt x="11451" y="40"/>
                  </a:cubicBezTo>
                  <a:cubicBezTo>
                    <a:pt x="8808" y="-169"/>
                    <a:pt x="6146" y="440"/>
                    <a:pt x="3845" y="175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97" name="Полилиния: фигура 396">
              <a:extLst>
                <a:ext uri="{FF2B5EF4-FFF2-40B4-BE49-F238E27FC236}">
                  <a16:creationId xmlns:a16="http://schemas.microsoft.com/office/drawing/2014/main" id="{B256E9E4-8E71-59BE-5689-D73ADFEFBF79}"/>
                </a:ext>
              </a:extLst>
            </p:cNvPr>
            <p:cNvSpPr/>
            <p:nvPr/>
          </p:nvSpPr>
          <p:spPr>
            <a:xfrm>
              <a:off x="4739295" y="2966361"/>
              <a:ext cx="8385" cy="10533"/>
            </a:xfrm>
            <a:custGeom>
              <a:avLst/>
              <a:gdLst>
                <a:gd name="connsiteX0" fmla="*/ 4089 w 8768"/>
                <a:gd name="connsiteY0" fmla="*/ 10981 h 10981"/>
                <a:gd name="connsiteX1" fmla="*/ 8273 w 8768"/>
                <a:gd name="connsiteY1" fmla="*/ 3756 h 10981"/>
                <a:gd name="connsiteX2" fmla="*/ 2948 w 8768"/>
                <a:gd name="connsiteY2" fmla="*/ 143 h 10981"/>
                <a:gd name="connsiteX3" fmla="*/ 1427 w 8768"/>
                <a:gd name="connsiteY3" fmla="*/ 143 h 10981"/>
                <a:gd name="connsiteX4" fmla="*/ 1427 w 8768"/>
                <a:gd name="connsiteY4" fmla="*/ 1093 h 10981"/>
                <a:gd name="connsiteX5" fmla="*/ 4089 w 8768"/>
                <a:gd name="connsiteY5" fmla="*/ 10981 h 1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768" h="10981">
                  <a:moveTo>
                    <a:pt x="4089" y="10981"/>
                  </a:moveTo>
                  <a:cubicBezTo>
                    <a:pt x="8273" y="10981"/>
                    <a:pt x="9604" y="6988"/>
                    <a:pt x="8273" y="3756"/>
                  </a:cubicBezTo>
                  <a:cubicBezTo>
                    <a:pt x="7379" y="1607"/>
                    <a:pt x="5287" y="181"/>
                    <a:pt x="2948" y="143"/>
                  </a:cubicBezTo>
                  <a:cubicBezTo>
                    <a:pt x="2454" y="-48"/>
                    <a:pt x="1922" y="-48"/>
                    <a:pt x="1427" y="143"/>
                  </a:cubicBezTo>
                  <a:lnTo>
                    <a:pt x="1427" y="1093"/>
                  </a:lnTo>
                  <a:cubicBezTo>
                    <a:pt x="-475" y="5467"/>
                    <a:pt x="-1235" y="9841"/>
                    <a:pt x="4089" y="10981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98" name="Полилиния: фигура 397">
              <a:extLst>
                <a:ext uri="{FF2B5EF4-FFF2-40B4-BE49-F238E27FC236}">
                  <a16:creationId xmlns:a16="http://schemas.microsoft.com/office/drawing/2014/main" id="{2E24D279-066E-6A52-00B6-DF8A625A20F0}"/>
                </a:ext>
              </a:extLst>
            </p:cNvPr>
            <p:cNvSpPr/>
            <p:nvPr/>
          </p:nvSpPr>
          <p:spPr>
            <a:xfrm>
              <a:off x="4840604" y="2826131"/>
              <a:ext cx="23719" cy="28266"/>
            </a:xfrm>
            <a:custGeom>
              <a:avLst/>
              <a:gdLst>
                <a:gd name="connsiteX0" fmla="*/ 5593 w 24801"/>
                <a:gd name="connsiteY0" fmla="*/ 20842 h 29470"/>
                <a:gd name="connsiteX1" fmla="*/ 8826 w 24801"/>
                <a:gd name="connsiteY1" fmla="*/ 22744 h 29470"/>
                <a:gd name="connsiteX2" fmla="*/ 10728 w 24801"/>
                <a:gd name="connsiteY2" fmla="*/ 25976 h 29470"/>
                <a:gd name="connsiteX3" fmla="*/ 10728 w 24801"/>
                <a:gd name="connsiteY3" fmla="*/ 27878 h 29470"/>
                <a:gd name="connsiteX4" fmla="*/ 23468 w 24801"/>
                <a:gd name="connsiteY4" fmla="*/ 17610 h 29470"/>
                <a:gd name="connsiteX5" fmla="*/ 18904 w 24801"/>
                <a:gd name="connsiteY5" fmla="*/ 1637 h 29470"/>
                <a:gd name="connsiteX6" fmla="*/ 10918 w 24801"/>
                <a:gd name="connsiteY6" fmla="*/ 306 h 29470"/>
                <a:gd name="connsiteX7" fmla="*/ 7115 w 24801"/>
                <a:gd name="connsiteY7" fmla="*/ 5440 h 29470"/>
                <a:gd name="connsiteX8" fmla="*/ 5403 w 24801"/>
                <a:gd name="connsiteY8" fmla="*/ 9243 h 29470"/>
                <a:gd name="connsiteX9" fmla="*/ 459 w 24801"/>
                <a:gd name="connsiteY9" fmla="*/ 11715 h 29470"/>
                <a:gd name="connsiteX10" fmla="*/ 2171 w 24801"/>
                <a:gd name="connsiteY10" fmla="*/ 17610 h 29470"/>
                <a:gd name="connsiteX11" fmla="*/ 5593 w 24801"/>
                <a:gd name="connsiteY11" fmla="*/ 20842 h 29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01" h="29470">
                  <a:moveTo>
                    <a:pt x="5593" y="20842"/>
                  </a:moveTo>
                  <a:cubicBezTo>
                    <a:pt x="6734" y="21375"/>
                    <a:pt x="7818" y="22002"/>
                    <a:pt x="8826" y="22744"/>
                  </a:cubicBezTo>
                  <a:cubicBezTo>
                    <a:pt x="9967" y="23447"/>
                    <a:pt x="10670" y="24645"/>
                    <a:pt x="10728" y="25976"/>
                  </a:cubicBezTo>
                  <a:cubicBezTo>
                    <a:pt x="10632" y="26604"/>
                    <a:pt x="10632" y="27250"/>
                    <a:pt x="10728" y="27878"/>
                  </a:cubicBezTo>
                  <a:cubicBezTo>
                    <a:pt x="12629" y="34343"/>
                    <a:pt x="22517" y="19131"/>
                    <a:pt x="23468" y="17610"/>
                  </a:cubicBezTo>
                  <a:cubicBezTo>
                    <a:pt x="26377" y="11905"/>
                    <a:pt x="24381" y="4926"/>
                    <a:pt x="18904" y="1637"/>
                  </a:cubicBezTo>
                  <a:cubicBezTo>
                    <a:pt x="16546" y="96"/>
                    <a:pt x="13656" y="-379"/>
                    <a:pt x="10918" y="306"/>
                  </a:cubicBezTo>
                  <a:cubicBezTo>
                    <a:pt x="8959" y="1370"/>
                    <a:pt x="7571" y="3253"/>
                    <a:pt x="7115" y="5440"/>
                  </a:cubicBezTo>
                  <a:cubicBezTo>
                    <a:pt x="6943" y="6847"/>
                    <a:pt x="6354" y="8178"/>
                    <a:pt x="5403" y="9243"/>
                  </a:cubicBezTo>
                  <a:cubicBezTo>
                    <a:pt x="4072" y="10574"/>
                    <a:pt x="1600" y="9243"/>
                    <a:pt x="459" y="11715"/>
                  </a:cubicBezTo>
                  <a:cubicBezTo>
                    <a:pt x="-682" y="14187"/>
                    <a:pt x="459" y="16088"/>
                    <a:pt x="2171" y="17610"/>
                  </a:cubicBezTo>
                  <a:cubicBezTo>
                    <a:pt x="3216" y="18788"/>
                    <a:pt x="4357" y="19872"/>
                    <a:pt x="5593" y="2084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99" name="Полилиния: фигура 398">
              <a:extLst>
                <a:ext uri="{FF2B5EF4-FFF2-40B4-BE49-F238E27FC236}">
                  <a16:creationId xmlns:a16="http://schemas.microsoft.com/office/drawing/2014/main" id="{10D69DC6-5DDF-52C6-CB48-0BF1B0E885E2}"/>
                </a:ext>
              </a:extLst>
            </p:cNvPr>
            <p:cNvSpPr/>
            <p:nvPr/>
          </p:nvSpPr>
          <p:spPr>
            <a:xfrm>
              <a:off x="4800035" y="2877629"/>
              <a:ext cx="28277" cy="28536"/>
            </a:xfrm>
            <a:custGeom>
              <a:avLst/>
              <a:gdLst>
                <a:gd name="connsiteX0" fmla="*/ 3708 w 29567"/>
                <a:gd name="connsiteY0" fmla="*/ 21155 h 29751"/>
                <a:gd name="connsiteX1" fmla="*/ 24055 w 29567"/>
                <a:gd name="connsiteY1" fmla="*/ 29712 h 29751"/>
                <a:gd name="connsiteX2" fmla="*/ 28428 w 29567"/>
                <a:gd name="connsiteY2" fmla="*/ 24387 h 29751"/>
                <a:gd name="connsiteX3" fmla="*/ 29379 w 29567"/>
                <a:gd name="connsiteY3" fmla="*/ 12407 h 29751"/>
                <a:gd name="connsiteX4" fmla="*/ 23294 w 29567"/>
                <a:gd name="connsiteY4" fmla="*/ 1569 h 29751"/>
                <a:gd name="connsiteX5" fmla="*/ 23294 w 29567"/>
                <a:gd name="connsiteY5" fmla="*/ 428 h 29751"/>
                <a:gd name="connsiteX6" fmla="*/ 21963 w 29567"/>
                <a:gd name="connsiteY6" fmla="*/ 428 h 29751"/>
                <a:gd name="connsiteX7" fmla="*/ 15307 w 29567"/>
                <a:gd name="connsiteY7" fmla="*/ 428 h 29751"/>
                <a:gd name="connsiteX8" fmla="*/ 9793 w 29567"/>
                <a:gd name="connsiteY8" fmla="*/ 3851 h 29751"/>
                <a:gd name="connsiteX9" fmla="*/ 7131 w 29567"/>
                <a:gd name="connsiteY9" fmla="*/ 11267 h 29751"/>
                <a:gd name="connsiteX10" fmla="*/ 95 w 29567"/>
                <a:gd name="connsiteY10" fmla="*/ 17161 h 29751"/>
                <a:gd name="connsiteX11" fmla="*/ 3708 w 29567"/>
                <a:gd name="connsiteY11" fmla="*/ 21155 h 29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567" h="29751">
                  <a:moveTo>
                    <a:pt x="3708" y="21155"/>
                  </a:moveTo>
                  <a:cubicBezTo>
                    <a:pt x="9983" y="24577"/>
                    <a:pt x="16449" y="30282"/>
                    <a:pt x="24055" y="29712"/>
                  </a:cubicBezTo>
                  <a:cubicBezTo>
                    <a:pt x="28048" y="29712"/>
                    <a:pt x="28238" y="28000"/>
                    <a:pt x="28428" y="24387"/>
                  </a:cubicBezTo>
                  <a:cubicBezTo>
                    <a:pt x="29493" y="20489"/>
                    <a:pt x="29816" y="16420"/>
                    <a:pt x="29379" y="12407"/>
                  </a:cubicBezTo>
                  <a:cubicBezTo>
                    <a:pt x="27724" y="8604"/>
                    <a:pt x="25690" y="4972"/>
                    <a:pt x="23294" y="1569"/>
                  </a:cubicBezTo>
                  <a:lnTo>
                    <a:pt x="23294" y="428"/>
                  </a:lnTo>
                  <a:cubicBezTo>
                    <a:pt x="22857" y="276"/>
                    <a:pt x="22400" y="276"/>
                    <a:pt x="21963" y="428"/>
                  </a:cubicBezTo>
                  <a:cubicBezTo>
                    <a:pt x="19776" y="-143"/>
                    <a:pt x="17494" y="-143"/>
                    <a:pt x="15307" y="428"/>
                  </a:cubicBezTo>
                  <a:cubicBezTo>
                    <a:pt x="13064" y="713"/>
                    <a:pt x="11048" y="1968"/>
                    <a:pt x="9793" y="3851"/>
                  </a:cubicBezTo>
                  <a:cubicBezTo>
                    <a:pt x="8462" y="6323"/>
                    <a:pt x="8842" y="9365"/>
                    <a:pt x="7131" y="11267"/>
                  </a:cubicBezTo>
                  <a:cubicBezTo>
                    <a:pt x="5420" y="13168"/>
                    <a:pt x="666" y="13929"/>
                    <a:pt x="95" y="17161"/>
                  </a:cubicBezTo>
                  <a:cubicBezTo>
                    <a:pt x="-475" y="20394"/>
                    <a:pt x="1616" y="20014"/>
                    <a:pt x="3708" y="2115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00" name="Полилиния: фигура 399">
              <a:extLst>
                <a:ext uri="{FF2B5EF4-FFF2-40B4-BE49-F238E27FC236}">
                  <a16:creationId xmlns:a16="http://schemas.microsoft.com/office/drawing/2014/main" id="{C3B7CEFD-6D16-D05F-0C1C-32B5948C1CDE}"/>
                </a:ext>
              </a:extLst>
            </p:cNvPr>
            <p:cNvSpPr/>
            <p:nvPr/>
          </p:nvSpPr>
          <p:spPr>
            <a:xfrm>
              <a:off x="4664644" y="2772168"/>
              <a:ext cx="28323" cy="39397"/>
            </a:xfrm>
            <a:custGeom>
              <a:avLst/>
              <a:gdLst>
                <a:gd name="connsiteX0" fmla="*/ 2662 w 29616"/>
                <a:gd name="connsiteY0" fmla="*/ 27472 h 41075"/>
                <a:gd name="connsiteX1" fmla="*/ 7986 w 29616"/>
                <a:gd name="connsiteY1" fmla="*/ 32987 h 41075"/>
                <a:gd name="connsiteX2" fmla="*/ 18445 w 29616"/>
                <a:gd name="connsiteY2" fmla="*/ 37550 h 41075"/>
                <a:gd name="connsiteX3" fmla="*/ 29474 w 29616"/>
                <a:gd name="connsiteY3" fmla="*/ 21958 h 41075"/>
                <a:gd name="connsiteX4" fmla="*/ 29474 w 29616"/>
                <a:gd name="connsiteY4" fmla="*/ 16824 h 41075"/>
                <a:gd name="connsiteX5" fmla="*/ 28333 w 29616"/>
                <a:gd name="connsiteY5" fmla="*/ 8647 h 41075"/>
                <a:gd name="connsiteX6" fmla="*/ 27192 w 29616"/>
                <a:gd name="connsiteY6" fmla="*/ 4083 h 41075"/>
                <a:gd name="connsiteX7" fmla="*/ 17551 w 29616"/>
                <a:gd name="connsiteY7" fmla="*/ 722 h 41075"/>
                <a:gd name="connsiteX8" fmla="*/ 13691 w 29616"/>
                <a:gd name="connsiteY8" fmla="*/ 5414 h 41075"/>
                <a:gd name="connsiteX9" fmla="*/ 11980 w 29616"/>
                <a:gd name="connsiteY9" fmla="*/ 10549 h 41075"/>
                <a:gd name="connsiteX10" fmla="*/ 7796 w 29616"/>
                <a:gd name="connsiteY10" fmla="*/ 11880 h 41075"/>
                <a:gd name="connsiteX11" fmla="*/ 570 w 29616"/>
                <a:gd name="connsiteY11" fmla="*/ 21958 h 41075"/>
                <a:gd name="connsiteX12" fmla="*/ 570 w 29616"/>
                <a:gd name="connsiteY12" fmla="*/ 25951 h 41075"/>
                <a:gd name="connsiteX13" fmla="*/ 2662 w 29616"/>
                <a:gd name="connsiteY13" fmla="*/ 27472 h 4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616" h="41075">
                  <a:moveTo>
                    <a:pt x="2662" y="27472"/>
                  </a:moveTo>
                  <a:cubicBezTo>
                    <a:pt x="5134" y="28482"/>
                    <a:pt x="7055" y="30483"/>
                    <a:pt x="7986" y="32987"/>
                  </a:cubicBezTo>
                  <a:cubicBezTo>
                    <a:pt x="10839" y="40403"/>
                    <a:pt x="11980" y="44396"/>
                    <a:pt x="18445" y="37550"/>
                  </a:cubicBezTo>
                  <a:cubicBezTo>
                    <a:pt x="24910" y="30705"/>
                    <a:pt x="28713" y="28233"/>
                    <a:pt x="29474" y="21958"/>
                  </a:cubicBezTo>
                  <a:cubicBezTo>
                    <a:pt x="29664" y="20252"/>
                    <a:pt x="29664" y="18529"/>
                    <a:pt x="29474" y="16824"/>
                  </a:cubicBezTo>
                  <a:lnTo>
                    <a:pt x="28333" y="8647"/>
                  </a:lnTo>
                  <a:cubicBezTo>
                    <a:pt x="28257" y="7067"/>
                    <a:pt x="27858" y="5517"/>
                    <a:pt x="27192" y="4083"/>
                  </a:cubicBezTo>
                  <a:cubicBezTo>
                    <a:pt x="25462" y="490"/>
                    <a:pt x="21126" y="-1015"/>
                    <a:pt x="17551" y="722"/>
                  </a:cubicBezTo>
                  <a:cubicBezTo>
                    <a:pt x="15631" y="1644"/>
                    <a:pt x="14223" y="3361"/>
                    <a:pt x="13691" y="5414"/>
                  </a:cubicBezTo>
                  <a:cubicBezTo>
                    <a:pt x="13615" y="7253"/>
                    <a:pt x="13026" y="9035"/>
                    <a:pt x="11980" y="10549"/>
                  </a:cubicBezTo>
                  <a:cubicBezTo>
                    <a:pt x="11980" y="10549"/>
                    <a:pt x="9318" y="10549"/>
                    <a:pt x="7796" y="11880"/>
                  </a:cubicBezTo>
                  <a:cubicBezTo>
                    <a:pt x="6275" y="13211"/>
                    <a:pt x="1902" y="17774"/>
                    <a:pt x="570" y="21958"/>
                  </a:cubicBezTo>
                  <a:cubicBezTo>
                    <a:pt x="-190" y="23182"/>
                    <a:pt x="-190" y="24727"/>
                    <a:pt x="570" y="25951"/>
                  </a:cubicBezTo>
                  <a:cubicBezTo>
                    <a:pt x="1160" y="26601"/>
                    <a:pt x="1864" y="27121"/>
                    <a:pt x="2662" y="2747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01" name="Полилиния: фигура 400">
              <a:extLst>
                <a:ext uri="{FF2B5EF4-FFF2-40B4-BE49-F238E27FC236}">
                  <a16:creationId xmlns:a16="http://schemas.microsoft.com/office/drawing/2014/main" id="{41EE677C-E973-D735-CB64-F122CC3EE6C5}"/>
                </a:ext>
              </a:extLst>
            </p:cNvPr>
            <p:cNvSpPr/>
            <p:nvPr/>
          </p:nvSpPr>
          <p:spPr>
            <a:xfrm>
              <a:off x="4704919" y="2710504"/>
              <a:ext cx="31069" cy="21114"/>
            </a:xfrm>
            <a:custGeom>
              <a:avLst/>
              <a:gdLst>
                <a:gd name="connsiteX0" fmla="*/ 17025 w 32487"/>
                <a:gd name="connsiteY0" fmla="*/ 4102 h 22013"/>
                <a:gd name="connsiteX1" fmla="*/ 8848 w 32487"/>
                <a:gd name="connsiteY1" fmla="*/ 489 h 22013"/>
                <a:gd name="connsiteX2" fmla="*/ 3144 w 32487"/>
                <a:gd name="connsiteY2" fmla="*/ 489 h 22013"/>
                <a:gd name="connsiteX3" fmla="*/ 1242 w 32487"/>
                <a:gd name="connsiteY3" fmla="*/ 8856 h 22013"/>
                <a:gd name="connsiteX4" fmla="*/ 7517 w 32487"/>
                <a:gd name="connsiteY4" fmla="*/ 11138 h 22013"/>
                <a:gd name="connsiteX5" fmla="*/ 13412 w 32487"/>
                <a:gd name="connsiteY5" fmla="*/ 17033 h 22013"/>
                <a:gd name="connsiteX6" fmla="*/ 32427 w 32487"/>
                <a:gd name="connsiteY6" fmla="*/ 17033 h 22013"/>
                <a:gd name="connsiteX7" fmla="*/ 17025 w 32487"/>
                <a:gd name="connsiteY7" fmla="*/ 4102 h 22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487" h="22013">
                  <a:moveTo>
                    <a:pt x="17025" y="4102"/>
                  </a:moveTo>
                  <a:cubicBezTo>
                    <a:pt x="14382" y="2739"/>
                    <a:pt x="11644" y="1531"/>
                    <a:pt x="8848" y="489"/>
                  </a:cubicBezTo>
                  <a:cubicBezTo>
                    <a:pt x="7004" y="-163"/>
                    <a:pt x="4988" y="-163"/>
                    <a:pt x="3144" y="489"/>
                  </a:cubicBezTo>
                  <a:cubicBezTo>
                    <a:pt x="292" y="2201"/>
                    <a:pt x="-1230" y="6574"/>
                    <a:pt x="1242" y="8856"/>
                  </a:cubicBezTo>
                  <a:cubicBezTo>
                    <a:pt x="3714" y="11138"/>
                    <a:pt x="5425" y="10187"/>
                    <a:pt x="7517" y="11138"/>
                  </a:cubicBezTo>
                  <a:cubicBezTo>
                    <a:pt x="9609" y="12088"/>
                    <a:pt x="11321" y="14941"/>
                    <a:pt x="13412" y="17033"/>
                  </a:cubicBezTo>
                  <a:cubicBezTo>
                    <a:pt x="15504" y="19124"/>
                    <a:pt x="31477" y="27111"/>
                    <a:pt x="32427" y="17033"/>
                  </a:cubicBezTo>
                  <a:cubicBezTo>
                    <a:pt x="33378" y="6954"/>
                    <a:pt x="22920" y="5433"/>
                    <a:pt x="17025" y="410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02" name="Полилиния: фигура 401">
              <a:extLst>
                <a:ext uri="{FF2B5EF4-FFF2-40B4-BE49-F238E27FC236}">
                  <a16:creationId xmlns:a16="http://schemas.microsoft.com/office/drawing/2014/main" id="{D49E1099-D948-1DD5-D2EF-721523133F37}"/>
                </a:ext>
              </a:extLst>
            </p:cNvPr>
            <p:cNvSpPr/>
            <p:nvPr/>
          </p:nvSpPr>
          <p:spPr>
            <a:xfrm>
              <a:off x="4573902" y="2871428"/>
              <a:ext cx="15997" cy="16357"/>
            </a:xfrm>
            <a:custGeom>
              <a:avLst/>
              <a:gdLst>
                <a:gd name="connsiteX0" fmla="*/ 11216 w 16727"/>
                <a:gd name="connsiteY0" fmla="*/ 16211 h 17053"/>
                <a:gd name="connsiteX1" fmla="*/ 16541 w 16727"/>
                <a:gd name="connsiteY1" fmla="*/ 7844 h 17053"/>
                <a:gd name="connsiteX2" fmla="*/ 14259 w 16727"/>
                <a:gd name="connsiteY2" fmla="*/ 2710 h 17053"/>
                <a:gd name="connsiteX3" fmla="*/ 7793 w 16727"/>
                <a:gd name="connsiteY3" fmla="*/ 48 h 17053"/>
                <a:gd name="connsiteX4" fmla="*/ 4181 w 16727"/>
                <a:gd name="connsiteY4" fmla="*/ 2330 h 17053"/>
                <a:gd name="connsiteX5" fmla="*/ 377 w 16727"/>
                <a:gd name="connsiteY5" fmla="*/ 6893 h 17053"/>
                <a:gd name="connsiteX6" fmla="*/ 2925 w 16727"/>
                <a:gd name="connsiteY6" fmla="*/ 13111 h 17053"/>
                <a:gd name="connsiteX7" fmla="*/ 3039 w 16727"/>
                <a:gd name="connsiteY7" fmla="*/ 13168 h 17053"/>
                <a:gd name="connsiteX8" fmla="*/ 11216 w 16727"/>
                <a:gd name="connsiteY8" fmla="*/ 16211 h 1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27" h="17053">
                  <a:moveTo>
                    <a:pt x="11216" y="16211"/>
                  </a:moveTo>
                  <a:cubicBezTo>
                    <a:pt x="13308" y="14499"/>
                    <a:pt x="17681" y="11267"/>
                    <a:pt x="16541" y="7844"/>
                  </a:cubicBezTo>
                  <a:cubicBezTo>
                    <a:pt x="16084" y="6019"/>
                    <a:pt x="15324" y="4269"/>
                    <a:pt x="14259" y="2710"/>
                  </a:cubicBezTo>
                  <a:cubicBezTo>
                    <a:pt x="12699" y="770"/>
                    <a:pt x="10265" y="-238"/>
                    <a:pt x="7793" y="48"/>
                  </a:cubicBezTo>
                  <a:cubicBezTo>
                    <a:pt x="6443" y="542"/>
                    <a:pt x="5207" y="1322"/>
                    <a:pt x="4181" y="2330"/>
                  </a:cubicBezTo>
                  <a:cubicBezTo>
                    <a:pt x="2564" y="3527"/>
                    <a:pt x="1271" y="5087"/>
                    <a:pt x="377" y="6893"/>
                  </a:cubicBezTo>
                  <a:cubicBezTo>
                    <a:pt x="-650" y="9308"/>
                    <a:pt x="492" y="12103"/>
                    <a:pt x="2925" y="13111"/>
                  </a:cubicBezTo>
                  <a:cubicBezTo>
                    <a:pt x="2963" y="13130"/>
                    <a:pt x="3001" y="13149"/>
                    <a:pt x="3039" y="13168"/>
                  </a:cubicBezTo>
                  <a:cubicBezTo>
                    <a:pt x="5892" y="14499"/>
                    <a:pt x="7984" y="18873"/>
                    <a:pt x="11216" y="16211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03" name="Полилиния: фигура 402">
              <a:extLst>
                <a:ext uri="{FF2B5EF4-FFF2-40B4-BE49-F238E27FC236}">
                  <a16:creationId xmlns:a16="http://schemas.microsoft.com/office/drawing/2014/main" id="{A2A3D9B9-7943-5782-AADC-0644C5796E68}"/>
                </a:ext>
              </a:extLst>
            </p:cNvPr>
            <p:cNvSpPr/>
            <p:nvPr/>
          </p:nvSpPr>
          <p:spPr>
            <a:xfrm>
              <a:off x="3991729" y="1783281"/>
              <a:ext cx="79575" cy="42089"/>
            </a:xfrm>
            <a:custGeom>
              <a:avLst/>
              <a:gdLst>
                <a:gd name="connsiteX0" fmla="*/ 23635 w 83207"/>
                <a:gd name="connsiteY0" fmla="*/ 39054 h 43881"/>
                <a:gd name="connsiteX1" fmla="*/ 50827 w 83207"/>
                <a:gd name="connsiteY1" fmla="*/ 30878 h 43881"/>
                <a:gd name="connsiteX2" fmla="*/ 74026 w 83207"/>
                <a:gd name="connsiteY2" fmla="*/ 43808 h 43881"/>
                <a:gd name="connsiteX3" fmla="*/ 83153 w 83207"/>
                <a:gd name="connsiteY3" fmla="*/ 28976 h 43881"/>
                <a:gd name="connsiteX4" fmla="*/ 71934 w 83207"/>
                <a:gd name="connsiteY4" fmla="*/ 13383 h 43881"/>
                <a:gd name="connsiteX5" fmla="*/ 39608 w 83207"/>
                <a:gd name="connsiteY5" fmla="*/ 11292 h 43881"/>
                <a:gd name="connsiteX6" fmla="*/ 21924 w 83207"/>
                <a:gd name="connsiteY6" fmla="*/ 11292 h 43881"/>
                <a:gd name="connsiteX7" fmla="*/ 11275 w 83207"/>
                <a:gd name="connsiteY7" fmla="*/ 1404 h 43881"/>
                <a:gd name="connsiteX8" fmla="*/ 626 w 83207"/>
                <a:gd name="connsiteY8" fmla="*/ 5397 h 43881"/>
                <a:gd name="connsiteX9" fmla="*/ 4620 w 83207"/>
                <a:gd name="connsiteY9" fmla="*/ 20799 h 43881"/>
                <a:gd name="connsiteX10" fmla="*/ 23635 w 83207"/>
                <a:gd name="connsiteY10" fmla="*/ 39054 h 43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3207" h="43881">
                  <a:moveTo>
                    <a:pt x="23635" y="39054"/>
                  </a:moveTo>
                  <a:cubicBezTo>
                    <a:pt x="32572" y="39054"/>
                    <a:pt x="39988" y="29356"/>
                    <a:pt x="50827" y="30878"/>
                  </a:cubicBezTo>
                  <a:cubicBezTo>
                    <a:pt x="61666" y="32399"/>
                    <a:pt x="66230" y="44949"/>
                    <a:pt x="74026" y="43808"/>
                  </a:cubicBezTo>
                  <a:cubicBezTo>
                    <a:pt x="79997" y="41408"/>
                    <a:pt x="83705" y="35388"/>
                    <a:pt x="83153" y="28976"/>
                  </a:cubicBezTo>
                  <a:cubicBezTo>
                    <a:pt x="83153" y="28976"/>
                    <a:pt x="71174" y="12813"/>
                    <a:pt x="71934" y="13383"/>
                  </a:cubicBezTo>
                  <a:cubicBezTo>
                    <a:pt x="65089" y="7108"/>
                    <a:pt x="47975" y="11862"/>
                    <a:pt x="39608" y="11292"/>
                  </a:cubicBezTo>
                  <a:cubicBezTo>
                    <a:pt x="33732" y="11870"/>
                    <a:pt x="27799" y="11870"/>
                    <a:pt x="21924" y="11292"/>
                  </a:cubicBezTo>
                  <a:cubicBezTo>
                    <a:pt x="15839" y="9010"/>
                    <a:pt x="16029" y="4827"/>
                    <a:pt x="11275" y="1404"/>
                  </a:cubicBezTo>
                  <a:cubicBezTo>
                    <a:pt x="6521" y="-2019"/>
                    <a:pt x="2718" y="1404"/>
                    <a:pt x="626" y="5397"/>
                  </a:cubicBezTo>
                  <a:cubicBezTo>
                    <a:pt x="-1465" y="9390"/>
                    <a:pt x="2148" y="15855"/>
                    <a:pt x="4620" y="20799"/>
                  </a:cubicBezTo>
                  <a:cubicBezTo>
                    <a:pt x="7092" y="25743"/>
                    <a:pt x="13557" y="39054"/>
                    <a:pt x="23635" y="3905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04" name="Полилиния: фигура 403">
              <a:extLst>
                <a:ext uri="{FF2B5EF4-FFF2-40B4-BE49-F238E27FC236}">
                  <a16:creationId xmlns:a16="http://schemas.microsoft.com/office/drawing/2014/main" id="{4E71144B-8BAA-6FE7-314B-AC4FF36FE3C1}"/>
                </a:ext>
              </a:extLst>
            </p:cNvPr>
            <p:cNvSpPr/>
            <p:nvPr/>
          </p:nvSpPr>
          <p:spPr>
            <a:xfrm>
              <a:off x="3997086" y="1814708"/>
              <a:ext cx="127095" cy="73331"/>
            </a:xfrm>
            <a:custGeom>
              <a:avLst/>
              <a:gdLst>
                <a:gd name="connsiteX0" fmla="*/ 45415 w 132895"/>
                <a:gd name="connsiteY0" fmla="*/ 21120 h 76454"/>
                <a:gd name="connsiteX1" fmla="*/ 29822 w 132895"/>
                <a:gd name="connsiteY1" fmla="*/ 40135 h 76454"/>
                <a:gd name="connsiteX2" fmla="*/ 25639 w 132895"/>
                <a:gd name="connsiteY2" fmla="*/ 44699 h 76454"/>
                <a:gd name="connsiteX3" fmla="*/ 18413 w 132895"/>
                <a:gd name="connsiteY3" fmla="*/ 34621 h 76454"/>
                <a:gd name="connsiteX4" fmla="*/ 3676 w 132895"/>
                <a:gd name="connsiteY4" fmla="*/ 33453 h 76454"/>
                <a:gd name="connsiteX5" fmla="*/ 1490 w 132895"/>
                <a:gd name="connsiteY5" fmla="*/ 46791 h 76454"/>
                <a:gd name="connsiteX6" fmla="*/ 10427 w 132895"/>
                <a:gd name="connsiteY6" fmla="*/ 50403 h 76454"/>
                <a:gd name="connsiteX7" fmla="*/ 10427 w 132895"/>
                <a:gd name="connsiteY7" fmla="*/ 61623 h 76454"/>
                <a:gd name="connsiteX8" fmla="*/ 6434 w 132895"/>
                <a:gd name="connsiteY8" fmla="*/ 66757 h 76454"/>
                <a:gd name="connsiteX9" fmla="*/ 16322 w 132895"/>
                <a:gd name="connsiteY9" fmla="*/ 71511 h 76454"/>
                <a:gd name="connsiteX10" fmla="*/ 44845 w 132895"/>
                <a:gd name="connsiteY10" fmla="*/ 62763 h 76454"/>
                <a:gd name="connsiteX11" fmla="*/ 65762 w 132895"/>
                <a:gd name="connsiteY11" fmla="*/ 59150 h 76454"/>
                <a:gd name="connsiteX12" fmla="*/ 93905 w 132895"/>
                <a:gd name="connsiteY12" fmla="*/ 54397 h 76454"/>
                <a:gd name="connsiteX13" fmla="*/ 117293 w 132895"/>
                <a:gd name="connsiteY13" fmla="*/ 56488 h 76454"/>
                <a:gd name="connsiteX14" fmla="*/ 130034 w 132895"/>
                <a:gd name="connsiteY14" fmla="*/ 35762 h 76454"/>
                <a:gd name="connsiteX15" fmla="*/ 119005 w 132895"/>
                <a:gd name="connsiteY15" fmla="*/ 26064 h 76454"/>
                <a:gd name="connsiteX16" fmla="*/ 132125 w 132895"/>
                <a:gd name="connsiteY16" fmla="*/ 12183 h 76454"/>
                <a:gd name="connsiteX17" fmla="*/ 122618 w 132895"/>
                <a:gd name="connsiteY17" fmla="*/ 9901 h 76454"/>
                <a:gd name="connsiteX18" fmla="*/ 108546 w 132895"/>
                <a:gd name="connsiteY18" fmla="*/ 13 h 76454"/>
                <a:gd name="connsiteX19" fmla="*/ 84016 w 132895"/>
                <a:gd name="connsiteY19" fmla="*/ 12183 h 76454"/>
                <a:gd name="connsiteX20" fmla="*/ 69755 w 132895"/>
                <a:gd name="connsiteY20" fmla="*/ 36712 h 76454"/>
                <a:gd name="connsiteX21" fmla="*/ 45415 w 132895"/>
                <a:gd name="connsiteY21" fmla="*/ 21120 h 76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2895" h="76454">
                  <a:moveTo>
                    <a:pt x="45415" y="21120"/>
                  </a:moveTo>
                  <a:cubicBezTo>
                    <a:pt x="34767" y="21120"/>
                    <a:pt x="37619" y="34240"/>
                    <a:pt x="29822" y="40135"/>
                  </a:cubicBezTo>
                  <a:cubicBezTo>
                    <a:pt x="27351" y="41846"/>
                    <a:pt x="29822" y="44889"/>
                    <a:pt x="25639" y="44699"/>
                  </a:cubicBezTo>
                  <a:cubicBezTo>
                    <a:pt x="21456" y="44509"/>
                    <a:pt x="21266" y="37283"/>
                    <a:pt x="18413" y="34621"/>
                  </a:cubicBezTo>
                  <a:cubicBezTo>
                    <a:pt x="14667" y="30226"/>
                    <a:pt x="8069" y="29703"/>
                    <a:pt x="3676" y="33453"/>
                  </a:cubicBezTo>
                  <a:cubicBezTo>
                    <a:pt x="-222" y="36769"/>
                    <a:pt x="-1134" y="42409"/>
                    <a:pt x="1490" y="46791"/>
                  </a:cubicBezTo>
                  <a:cubicBezTo>
                    <a:pt x="4342" y="52115"/>
                    <a:pt x="7194" y="46791"/>
                    <a:pt x="10427" y="50403"/>
                  </a:cubicBezTo>
                  <a:cubicBezTo>
                    <a:pt x="17273" y="57249"/>
                    <a:pt x="12709" y="54777"/>
                    <a:pt x="10427" y="61623"/>
                  </a:cubicBezTo>
                  <a:cubicBezTo>
                    <a:pt x="10427" y="64095"/>
                    <a:pt x="6053" y="62954"/>
                    <a:pt x="6434" y="66757"/>
                  </a:cubicBezTo>
                  <a:cubicBezTo>
                    <a:pt x="6814" y="70560"/>
                    <a:pt x="14610" y="70560"/>
                    <a:pt x="16322" y="71511"/>
                  </a:cubicBezTo>
                  <a:cubicBezTo>
                    <a:pt x="33055" y="80828"/>
                    <a:pt x="33626" y="76454"/>
                    <a:pt x="44845" y="62763"/>
                  </a:cubicBezTo>
                  <a:cubicBezTo>
                    <a:pt x="53402" y="52305"/>
                    <a:pt x="54923" y="59721"/>
                    <a:pt x="65762" y="59150"/>
                  </a:cubicBezTo>
                  <a:cubicBezTo>
                    <a:pt x="76600" y="58580"/>
                    <a:pt x="81164" y="50023"/>
                    <a:pt x="93905" y="54397"/>
                  </a:cubicBezTo>
                  <a:cubicBezTo>
                    <a:pt x="102842" y="57249"/>
                    <a:pt x="107025" y="61432"/>
                    <a:pt x="117293" y="56488"/>
                  </a:cubicBezTo>
                  <a:cubicBezTo>
                    <a:pt x="123949" y="53256"/>
                    <a:pt x="136309" y="44128"/>
                    <a:pt x="130034" y="35762"/>
                  </a:cubicBezTo>
                  <a:cubicBezTo>
                    <a:pt x="123759" y="27395"/>
                    <a:pt x="114441" y="35762"/>
                    <a:pt x="119005" y="26064"/>
                  </a:cubicBezTo>
                  <a:cubicBezTo>
                    <a:pt x="120906" y="21880"/>
                    <a:pt x="136499" y="18458"/>
                    <a:pt x="132125" y="12183"/>
                  </a:cubicBezTo>
                  <a:cubicBezTo>
                    <a:pt x="130224" y="9711"/>
                    <a:pt x="125090" y="12183"/>
                    <a:pt x="122618" y="9901"/>
                  </a:cubicBezTo>
                  <a:cubicBezTo>
                    <a:pt x="116723" y="6288"/>
                    <a:pt x="116913" y="-178"/>
                    <a:pt x="108546" y="13"/>
                  </a:cubicBezTo>
                  <a:cubicBezTo>
                    <a:pt x="98848" y="-273"/>
                    <a:pt x="89645" y="4291"/>
                    <a:pt x="84016" y="12183"/>
                  </a:cubicBezTo>
                  <a:cubicBezTo>
                    <a:pt x="79833" y="21310"/>
                    <a:pt x="86489" y="36522"/>
                    <a:pt x="69755" y="36712"/>
                  </a:cubicBezTo>
                  <a:cubicBezTo>
                    <a:pt x="58346" y="36712"/>
                    <a:pt x="56064" y="20930"/>
                    <a:pt x="45415" y="21120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05" name="Полилиния: фигура 404">
              <a:extLst>
                <a:ext uri="{FF2B5EF4-FFF2-40B4-BE49-F238E27FC236}">
                  <a16:creationId xmlns:a16="http://schemas.microsoft.com/office/drawing/2014/main" id="{A3222CAE-404C-7B57-753C-D41DA2BC0662}"/>
                </a:ext>
              </a:extLst>
            </p:cNvPr>
            <p:cNvSpPr/>
            <p:nvPr/>
          </p:nvSpPr>
          <p:spPr>
            <a:xfrm>
              <a:off x="4126923" y="1782073"/>
              <a:ext cx="25652" cy="29468"/>
            </a:xfrm>
            <a:custGeom>
              <a:avLst/>
              <a:gdLst>
                <a:gd name="connsiteX0" fmla="*/ 166 w 26823"/>
                <a:gd name="connsiteY0" fmla="*/ 23579 h 30723"/>
                <a:gd name="connsiteX1" fmla="*/ 11385 w 26823"/>
                <a:gd name="connsiteY1" fmla="*/ 30044 h 30723"/>
                <a:gd name="connsiteX2" fmla="*/ 15569 w 26823"/>
                <a:gd name="connsiteY2" fmla="*/ 15783 h 30723"/>
                <a:gd name="connsiteX3" fmla="*/ 23746 w 26823"/>
                <a:gd name="connsiteY3" fmla="*/ 0 h 30723"/>
                <a:gd name="connsiteX4" fmla="*/ 15759 w 26823"/>
                <a:gd name="connsiteY4" fmla="*/ 7986 h 30723"/>
                <a:gd name="connsiteX5" fmla="*/ 3019 w 26823"/>
                <a:gd name="connsiteY5" fmla="*/ 6655 h 30723"/>
                <a:gd name="connsiteX6" fmla="*/ 5681 w 26823"/>
                <a:gd name="connsiteY6" fmla="*/ 13311 h 30723"/>
                <a:gd name="connsiteX7" fmla="*/ 166 w 26823"/>
                <a:gd name="connsiteY7" fmla="*/ 23579 h 30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823" h="30723">
                  <a:moveTo>
                    <a:pt x="166" y="23579"/>
                  </a:moveTo>
                  <a:cubicBezTo>
                    <a:pt x="-1355" y="28523"/>
                    <a:pt x="7963" y="32326"/>
                    <a:pt x="11385" y="30044"/>
                  </a:cubicBezTo>
                  <a:cubicBezTo>
                    <a:pt x="14808" y="27762"/>
                    <a:pt x="13858" y="18825"/>
                    <a:pt x="15569" y="15783"/>
                  </a:cubicBezTo>
                  <a:cubicBezTo>
                    <a:pt x="17280" y="12740"/>
                    <a:pt x="33443" y="951"/>
                    <a:pt x="23746" y="0"/>
                  </a:cubicBezTo>
                  <a:cubicBezTo>
                    <a:pt x="20513" y="0"/>
                    <a:pt x="18801" y="7036"/>
                    <a:pt x="15759" y="7986"/>
                  </a:cubicBezTo>
                  <a:cubicBezTo>
                    <a:pt x="12717" y="8937"/>
                    <a:pt x="6442" y="3613"/>
                    <a:pt x="3019" y="6655"/>
                  </a:cubicBezTo>
                  <a:cubicBezTo>
                    <a:pt x="-404" y="9698"/>
                    <a:pt x="5871" y="8937"/>
                    <a:pt x="5681" y="13311"/>
                  </a:cubicBezTo>
                  <a:cubicBezTo>
                    <a:pt x="5491" y="21297"/>
                    <a:pt x="2068" y="17114"/>
                    <a:pt x="166" y="2357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06" name="Полилиния: фигура 405">
              <a:extLst>
                <a:ext uri="{FF2B5EF4-FFF2-40B4-BE49-F238E27FC236}">
                  <a16:creationId xmlns:a16="http://schemas.microsoft.com/office/drawing/2014/main" id="{ECB5BCD5-3439-1CB9-44BA-52E447B4EEF0}"/>
                </a:ext>
              </a:extLst>
            </p:cNvPr>
            <p:cNvSpPr/>
            <p:nvPr/>
          </p:nvSpPr>
          <p:spPr>
            <a:xfrm>
              <a:off x="4039969" y="1893513"/>
              <a:ext cx="19978" cy="21819"/>
            </a:xfrm>
            <a:custGeom>
              <a:avLst/>
              <a:gdLst>
                <a:gd name="connsiteX0" fmla="*/ 20542 w 20890"/>
                <a:gd name="connsiteY0" fmla="*/ 6274 h 22748"/>
                <a:gd name="connsiteX1" fmla="*/ 9132 w 20890"/>
                <a:gd name="connsiteY1" fmla="*/ 6274 h 22748"/>
                <a:gd name="connsiteX2" fmla="*/ 5 w 20890"/>
                <a:gd name="connsiteY2" fmla="*/ 18824 h 22748"/>
                <a:gd name="connsiteX3" fmla="*/ 8942 w 20890"/>
                <a:gd name="connsiteY3" fmla="*/ 17493 h 22748"/>
                <a:gd name="connsiteX4" fmla="*/ 20542 w 20890"/>
                <a:gd name="connsiteY4" fmla="*/ 6274 h 22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90" h="22748">
                  <a:moveTo>
                    <a:pt x="20542" y="6274"/>
                  </a:moveTo>
                  <a:cubicBezTo>
                    <a:pt x="17689" y="-5706"/>
                    <a:pt x="13126" y="2471"/>
                    <a:pt x="9132" y="6274"/>
                  </a:cubicBezTo>
                  <a:cubicBezTo>
                    <a:pt x="5139" y="10077"/>
                    <a:pt x="-185" y="13880"/>
                    <a:pt x="5" y="18824"/>
                  </a:cubicBezTo>
                  <a:cubicBezTo>
                    <a:pt x="5" y="27761"/>
                    <a:pt x="4568" y="18824"/>
                    <a:pt x="8942" y="17493"/>
                  </a:cubicBezTo>
                  <a:cubicBezTo>
                    <a:pt x="13316" y="16162"/>
                    <a:pt x="22823" y="16162"/>
                    <a:pt x="20542" y="627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07" name="Полилиния: фигура 406">
              <a:extLst>
                <a:ext uri="{FF2B5EF4-FFF2-40B4-BE49-F238E27FC236}">
                  <a16:creationId xmlns:a16="http://schemas.microsoft.com/office/drawing/2014/main" id="{C25125E2-4AD7-77D1-C1E4-11489C02A3EB}"/>
                </a:ext>
              </a:extLst>
            </p:cNvPr>
            <p:cNvSpPr/>
            <p:nvPr/>
          </p:nvSpPr>
          <p:spPr>
            <a:xfrm>
              <a:off x="4049430" y="1925045"/>
              <a:ext cx="22541" cy="24186"/>
            </a:xfrm>
            <a:custGeom>
              <a:avLst/>
              <a:gdLst>
                <a:gd name="connsiteX0" fmla="*/ 12741 w 23570"/>
                <a:gd name="connsiteY0" fmla="*/ 15423 h 25216"/>
                <a:gd name="connsiteX1" fmla="*/ 0 w 23570"/>
                <a:gd name="connsiteY1" fmla="*/ 6676 h 25216"/>
                <a:gd name="connsiteX2" fmla="*/ 7606 w 23570"/>
                <a:gd name="connsiteY2" fmla="*/ 22269 h 25216"/>
                <a:gd name="connsiteX3" fmla="*/ 12741 w 23570"/>
                <a:gd name="connsiteY3" fmla="*/ 15423 h 25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70" h="25216">
                  <a:moveTo>
                    <a:pt x="12741" y="15423"/>
                  </a:moveTo>
                  <a:cubicBezTo>
                    <a:pt x="41644" y="7817"/>
                    <a:pt x="3993" y="-9487"/>
                    <a:pt x="0" y="6676"/>
                  </a:cubicBezTo>
                  <a:cubicBezTo>
                    <a:pt x="2225" y="12021"/>
                    <a:pt x="4754" y="17228"/>
                    <a:pt x="7606" y="22269"/>
                  </a:cubicBezTo>
                  <a:cubicBezTo>
                    <a:pt x="16924" y="31206"/>
                    <a:pt x="6275" y="17135"/>
                    <a:pt x="12741" y="1542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08" name="Полилиния: фигура 407">
              <a:extLst>
                <a:ext uri="{FF2B5EF4-FFF2-40B4-BE49-F238E27FC236}">
                  <a16:creationId xmlns:a16="http://schemas.microsoft.com/office/drawing/2014/main" id="{DAEF45BA-8607-A009-DC55-6E361BEAB6F6}"/>
                </a:ext>
              </a:extLst>
            </p:cNvPr>
            <p:cNvSpPr/>
            <p:nvPr/>
          </p:nvSpPr>
          <p:spPr>
            <a:xfrm>
              <a:off x="4105357" y="1908492"/>
              <a:ext cx="33835" cy="33949"/>
            </a:xfrm>
            <a:custGeom>
              <a:avLst/>
              <a:gdLst>
                <a:gd name="connsiteX0" fmla="*/ 3130 w 35379"/>
                <a:gd name="connsiteY0" fmla="*/ 26406 h 35395"/>
                <a:gd name="connsiteX1" fmla="*/ 13589 w 35379"/>
                <a:gd name="connsiteY1" fmla="*/ 34392 h 35395"/>
                <a:gd name="connsiteX2" fmla="*/ 21385 w 35379"/>
                <a:gd name="connsiteY2" fmla="*/ 32491 h 35395"/>
                <a:gd name="connsiteX3" fmla="*/ 32034 w 35379"/>
                <a:gd name="connsiteY3" fmla="*/ 8531 h 35395"/>
                <a:gd name="connsiteX4" fmla="*/ 8835 w 35379"/>
                <a:gd name="connsiteY4" fmla="*/ 7390 h 35395"/>
                <a:gd name="connsiteX5" fmla="*/ 3130 w 35379"/>
                <a:gd name="connsiteY5" fmla="*/ 26406 h 35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379" h="35395">
                  <a:moveTo>
                    <a:pt x="3130" y="26406"/>
                  </a:moveTo>
                  <a:cubicBezTo>
                    <a:pt x="6458" y="29277"/>
                    <a:pt x="9938" y="31945"/>
                    <a:pt x="13589" y="34392"/>
                  </a:cubicBezTo>
                  <a:cubicBezTo>
                    <a:pt x="19674" y="36104"/>
                    <a:pt x="16821" y="35723"/>
                    <a:pt x="21385" y="32491"/>
                  </a:cubicBezTo>
                  <a:cubicBezTo>
                    <a:pt x="31653" y="25265"/>
                    <a:pt x="40401" y="25455"/>
                    <a:pt x="32034" y="8531"/>
                  </a:cubicBezTo>
                  <a:cubicBezTo>
                    <a:pt x="25949" y="-4779"/>
                    <a:pt x="17011" y="-406"/>
                    <a:pt x="8835" y="7390"/>
                  </a:cubicBezTo>
                  <a:cubicBezTo>
                    <a:pt x="658" y="15187"/>
                    <a:pt x="-3145" y="17849"/>
                    <a:pt x="3130" y="2640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09" name="Полилиния: фигура 408">
              <a:extLst>
                <a:ext uri="{FF2B5EF4-FFF2-40B4-BE49-F238E27FC236}">
                  <a16:creationId xmlns:a16="http://schemas.microsoft.com/office/drawing/2014/main" id="{5440764B-E72B-B679-79BE-3EFB3B41C300}"/>
                </a:ext>
              </a:extLst>
            </p:cNvPr>
            <p:cNvSpPr/>
            <p:nvPr/>
          </p:nvSpPr>
          <p:spPr>
            <a:xfrm>
              <a:off x="4153369" y="1897259"/>
              <a:ext cx="12687" cy="22327"/>
            </a:xfrm>
            <a:custGeom>
              <a:avLst/>
              <a:gdLst>
                <a:gd name="connsiteX0" fmla="*/ 4269 w 13266"/>
                <a:gd name="connsiteY0" fmla="*/ 22905 h 23278"/>
                <a:gd name="connsiteX1" fmla="*/ 11685 w 13266"/>
                <a:gd name="connsiteY1" fmla="*/ 10926 h 23278"/>
                <a:gd name="connsiteX2" fmla="*/ 2177 w 13266"/>
                <a:gd name="connsiteY2" fmla="*/ 10926 h 23278"/>
                <a:gd name="connsiteX3" fmla="*/ 4269 w 13266"/>
                <a:gd name="connsiteY3" fmla="*/ 22905 h 2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66" h="23278">
                  <a:moveTo>
                    <a:pt x="4269" y="22905"/>
                  </a:moveTo>
                  <a:cubicBezTo>
                    <a:pt x="11495" y="25377"/>
                    <a:pt x="8072" y="14919"/>
                    <a:pt x="11685" y="10926"/>
                  </a:cubicBezTo>
                  <a:cubicBezTo>
                    <a:pt x="18150" y="3510"/>
                    <a:pt x="2747" y="-9421"/>
                    <a:pt x="2177" y="10926"/>
                  </a:cubicBezTo>
                  <a:cubicBezTo>
                    <a:pt x="2177" y="14158"/>
                    <a:pt x="-3908" y="20053"/>
                    <a:pt x="4269" y="2290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10" name="Полилиния: фигура 409">
              <a:extLst>
                <a:ext uri="{FF2B5EF4-FFF2-40B4-BE49-F238E27FC236}">
                  <a16:creationId xmlns:a16="http://schemas.microsoft.com/office/drawing/2014/main" id="{10D05409-10D2-CF15-BDEE-F0A8E733D015}"/>
                </a:ext>
              </a:extLst>
            </p:cNvPr>
            <p:cNvSpPr/>
            <p:nvPr/>
          </p:nvSpPr>
          <p:spPr>
            <a:xfrm>
              <a:off x="4174827" y="1867848"/>
              <a:ext cx="57401" cy="53752"/>
            </a:xfrm>
            <a:custGeom>
              <a:avLst/>
              <a:gdLst>
                <a:gd name="connsiteX0" fmla="*/ 11686 w 60021"/>
                <a:gd name="connsiteY0" fmla="*/ 16679 h 56041"/>
                <a:gd name="connsiteX1" fmla="*/ 26138 w 60021"/>
                <a:gd name="connsiteY1" fmla="*/ 33793 h 56041"/>
                <a:gd name="connsiteX2" fmla="*/ 39639 w 60021"/>
                <a:gd name="connsiteY2" fmla="*/ 56041 h 56041"/>
                <a:gd name="connsiteX3" fmla="*/ 58654 w 60021"/>
                <a:gd name="connsiteY3" fmla="*/ 48055 h 56041"/>
                <a:gd name="connsiteX4" fmla="*/ 50478 w 60021"/>
                <a:gd name="connsiteY4" fmla="*/ 30751 h 56041"/>
                <a:gd name="connsiteX5" fmla="*/ 39449 w 60021"/>
                <a:gd name="connsiteY5" fmla="*/ 24856 h 56041"/>
                <a:gd name="connsiteX6" fmla="*/ 39449 w 60021"/>
                <a:gd name="connsiteY6" fmla="*/ 16489 h 56041"/>
                <a:gd name="connsiteX7" fmla="*/ 3700 w 60021"/>
                <a:gd name="connsiteY7" fmla="*/ 326 h 56041"/>
                <a:gd name="connsiteX8" fmla="*/ 11686 w 60021"/>
                <a:gd name="connsiteY8" fmla="*/ 16679 h 56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021" h="56041">
                  <a:moveTo>
                    <a:pt x="11686" y="16679"/>
                  </a:moveTo>
                  <a:cubicBezTo>
                    <a:pt x="17923" y="21013"/>
                    <a:pt x="22905" y="26915"/>
                    <a:pt x="26138" y="33793"/>
                  </a:cubicBezTo>
                  <a:cubicBezTo>
                    <a:pt x="29371" y="39878"/>
                    <a:pt x="31843" y="54520"/>
                    <a:pt x="39639" y="56041"/>
                  </a:cubicBezTo>
                  <a:cubicBezTo>
                    <a:pt x="46409" y="54556"/>
                    <a:pt x="52855" y="51850"/>
                    <a:pt x="58654" y="48055"/>
                  </a:cubicBezTo>
                  <a:cubicBezTo>
                    <a:pt x="63028" y="41780"/>
                    <a:pt x="55992" y="33983"/>
                    <a:pt x="50478" y="30751"/>
                  </a:cubicBezTo>
                  <a:cubicBezTo>
                    <a:pt x="44963" y="27518"/>
                    <a:pt x="42301" y="29039"/>
                    <a:pt x="39449" y="24856"/>
                  </a:cubicBezTo>
                  <a:cubicBezTo>
                    <a:pt x="36596" y="20673"/>
                    <a:pt x="39449" y="18771"/>
                    <a:pt x="39449" y="16489"/>
                  </a:cubicBezTo>
                  <a:cubicBezTo>
                    <a:pt x="39449" y="14207"/>
                    <a:pt x="9024" y="-2526"/>
                    <a:pt x="3700" y="326"/>
                  </a:cubicBezTo>
                  <a:cubicBezTo>
                    <a:pt x="-7139" y="6411"/>
                    <a:pt x="9024" y="14778"/>
                    <a:pt x="11686" y="1667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11" name="Полилиния: фигура 410">
              <a:extLst>
                <a:ext uri="{FF2B5EF4-FFF2-40B4-BE49-F238E27FC236}">
                  <a16:creationId xmlns:a16="http://schemas.microsoft.com/office/drawing/2014/main" id="{AEFF2F2E-D920-6A99-1948-EB9DB78C8699}"/>
                </a:ext>
              </a:extLst>
            </p:cNvPr>
            <p:cNvSpPr/>
            <p:nvPr/>
          </p:nvSpPr>
          <p:spPr>
            <a:xfrm>
              <a:off x="4205509" y="1840713"/>
              <a:ext cx="80533" cy="90735"/>
            </a:xfrm>
            <a:custGeom>
              <a:avLst/>
              <a:gdLst>
                <a:gd name="connsiteX0" fmla="*/ 9268 w 84208"/>
                <a:gd name="connsiteY0" fmla="*/ 13784 h 94599"/>
                <a:gd name="connsiteX1" fmla="*/ 19346 w 84208"/>
                <a:gd name="connsiteY1" fmla="*/ 28046 h 94599"/>
                <a:gd name="connsiteX2" fmla="*/ 33988 w 84208"/>
                <a:gd name="connsiteY2" fmla="*/ 44779 h 94599"/>
                <a:gd name="connsiteX3" fmla="*/ 45777 w 84208"/>
                <a:gd name="connsiteY3" fmla="*/ 71781 h 94599"/>
                <a:gd name="connsiteX4" fmla="*/ 42734 w 84208"/>
                <a:gd name="connsiteY4" fmla="*/ 76345 h 94599"/>
                <a:gd name="connsiteX5" fmla="*/ 42734 w 84208"/>
                <a:gd name="connsiteY5" fmla="*/ 81289 h 94599"/>
                <a:gd name="connsiteX6" fmla="*/ 57186 w 84208"/>
                <a:gd name="connsiteY6" fmla="*/ 85852 h 94599"/>
                <a:gd name="connsiteX7" fmla="*/ 62891 w 84208"/>
                <a:gd name="connsiteY7" fmla="*/ 94599 h 94599"/>
                <a:gd name="connsiteX8" fmla="*/ 80765 w 84208"/>
                <a:gd name="connsiteY8" fmla="*/ 81669 h 94599"/>
                <a:gd name="connsiteX9" fmla="*/ 70877 w 84208"/>
                <a:gd name="connsiteY9" fmla="*/ 74633 h 94599"/>
                <a:gd name="connsiteX10" fmla="*/ 72018 w 84208"/>
                <a:gd name="connsiteY10" fmla="*/ 62654 h 94599"/>
                <a:gd name="connsiteX11" fmla="*/ 76962 w 84208"/>
                <a:gd name="connsiteY11" fmla="*/ 43638 h 94599"/>
                <a:gd name="connsiteX12" fmla="*/ 64412 w 84208"/>
                <a:gd name="connsiteY12" fmla="*/ 46491 h 94599"/>
                <a:gd name="connsiteX13" fmla="*/ 58708 w 84208"/>
                <a:gd name="connsiteY13" fmla="*/ 37934 h 94599"/>
                <a:gd name="connsiteX14" fmla="*/ 50150 w 84208"/>
                <a:gd name="connsiteY14" fmla="*/ 41546 h 94599"/>
                <a:gd name="connsiteX15" fmla="*/ 57947 w 84208"/>
                <a:gd name="connsiteY15" fmla="*/ 60562 h 94599"/>
                <a:gd name="connsiteX16" fmla="*/ 46347 w 84208"/>
                <a:gd name="connsiteY16" fmla="*/ 55238 h 94599"/>
                <a:gd name="connsiteX17" fmla="*/ 44636 w 84208"/>
                <a:gd name="connsiteY17" fmla="*/ 31278 h 94599"/>
                <a:gd name="connsiteX18" fmla="*/ 25621 w 84208"/>
                <a:gd name="connsiteY18" fmla="*/ 21771 h 94599"/>
                <a:gd name="connsiteX19" fmla="*/ 11359 w 84208"/>
                <a:gd name="connsiteY19" fmla="*/ 2755 h 94599"/>
                <a:gd name="connsiteX20" fmla="*/ 1471 w 84208"/>
                <a:gd name="connsiteY20" fmla="*/ 2755 h 94599"/>
                <a:gd name="connsiteX21" fmla="*/ 9268 w 84208"/>
                <a:gd name="connsiteY21" fmla="*/ 13784 h 94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4208" h="94599">
                  <a:moveTo>
                    <a:pt x="9268" y="13784"/>
                  </a:moveTo>
                  <a:cubicBezTo>
                    <a:pt x="13071" y="18728"/>
                    <a:pt x="13831" y="24813"/>
                    <a:pt x="19346" y="28046"/>
                  </a:cubicBezTo>
                  <a:cubicBezTo>
                    <a:pt x="32656" y="36032"/>
                    <a:pt x="29424" y="29757"/>
                    <a:pt x="33988" y="44779"/>
                  </a:cubicBezTo>
                  <a:cubicBezTo>
                    <a:pt x="36269" y="52195"/>
                    <a:pt x="46538" y="63794"/>
                    <a:pt x="45777" y="71781"/>
                  </a:cubicBezTo>
                  <a:cubicBezTo>
                    <a:pt x="45777" y="73683"/>
                    <a:pt x="42734" y="76915"/>
                    <a:pt x="42734" y="76345"/>
                  </a:cubicBezTo>
                  <a:cubicBezTo>
                    <a:pt x="42734" y="75774"/>
                    <a:pt x="35889" y="81098"/>
                    <a:pt x="42734" y="81289"/>
                  </a:cubicBezTo>
                  <a:cubicBezTo>
                    <a:pt x="49580" y="81479"/>
                    <a:pt x="50531" y="80148"/>
                    <a:pt x="57186" y="85852"/>
                  </a:cubicBezTo>
                  <a:cubicBezTo>
                    <a:pt x="60039" y="88514"/>
                    <a:pt x="57186" y="94409"/>
                    <a:pt x="62891" y="94599"/>
                  </a:cubicBezTo>
                  <a:cubicBezTo>
                    <a:pt x="69793" y="91776"/>
                    <a:pt x="75917" y="87343"/>
                    <a:pt x="80765" y="81669"/>
                  </a:cubicBezTo>
                  <a:cubicBezTo>
                    <a:pt x="80765" y="81669"/>
                    <a:pt x="72018" y="76725"/>
                    <a:pt x="70877" y="74633"/>
                  </a:cubicBezTo>
                  <a:cubicBezTo>
                    <a:pt x="68006" y="70971"/>
                    <a:pt x="68519" y="65709"/>
                    <a:pt x="72018" y="62654"/>
                  </a:cubicBezTo>
                  <a:cubicBezTo>
                    <a:pt x="74300" y="59421"/>
                    <a:pt x="94837" y="45920"/>
                    <a:pt x="76962" y="43638"/>
                  </a:cubicBezTo>
                  <a:cubicBezTo>
                    <a:pt x="72208" y="43638"/>
                    <a:pt x="70307" y="48962"/>
                    <a:pt x="64412" y="46491"/>
                  </a:cubicBezTo>
                  <a:cubicBezTo>
                    <a:pt x="58517" y="44018"/>
                    <a:pt x="61750" y="41356"/>
                    <a:pt x="58708" y="37934"/>
                  </a:cubicBezTo>
                  <a:cubicBezTo>
                    <a:pt x="55665" y="34511"/>
                    <a:pt x="45587" y="29757"/>
                    <a:pt x="50150" y="41546"/>
                  </a:cubicBezTo>
                  <a:cubicBezTo>
                    <a:pt x="53383" y="50103"/>
                    <a:pt x="66504" y="50294"/>
                    <a:pt x="57947" y="60562"/>
                  </a:cubicBezTo>
                  <a:cubicBezTo>
                    <a:pt x="49390" y="70830"/>
                    <a:pt x="49770" y="62654"/>
                    <a:pt x="46347" y="55238"/>
                  </a:cubicBezTo>
                  <a:cubicBezTo>
                    <a:pt x="42792" y="47747"/>
                    <a:pt x="42183" y="39196"/>
                    <a:pt x="44636" y="31278"/>
                  </a:cubicBezTo>
                  <a:cubicBezTo>
                    <a:pt x="47108" y="16256"/>
                    <a:pt x="38361" y="22341"/>
                    <a:pt x="25621" y="21771"/>
                  </a:cubicBezTo>
                  <a:cubicBezTo>
                    <a:pt x="9268" y="21771"/>
                    <a:pt x="19156" y="10742"/>
                    <a:pt x="11359" y="2755"/>
                  </a:cubicBezTo>
                  <a:cubicBezTo>
                    <a:pt x="8697" y="93"/>
                    <a:pt x="4324" y="-1809"/>
                    <a:pt x="1471" y="2755"/>
                  </a:cubicBezTo>
                  <a:cubicBezTo>
                    <a:pt x="-3663" y="9601"/>
                    <a:pt x="6035" y="9981"/>
                    <a:pt x="9268" y="1378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12" name="Полилиния: фигура 411">
              <a:extLst>
                <a:ext uri="{FF2B5EF4-FFF2-40B4-BE49-F238E27FC236}">
                  <a16:creationId xmlns:a16="http://schemas.microsoft.com/office/drawing/2014/main" id="{0CFA6067-1461-AFDC-F508-F30237F92958}"/>
                </a:ext>
              </a:extLst>
            </p:cNvPr>
            <p:cNvSpPr/>
            <p:nvPr/>
          </p:nvSpPr>
          <p:spPr>
            <a:xfrm>
              <a:off x="4235811" y="1814638"/>
              <a:ext cx="75307" cy="54679"/>
            </a:xfrm>
            <a:custGeom>
              <a:avLst/>
              <a:gdLst>
                <a:gd name="connsiteX0" fmla="*/ 22649 w 78744"/>
                <a:gd name="connsiteY0" fmla="*/ 45913 h 57007"/>
                <a:gd name="connsiteX1" fmla="*/ 37672 w 78744"/>
                <a:gd name="connsiteY1" fmla="*/ 48384 h 57007"/>
                <a:gd name="connsiteX2" fmla="*/ 28734 w 78744"/>
                <a:gd name="connsiteY2" fmla="*/ 36215 h 57007"/>
                <a:gd name="connsiteX3" fmla="*/ 13332 w 78744"/>
                <a:gd name="connsiteY3" fmla="*/ 29559 h 57007"/>
                <a:gd name="connsiteX4" fmla="*/ 29115 w 78744"/>
                <a:gd name="connsiteY4" fmla="*/ 23284 h 57007"/>
                <a:gd name="connsiteX5" fmla="*/ 39953 w 78744"/>
                <a:gd name="connsiteY5" fmla="*/ 34503 h 57007"/>
                <a:gd name="connsiteX6" fmla="*/ 57638 w 78744"/>
                <a:gd name="connsiteY6" fmla="*/ 32221 h 57007"/>
                <a:gd name="connsiteX7" fmla="*/ 69427 w 78744"/>
                <a:gd name="connsiteY7" fmla="*/ 48765 h 57007"/>
                <a:gd name="connsiteX8" fmla="*/ 78745 w 78744"/>
                <a:gd name="connsiteY8" fmla="*/ 46673 h 57007"/>
                <a:gd name="connsiteX9" fmla="*/ 69998 w 78744"/>
                <a:gd name="connsiteY9" fmla="*/ 22333 h 57007"/>
                <a:gd name="connsiteX10" fmla="*/ 61061 w 78744"/>
                <a:gd name="connsiteY10" fmla="*/ 3318 h 57007"/>
                <a:gd name="connsiteX11" fmla="*/ 46609 w 78744"/>
                <a:gd name="connsiteY11" fmla="*/ 3318 h 57007"/>
                <a:gd name="connsiteX12" fmla="*/ 27594 w 78744"/>
                <a:gd name="connsiteY12" fmla="*/ 16439 h 57007"/>
                <a:gd name="connsiteX13" fmla="*/ 7057 w 78744"/>
                <a:gd name="connsiteY13" fmla="*/ 16439 h 57007"/>
                <a:gd name="connsiteX14" fmla="*/ 22649 w 78744"/>
                <a:gd name="connsiteY14" fmla="*/ 45913 h 5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744" h="57007">
                  <a:moveTo>
                    <a:pt x="22649" y="45913"/>
                  </a:moveTo>
                  <a:cubicBezTo>
                    <a:pt x="28734" y="50666"/>
                    <a:pt x="41665" y="66829"/>
                    <a:pt x="37672" y="48384"/>
                  </a:cubicBezTo>
                  <a:cubicBezTo>
                    <a:pt x="37215" y="42971"/>
                    <a:pt x="33773" y="38268"/>
                    <a:pt x="28734" y="36215"/>
                  </a:cubicBezTo>
                  <a:cubicBezTo>
                    <a:pt x="22649" y="33743"/>
                    <a:pt x="12762" y="41349"/>
                    <a:pt x="13332" y="29559"/>
                  </a:cubicBezTo>
                  <a:cubicBezTo>
                    <a:pt x="13332" y="22333"/>
                    <a:pt x="23790" y="20432"/>
                    <a:pt x="29115" y="23284"/>
                  </a:cubicBezTo>
                  <a:cubicBezTo>
                    <a:pt x="34439" y="26137"/>
                    <a:pt x="33488" y="32982"/>
                    <a:pt x="39953" y="34503"/>
                  </a:cubicBezTo>
                  <a:cubicBezTo>
                    <a:pt x="46419" y="36025"/>
                    <a:pt x="50032" y="25186"/>
                    <a:pt x="57638" y="32221"/>
                  </a:cubicBezTo>
                  <a:cubicBezTo>
                    <a:pt x="65244" y="39257"/>
                    <a:pt x="61251" y="44011"/>
                    <a:pt x="69427" y="48765"/>
                  </a:cubicBezTo>
                  <a:cubicBezTo>
                    <a:pt x="73991" y="51617"/>
                    <a:pt x="78745" y="56181"/>
                    <a:pt x="78745" y="46673"/>
                  </a:cubicBezTo>
                  <a:cubicBezTo>
                    <a:pt x="78745" y="37165"/>
                    <a:pt x="70949" y="30130"/>
                    <a:pt x="69998" y="22333"/>
                  </a:cubicBezTo>
                  <a:cubicBezTo>
                    <a:pt x="68572" y="15374"/>
                    <a:pt x="65510" y="8855"/>
                    <a:pt x="61061" y="3318"/>
                  </a:cubicBezTo>
                  <a:cubicBezTo>
                    <a:pt x="55166" y="-2006"/>
                    <a:pt x="51553" y="-105"/>
                    <a:pt x="46609" y="3318"/>
                  </a:cubicBezTo>
                  <a:cubicBezTo>
                    <a:pt x="41665" y="6741"/>
                    <a:pt x="35960" y="13967"/>
                    <a:pt x="27594" y="16439"/>
                  </a:cubicBezTo>
                  <a:cubicBezTo>
                    <a:pt x="22269" y="17770"/>
                    <a:pt x="12001" y="14157"/>
                    <a:pt x="7057" y="16439"/>
                  </a:cubicBezTo>
                  <a:cubicBezTo>
                    <a:pt x="-13099" y="26707"/>
                    <a:pt x="15614" y="40018"/>
                    <a:pt x="22649" y="4591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13" name="Полилиния: фигура 412">
              <a:extLst>
                <a:ext uri="{FF2B5EF4-FFF2-40B4-BE49-F238E27FC236}">
                  <a16:creationId xmlns:a16="http://schemas.microsoft.com/office/drawing/2014/main" id="{2E868A34-99CF-C2D6-41D3-A669998080A2}"/>
                </a:ext>
              </a:extLst>
            </p:cNvPr>
            <p:cNvSpPr/>
            <p:nvPr/>
          </p:nvSpPr>
          <p:spPr>
            <a:xfrm>
              <a:off x="4313593" y="1784541"/>
              <a:ext cx="28191" cy="24854"/>
            </a:xfrm>
            <a:custGeom>
              <a:avLst/>
              <a:gdLst>
                <a:gd name="connsiteX0" fmla="*/ 25556 w 29478"/>
                <a:gd name="connsiteY0" fmla="*/ 21006 h 25912"/>
                <a:gd name="connsiteX1" fmla="*/ 27267 w 29478"/>
                <a:gd name="connsiteY1" fmla="*/ 5033 h 25912"/>
                <a:gd name="connsiteX2" fmla="*/ 9393 w 29478"/>
                <a:gd name="connsiteY2" fmla="*/ 7696 h 25912"/>
                <a:gd name="connsiteX3" fmla="*/ 1216 w 29478"/>
                <a:gd name="connsiteY3" fmla="*/ 20626 h 25912"/>
                <a:gd name="connsiteX4" fmla="*/ 25556 w 29478"/>
                <a:gd name="connsiteY4" fmla="*/ 21006 h 2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8" h="25912">
                  <a:moveTo>
                    <a:pt x="25556" y="21006"/>
                  </a:moveTo>
                  <a:cubicBezTo>
                    <a:pt x="31261" y="19865"/>
                    <a:pt x="29739" y="8456"/>
                    <a:pt x="27267" y="5033"/>
                  </a:cubicBezTo>
                  <a:cubicBezTo>
                    <a:pt x="19661" y="-5235"/>
                    <a:pt x="14907" y="2561"/>
                    <a:pt x="9393" y="7696"/>
                  </a:cubicBezTo>
                  <a:cubicBezTo>
                    <a:pt x="3878" y="12830"/>
                    <a:pt x="-2777" y="13020"/>
                    <a:pt x="1216" y="20626"/>
                  </a:cubicBezTo>
                  <a:cubicBezTo>
                    <a:pt x="7111" y="31465"/>
                    <a:pt x="18520" y="22528"/>
                    <a:pt x="25556" y="2100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14" name="Полилиния: фигура 413">
              <a:extLst>
                <a:ext uri="{FF2B5EF4-FFF2-40B4-BE49-F238E27FC236}">
                  <a16:creationId xmlns:a16="http://schemas.microsoft.com/office/drawing/2014/main" id="{E60D8AF9-FBBD-8DF3-1E69-C36A6438D9A7}"/>
                </a:ext>
              </a:extLst>
            </p:cNvPr>
            <p:cNvSpPr/>
            <p:nvPr/>
          </p:nvSpPr>
          <p:spPr>
            <a:xfrm>
              <a:off x="4389695" y="1837469"/>
              <a:ext cx="30031" cy="27072"/>
            </a:xfrm>
            <a:custGeom>
              <a:avLst/>
              <a:gdLst>
                <a:gd name="connsiteX0" fmla="*/ 17858 w 31401"/>
                <a:gd name="connsiteY0" fmla="*/ 28195 h 28225"/>
                <a:gd name="connsiteX1" fmla="*/ 30409 w 31401"/>
                <a:gd name="connsiteY1" fmla="*/ 19828 h 28225"/>
                <a:gd name="connsiteX2" fmla="*/ 26605 w 31401"/>
                <a:gd name="connsiteY2" fmla="*/ 10701 h 28225"/>
                <a:gd name="connsiteX3" fmla="*/ 8541 w 31401"/>
                <a:gd name="connsiteY3" fmla="*/ 52 h 28225"/>
                <a:gd name="connsiteX4" fmla="*/ 4167 w 31401"/>
                <a:gd name="connsiteY4" fmla="*/ 15645 h 28225"/>
                <a:gd name="connsiteX5" fmla="*/ 17858 w 31401"/>
                <a:gd name="connsiteY5" fmla="*/ 28195 h 28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401" h="28225">
                  <a:moveTo>
                    <a:pt x="17858" y="28195"/>
                  </a:moveTo>
                  <a:cubicBezTo>
                    <a:pt x="22707" y="26575"/>
                    <a:pt x="27043" y="23686"/>
                    <a:pt x="30409" y="19828"/>
                  </a:cubicBezTo>
                  <a:cubicBezTo>
                    <a:pt x="32880" y="13173"/>
                    <a:pt x="30409" y="14313"/>
                    <a:pt x="26605" y="10701"/>
                  </a:cubicBezTo>
                  <a:cubicBezTo>
                    <a:pt x="22802" y="7088"/>
                    <a:pt x="14245" y="-709"/>
                    <a:pt x="8541" y="52"/>
                  </a:cubicBezTo>
                  <a:cubicBezTo>
                    <a:pt x="-1537" y="1573"/>
                    <a:pt x="-2298" y="10130"/>
                    <a:pt x="4167" y="15645"/>
                  </a:cubicBezTo>
                  <a:cubicBezTo>
                    <a:pt x="10633" y="21159"/>
                    <a:pt x="8541" y="28765"/>
                    <a:pt x="17858" y="2819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15" name="Полилиния: фигура 414">
              <a:extLst>
                <a:ext uri="{FF2B5EF4-FFF2-40B4-BE49-F238E27FC236}">
                  <a16:creationId xmlns:a16="http://schemas.microsoft.com/office/drawing/2014/main" id="{F7376B30-0387-52A6-A3EE-2862D1B0604B}"/>
                </a:ext>
              </a:extLst>
            </p:cNvPr>
            <p:cNvSpPr/>
            <p:nvPr/>
          </p:nvSpPr>
          <p:spPr>
            <a:xfrm>
              <a:off x="4167313" y="1955223"/>
              <a:ext cx="39817" cy="41279"/>
            </a:xfrm>
            <a:custGeom>
              <a:avLst/>
              <a:gdLst>
                <a:gd name="connsiteX0" fmla="*/ 11176 w 41634"/>
                <a:gd name="connsiteY0" fmla="*/ 41196 h 43037"/>
                <a:gd name="connsiteX1" fmla="*/ 34945 w 41634"/>
                <a:gd name="connsiteY1" fmla="*/ 27125 h 43037"/>
                <a:gd name="connsiteX2" fmla="*/ 27529 w 41634"/>
                <a:gd name="connsiteY2" fmla="*/ 884 h 43037"/>
                <a:gd name="connsiteX3" fmla="*/ 14599 w 41634"/>
                <a:gd name="connsiteY3" fmla="*/ 5067 h 43037"/>
                <a:gd name="connsiteX4" fmla="*/ 7373 w 41634"/>
                <a:gd name="connsiteY4" fmla="*/ 16286 h 43037"/>
                <a:gd name="connsiteX5" fmla="*/ 337 w 41634"/>
                <a:gd name="connsiteY5" fmla="*/ 27886 h 43037"/>
                <a:gd name="connsiteX6" fmla="*/ 11176 w 41634"/>
                <a:gd name="connsiteY6" fmla="*/ 41196 h 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634" h="43037">
                  <a:moveTo>
                    <a:pt x="11176" y="41196"/>
                  </a:moveTo>
                  <a:cubicBezTo>
                    <a:pt x="22966" y="47662"/>
                    <a:pt x="28480" y="35682"/>
                    <a:pt x="34945" y="27125"/>
                  </a:cubicBezTo>
                  <a:cubicBezTo>
                    <a:pt x="44263" y="14765"/>
                    <a:pt x="45594" y="3356"/>
                    <a:pt x="27529" y="884"/>
                  </a:cubicBezTo>
                  <a:cubicBezTo>
                    <a:pt x="18973" y="-257"/>
                    <a:pt x="21254" y="-1398"/>
                    <a:pt x="14599" y="5067"/>
                  </a:cubicBezTo>
                  <a:cubicBezTo>
                    <a:pt x="11747" y="8110"/>
                    <a:pt x="9845" y="14195"/>
                    <a:pt x="7373" y="16286"/>
                  </a:cubicBezTo>
                  <a:cubicBezTo>
                    <a:pt x="1668" y="20850"/>
                    <a:pt x="-994" y="19139"/>
                    <a:pt x="337" y="27886"/>
                  </a:cubicBezTo>
                  <a:cubicBezTo>
                    <a:pt x="2847" y="33113"/>
                    <a:pt x="6574" y="37673"/>
                    <a:pt x="11176" y="4119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16" name="Полилиния: фигура 415">
              <a:extLst>
                <a:ext uri="{FF2B5EF4-FFF2-40B4-BE49-F238E27FC236}">
                  <a16:creationId xmlns:a16="http://schemas.microsoft.com/office/drawing/2014/main" id="{EEFE1FB8-C3E6-0585-D5A7-24A6799793EF}"/>
                </a:ext>
              </a:extLst>
            </p:cNvPr>
            <p:cNvSpPr/>
            <p:nvPr/>
          </p:nvSpPr>
          <p:spPr>
            <a:xfrm>
              <a:off x="4205864" y="1953122"/>
              <a:ext cx="44473" cy="45952"/>
            </a:xfrm>
            <a:custGeom>
              <a:avLst/>
              <a:gdLst>
                <a:gd name="connsiteX0" fmla="*/ 17453 w 46503"/>
                <a:gd name="connsiteY0" fmla="*/ 1172 h 47909"/>
                <a:gd name="connsiteX1" fmla="*/ 10037 w 46503"/>
                <a:gd name="connsiteY1" fmla="*/ 47570 h 47909"/>
                <a:gd name="connsiteX2" fmla="*/ 24108 w 46503"/>
                <a:gd name="connsiteY2" fmla="*/ 36541 h 47909"/>
                <a:gd name="connsiteX3" fmla="*/ 45025 w 46503"/>
                <a:gd name="connsiteY3" fmla="*/ 25702 h 47909"/>
                <a:gd name="connsiteX4" fmla="*/ 17453 w 46503"/>
                <a:gd name="connsiteY4" fmla="*/ 1172 h 47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03" h="47909">
                  <a:moveTo>
                    <a:pt x="17453" y="1172"/>
                  </a:moveTo>
                  <a:cubicBezTo>
                    <a:pt x="8136" y="5736"/>
                    <a:pt x="-12211" y="52324"/>
                    <a:pt x="10037" y="47570"/>
                  </a:cubicBezTo>
                  <a:cubicBezTo>
                    <a:pt x="16692" y="46049"/>
                    <a:pt x="18974" y="39964"/>
                    <a:pt x="24108" y="36541"/>
                  </a:cubicBezTo>
                  <a:cubicBezTo>
                    <a:pt x="29243" y="33118"/>
                    <a:pt x="40652" y="32548"/>
                    <a:pt x="45025" y="25702"/>
                  </a:cubicBezTo>
                  <a:cubicBezTo>
                    <a:pt x="52441" y="14103"/>
                    <a:pt x="30193" y="-4913"/>
                    <a:pt x="17453" y="117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17" name="Полилиния: фигура 416">
              <a:extLst>
                <a:ext uri="{FF2B5EF4-FFF2-40B4-BE49-F238E27FC236}">
                  <a16:creationId xmlns:a16="http://schemas.microsoft.com/office/drawing/2014/main" id="{389F1118-D72D-DC06-C1B9-3E2A2A59E627}"/>
                </a:ext>
              </a:extLst>
            </p:cNvPr>
            <p:cNvSpPr/>
            <p:nvPr/>
          </p:nvSpPr>
          <p:spPr>
            <a:xfrm>
              <a:off x="4226839" y="2015674"/>
              <a:ext cx="24403" cy="21368"/>
            </a:xfrm>
            <a:custGeom>
              <a:avLst/>
              <a:gdLst>
                <a:gd name="connsiteX0" fmla="*/ 20431 w 25517"/>
                <a:gd name="connsiteY0" fmla="*/ 20196 h 22278"/>
                <a:gd name="connsiteX1" fmla="*/ 3697 w 25517"/>
                <a:gd name="connsiteY1" fmla="*/ 3843 h 22278"/>
                <a:gd name="connsiteX2" fmla="*/ 20431 w 25517"/>
                <a:gd name="connsiteY2" fmla="*/ 20196 h 22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517" h="22278">
                  <a:moveTo>
                    <a:pt x="20431" y="20196"/>
                  </a:moveTo>
                  <a:cubicBezTo>
                    <a:pt x="34882" y="10878"/>
                    <a:pt x="15106" y="-8137"/>
                    <a:pt x="3697" y="3843"/>
                  </a:cubicBezTo>
                  <a:cubicBezTo>
                    <a:pt x="-7712" y="15822"/>
                    <a:pt x="9972" y="27042"/>
                    <a:pt x="20431" y="2019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18" name="Полилиния: фигура 417">
              <a:extLst>
                <a:ext uri="{FF2B5EF4-FFF2-40B4-BE49-F238E27FC236}">
                  <a16:creationId xmlns:a16="http://schemas.microsoft.com/office/drawing/2014/main" id="{5E8D2989-9081-C565-F84F-5A617137C4F4}"/>
                </a:ext>
              </a:extLst>
            </p:cNvPr>
            <p:cNvSpPr/>
            <p:nvPr/>
          </p:nvSpPr>
          <p:spPr>
            <a:xfrm>
              <a:off x="4266165" y="1932266"/>
              <a:ext cx="78353" cy="60356"/>
            </a:xfrm>
            <a:custGeom>
              <a:avLst/>
              <a:gdLst>
                <a:gd name="connsiteX0" fmla="*/ 81424 w 81929"/>
                <a:gd name="connsiteY0" fmla="*/ 18734 h 62926"/>
                <a:gd name="connsiteX1" fmla="*/ 55373 w 81929"/>
                <a:gd name="connsiteY1" fmla="*/ 7895 h 62926"/>
                <a:gd name="connsiteX2" fmla="*/ 25138 w 81929"/>
                <a:gd name="connsiteY2" fmla="*/ 99 h 62926"/>
                <a:gd name="connsiteX3" fmla="*/ 1749 w 81929"/>
                <a:gd name="connsiteY3" fmla="*/ 19114 h 62926"/>
                <a:gd name="connsiteX4" fmla="*/ 8215 w 81929"/>
                <a:gd name="connsiteY4" fmla="*/ 47257 h 62926"/>
                <a:gd name="connsiteX5" fmla="*/ 32554 w 81929"/>
                <a:gd name="connsiteY5" fmla="*/ 62659 h 62926"/>
                <a:gd name="connsiteX6" fmla="*/ 53091 w 81929"/>
                <a:gd name="connsiteY6" fmla="*/ 47067 h 62926"/>
                <a:gd name="connsiteX7" fmla="*/ 65451 w 81929"/>
                <a:gd name="connsiteY7" fmla="*/ 42503 h 62926"/>
                <a:gd name="connsiteX8" fmla="*/ 73438 w 81929"/>
                <a:gd name="connsiteY8" fmla="*/ 32045 h 62926"/>
                <a:gd name="connsiteX9" fmla="*/ 81424 w 81929"/>
                <a:gd name="connsiteY9" fmla="*/ 18734 h 6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29" h="62926">
                  <a:moveTo>
                    <a:pt x="81424" y="18734"/>
                  </a:moveTo>
                  <a:cubicBezTo>
                    <a:pt x="77621" y="4853"/>
                    <a:pt x="65831" y="7705"/>
                    <a:pt x="55373" y="7895"/>
                  </a:cubicBezTo>
                  <a:cubicBezTo>
                    <a:pt x="44914" y="8085"/>
                    <a:pt x="35216" y="-1042"/>
                    <a:pt x="25138" y="99"/>
                  </a:cubicBezTo>
                  <a:cubicBezTo>
                    <a:pt x="15383" y="3537"/>
                    <a:pt x="7112" y="10259"/>
                    <a:pt x="1749" y="19114"/>
                  </a:cubicBezTo>
                  <a:cubicBezTo>
                    <a:pt x="-2073" y="28934"/>
                    <a:pt x="494" y="40092"/>
                    <a:pt x="8215" y="47257"/>
                  </a:cubicBezTo>
                  <a:cubicBezTo>
                    <a:pt x="15459" y="53659"/>
                    <a:pt x="23674" y="58860"/>
                    <a:pt x="32554" y="62659"/>
                  </a:cubicBezTo>
                  <a:cubicBezTo>
                    <a:pt x="43964" y="64941"/>
                    <a:pt x="46435" y="52011"/>
                    <a:pt x="53091" y="47067"/>
                  </a:cubicBezTo>
                  <a:cubicBezTo>
                    <a:pt x="56514" y="44405"/>
                    <a:pt x="61838" y="45165"/>
                    <a:pt x="65451" y="42503"/>
                  </a:cubicBezTo>
                  <a:cubicBezTo>
                    <a:pt x="69064" y="39841"/>
                    <a:pt x="70205" y="35087"/>
                    <a:pt x="73438" y="32045"/>
                  </a:cubicBezTo>
                  <a:cubicBezTo>
                    <a:pt x="76670" y="29002"/>
                    <a:pt x="83896" y="28241"/>
                    <a:pt x="81424" y="1873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19" name="Полилиния: фигура 418">
              <a:extLst>
                <a:ext uri="{FF2B5EF4-FFF2-40B4-BE49-F238E27FC236}">
                  <a16:creationId xmlns:a16="http://schemas.microsoft.com/office/drawing/2014/main" id="{CE66B811-D9C3-7EBD-F31C-C021922DBE41}"/>
                </a:ext>
              </a:extLst>
            </p:cNvPr>
            <p:cNvSpPr/>
            <p:nvPr/>
          </p:nvSpPr>
          <p:spPr>
            <a:xfrm>
              <a:off x="4347892" y="1920451"/>
              <a:ext cx="72139" cy="65808"/>
            </a:xfrm>
            <a:custGeom>
              <a:avLst/>
              <a:gdLst>
                <a:gd name="connsiteX0" fmla="*/ 35519 w 75431"/>
                <a:gd name="connsiteY0" fmla="*/ 68512 h 68610"/>
                <a:gd name="connsiteX1" fmla="*/ 44836 w 75431"/>
                <a:gd name="connsiteY1" fmla="*/ 63568 h 68610"/>
                <a:gd name="connsiteX2" fmla="*/ 59097 w 75431"/>
                <a:gd name="connsiteY2" fmla="*/ 57674 h 68610"/>
                <a:gd name="connsiteX3" fmla="*/ 71838 w 75431"/>
                <a:gd name="connsiteY3" fmla="*/ 35426 h 68610"/>
                <a:gd name="connsiteX4" fmla="*/ 67654 w 75431"/>
                <a:gd name="connsiteY4" fmla="*/ 7663 h 68610"/>
                <a:gd name="connsiteX5" fmla="*/ 58907 w 75431"/>
                <a:gd name="connsiteY5" fmla="*/ 57 h 68610"/>
                <a:gd name="connsiteX6" fmla="*/ 49970 w 75431"/>
                <a:gd name="connsiteY6" fmla="*/ 8994 h 68610"/>
                <a:gd name="connsiteX7" fmla="*/ 32476 w 75431"/>
                <a:gd name="connsiteY7" fmla="*/ 21164 h 68610"/>
                <a:gd name="connsiteX8" fmla="*/ 10799 w 75431"/>
                <a:gd name="connsiteY8" fmla="*/ 27249 h 68610"/>
                <a:gd name="connsiteX9" fmla="*/ 35519 w 75431"/>
                <a:gd name="connsiteY9" fmla="*/ 68512 h 68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431" h="68610">
                  <a:moveTo>
                    <a:pt x="35519" y="68512"/>
                  </a:moveTo>
                  <a:cubicBezTo>
                    <a:pt x="39131" y="68512"/>
                    <a:pt x="41413" y="64709"/>
                    <a:pt x="44836" y="63568"/>
                  </a:cubicBezTo>
                  <a:cubicBezTo>
                    <a:pt x="51301" y="61286"/>
                    <a:pt x="54534" y="63568"/>
                    <a:pt x="59097" y="57674"/>
                  </a:cubicBezTo>
                  <a:cubicBezTo>
                    <a:pt x="64764" y="51168"/>
                    <a:pt x="69100" y="43608"/>
                    <a:pt x="71838" y="35426"/>
                  </a:cubicBezTo>
                  <a:cubicBezTo>
                    <a:pt x="76592" y="20403"/>
                    <a:pt x="77923" y="19643"/>
                    <a:pt x="67654" y="7663"/>
                  </a:cubicBezTo>
                  <a:cubicBezTo>
                    <a:pt x="63851" y="3289"/>
                    <a:pt x="65943" y="-514"/>
                    <a:pt x="58907" y="57"/>
                  </a:cubicBezTo>
                  <a:cubicBezTo>
                    <a:pt x="61189" y="57"/>
                    <a:pt x="48829" y="10515"/>
                    <a:pt x="49970" y="8994"/>
                  </a:cubicBezTo>
                  <a:cubicBezTo>
                    <a:pt x="42935" y="18882"/>
                    <a:pt x="47498" y="20593"/>
                    <a:pt x="32476" y="21164"/>
                  </a:cubicBezTo>
                  <a:cubicBezTo>
                    <a:pt x="24946" y="21928"/>
                    <a:pt x="17625" y="23986"/>
                    <a:pt x="10799" y="27249"/>
                  </a:cubicBezTo>
                  <a:cubicBezTo>
                    <a:pt x="-18295" y="38658"/>
                    <a:pt x="18785" y="70604"/>
                    <a:pt x="35519" y="6851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20" name="Полилиния: фигура 419">
              <a:extLst>
                <a:ext uri="{FF2B5EF4-FFF2-40B4-BE49-F238E27FC236}">
                  <a16:creationId xmlns:a16="http://schemas.microsoft.com/office/drawing/2014/main" id="{261CE340-AAFE-D71D-4A43-F3EC328493AA}"/>
                </a:ext>
              </a:extLst>
            </p:cNvPr>
            <p:cNvSpPr/>
            <p:nvPr/>
          </p:nvSpPr>
          <p:spPr>
            <a:xfrm>
              <a:off x="4310623" y="1899053"/>
              <a:ext cx="35500" cy="30457"/>
            </a:xfrm>
            <a:custGeom>
              <a:avLst/>
              <a:gdLst>
                <a:gd name="connsiteX0" fmla="*/ 2801 w 37120"/>
                <a:gd name="connsiteY0" fmla="*/ 23126 h 31754"/>
                <a:gd name="connsiteX1" fmla="*/ 22767 w 37120"/>
                <a:gd name="connsiteY1" fmla="*/ 26549 h 31754"/>
                <a:gd name="connsiteX2" fmla="*/ 37029 w 37120"/>
                <a:gd name="connsiteY2" fmla="*/ 7534 h 31754"/>
                <a:gd name="connsiteX3" fmla="*/ 14020 w 37120"/>
                <a:gd name="connsiteY3" fmla="*/ 3350 h 31754"/>
                <a:gd name="connsiteX4" fmla="*/ 2801 w 37120"/>
                <a:gd name="connsiteY4" fmla="*/ 23126 h 31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20" h="31754">
                  <a:moveTo>
                    <a:pt x="2801" y="23126"/>
                  </a:moveTo>
                  <a:cubicBezTo>
                    <a:pt x="9456" y="37578"/>
                    <a:pt x="10787" y="30352"/>
                    <a:pt x="22767" y="26549"/>
                  </a:cubicBezTo>
                  <a:cubicBezTo>
                    <a:pt x="28471" y="24648"/>
                    <a:pt x="38169" y="14760"/>
                    <a:pt x="37029" y="7534"/>
                  </a:cubicBezTo>
                  <a:cubicBezTo>
                    <a:pt x="34937" y="-4826"/>
                    <a:pt x="20485" y="1259"/>
                    <a:pt x="14020" y="3350"/>
                  </a:cubicBezTo>
                  <a:cubicBezTo>
                    <a:pt x="1470" y="8104"/>
                    <a:pt x="-3664" y="9055"/>
                    <a:pt x="2801" y="2312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421" name="Полилиния: фигура 420">
              <a:extLst>
                <a:ext uri="{FF2B5EF4-FFF2-40B4-BE49-F238E27FC236}">
                  <a16:creationId xmlns:a16="http://schemas.microsoft.com/office/drawing/2014/main" id="{C17DE912-A104-910A-4060-0E51532AE4D1}"/>
                </a:ext>
              </a:extLst>
            </p:cNvPr>
            <p:cNvSpPr/>
            <p:nvPr/>
          </p:nvSpPr>
          <p:spPr>
            <a:xfrm>
              <a:off x="5339703" y="4082344"/>
              <a:ext cx="1368260" cy="1563248"/>
            </a:xfrm>
            <a:custGeom>
              <a:avLst/>
              <a:gdLst>
                <a:gd name="connsiteX0" fmla="*/ 565918 w 1368260"/>
                <a:gd name="connsiteY0" fmla="*/ 0 h 1563248"/>
                <a:gd name="connsiteX1" fmla="*/ 572101 w 1368260"/>
                <a:gd name="connsiteY1" fmla="*/ 9849 h 1563248"/>
                <a:gd name="connsiteX2" fmla="*/ 575193 w 1368260"/>
                <a:gd name="connsiteY2" fmla="*/ 15685 h 1563248"/>
                <a:gd name="connsiteX3" fmla="*/ 573192 w 1368260"/>
                <a:gd name="connsiteY3" fmla="*/ 36112 h 1563248"/>
                <a:gd name="connsiteX4" fmla="*/ 566646 w 1368260"/>
                <a:gd name="connsiteY4" fmla="*/ 43773 h 1563248"/>
                <a:gd name="connsiteX5" fmla="*/ 562644 w 1368260"/>
                <a:gd name="connsiteY5" fmla="*/ 66571 h 1563248"/>
                <a:gd name="connsiteX6" fmla="*/ 580829 w 1368260"/>
                <a:gd name="connsiteY6" fmla="*/ 76055 h 1563248"/>
                <a:gd name="connsiteX7" fmla="*/ 596288 w 1368260"/>
                <a:gd name="connsiteY7" fmla="*/ 73684 h 1563248"/>
                <a:gd name="connsiteX8" fmla="*/ 616473 w 1368260"/>
                <a:gd name="connsiteY8" fmla="*/ 73684 h 1563248"/>
                <a:gd name="connsiteX9" fmla="*/ 636841 w 1368260"/>
                <a:gd name="connsiteY9" fmla="*/ 95024 h 1563248"/>
                <a:gd name="connsiteX10" fmla="*/ 644479 w 1368260"/>
                <a:gd name="connsiteY10" fmla="*/ 111256 h 1563248"/>
                <a:gd name="connsiteX11" fmla="*/ 653027 w 1368260"/>
                <a:gd name="connsiteY11" fmla="*/ 129495 h 1563248"/>
                <a:gd name="connsiteX12" fmla="*/ 656845 w 1368260"/>
                <a:gd name="connsiteY12" fmla="*/ 134967 h 1563248"/>
                <a:gd name="connsiteX13" fmla="*/ 661937 w 1368260"/>
                <a:gd name="connsiteY13" fmla="*/ 144085 h 1563248"/>
                <a:gd name="connsiteX14" fmla="*/ 659391 w 1368260"/>
                <a:gd name="connsiteY14" fmla="*/ 151016 h 1563248"/>
                <a:gd name="connsiteX15" fmla="*/ 655754 w 1368260"/>
                <a:gd name="connsiteY15" fmla="*/ 156124 h 1563248"/>
                <a:gd name="connsiteX16" fmla="*/ 652116 w 1368260"/>
                <a:gd name="connsiteY16" fmla="*/ 178010 h 1563248"/>
                <a:gd name="connsiteX17" fmla="*/ 676667 w 1368260"/>
                <a:gd name="connsiteY17" fmla="*/ 188953 h 1563248"/>
                <a:gd name="connsiteX18" fmla="*/ 694853 w 1368260"/>
                <a:gd name="connsiteY18" fmla="*/ 193878 h 1563248"/>
                <a:gd name="connsiteX19" fmla="*/ 698126 w 1368260"/>
                <a:gd name="connsiteY19" fmla="*/ 225430 h 1563248"/>
                <a:gd name="connsiteX20" fmla="*/ 699217 w 1368260"/>
                <a:gd name="connsiteY20" fmla="*/ 264826 h 1563248"/>
                <a:gd name="connsiteX21" fmla="*/ 708128 w 1368260"/>
                <a:gd name="connsiteY21" fmla="*/ 274128 h 1563248"/>
                <a:gd name="connsiteX22" fmla="*/ 721768 w 1368260"/>
                <a:gd name="connsiteY22" fmla="*/ 294555 h 1563248"/>
                <a:gd name="connsiteX23" fmla="*/ 746499 w 1368260"/>
                <a:gd name="connsiteY23" fmla="*/ 320272 h 1563248"/>
                <a:gd name="connsiteX24" fmla="*/ 756865 w 1368260"/>
                <a:gd name="connsiteY24" fmla="*/ 321731 h 1563248"/>
                <a:gd name="connsiteX25" fmla="*/ 771413 w 1368260"/>
                <a:gd name="connsiteY25" fmla="*/ 326473 h 1563248"/>
                <a:gd name="connsiteX26" fmla="*/ 769777 w 1368260"/>
                <a:gd name="connsiteY26" fmla="*/ 355655 h 1563248"/>
                <a:gd name="connsiteX27" fmla="*/ 767413 w 1368260"/>
                <a:gd name="connsiteY27" fmla="*/ 368787 h 1563248"/>
                <a:gd name="connsiteX28" fmla="*/ 762503 w 1368260"/>
                <a:gd name="connsiteY28" fmla="*/ 394139 h 1563248"/>
                <a:gd name="connsiteX29" fmla="*/ 757228 w 1368260"/>
                <a:gd name="connsiteY29" fmla="*/ 426239 h 1563248"/>
                <a:gd name="connsiteX30" fmla="*/ 759592 w 1368260"/>
                <a:gd name="connsiteY30" fmla="*/ 448126 h 1563248"/>
                <a:gd name="connsiteX31" fmla="*/ 761230 w 1368260"/>
                <a:gd name="connsiteY31" fmla="*/ 474389 h 1563248"/>
                <a:gd name="connsiteX32" fmla="*/ 759047 w 1368260"/>
                <a:gd name="connsiteY32" fmla="*/ 506854 h 1563248"/>
                <a:gd name="connsiteX33" fmla="*/ 759047 w 1368260"/>
                <a:gd name="connsiteY33" fmla="*/ 523999 h 1563248"/>
                <a:gd name="connsiteX34" fmla="*/ 775414 w 1368260"/>
                <a:gd name="connsiteY34" fmla="*/ 555735 h 1563248"/>
                <a:gd name="connsiteX35" fmla="*/ 784871 w 1368260"/>
                <a:gd name="connsiteY35" fmla="*/ 565219 h 1563248"/>
                <a:gd name="connsiteX36" fmla="*/ 803057 w 1368260"/>
                <a:gd name="connsiteY36" fmla="*/ 580174 h 1563248"/>
                <a:gd name="connsiteX37" fmla="*/ 844520 w 1368260"/>
                <a:gd name="connsiteY37" fmla="*/ 561936 h 1563248"/>
                <a:gd name="connsiteX38" fmla="*/ 848156 w 1368260"/>
                <a:gd name="connsiteY38" fmla="*/ 549350 h 1563248"/>
                <a:gd name="connsiteX39" fmla="*/ 850339 w 1368260"/>
                <a:gd name="connsiteY39" fmla="*/ 541326 h 1563248"/>
                <a:gd name="connsiteX40" fmla="*/ 860704 w 1368260"/>
                <a:gd name="connsiteY40" fmla="*/ 537131 h 1563248"/>
                <a:gd name="connsiteX41" fmla="*/ 865796 w 1368260"/>
                <a:gd name="connsiteY41" fmla="*/ 537131 h 1563248"/>
                <a:gd name="connsiteX42" fmla="*/ 913806 w 1368260"/>
                <a:gd name="connsiteY42" fmla="*/ 516704 h 1563248"/>
                <a:gd name="connsiteX43" fmla="*/ 922534 w 1368260"/>
                <a:gd name="connsiteY43" fmla="*/ 502842 h 1563248"/>
                <a:gd name="connsiteX44" fmla="*/ 934537 w 1368260"/>
                <a:gd name="connsiteY44" fmla="*/ 487157 h 1563248"/>
                <a:gd name="connsiteX45" fmla="*/ 947630 w 1368260"/>
                <a:gd name="connsiteY45" fmla="*/ 510319 h 1563248"/>
                <a:gd name="connsiteX46" fmla="*/ 947630 w 1368260"/>
                <a:gd name="connsiteY46" fmla="*/ 512144 h 1563248"/>
                <a:gd name="connsiteX47" fmla="*/ 962361 w 1368260"/>
                <a:gd name="connsiteY47" fmla="*/ 529471 h 1563248"/>
                <a:gd name="connsiteX48" fmla="*/ 974545 w 1368260"/>
                <a:gd name="connsiteY48" fmla="*/ 520898 h 1563248"/>
                <a:gd name="connsiteX49" fmla="*/ 975636 w 1368260"/>
                <a:gd name="connsiteY49" fmla="*/ 519075 h 1563248"/>
                <a:gd name="connsiteX50" fmla="*/ 990003 w 1368260"/>
                <a:gd name="connsiteY50" fmla="*/ 505761 h 1563248"/>
                <a:gd name="connsiteX51" fmla="*/ 1008188 w 1368260"/>
                <a:gd name="connsiteY51" fmla="*/ 467276 h 1563248"/>
                <a:gd name="connsiteX52" fmla="*/ 1020737 w 1368260"/>
                <a:gd name="connsiteY52" fmla="*/ 428611 h 1563248"/>
                <a:gd name="connsiteX53" fmla="*/ 1040195 w 1368260"/>
                <a:gd name="connsiteY53" fmla="*/ 382831 h 1563248"/>
                <a:gd name="connsiteX54" fmla="*/ 1052925 w 1368260"/>
                <a:gd name="connsiteY54" fmla="*/ 340152 h 1563248"/>
                <a:gd name="connsiteX55" fmla="*/ 1103480 w 1368260"/>
                <a:gd name="connsiteY55" fmla="*/ 298933 h 1563248"/>
                <a:gd name="connsiteX56" fmla="*/ 1180950 w 1368260"/>
                <a:gd name="connsiteY56" fmla="*/ 324102 h 1563248"/>
                <a:gd name="connsiteX57" fmla="*/ 1186770 w 1368260"/>
                <a:gd name="connsiteY57" fmla="*/ 339970 h 1563248"/>
                <a:gd name="connsiteX58" fmla="*/ 1200773 w 1368260"/>
                <a:gd name="connsiteY58" fmla="*/ 366963 h 1563248"/>
                <a:gd name="connsiteX59" fmla="*/ 1244418 w 1368260"/>
                <a:gd name="connsiteY59" fmla="*/ 365687 h 1563248"/>
                <a:gd name="connsiteX60" fmla="*/ 1258239 w 1368260"/>
                <a:gd name="connsiteY60" fmla="*/ 355838 h 1563248"/>
                <a:gd name="connsiteX61" fmla="*/ 1280788 w 1368260"/>
                <a:gd name="connsiteY61" fmla="*/ 348178 h 1563248"/>
                <a:gd name="connsiteX62" fmla="*/ 1302429 w 1368260"/>
                <a:gd name="connsiteY62" fmla="*/ 366416 h 1563248"/>
                <a:gd name="connsiteX63" fmla="*/ 1302429 w 1368260"/>
                <a:gd name="connsiteY63" fmla="*/ 368605 h 1563248"/>
                <a:gd name="connsiteX64" fmla="*/ 1312431 w 1368260"/>
                <a:gd name="connsiteY64" fmla="*/ 389214 h 1563248"/>
                <a:gd name="connsiteX65" fmla="*/ 1315705 w 1368260"/>
                <a:gd name="connsiteY65" fmla="*/ 392497 h 1563248"/>
                <a:gd name="connsiteX66" fmla="*/ 1324433 w 1368260"/>
                <a:gd name="connsiteY66" fmla="*/ 403806 h 1563248"/>
                <a:gd name="connsiteX67" fmla="*/ 1327889 w 1368260"/>
                <a:gd name="connsiteY67" fmla="*/ 410919 h 1563248"/>
                <a:gd name="connsiteX68" fmla="*/ 1350075 w 1368260"/>
                <a:gd name="connsiteY68" fmla="*/ 441013 h 1563248"/>
                <a:gd name="connsiteX69" fmla="*/ 1368260 w 1368260"/>
                <a:gd name="connsiteY69" fmla="*/ 463811 h 1563248"/>
                <a:gd name="connsiteX70" fmla="*/ 1335163 w 1368260"/>
                <a:gd name="connsiteY70" fmla="*/ 473295 h 1563248"/>
                <a:gd name="connsiteX71" fmla="*/ 1326434 w 1368260"/>
                <a:gd name="connsiteY71" fmla="*/ 471472 h 1563248"/>
                <a:gd name="connsiteX72" fmla="*/ 1296247 w 1368260"/>
                <a:gd name="connsiteY72" fmla="*/ 471472 h 1563248"/>
                <a:gd name="connsiteX73" fmla="*/ 1279515 w 1368260"/>
                <a:gd name="connsiteY73" fmla="*/ 502113 h 1563248"/>
                <a:gd name="connsiteX74" fmla="*/ 1281334 w 1368260"/>
                <a:gd name="connsiteY74" fmla="*/ 509043 h 1563248"/>
                <a:gd name="connsiteX75" fmla="*/ 1282607 w 1368260"/>
                <a:gd name="connsiteY75" fmla="*/ 515062 h 1563248"/>
                <a:gd name="connsiteX76" fmla="*/ 1281334 w 1368260"/>
                <a:gd name="connsiteY76" fmla="*/ 520351 h 1563248"/>
                <a:gd name="connsiteX77" fmla="*/ 1279698 w 1368260"/>
                <a:gd name="connsiteY77" fmla="*/ 527464 h 1563248"/>
                <a:gd name="connsiteX78" fmla="*/ 1281334 w 1368260"/>
                <a:gd name="connsiteY78" fmla="*/ 537861 h 1563248"/>
                <a:gd name="connsiteX79" fmla="*/ 1282607 w 1368260"/>
                <a:gd name="connsiteY79" fmla="*/ 543149 h 1563248"/>
                <a:gd name="connsiteX80" fmla="*/ 1281334 w 1368260"/>
                <a:gd name="connsiteY80" fmla="*/ 550263 h 1563248"/>
                <a:gd name="connsiteX81" fmla="*/ 1279515 w 1368260"/>
                <a:gd name="connsiteY81" fmla="*/ 557193 h 1563248"/>
                <a:gd name="connsiteX82" fmla="*/ 1315886 w 1368260"/>
                <a:gd name="connsiteY82" fmla="*/ 607715 h 1563248"/>
                <a:gd name="connsiteX83" fmla="*/ 1325889 w 1368260"/>
                <a:gd name="connsiteY83" fmla="*/ 608810 h 1563248"/>
                <a:gd name="connsiteX84" fmla="*/ 1335527 w 1368260"/>
                <a:gd name="connsiteY84" fmla="*/ 611180 h 1563248"/>
                <a:gd name="connsiteX85" fmla="*/ 1335527 w 1368260"/>
                <a:gd name="connsiteY85" fmla="*/ 615923 h 1563248"/>
                <a:gd name="connsiteX86" fmla="*/ 1335527 w 1368260"/>
                <a:gd name="connsiteY86" fmla="*/ 623400 h 1563248"/>
                <a:gd name="connsiteX87" fmla="*/ 1339891 w 1368260"/>
                <a:gd name="connsiteY87" fmla="*/ 631790 h 1563248"/>
                <a:gd name="connsiteX88" fmla="*/ 1342256 w 1368260"/>
                <a:gd name="connsiteY88" fmla="*/ 635984 h 1563248"/>
                <a:gd name="connsiteX89" fmla="*/ 1335890 w 1368260"/>
                <a:gd name="connsiteY89" fmla="*/ 651488 h 1563248"/>
                <a:gd name="connsiteX90" fmla="*/ 1334982 w 1368260"/>
                <a:gd name="connsiteY90" fmla="*/ 652399 h 1563248"/>
                <a:gd name="connsiteX91" fmla="*/ 1323888 w 1368260"/>
                <a:gd name="connsiteY91" fmla="*/ 665349 h 1563248"/>
                <a:gd name="connsiteX92" fmla="*/ 1314250 w 1368260"/>
                <a:gd name="connsiteY92" fmla="*/ 676657 h 1563248"/>
                <a:gd name="connsiteX93" fmla="*/ 1287154 w 1368260"/>
                <a:gd name="connsiteY93" fmla="*/ 684500 h 1563248"/>
                <a:gd name="connsiteX94" fmla="*/ 1281516 w 1368260"/>
                <a:gd name="connsiteY94" fmla="*/ 684500 h 1563248"/>
                <a:gd name="connsiteX95" fmla="*/ 1269877 w 1368260"/>
                <a:gd name="connsiteY95" fmla="*/ 686506 h 1563248"/>
                <a:gd name="connsiteX96" fmla="*/ 1250419 w 1368260"/>
                <a:gd name="connsiteY96" fmla="*/ 687965 h 1563248"/>
                <a:gd name="connsiteX97" fmla="*/ 1244418 w 1368260"/>
                <a:gd name="connsiteY97" fmla="*/ 684317 h 1563248"/>
                <a:gd name="connsiteX98" fmla="*/ 1247145 w 1368260"/>
                <a:gd name="connsiteY98" fmla="*/ 678664 h 1563248"/>
                <a:gd name="connsiteX99" fmla="*/ 1252420 w 1368260"/>
                <a:gd name="connsiteY99" fmla="*/ 672280 h 1563248"/>
                <a:gd name="connsiteX100" fmla="*/ 1263331 w 1368260"/>
                <a:gd name="connsiteY100" fmla="*/ 650394 h 1563248"/>
                <a:gd name="connsiteX101" fmla="*/ 1253147 w 1368260"/>
                <a:gd name="connsiteY101" fmla="*/ 637262 h 1563248"/>
                <a:gd name="connsiteX102" fmla="*/ 1214776 w 1368260"/>
                <a:gd name="connsiteY102" fmla="*/ 665714 h 1563248"/>
                <a:gd name="connsiteX103" fmla="*/ 1202409 w 1368260"/>
                <a:gd name="connsiteY103" fmla="*/ 674833 h 1563248"/>
                <a:gd name="connsiteX104" fmla="*/ 1190407 w 1368260"/>
                <a:gd name="connsiteY104" fmla="*/ 679211 h 1563248"/>
                <a:gd name="connsiteX105" fmla="*/ 1178950 w 1368260"/>
                <a:gd name="connsiteY105" fmla="*/ 708210 h 1563248"/>
                <a:gd name="connsiteX106" fmla="*/ 1178950 w 1368260"/>
                <a:gd name="connsiteY106" fmla="*/ 713500 h 1563248"/>
                <a:gd name="connsiteX107" fmla="*/ 1171130 w 1368260"/>
                <a:gd name="connsiteY107" fmla="*/ 735569 h 1563248"/>
                <a:gd name="connsiteX108" fmla="*/ 1159855 w 1368260"/>
                <a:gd name="connsiteY108" fmla="*/ 741770 h 1563248"/>
                <a:gd name="connsiteX109" fmla="*/ 1144579 w 1368260"/>
                <a:gd name="connsiteY109" fmla="*/ 750706 h 1563248"/>
                <a:gd name="connsiteX110" fmla="*/ 1138578 w 1368260"/>
                <a:gd name="connsiteY110" fmla="*/ 759279 h 1563248"/>
                <a:gd name="connsiteX111" fmla="*/ 1129485 w 1368260"/>
                <a:gd name="connsiteY111" fmla="*/ 765845 h 1563248"/>
                <a:gd name="connsiteX112" fmla="*/ 1120938 w 1368260"/>
                <a:gd name="connsiteY112" fmla="*/ 763656 h 1563248"/>
                <a:gd name="connsiteX113" fmla="*/ 1098025 w 1368260"/>
                <a:gd name="connsiteY113" fmla="*/ 766027 h 1563248"/>
                <a:gd name="connsiteX114" fmla="*/ 1058380 w 1368260"/>
                <a:gd name="connsiteY114" fmla="*/ 763656 h 1563248"/>
                <a:gd name="connsiteX115" fmla="*/ 1056198 w 1368260"/>
                <a:gd name="connsiteY115" fmla="*/ 762379 h 1563248"/>
                <a:gd name="connsiteX116" fmla="*/ 1019827 w 1368260"/>
                <a:gd name="connsiteY116" fmla="*/ 760190 h 1563248"/>
                <a:gd name="connsiteX117" fmla="*/ 994913 w 1368260"/>
                <a:gd name="connsiteY117" fmla="*/ 761833 h 1563248"/>
                <a:gd name="connsiteX118" fmla="*/ 990548 w 1368260"/>
                <a:gd name="connsiteY118" fmla="*/ 760738 h 1563248"/>
                <a:gd name="connsiteX119" fmla="*/ 957814 w 1368260"/>
                <a:gd name="connsiteY119" fmla="*/ 766209 h 1563248"/>
                <a:gd name="connsiteX120" fmla="*/ 951813 w 1368260"/>
                <a:gd name="connsiteY120" fmla="*/ 782806 h 1563248"/>
                <a:gd name="connsiteX121" fmla="*/ 948176 w 1368260"/>
                <a:gd name="connsiteY121" fmla="*/ 794479 h 1563248"/>
                <a:gd name="connsiteX122" fmla="*/ 912715 w 1368260"/>
                <a:gd name="connsiteY122" fmla="*/ 797398 h 1563248"/>
                <a:gd name="connsiteX123" fmla="*/ 894529 w 1368260"/>
                <a:gd name="connsiteY123" fmla="*/ 794479 h 1563248"/>
                <a:gd name="connsiteX124" fmla="*/ 869797 w 1368260"/>
                <a:gd name="connsiteY124" fmla="*/ 816913 h 1563248"/>
                <a:gd name="connsiteX125" fmla="*/ 864341 w 1368260"/>
                <a:gd name="connsiteY125" fmla="*/ 832964 h 1563248"/>
                <a:gd name="connsiteX126" fmla="*/ 851066 w 1368260"/>
                <a:gd name="connsiteY126" fmla="*/ 839165 h 1563248"/>
                <a:gd name="connsiteX127" fmla="*/ 841428 w 1368260"/>
                <a:gd name="connsiteY127" fmla="*/ 842812 h 1563248"/>
                <a:gd name="connsiteX128" fmla="*/ 813422 w 1368260"/>
                <a:gd name="connsiteY128" fmla="*/ 866340 h 1563248"/>
                <a:gd name="connsiteX129" fmla="*/ 811058 w 1368260"/>
                <a:gd name="connsiteY129" fmla="*/ 899717 h 1563248"/>
                <a:gd name="connsiteX130" fmla="*/ 824879 w 1368260"/>
                <a:gd name="connsiteY130" fmla="*/ 909566 h 1563248"/>
                <a:gd name="connsiteX131" fmla="*/ 833426 w 1368260"/>
                <a:gd name="connsiteY131" fmla="*/ 914308 h 1563248"/>
                <a:gd name="connsiteX132" fmla="*/ 835790 w 1368260"/>
                <a:gd name="connsiteY132" fmla="*/ 917409 h 1563248"/>
                <a:gd name="connsiteX133" fmla="*/ 840337 w 1368260"/>
                <a:gd name="connsiteY133" fmla="*/ 922881 h 1563248"/>
                <a:gd name="connsiteX134" fmla="*/ 847065 w 1368260"/>
                <a:gd name="connsiteY134" fmla="*/ 925799 h 1563248"/>
                <a:gd name="connsiteX135" fmla="*/ 854885 w 1368260"/>
                <a:gd name="connsiteY135" fmla="*/ 929811 h 1563248"/>
                <a:gd name="connsiteX136" fmla="*/ 848338 w 1368260"/>
                <a:gd name="connsiteY136" fmla="*/ 937289 h 1563248"/>
                <a:gd name="connsiteX137" fmla="*/ 839427 w 1368260"/>
                <a:gd name="connsiteY137" fmla="*/ 947868 h 1563248"/>
                <a:gd name="connsiteX138" fmla="*/ 837791 w 1368260"/>
                <a:gd name="connsiteY138" fmla="*/ 971760 h 1563248"/>
                <a:gd name="connsiteX139" fmla="*/ 837791 w 1368260"/>
                <a:gd name="connsiteY139" fmla="*/ 983980 h 1563248"/>
                <a:gd name="connsiteX140" fmla="*/ 847792 w 1368260"/>
                <a:gd name="connsiteY140" fmla="*/ 1017905 h 1563248"/>
                <a:gd name="connsiteX141" fmla="*/ 849065 w 1368260"/>
                <a:gd name="connsiteY141" fmla="*/ 1020092 h 1563248"/>
                <a:gd name="connsiteX142" fmla="*/ 856339 w 1368260"/>
                <a:gd name="connsiteY142" fmla="*/ 1054199 h 1563248"/>
                <a:gd name="connsiteX143" fmla="*/ 858340 w 1368260"/>
                <a:gd name="connsiteY143" fmla="*/ 1075356 h 1563248"/>
                <a:gd name="connsiteX144" fmla="*/ 870161 w 1368260"/>
                <a:gd name="connsiteY144" fmla="*/ 1100525 h 1563248"/>
                <a:gd name="connsiteX145" fmla="*/ 882709 w 1368260"/>
                <a:gd name="connsiteY145" fmla="*/ 1106180 h 1563248"/>
                <a:gd name="connsiteX146" fmla="*/ 892529 w 1368260"/>
                <a:gd name="connsiteY146" fmla="*/ 1112564 h 1563248"/>
                <a:gd name="connsiteX147" fmla="*/ 888710 w 1368260"/>
                <a:gd name="connsiteY147" fmla="*/ 1130802 h 1563248"/>
                <a:gd name="connsiteX148" fmla="*/ 886346 w 1368260"/>
                <a:gd name="connsiteY148" fmla="*/ 1137003 h 1563248"/>
                <a:gd name="connsiteX149" fmla="*/ 878344 w 1368260"/>
                <a:gd name="connsiteY149" fmla="*/ 1171474 h 1563248"/>
                <a:gd name="connsiteX150" fmla="*/ 877071 w 1368260"/>
                <a:gd name="connsiteY150" fmla="*/ 1178223 h 1563248"/>
                <a:gd name="connsiteX151" fmla="*/ 869797 w 1368260"/>
                <a:gd name="connsiteY151" fmla="*/ 1221631 h 1563248"/>
                <a:gd name="connsiteX152" fmla="*/ 868342 w 1368260"/>
                <a:gd name="connsiteY152" fmla="*/ 1236952 h 1563248"/>
                <a:gd name="connsiteX153" fmla="*/ 864159 w 1368260"/>
                <a:gd name="connsiteY153" fmla="*/ 1264857 h 1563248"/>
                <a:gd name="connsiteX154" fmla="*/ 844883 w 1368260"/>
                <a:gd name="connsiteY154" fmla="*/ 1289844 h 1563248"/>
                <a:gd name="connsiteX155" fmla="*/ 843064 w 1368260"/>
                <a:gd name="connsiteY155" fmla="*/ 1291485 h 1563248"/>
                <a:gd name="connsiteX156" fmla="*/ 813968 w 1368260"/>
                <a:gd name="connsiteY156" fmla="*/ 1323403 h 1563248"/>
                <a:gd name="connsiteX157" fmla="*/ 805421 w 1368260"/>
                <a:gd name="connsiteY157" fmla="*/ 1333982 h 1563248"/>
                <a:gd name="connsiteX158" fmla="*/ 788326 w 1368260"/>
                <a:gd name="connsiteY158" fmla="*/ 1354957 h 1563248"/>
                <a:gd name="connsiteX159" fmla="*/ 776142 w 1368260"/>
                <a:gd name="connsiteY159" fmla="*/ 1366812 h 1563248"/>
                <a:gd name="connsiteX160" fmla="*/ 759957 w 1368260"/>
                <a:gd name="connsiteY160" fmla="*/ 1383227 h 1563248"/>
                <a:gd name="connsiteX161" fmla="*/ 741772 w 1368260"/>
                <a:gd name="connsiteY161" fmla="*/ 1422622 h 1563248"/>
                <a:gd name="connsiteX162" fmla="*/ 725950 w 1368260"/>
                <a:gd name="connsiteY162" fmla="*/ 1457823 h 1563248"/>
                <a:gd name="connsiteX163" fmla="*/ 703582 w 1368260"/>
                <a:gd name="connsiteY163" fmla="*/ 1482263 h 1563248"/>
                <a:gd name="connsiteX164" fmla="*/ 693398 w 1368260"/>
                <a:gd name="connsiteY164" fmla="*/ 1488647 h 1563248"/>
                <a:gd name="connsiteX165" fmla="*/ 675212 w 1368260"/>
                <a:gd name="connsiteY165" fmla="*/ 1502691 h 1563248"/>
                <a:gd name="connsiteX166" fmla="*/ 671757 w 1368260"/>
                <a:gd name="connsiteY166" fmla="*/ 1524030 h 1563248"/>
                <a:gd name="connsiteX167" fmla="*/ 671757 w 1368260"/>
                <a:gd name="connsiteY167" fmla="*/ 1535702 h 1563248"/>
                <a:gd name="connsiteX168" fmla="*/ 660482 w 1368260"/>
                <a:gd name="connsiteY168" fmla="*/ 1544457 h 1563248"/>
                <a:gd name="connsiteX169" fmla="*/ 651026 w 1368260"/>
                <a:gd name="connsiteY169" fmla="*/ 1549017 h 1563248"/>
                <a:gd name="connsiteX170" fmla="*/ 642842 w 1368260"/>
                <a:gd name="connsiteY170" fmla="*/ 1555218 h 1563248"/>
                <a:gd name="connsiteX171" fmla="*/ 629567 w 1368260"/>
                <a:gd name="connsiteY171" fmla="*/ 1563243 h 1563248"/>
                <a:gd name="connsiteX172" fmla="*/ 624657 w 1368260"/>
                <a:gd name="connsiteY172" fmla="*/ 1555947 h 1563248"/>
                <a:gd name="connsiteX173" fmla="*/ 589377 w 1368260"/>
                <a:gd name="connsiteY173" fmla="*/ 1536614 h 1563248"/>
                <a:gd name="connsiteX174" fmla="*/ 579557 w 1368260"/>
                <a:gd name="connsiteY174" fmla="*/ 1536614 h 1563248"/>
                <a:gd name="connsiteX175" fmla="*/ 574828 w 1368260"/>
                <a:gd name="connsiteY175" fmla="*/ 1526401 h 1563248"/>
                <a:gd name="connsiteX176" fmla="*/ 553370 w 1368260"/>
                <a:gd name="connsiteY176" fmla="*/ 1496124 h 1563248"/>
                <a:gd name="connsiteX177" fmla="*/ 529910 w 1368260"/>
                <a:gd name="connsiteY177" fmla="*/ 1481352 h 1563248"/>
                <a:gd name="connsiteX178" fmla="*/ 524637 w 1368260"/>
                <a:gd name="connsiteY178" fmla="*/ 1476062 h 1563248"/>
                <a:gd name="connsiteX179" fmla="*/ 495176 w 1368260"/>
                <a:gd name="connsiteY179" fmla="*/ 1460194 h 1563248"/>
                <a:gd name="connsiteX180" fmla="*/ 483356 w 1368260"/>
                <a:gd name="connsiteY180" fmla="*/ 1461653 h 1563248"/>
                <a:gd name="connsiteX181" fmla="*/ 465170 w 1368260"/>
                <a:gd name="connsiteY181" fmla="*/ 1461653 h 1563248"/>
                <a:gd name="connsiteX182" fmla="*/ 444621 w 1368260"/>
                <a:gd name="connsiteY182" fmla="*/ 1446698 h 1563248"/>
                <a:gd name="connsiteX183" fmla="*/ 435892 w 1368260"/>
                <a:gd name="connsiteY183" fmla="*/ 1439037 h 1563248"/>
                <a:gd name="connsiteX184" fmla="*/ 397157 w 1368260"/>
                <a:gd name="connsiteY184" fmla="*/ 1418975 h 1563248"/>
                <a:gd name="connsiteX185" fmla="*/ 366241 w 1368260"/>
                <a:gd name="connsiteY185" fmla="*/ 1404384 h 1563248"/>
                <a:gd name="connsiteX186" fmla="*/ 364968 w 1368260"/>
                <a:gd name="connsiteY186" fmla="*/ 1404384 h 1563248"/>
                <a:gd name="connsiteX187" fmla="*/ 345327 w 1368260"/>
                <a:gd name="connsiteY187" fmla="*/ 1386145 h 1563248"/>
                <a:gd name="connsiteX188" fmla="*/ 342782 w 1368260"/>
                <a:gd name="connsiteY188" fmla="*/ 1379944 h 1563248"/>
                <a:gd name="connsiteX189" fmla="*/ 327324 w 1368260"/>
                <a:gd name="connsiteY189" fmla="*/ 1361705 h 1563248"/>
                <a:gd name="connsiteX190" fmla="*/ 290953 w 1368260"/>
                <a:gd name="connsiteY190" fmla="*/ 1383045 h 1563248"/>
                <a:gd name="connsiteX191" fmla="*/ 284952 w 1368260"/>
                <a:gd name="connsiteY191" fmla="*/ 1389610 h 1563248"/>
                <a:gd name="connsiteX192" fmla="*/ 255128 w 1368260"/>
                <a:gd name="connsiteY192" fmla="*/ 1415145 h 1563248"/>
                <a:gd name="connsiteX193" fmla="*/ 254218 w 1368260"/>
                <a:gd name="connsiteY193" fmla="*/ 1415145 h 1563248"/>
                <a:gd name="connsiteX194" fmla="*/ 254218 w 1368260"/>
                <a:gd name="connsiteY194" fmla="*/ 1414050 h 1563248"/>
                <a:gd name="connsiteX195" fmla="*/ 218938 w 1368260"/>
                <a:gd name="connsiteY195" fmla="*/ 1400553 h 1563248"/>
                <a:gd name="connsiteX196" fmla="*/ 182568 w 1368260"/>
                <a:gd name="connsiteY196" fmla="*/ 1393440 h 1563248"/>
                <a:gd name="connsiteX197" fmla="*/ 159472 w 1368260"/>
                <a:gd name="connsiteY197" fmla="*/ 1381767 h 1563248"/>
                <a:gd name="connsiteX198" fmla="*/ 139650 w 1368260"/>
                <a:gd name="connsiteY198" fmla="*/ 1371918 h 1563248"/>
                <a:gd name="connsiteX199" fmla="*/ 130012 w 1368260"/>
                <a:gd name="connsiteY199" fmla="*/ 1366082 h 1563248"/>
                <a:gd name="connsiteX200" fmla="*/ 74001 w 1368260"/>
                <a:gd name="connsiteY200" fmla="*/ 1354044 h 1563248"/>
                <a:gd name="connsiteX201" fmla="*/ 64543 w 1368260"/>
                <a:gd name="connsiteY201" fmla="*/ 1347661 h 1563248"/>
                <a:gd name="connsiteX202" fmla="*/ 50541 w 1368260"/>
                <a:gd name="connsiteY202" fmla="*/ 1337629 h 1563248"/>
                <a:gd name="connsiteX203" fmla="*/ 34538 w 1368260"/>
                <a:gd name="connsiteY203" fmla="*/ 1319391 h 1563248"/>
                <a:gd name="connsiteX204" fmla="*/ 23627 w 1368260"/>
                <a:gd name="connsiteY204" fmla="*/ 1306441 h 1563248"/>
                <a:gd name="connsiteX205" fmla="*/ 12169 w 1368260"/>
                <a:gd name="connsiteY205" fmla="*/ 1298052 h 1563248"/>
                <a:gd name="connsiteX206" fmla="*/ 1985 w 1368260"/>
                <a:gd name="connsiteY206" fmla="*/ 1290392 h 1563248"/>
                <a:gd name="connsiteX207" fmla="*/ 4168 w 1368260"/>
                <a:gd name="connsiteY207" fmla="*/ 1281637 h 1563248"/>
                <a:gd name="connsiteX208" fmla="*/ 10170 w 1368260"/>
                <a:gd name="connsiteY208" fmla="*/ 1275254 h 1563248"/>
                <a:gd name="connsiteX209" fmla="*/ 15261 w 1368260"/>
                <a:gd name="connsiteY209" fmla="*/ 1267411 h 1563248"/>
                <a:gd name="connsiteX210" fmla="*/ 29083 w 1368260"/>
                <a:gd name="connsiteY210" fmla="*/ 1258656 h 1563248"/>
                <a:gd name="connsiteX211" fmla="*/ 55633 w 1368260"/>
                <a:gd name="connsiteY211" fmla="*/ 1242970 h 1563248"/>
                <a:gd name="connsiteX212" fmla="*/ 62907 w 1368260"/>
                <a:gd name="connsiteY212" fmla="*/ 1217254 h 1563248"/>
                <a:gd name="connsiteX213" fmla="*/ 62907 w 1368260"/>
                <a:gd name="connsiteY213" fmla="*/ 1195367 h 1563248"/>
                <a:gd name="connsiteX214" fmla="*/ 61634 w 1368260"/>
                <a:gd name="connsiteY214" fmla="*/ 1180412 h 1563248"/>
                <a:gd name="connsiteX215" fmla="*/ 66181 w 1368260"/>
                <a:gd name="connsiteY215" fmla="*/ 1165456 h 1563248"/>
                <a:gd name="connsiteX216" fmla="*/ 71637 w 1368260"/>
                <a:gd name="connsiteY216" fmla="*/ 1144481 h 1563248"/>
                <a:gd name="connsiteX217" fmla="*/ 65454 w 1368260"/>
                <a:gd name="connsiteY217" fmla="*/ 1124966 h 1563248"/>
                <a:gd name="connsiteX218" fmla="*/ 60543 w 1368260"/>
                <a:gd name="connsiteY218" fmla="*/ 1112381 h 1563248"/>
                <a:gd name="connsiteX219" fmla="*/ 64726 w 1368260"/>
                <a:gd name="connsiteY219" fmla="*/ 1094142 h 1563248"/>
                <a:gd name="connsiteX220" fmla="*/ 67272 w 1368260"/>
                <a:gd name="connsiteY220" fmla="*/ 1086482 h 1563248"/>
                <a:gd name="connsiteX221" fmla="*/ 83274 w 1368260"/>
                <a:gd name="connsiteY221" fmla="*/ 1068243 h 1563248"/>
                <a:gd name="connsiteX222" fmla="*/ 88003 w 1368260"/>
                <a:gd name="connsiteY222" fmla="*/ 1066966 h 1563248"/>
                <a:gd name="connsiteX223" fmla="*/ 106189 w 1368260"/>
                <a:gd name="connsiteY223" fmla="*/ 1050551 h 1563248"/>
                <a:gd name="connsiteX224" fmla="*/ 107280 w 1368260"/>
                <a:gd name="connsiteY224" fmla="*/ 1042527 h 1563248"/>
                <a:gd name="connsiteX225" fmla="*/ 108735 w 1368260"/>
                <a:gd name="connsiteY225" fmla="*/ 1035231 h 1563248"/>
                <a:gd name="connsiteX226" fmla="*/ 111826 w 1368260"/>
                <a:gd name="connsiteY226" fmla="*/ 1031948 h 1563248"/>
                <a:gd name="connsiteX227" fmla="*/ 116009 w 1368260"/>
                <a:gd name="connsiteY227" fmla="*/ 1027753 h 1563248"/>
                <a:gd name="connsiteX228" fmla="*/ 118919 w 1368260"/>
                <a:gd name="connsiteY228" fmla="*/ 1002766 h 1563248"/>
                <a:gd name="connsiteX229" fmla="*/ 116735 w 1368260"/>
                <a:gd name="connsiteY229" fmla="*/ 996017 h 1563248"/>
                <a:gd name="connsiteX230" fmla="*/ 102733 w 1368260"/>
                <a:gd name="connsiteY230" fmla="*/ 972855 h 1563248"/>
                <a:gd name="connsiteX231" fmla="*/ 89457 w 1368260"/>
                <a:gd name="connsiteY231" fmla="*/ 954615 h 1563248"/>
                <a:gd name="connsiteX232" fmla="*/ 95459 w 1368260"/>
                <a:gd name="connsiteY232" fmla="*/ 901906 h 1563248"/>
                <a:gd name="connsiteX233" fmla="*/ 98732 w 1368260"/>
                <a:gd name="connsiteY233" fmla="*/ 890597 h 1563248"/>
                <a:gd name="connsiteX234" fmla="*/ 132921 w 1368260"/>
                <a:gd name="connsiteY234" fmla="*/ 859410 h 1563248"/>
                <a:gd name="connsiteX235" fmla="*/ 148197 w 1368260"/>
                <a:gd name="connsiteY235" fmla="*/ 860504 h 1563248"/>
                <a:gd name="connsiteX236" fmla="*/ 194752 w 1368260"/>
                <a:gd name="connsiteY236" fmla="*/ 854485 h 1563248"/>
                <a:gd name="connsiteX237" fmla="*/ 208209 w 1368260"/>
                <a:gd name="connsiteY237" fmla="*/ 833875 h 1563248"/>
                <a:gd name="connsiteX238" fmla="*/ 221848 w 1368260"/>
                <a:gd name="connsiteY238" fmla="*/ 816549 h 1563248"/>
                <a:gd name="connsiteX239" fmla="*/ 231487 w 1368260"/>
                <a:gd name="connsiteY239" fmla="*/ 821655 h 1563248"/>
                <a:gd name="connsiteX240" fmla="*/ 233851 w 1368260"/>
                <a:gd name="connsiteY240" fmla="*/ 824756 h 1563248"/>
                <a:gd name="connsiteX241" fmla="*/ 242579 w 1368260"/>
                <a:gd name="connsiteY241" fmla="*/ 834969 h 1563248"/>
                <a:gd name="connsiteX242" fmla="*/ 254400 w 1368260"/>
                <a:gd name="connsiteY242" fmla="*/ 849743 h 1563248"/>
                <a:gd name="connsiteX243" fmla="*/ 258765 w 1368260"/>
                <a:gd name="connsiteY243" fmla="*/ 856856 h 1563248"/>
                <a:gd name="connsiteX244" fmla="*/ 280405 w 1368260"/>
                <a:gd name="connsiteY244" fmla="*/ 880931 h 1563248"/>
                <a:gd name="connsiteX245" fmla="*/ 297136 w 1368260"/>
                <a:gd name="connsiteY245" fmla="*/ 880931 h 1563248"/>
                <a:gd name="connsiteX246" fmla="*/ 298955 w 1368260"/>
                <a:gd name="connsiteY246" fmla="*/ 847372 h 1563248"/>
                <a:gd name="connsiteX247" fmla="*/ 299864 w 1368260"/>
                <a:gd name="connsiteY247" fmla="*/ 824391 h 1563248"/>
                <a:gd name="connsiteX248" fmla="*/ 305865 w 1368260"/>
                <a:gd name="connsiteY248" fmla="*/ 808341 h 1563248"/>
                <a:gd name="connsiteX249" fmla="*/ 310229 w 1368260"/>
                <a:gd name="connsiteY249" fmla="*/ 795756 h 1563248"/>
                <a:gd name="connsiteX250" fmla="*/ 342417 w 1368260"/>
                <a:gd name="connsiteY250" fmla="*/ 753990 h 1563248"/>
                <a:gd name="connsiteX251" fmla="*/ 364240 w 1368260"/>
                <a:gd name="connsiteY251" fmla="*/ 729002 h 1563248"/>
                <a:gd name="connsiteX252" fmla="*/ 369150 w 1368260"/>
                <a:gd name="connsiteY252" fmla="*/ 721889 h 1563248"/>
                <a:gd name="connsiteX253" fmla="*/ 379335 w 1368260"/>
                <a:gd name="connsiteY253" fmla="*/ 700003 h 1563248"/>
                <a:gd name="connsiteX254" fmla="*/ 373515 w 1368260"/>
                <a:gd name="connsiteY254" fmla="*/ 679028 h 1563248"/>
                <a:gd name="connsiteX255" fmla="*/ 369878 w 1368260"/>
                <a:gd name="connsiteY255" fmla="*/ 665897 h 1563248"/>
                <a:gd name="connsiteX256" fmla="*/ 375516 w 1368260"/>
                <a:gd name="connsiteY256" fmla="*/ 656959 h 1563248"/>
                <a:gd name="connsiteX257" fmla="*/ 398066 w 1368260"/>
                <a:gd name="connsiteY257" fmla="*/ 644375 h 1563248"/>
                <a:gd name="connsiteX258" fmla="*/ 405340 w 1368260"/>
                <a:gd name="connsiteY258" fmla="*/ 650758 h 1563248"/>
                <a:gd name="connsiteX259" fmla="*/ 407704 w 1368260"/>
                <a:gd name="connsiteY259" fmla="*/ 654406 h 1563248"/>
                <a:gd name="connsiteX260" fmla="*/ 456078 w 1368260"/>
                <a:gd name="connsiteY260" fmla="*/ 685959 h 1563248"/>
                <a:gd name="connsiteX261" fmla="*/ 465898 w 1368260"/>
                <a:gd name="connsiteY261" fmla="*/ 690154 h 1563248"/>
                <a:gd name="connsiteX262" fmla="*/ 509361 w 1368260"/>
                <a:gd name="connsiteY262" fmla="*/ 699273 h 1563248"/>
                <a:gd name="connsiteX263" fmla="*/ 518090 w 1368260"/>
                <a:gd name="connsiteY263" fmla="*/ 687236 h 1563248"/>
                <a:gd name="connsiteX264" fmla="*/ 518090 w 1368260"/>
                <a:gd name="connsiteY264" fmla="*/ 674833 h 1563248"/>
                <a:gd name="connsiteX265" fmla="*/ 518090 w 1368260"/>
                <a:gd name="connsiteY265" fmla="*/ 662796 h 1563248"/>
                <a:gd name="connsiteX266" fmla="*/ 524819 w 1368260"/>
                <a:gd name="connsiteY266" fmla="*/ 652035 h 1563248"/>
                <a:gd name="connsiteX267" fmla="*/ 533184 w 1368260"/>
                <a:gd name="connsiteY267" fmla="*/ 638539 h 1563248"/>
                <a:gd name="connsiteX268" fmla="*/ 534130 w 1368260"/>
                <a:gd name="connsiteY268" fmla="*/ 636423 h 1563248"/>
                <a:gd name="connsiteX269" fmla="*/ 513726 w 1368260"/>
                <a:gd name="connsiteY269" fmla="*/ 587105 h 1563248"/>
                <a:gd name="connsiteX270" fmla="*/ 508633 w 1368260"/>
                <a:gd name="connsiteY270" fmla="*/ 585281 h 1563248"/>
                <a:gd name="connsiteX271" fmla="*/ 495903 w 1368260"/>
                <a:gd name="connsiteY271" fmla="*/ 573608 h 1563248"/>
                <a:gd name="connsiteX272" fmla="*/ 506633 w 1368260"/>
                <a:gd name="connsiteY272" fmla="*/ 553728 h 1563248"/>
                <a:gd name="connsiteX273" fmla="*/ 518999 w 1368260"/>
                <a:gd name="connsiteY273" fmla="*/ 499012 h 1563248"/>
                <a:gd name="connsiteX274" fmla="*/ 492267 w 1368260"/>
                <a:gd name="connsiteY274" fmla="*/ 487704 h 1563248"/>
                <a:gd name="connsiteX275" fmla="*/ 475899 w 1368260"/>
                <a:gd name="connsiteY275" fmla="*/ 486427 h 1563248"/>
                <a:gd name="connsiteX276" fmla="*/ 450804 w 1368260"/>
                <a:gd name="connsiteY276" fmla="*/ 440465 h 1563248"/>
                <a:gd name="connsiteX277" fmla="*/ 447894 w 1368260"/>
                <a:gd name="connsiteY277" fmla="*/ 418214 h 1563248"/>
                <a:gd name="connsiteX278" fmla="*/ 454440 w 1368260"/>
                <a:gd name="connsiteY278" fmla="*/ 403806 h 1563248"/>
                <a:gd name="connsiteX279" fmla="*/ 458987 w 1368260"/>
                <a:gd name="connsiteY279" fmla="*/ 397969 h 1563248"/>
                <a:gd name="connsiteX280" fmla="*/ 461534 w 1368260"/>
                <a:gd name="connsiteY280" fmla="*/ 379730 h 1563248"/>
                <a:gd name="connsiteX281" fmla="*/ 459169 w 1368260"/>
                <a:gd name="connsiteY281" fmla="*/ 375900 h 1563248"/>
                <a:gd name="connsiteX282" fmla="*/ 457532 w 1368260"/>
                <a:gd name="connsiteY282" fmla="*/ 373711 h 1563248"/>
                <a:gd name="connsiteX283" fmla="*/ 462988 w 1368260"/>
                <a:gd name="connsiteY283" fmla="*/ 368057 h 1563248"/>
                <a:gd name="connsiteX284" fmla="*/ 468808 w 1368260"/>
                <a:gd name="connsiteY284" fmla="*/ 364045 h 1563248"/>
                <a:gd name="connsiteX285" fmla="*/ 482810 w 1368260"/>
                <a:gd name="connsiteY285" fmla="*/ 347630 h 1563248"/>
                <a:gd name="connsiteX286" fmla="*/ 485174 w 1368260"/>
                <a:gd name="connsiteY286" fmla="*/ 343982 h 1563248"/>
                <a:gd name="connsiteX287" fmla="*/ 491721 w 1368260"/>
                <a:gd name="connsiteY287" fmla="*/ 336139 h 1563248"/>
                <a:gd name="connsiteX288" fmla="*/ 503542 w 1368260"/>
                <a:gd name="connsiteY288" fmla="*/ 317901 h 1563248"/>
                <a:gd name="connsiteX289" fmla="*/ 505906 w 1368260"/>
                <a:gd name="connsiteY289" fmla="*/ 304039 h 1563248"/>
                <a:gd name="connsiteX290" fmla="*/ 511179 w 1368260"/>
                <a:gd name="connsiteY290" fmla="*/ 285801 h 1563248"/>
                <a:gd name="connsiteX291" fmla="*/ 514634 w 1368260"/>
                <a:gd name="connsiteY291" fmla="*/ 280694 h 1563248"/>
                <a:gd name="connsiteX292" fmla="*/ 520636 w 1368260"/>
                <a:gd name="connsiteY292" fmla="*/ 255160 h 1563248"/>
                <a:gd name="connsiteX293" fmla="*/ 516817 w 1368260"/>
                <a:gd name="connsiteY293" fmla="*/ 246588 h 1563248"/>
                <a:gd name="connsiteX294" fmla="*/ 516817 w 1368260"/>
                <a:gd name="connsiteY294" fmla="*/ 235279 h 1563248"/>
                <a:gd name="connsiteX295" fmla="*/ 519181 w 1368260"/>
                <a:gd name="connsiteY295" fmla="*/ 230902 h 1563248"/>
                <a:gd name="connsiteX296" fmla="*/ 525546 w 1368260"/>
                <a:gd name="connsiteY296" fmla="*/ 210840 h 1563248"/>
                <a:gd name="connsiteX297" fmla="*/ 504633 w 1368260"/>
                <a:gd name="connsiteY297" fmla="*/ 181840 h 1563248"/>
                <a:gd name="connsiteX298" fmla="*/ 490084 w 1368260"/>
                <a:gd name="connsiteY298" fmla="*/ 168343 h 1563248"/>
                <a:gd name="connsiteX299" fmla="*/ 490084 w 1368260"/>
                <a:gd name="connsiteY299" fmla="*/ 158859 h 1563248"/>
                <a:gd name="connsiteX300" fmla="*/ 492994 w 1368260"/>
                <a:gd name="connsiteY300" fmla="*/ 149922 h 1563248"/>
                <a:gd name="connsiteX301" fmla="*/ 491721 w 1368260"/>
                <a:gd name="connsiteY301" fmla="*/ 139161 h 1563248"/>
                <a:gd name="connsiteX302" fmla="*/ 491721 w 1368260"/>
                <a:gd name="connsiteY302" fmla="*/ 132048 h 1563248"/>
                <a:gd name="connsiteX303" fmla="*/ 496449 w 1368260"/>
                <a:gd name="connsiteY303" fmla="*/ 125665 h 1563248"/>
                <a:gd name="connsiteX304" fmla="*/ 500996 w 1368260"/>
                <a:gd name="connsiteY304" fmla="*/ 105602 h 1563248"/>
                <a:gd name="connsiteX305" fmla="*/ 496086 w 1368260"/>
                <a:gd name="connsiteY305" fmla="*/ 95571 h 1563248"/>
                <a:gd name="connsiteX306" fmla="*/ 490812 w 1368260"/>
                <a:gd name="connsiteY306" fmla="*/ 82804 h 1563248"/>
                <a:gd name="connsiteX307" fmla="*/ 502269 w 1368260"/>
                <a:gd name="connsiteY307" fmla="*/ 50704 h 1563248"/>
                <a:gd name="connsiteX308" fmla="*/ 510816 w 1368260"/>
                <a:gd name="connsiteY308" fmla="*/ 49062 h 1563248"/>
                <a:gd name="connsiteX309" fmla="*/ 523727 w 1368260"/>
                <a:gd name="connsiteY309" fmla="*/ 46326 h 1563248"/>
                <a:gd name="connsiteX310" fmla="*/ 533184 w 1368260"/>
                <a:gd name="connsiteY310" fmla="*/ 39760 h 1563248"/>
                <a:gd name="connsiteX311" fmla="*/ 537366 w 1368260"/>
                <a:gd name="connsiteY311" fmla="*/ 36660 h 1563248"/>
                <a:gd name="connsiteX312" fmla="*/ 542640 w 1368260"/>
                <a:gd name="connsiteY312" fmla="*/ 33012 h 1563248"/>
                <a:gd name="connsiteX313" fmla="*/ 559371 w 1368260"/>
                <a:gd name="connsiteY313" fmla="*/ 18238 h 1563248"/>
                <a:gd name="connsiteX314" fmla="*/ 565918 w 1368260"/>
                <a:gd name="connsiteY314" fmla="*/ 0 h 1563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</a:cxnLst>
              <a:rect l="l" t="t" r="r" b="b"/>
              <a:pathLst>
                <a:path w="1368260" h="1563248">
                  <a:moveTo>
                    <a:pt x="565918" y="0"/>
                  </a:moveTo>
                  <a:cubicBezTo>
                    <a:pt x="568191" y="3156"/>
                    <a:pt x="570246" y="6438"/>
                    <a:pt x="572101" y="9849"/>
                  </a:cubicBezTo>
                  <a:cubicBezTo>
                    <a:pt x="573192" y="12037"/>
                    <a:pt x="574283" y="14226"/>
                    <a:pt x="575193" y="15685"/>
                  </a:cubicBezTo>
                  <a:cubicBezTo>
                    <a:pt x="581557" y="26629"/>
                    <a:pt x="579920" y="28452"/>
                    <a:pt x="573192" y="36112"/>
                  </a:cubicBezTo>
                  <a:lnTo>
                    <a:pt x="566646" y="43773"/>
                  </a:lnTo>
                  <a:cubicBezTo>
                    <a:pt x="561081" y="49992"/>
                    <a:pt x="559534" y="58820"/>
                    <a:pt x="562644" y="66571"/>
                  </a:cubicBezTo>
                  <a:cubicBezTo>
                    <a:pt x="566191" y="73192"/>
                    <a:pt x="573392" y="76949"/>
                    <a:pt x="580829" y="76055"/>
                  </a:cubicBezTo>
                  <a:cubicBezTo>
                    <a:pt x="586049" y="75837"/>
                    <a:pt x="591232" y="75052"/>
                    <a:pt x="596288" y="73684"/>
                  </a:cubicBezTo>
                  <a:cubicBezTo>
                    <a:pt x="602852" y="71605"/>
                    <a:pt x="609908" y="71605"/>
                    <a:pt x="616473" y="73684"/>
                  </a:cubicBezTo>
                  <a:cubicBezTo>
                    <a:pt x="625602" y="78117"/>
                    <a:pt x="632822" y="85685"/>
                    <a:pt x="636841" y="95024"/>
                  </a:cubicBezTo>
                  <a:cubicBezTo>
                    <a:pt x="639714" y="100277"/>
                    <a:pt x="642260" y="105693"/>
                    <a:pt x="644479" y="111256"/>
                  </a:cubicBezTo>
                  <a:cubicBezTo>
                    <a:pt x="647207" y="117457"/>
                    <a:pt x="649752" y="123476"/>
                    <a:pt x="653027" y="129495"/>
                  </a:cubicBezTo>
                  <a:lnTo>
                    <a:pt x="656845" y="134967"/>
                  </a:lnTo>
                  <a:cubicBezTo>
                    <a:pt x="659100" y="137647"/>
                    <a:pt x="660828" y="140748"/>
                    <a:pt x="661937" y="144085"/>
                  </a:cubicBezTo>
                  <a:cubicBezTo>
                    <a:pt x="662300" y="147186"/>
                    <a:pt x="661391" y="148281"/>
                    <a:pt x="659391" y="151016"/>
                  </a:cubicBezTo>
                  <a:cubicBezTo>
                    <a:pt x="657990" y="152585"/>
                    <a:pt x="656773" y="154299"/>
                    <a:pt x="655754" y="156124"/>
                  </a:cubicBezTo>
                  <a:cubicBezTo>
                    <a:pt x="650934" y="162343"/>
                    <a:pt x="649571" y="170569"/>
                    <a:pt x="652116" y="178010"/>
                  </a:cubicBezTo>
                  <a:cubicBezTo>
                    <a:pt x="656118" y="186035"/>
                    <a:pt x="666484" y="187494"/>
                    <a:pt x="676667" y="188953"/>
                  </a:cubicBezTo>
                  <a:cubicBezTo>
                    <a:pt x="682996" y="189409"/>
                    <a:pt x="689161" y="191069"/>
                    <a:pt x="694853" y="193878"/>
                  </a:cubicBezTo>
                  <a:cubicBezTo>
                    <a:pt x="705946" y="201538"/>
                    <a:pt x="703582" y="210292"/>
                    <a:pt x="698126" y="225430"/>
                  </a:cubicBezTo>
                  <a:cubicBezTo>
                    <a:pt x="690779" y="237650"/>
                    <a:pt x="691198" y="253044"/>
                    <a:pt x="699217" y="264826"/>
                  </a:cubicBezTo>
                  <a:cubicBezTo>
                    <a:pt x="701963" y="268146"/>
                    <a:pt x="704928" y="271247"/>
                    <a:pt x="708128" y="274128"/>
                  </a:cubicBezTo>
                  <a:cubicBezTo>
                    <a:pt x="714674" y="279363"/>
                    <a:pt x="719439" y="286494"/>
                    <a:pt x="721768" y="294555"/>
                  </a:cubicBezTo>
                  <a:cubicBezTo>
                    <a:pt x="723913" y="307432"/>
                    <a:pt x="733752" y="317664"/>
                    <a:pt x="746499" y="320272"/>
                  </a:cubicBezTo>
                  <a:cubicBezTo>
                    <a:pt x="749882" y="321148"/>
                    <a:pt x="753374" y="321640"/>
                    <a:pt x="756865" y="321731"/>
                  </a:cubicBezTo>
                  <a:cubicBezTo>
                    <a:pt x="764322" y="322279"/>
                    <a:pt x="769413" y="323008"/>
                    <a:pt x="771413" y="326473"/>
                  </a:cubicBezTo>
                  <a:cubicBezTo>
                    <a:pt x="773323" y="336177"/>
                    <a:pt x="772760" y="346226"/>
                    <a:pt x="769777" y="355655"/>
                  </a:cubicBezTo>
                  <a:cubicBezTo>
                    <a:pt x="768741" y="359978"/>
                    <a:pt x="767958" y="364373"/>
                    <a:pt x="767413" y="368787"/>
                  </a:cubicBezTo>
                  <a:cubicBezTo>
                    <a:pt x="766394" y="377341"/>
                    <a:pt x="764758" y="385823"/>
                    <a:pt x="762503" y="394139"/>
                  </a:cubicBezTo>
                  <a:cubicBezTo>
                    <a:pt x="759738" y="404644"/>
                    <a:pt x="757956" y="415387"/>
                    <a:pt x="757228" y="426239"/>
                  </a:cubicBezTo>
                  <a:cubicBezTo>
                    <a:pt x="757266" y="433590"/>
                    <a:pt x="758047" y="440940"/>
                    <a:pt x="759592" y="448126"/>
                  </a:cubicBezTo>
                  <a:cubicBezTo>
                    <a:pt x="761758" y="456698"/>
                    <a:pt x="762321" y="465617"/>
                    <a:pt x="761230" y="474389"/>
                  </a:cubicBezTo>
                  <a:cubicBezTo>
                    <a:pt x="759447" y="485114"/>
                    <a:pt x="758702" y="495984"/>
                    <a:pt x="759047" y="506854"/>
                  </a:cubicBezTo>
                  <a:cubicBezTo>
                    <a:pt x="759047" y="512508"/>
                    <a:pt x="759047" y="518162"/>
                    <a:pt x="759047" y="523999"/>
                  </a:cubicBezTo>
                  <a:cubicBezTo>
                    <a:pt x="757228" y="542967"/>
                    <a:pt x="760503" y="546068"/>
                    <a:pt x="775414" y="555735"/>
                  </a:cubicBezTo>
                  <a:cubicBezTo>
                    <a:pt x="779015" y="558415"/>
                    <a:pt x="782198" y="561607"/>
                    <a:pt x="784871" y="565219"/>
                  </a:cubicBezTo>
                  <a:cubicBezTo>
                    <a:pt x="789236" y="571985"/>
                    <a:pt x="795582" y="577201"/>
                    <a:pt x="803057" y="580174"/>
                  </a:cubicBezTo>
                  <a:cubicBezTo>
                    <a:pt x="819169" y="582199"/>
                    <a:pt x="835080" y="575195"/>
                    <a:pt x="844520" y="561936"/>
                  </a:cubicBezTo>
                  <a:cubicBezTo>
                    <a:pt x="846774" y="558124"/>
                    <a:pt x="848029" y="553783"/>
                    <a:pt x="848156" y="549350"/>
                  </a:cubicBezTo>
                  <a:cubicBezTo>
                    <a:pt x="848174" y="546524"/>
                    <a:pt x="848920" y="543770"/>
                    <a:pt x="850339" y="541326"/>
                  </a:cubicBezTo>
                  <a:cubicBezTo>
                    <a:pt x="852339" y="538590"/>
                    <a:pt x="855612" y="537131"/>
                    <a:pt x="860704" y="537131"/>
                  </a:cubicBezTo>
                  <a:lnTo>
                    <a:pt x="865796" y="537131"/>
                  </a:lnTo>
                  <a:cubicBezTo>
                    <a:pt x="883272" y="534541"/>
                    <a:pt x="899803" y="527519"/>
                    <a:pt x="913806" y="516704"/>
                  </a:cubicBezTo>
                  <a:cubicBezTo>
                    <a:pt x="917370" y="512526"/>
                    <a:pt x="920317" y="507857"/>
                    <a:pt x="922534" y="502842"/>
                  </a:cubicBezTo>
                  <a:cubicBezTo>
                    <a:pt x="925808" y="496093"/>
                    <a:pt x="928900" y="486974"/>
                    <a:pt x="934537" y="487157"/>
                  </a:cubicBezTo>
                  <a:cubicBezTo>
                    <a:pt x="940174" y="487339"/>
                    <a:pt x="944903" y="495729"/>
                    <a:pt x="947630" y="510319"/>
                  </a:cubicBezTo>
                  <a:lnTo>
                    <a:pt x="947630" y="512144"/>
                  </a:lnTo>
                  <a:cubicBezTo>
                    <a:pt x="948721" y="518527"/>
                    <a:pt x="950722" y="530382"/>
                    <a:pt x="962361" y="529471"/>
                  </a:cubicBezTo>
                  <a:cubicBezTo>
                    <a:pt x="967634" y="528923"/>
                    <a:pt x="972235" y="525677"/>
                    <a:pt x="974545" y="520898"/>
                  </a:cubicBezTo>
                  <a:lnTo>
                    <a:pt x="975636" y="519075"/>
                  </a:lnTo>
                  <a:cubicBezTo>
                    <a:pt x="979656" y="513858"/>
                    <a:pt x="984511" y="509372"/>
                    <a:pt x="990003" y="505761"/>
                  </a:cubicBezTo>
                  <a:cubicBezTo>
                    <a:pt x="1004188" y="495364"/>
                    <a:pt x="1012553" y="488251"/>
                    <a:pt x="1008188" y="467276"/>
                  </a:cubicBezTo>
                  <a:cubicBezTo>
                    <a:pt x="1006479" y="453159"/>
                    <a:pt x="1011061" y="439006"/>
                    <a:pt x="1020737" y="428611"/>
                  </a:cubicBezTo>
                  <a:cubicBezTo>
                    <a:pt x="1030539" y="414986"/>
                    <a:pt x="1037176" y="399355"/>
                    <a:pt x="1040195" y="382831"/>
                  </a:cubicBezTo>
                  <a:cubicBezTo>
                    <a:pt x="1042777" y="368168"/>
                    <a:pt x="1047051" y="353831"/>
                    <a:pt x="1052925" y="340152"/>
                  </a:cubicBezTo>
                  <a:cubicBezTo>
                    <a:pt x="1058853" y="316715"/>
                    <a:pt x="1079403" y="299972"/>
                    <a:pt x="1103480" y="298933"/>
                  </a:cubicBezTo>
                  <a:cubicBezTo>
                    <a:pt x="1131849" y="294555"/>
                    <a:pt x="1166766" y="300574"/>
                    <a:pt x="1180950" y="324102"/>
                  </a:cubicBezTo>
                  <a:cubicBezTo>
                    <a:pt x="1183587" y="329118"/>
                    <a:pt x="1185533" y="334444"/>
                    <a:pt x="1186770" y="339970"/>
                  </a:cubicBezTo>
                  <a:cubicBezTo>
                    <a:pt x="1188497" y="350220"/>
                    <a:pt x="1193390" y="359667"/>
                    <a:pt x="1200773" y="366963"/>
                  </a:cubicBezTo>
                  <a:cubicBezTo>
                    <a:pt x="1214448" y="374587"/>
                    <a:pt x="1231197" y="374095"/>
                    <a:pt x="1244418" y="365687"/>
                  </a:cubicBezTo>
                  <a:cubicBezTo>
                    <a:pt x="1249400" y="362969"/>
                    <a:pt x="1254038" y="359667"/>
                    <a:pt x="1258239" y="355838"/>
                  </a:cubicBezTo>
                  <a:cubicBezTo>
                    <a:pt x="1265513" y="349637"/>
                    <a:pt x="1270241" y="345623"/>
                    <a:pt x="1280788" y="348178"/>
                  </a:cubicBezTo>
                  <a:cubicBezTo>
                    <a:pt x="1294064" y="350731"/>
                    <a:pt x="1300610" y="356385"/>
                    <a:pt x="1302429" y="366416"/>
                  </a:cubicBezTo>
                  <a:lnTo>
                    <a:pt x="1302429" y="368605"/>
                  </a:lnTo>
                  <a:cubicBezTo>
                    <a:pt x="1303138" y="376466"/>
                    <a:pt x="1306702" y="383798"/>
                    <a:pt x="1312431" y="389214"/>
                  </a:cubicBezTo>
                  <a:lnTo>
                    <a:pt x="1315705" y="392497"/>
                  </a:lnTo>
                  <a:cubicBezTo>
                    <a:pt x="1319360" y="395635"/>
                    <a:pt x="1322325" y="399483"/>
                    <a:pt x="1324433" y="403806"/>
                  </a:cubicBezTo>
                  <a:cubicBezTo>
                    <a:pt x="1325706" y="406177"/>
                    <a:pt x="1326797" y="408548"/>
                    <a:pt x="1327889" y="410919"/>
                  </a:cubicBezTo>
                  <a:cubicBezTo>
                    <a:pt x="1332399" y="422792"/>
                    <a:pt x="1340074" y="433206"/>
                    <a:pt x="1350075" y="441013"/>
                  </a:cubicBezTo>
                  <a:cubicBezTo>
                    <a:pt x="1357877" y="447050"/>
                    <a:pt x="1364114" y="454856"/>
                    <a:pt x="1368260" y="463811"/>
                  </a:cubicBezTo>
                  <a:cubicBezTo>
                    <a:pt x="1358896" y="471216"/>
                    <a:pt x="1347001" y="474626"/>
                    <a:pt x="1335163" y="473295"/>
                  </a:cubicBezTo>
                  <a:lnTo>
                    <a:pt x="1326434" y="471472"/>
                  </a:lnTo>
                  <a:cubicBezTo>
                    <a:pt x="1316705" y="467750"/>
                    <a:pt x="1305976" y="467750"/>
                    <a:pt x="1296247" y="471472"/>
                  </a:cubicBezTo>
                  <a:cubicBezTo>
                    <a:pt x="1284644" y="476979"/>
                    <a:pt x="1277897" y="489346"/>
                    <a:pt x="1279515" y="502113"/>
                  </a:cubicBezTo>
                  <a:cubicBezTo>
                    <a:pt x="1279934" y="504465"/>
                    <a:pt x="1280534" y="506781"/>
                    <a:pt x="1281334" y="509043"/>
                  </a:cubicBezTo>
                  <a:cubicBezTo>
                    <a:pt x="1282062" y="510976"/>
                    <a:pt x="1282498" y="513001"/>
                    <a:pt x="1282607" y="515062"/>
                  </a:cubicBezTo>
                  <a:cubicBezTo>
                    <a:pt x="1282498" y="516886"/>
                    <a:pt x="1282062" y="518674"/>
                    <a:pt x="1281334" y="520351"/>
                  </a:cubicBezTo>
                  <a:cubicBezTo>
                    <a:pt x="1280534" y="522649"/>
                    <a:pt x="1279989" y="525039"/>
                    <a:pt x="1279698" y="527464"/>
                  </a:cubicBezTo>
                  <a:cubicBezTo>
                    <a:pt x="1279533" y="531003"/>
                    <a:pt x="1280079" y="534541"/>
                    <a:pt x="1281334" y="537861"/>
                  </a:cubicBezTo>
                  <a:cubicBezTo>
                    <a:pt x="1281917" y="539575"/>
                    <a:pt x="1282334" y="541363"/>
                    <a:pt x="1282607" y="543149"/>
                  </a:cubicBezTo>
                  <a:cubicBezTo>
                    <a:pt x="1282625" y="545575"/>
                    <a:pt x="1282189" y="547983"/>
                    <a:pt x="1281334" y="550263"/>
                  </a:cubicBezTo>
                  <a:cubicBezTo>
                    <a:pt x="1280352" y="552451"/>
                    <a:pt x="1279734" y="554804"/>
                    <a:pt x="1279515" y="557193"/>
                  </a:cubicBezTo>
                  <a:cubicBezTo>
                    <a:pt x="1276424" y="574703"/>
                    <a:pt x="1301157" y="602973"/>
                    <a:pt x="1315886" y="607715"/>
                  </a:cubicBezTo>
                  <a:cubicBezTo>
                    <a:pt x="1319160" y="608535"/>
                    <a:pt x="1322524" y="608919"/>
                    <a:pt x="1325889" y="608810"/>
                  </a:cubicBezTo>
                  <a:cubicBezTo>
                    <a:pt x="1330799" y="608992"/>
                    <a:pt x="1335527" y="610268"/>
                    <a:pt x="1335527" y="611180"/>
                  </a:cubicBezTo>
                  <a:cubicBezTo>
                    <a:pt x="1335527" y="612092"/>
                    <a:pt x="1335527" y="613186"/>
                    <a:pt x="1335527" y="615923"/>
                  </a:cubicBezTo>
                  <a:cubicBezTo>
                    <a:pt x="1335181" y="618403"/>
                    <a:pt x="1335181" y="620920"/>
                    <a:pt x="1335527" y="623400"/>
                  </a:cubicBezTo>
                  <a:cubicBezTo>
                    <a:pt x="1336382" y="626482"/>
                    <a:pt x="1337855" y="629328"/>
                    <a:pt x="1339891" y="631790"/>
                  </a:cubicBezTo>
                  <a:cubicBezTo>
                    <a:pt x="1340764" y="633140"/>
                    <a:pt x="1341546" y="634544"/>
                    <a:pt x="1342256" y="635984"/>
                  </a:cubicBezTo>
                  <a:cubicBezTo>
                    <a:pt x="1345165" y="642551"/>
                    <a:pt x="1343164" y="644740"/>
                    <a:pt x="1335890" y="651488"/>
                  </a:cubicBezTo>
                  <a:lnTo>
                    <a:pt x="1334982" y="652399"/>
                  </a:lnTo>
                  <a:cubicBezTo>
                    <a:pt x="1330890" y="656358"/>
                    <a:pt x="1327180" y="660698"/>
                    <a:pt x="1323888" y="665349"/>
                  </a:cubicBezTo>
                  <a:cubicBezTo>
                    <a:pt x="1320961" y="669362"/>
                    <a:pt x="1317742" y="673137"/>
                    <a:pt x="1314250" y="676657"/>
                  </a:cubicBezTo>
                  <a:cubicBezTo>
                    <a:pt x="1306484" y="682512"/>
                    <a:pt x="1296846" y="685302"/>
                    <a:pt x="1287154" y="684500"/>
                  </a:cubicBezTo>
                  <a:lnTo>
                    <a:pt x="1281516" y="684500"/>
                  </a:lnTo>
                  <a:cubicBezTo>
                    <a:pt x="1277606" y="684956"/>
                    <a:pt x="1273714" y="685630"/>
                    <a:pt x="1269877" y="686506"/>
                  </a:cubicBezTo>
                  <a:cubicBezTo>
                    <a:pt x="1263567" y="688385"/>
                    <a:pt x="1256929" y="688877"/>
                    <a:pt x="1250419" y="687965"/>
                  </a:cubicBezTo>
                  <a:cubicBezTo>
                    <a:pt x="1244418" y="686142"/>
                    <a:pt x="1244418" y="684317"/>
                    <a:pt x="1244418" y="684317"/>
                  </a:cubicBezTo>
                  <a:cubicBezTo>
                    <a:pt x="1244709" y="682183"/>
                    <a:pt x="1245673" y="680214"/>
                    <a:pt x="1247145" y="678664"/>
                  </a:cubicBezTo>
                  <a:cubicBezTo>
                    <a:pt x="1248782" y="676475"/>
                    <a:pt x="1250782" y="674104"/>
                    <a:pt x="1252420" y="672280"/>
                  </a:cubicBezTo>
                  <a:cubicBezTo>
                    <a:pt x="1258420" y="665349"/>
                    <a:pt x="1265330" y="659695"/>
                    <a:pt x="1263331" y="650394"/>
                  </a:cubicBezTo>
                  <a:cubicBezTo>
                    <a:pt x="1261330" y="641092"/>
                    <a:pt x="1256784" y="637262"/>
                    <a:pt x="1253147" y="637262"/>
                  </a:cubicBezTo>
                  <a:cubicBezTo>
                    <a:pt x="1244054" y="634891"/>
                    <a:pt x="1232961" y="643463"/>
                    <a:pt x="1214776" y="665714"/>
                  </a:cubicBezTo>
                  <a:cubicBezTo>
                    <a:pt x="1211375" y="669635"/>
                    <a:pt x="1207155" y="672735"/>
                    <a:pt x="1202409" y="674833"/>
                  </a:cubicBezTo>
                  <a:cubicBezTo>
                    <a:pt x="1198299" y="675964"/>
                    <a:pt x="1194281" y="677423"/>
                    <a:pt x="1190407" y="679211"/>
                  </a:cubicBezTo>
                  <a:cubicBezTo>
                    <a:pt x="1182169" y="686470"/>
                    <a:pt x="1177914" y="697267"/>
                    <a:pt x="1178950" y="708210"/>
                  </a:cubicBezTo>
                  <a:cubicBezTo>
                    <a:pt x="1179040" y="709980"/>
                    <a:pt x="1179040" y="711730"/>
                    <a:pt x="1178950" y="713500"/>
                  </a:cubicBezTo>
                  <a:cubicBezTo>
                    <a:pt x="1179459" y="721616"/>
                    <a:pt x="1176641" y="729605"/>
                    <a:pt x="1171130" y="735569"/>
                  </a:cubicBezTo>
                  <a:cubicBezTo>
                    <a:pt x="1167766" y="738286"/>
                    <a:pt x="1163947" y="740383"/>
                    <a:pt x="1159855" y="741770"/>
                  </a:cubicBezTo>
                  <a:cubicBezTo>
                    <a:pt x="1154199" y="743630"/>
                    <a:pt x="1148980" y="746676"/>
                    <a:pt x="1144579" y="750706"/>
                  </a:cubicBezTo>
                  <a:cubicBezTo>
                    <a:pt x="1142270" y="753332"/>
                    <a:pt x="1140252" y="756197"/>
                    <a:pt x="1138578" y="759279"/>
                  </a:cubicBezTo>
                  <a:cubicBezTo>
                    <a:pt x="1135668" y="764750"/>
                    <a:pt x="1134578" y="765845"/>
                    <a:pt x="1129485" y="765845"/>
                  </a:cubicBezTo>
                  <a:cubicBezTo>
                    <a:pt x="1126558" y="765462"/>
                    <a:pt x="1123684" y="764732"/>
                    <a:pt x="1120938" y="763656"/>
                  </a:cubicBezTo>
                  <a:cubicBezTo>
                    <a:pt x="1113410" y="760373"/>
                    <a:pt x="1104716" y="761267"/>
                    <a:pt x="1098025" y="766027"/>
                  </a:cubicBezTo>
                  <a:cubicBezTo>
                    <a:pt x="1080931" y="776788"/>
                    <a:pt x="1076565" y="774052"/>
                    <a:pt x="1058380" y="763656"/>
                  </a:cubicBezTo>
                  <a:lnTo>
                    <a:pt x="1056198" y="762379"/>
                  </a:lnTo>
                  <a:cubicBezTo>
                    <a:pt x="1044850" y="756853"/>
                    <a:pt x="1031757" y="756051"/>
                    <a:pt x="1019827" y="760190"/>
                  </a:cubicBezTo>
                  <a:cubicBezTo>
                    <a:pt x="1011753" y="762671"/>
                    <a:pt x="1003224" y="763219"/>
                    <a:pt x="994913" y="761833"/>
                  </a:cubicBezTo>
                  <a:lnTo>
                    <a:pt x="990548" y="760738"/>
                  </a:lnTo>
                  <a:cubicBezTo>
                    <a:pt x="979527" y="755795"/>
                    <a:pt x="966635" y="757947"/>
                    <a:pt x="957814" y="766209"/>
                  </a:cubicBezTo>
                  <a:cubicBezTo>
                    <a:pt x="954377" y="771097"/>
                    <a:pt x="952305" y="776842"/>
                    <a:pt x="951813" y="782806"/>
                  </a:cubicBezTo>
                  <a:cubicBezTo>
                    <a:pt x="951686" y="786965"/>
                    <a:pt x="950431" y="790996"/>
                    <a:pt x="948176" y="794479"/>
                  </a:cubicBezTo>
                  <a:cubicBezTo>
                    <a:pt x="941084" y="803417"/>
                    <a:pt x="926717" y="800316"/>
                    <a:pt x="912715" y="797398"/>
                  </a:cubicBezTo>
                  <a:cubicBezTo>
                    <a:pt x="906768" y="795829"/>
                    <a:pt x="900676" y="794862"/>
                    <a:pt x="894529" y="794479"/>
                  </a:cubicBezTo>
                  <a:cubicBezTo>
                    <a:pt x="871979" y="794479"/>
                    <a:pt x="869797" y="807429"/>
                    <a:pt x="869797" y="816913"/>
                  </a:cubicBezTo>
                  <a:cubicBezTo>
                    <a:pt x="869997" y="822750"/>
                    <a:pt x="868052" y="828458"/>
                    <a:pt x="864341" y="832964"/>
                  </a:cubicBezTo>
                  <a:cubicBezTo>
                    <a:pt x="860377" y="835918"/>
                    <a:pt x="855867" y="838016"/>
                    <a:pt x="851066" y="839165"/>
                  </a:cubicBezTo>
                  <a:cubicBezTo>
                    <a:pt x="847756" y="840131"/>
                    <a:pt x="844538" y="841353"/>
                    <a:pt x="841428" y="842812"/>
                  </a:cubicBezTo>
                  <a:cubicBezTo>
                    <a:pt x="830190" y="848046"/>
                    <a:pt x="820532" y="856163"/>
                    <a:pt x="813422" y="866340"/>
                  </a:cubicBezTo>
                  <a:cubicBezTo>
                    <a:pt x="805966" y="875952"/>
                    <a:pt x="805038" y="889139"/>
                    <a:pt x="811058" y="899717"/>
                  </a:cubicBezTo>
                  <a:cubicBezTo>
                    <a:pt x="814658" y="904222"/>
                    <a:pt x="819441" y="907633"/>
                    <a:pt x="824879" y="909566"/>
                  </a:cubicBezTo>
                  <a:cubicBezTo>
                    <a:pt x="827952" y="910697"/>
                    <a:pt x="830844" y="912302"/>
                    <a:pt x="833426" y="914308"/>
                  </a:cubicBezTo>
                  <a:cubicBezTo>
                    <a:pt x="834299" y="915275"/>
                    <a:pt x="835099" y="916314"/>
                    <a:pt x="835790" y="917409"/>
                  </a:cubicBezTo>
                  <a:cubicBezTo>
                    <a:pt x="836990" y="919470"/>
                    <a:pt x="838536" y="921330"/>
                    <a:pt x="840337" y="922881"/>
                  </a:cubicBezTo>
                  <a:cubicBezTo>
                    <a:pt x="842446" y="924139"/>
                    <a:pt x="844700" y="925124"/>
                    <a:pt x="847065" y="925799"/>
                  </a:cubicBezTo>
                  <a:cubicBezTo>
                    <a:pt x="849793" y="926528"/>
                    <a:pt x="854339" y="928352"/>
                    <a:pt x="854885" y="929811"/>
                  </a:cubicBezTo>
                  <a:cubicBezTo>
                    <a:pt x="855431" y="931271"/>
                    <a:pt x="850703" y="935100"/>
                    <a:pt x="848338" y="937289"/>
                  </a:cubicBezTo>
                  <a:cubicBezTo>
                    <a:pt x="844355" y="939824"/>
                    <a:pt x="841246" y="943508"/>
                    <a:pt x="839427" y="947868"/>
                  </a:cubicBezTo>
                  <a:cubicBezTo>
                    <a:pt x="837863" y="955728"/>
                    <a:pt x="837318" y="963753"/>
                    <a:pt x="837791" y="971760"/>
                  </a:cubicBezTo>
                  <a:cubicBezTo>
                    <a:pt x="837791" y="975955"/>
                    <a:pt x="837791" y="980150"/>
                    <a:pt x="837791" y="983980"/>
                  </a:cubicBezTo>
                  <a:cubicBezTo>
                    <a:pt x="837027" y="996127"/>
                    <a:pt x="840573" y="1008146"/>
                    <a:pt x="847792" y="1017905"/>
                  </a:cubicBezTo>
                  <a:lnTo>
                    <a:pt x="849065" y="1020092"/>
                  </a:lnTo>
                  <a:cubicBezTo>
                    <a:pt x="854339" y="1030653"/>
                    <a:pt x="856831" y="1042399"/>
                    <a:pt x="856339" y="1054199"/>
                  </a:cubicBezTo>
                  <a:cubicBezTo>
                    <a:pt x="856557" y="1061294"/>
                    <a:pt x="857231" y="1068352"/>
                    <a:pt x="858340" y="1075356"/>
                  </a:cubicBezTo>
                  <a:cubicBezTo>
                    <a:pt x="859268" y="1084859"/>
                    <a:pt x="863450" y="1093759"/>
                    <a:pt x="870161" y="1100525"/>
                  </a:cubicBezTo>
                  <a:cubicBezTo>
                    <a:pt x="873870" y="1103335"/>
                    <a:pt x="878162" y="1105267"/>
                    <a:pt x="882709" y="1106180"/>
                  </a:cubicBezTo>
                  <a:cubicBezTo>
                    <a:pt x="888347" y="1107822"/>
                    <a:pt x="891074" y="1108733"/>
                    <a:pt x="892529" y="1112564"/>
                  </a:cubicBezTo>
                  <a:cubicBezTo>
                    <a:pt x="893129" y="1118892"/>
                    <a:pt x="891802" y="1125257"/>
                    <a:pt x="888710" y="1130802"/>
                  </a:cubicBezTo>
                  <a:cubicBezTo>
                    <a:pt x="887801" y="1132991"/>
                    <a:pt x="886346" y="1135180"/>
                    <a:pt x="886346" y="1137003"/>
                  </a:cubicBezTo>
                  <a:cubicBezTo>
                    <a:pt x="882963" y="1148312"/>
                    <a:pt x="880289" y="1159838"/>
                    <a:pt x="878344" y="1171474"/>
                  </a:cubicBezTo>
                  <a:lnTo>
                    <a:pt x="877071" y="1178223"/>
                  </a:lnTo>
                  <a:cubicBezTo>
                    <a:pt x="873979" y="1194091"/>
                    <a:pt x="871615" y="1208317"/>
                    <a:pt x="869797" y="1221631"/>
                  </a:cubicBezTo>
                  <a:cubicBezTo>
                    <a:pt x="868342" y="1226556"/>
                    <a:pt x="868342" y="1231845"/>
                    <a:pt x="868342" y="1236952"/>
                  </a:cubicBezTo>
                  <a:cubicBezTo>
                    <a:pt x="867996" y="1246382"/>
                    <a:pt x="866596" y="1255738"/>
                    <a:pt x="864159" y="1264857"/>
                  </a:cubicBezTo>
                  <a:cubicBezTo>
                    <a:pt x="860213" y="1274852"/>
                    <a:pt x="853539" y="1283516"/>
                    <a:pt x="844883" y="1289844"/>
                  </a:cubicBezTo>
                  <a:lnTo>
                    <a:pt x="843064" y="1291485"/>
                  </a:lnTo>
                  <a:cubicBezTo>
                    <a:pt x="832571" y="1301371"/>
                    <a:pt x="822842" y="1312041"/>
                    <a:pt x="813968" y="1323403"/>
                  </a:cubicBezTo>
                  <a:lnTo>
                    <a:pt x="805421" y="1333982"/>
                  </a:lnTo>
                  <a:cubicBezTo>
                    <a:pt x="799782" y="1341095"/>
                    <a:pt x="794146" y="1348208"/>
                    <a:pt x="788326" y="1354957"/>
                  </a:cubicBezTo>
                  <a:cubicBezTo>
                    <a:pt x="784489" y="1359133"/>
                    <a:pt x="780415" y="1363091"/>
                    <a:pt x="776142" y="1366812"/>
                  </a:cubicBezTo>
                  <a:cubicBezTo>
                    <a:pt x="770214" y="1371718"/>
                    <a:pt x="764794" y="1377226"/>
                    <a:pt x="759957" y="1383227"/>
                  </a:cubicBezTo>
                  <a:cubicBezTo>
                    <a:pt x="751991" y="1395392"/>
                    <a:pt x="745863" y="1408669"/>
                    <a:pt x="741772" y="1422622"/>
                  </a:cubicBezTo>
                  <a:cubicBezTo>
                    <a:pt x="737916" y="1434951"/>
                    <a:pt x="732605" y="1446771"/>
                    <a:pt x="725950" y="1457823"/>
                  </a:cubicBezTo>
                  <a:cubicBezTo>
                    <a:pt x="719712" y="1467016"/>
                    <a:pt x="712183" y="1475241"/>
                    <a:pt x="703582" y="1482263"/>
                  </a:cubicBezTo>
                  <a:cubicBezTo>
                    <a:pt x="700344" y="1484634"/>
                    <a:pt x="696943" y="1486768"/>
                    <a:pt x="693398" y="1488647"/>
                  </a:cubicBezTo>
                  <a:cubicBezTo>
                    <a:pt x="686451" y="1492039"/>
                    <a:pt x="680249" y="1496818"/>
                    <a:pt x="675212" y="1502691"/>
                  </a:cubicBezTo>
                  <a:cubicBezTo>
                    <a:pt x="671084" y="1508983"/>
                    <a:pt x="669829" y="1516752"/>
                    <a:pt x="671757" y="1524030"/>
                  </a:cubicBezTo>
                  <a:cubicBezTo>
                    <a:pt x="672576" y="1527878"/>
                    <a:pt x="672576" y="1531854"/>
                    <a:pt x="671757" y="1535702"/>
                  </a:cubicBezTo>
                  <a:cubicBezTo>
                    <a:pt x="669939" y="1540445"/>
                    <a:pt x="666484" y="1542086"/>
                    <a:pt x="660482" y="1544457"/>
                  </a:cubicBezTo>
                  <a:cubicBezTo>
                    <a:pt x="657172" y="1545606"/>
                    <a:pt x="653990" y="1547138"/>
                    <a:pt x="651026" y="1549017"/>
                  </a:cubicBezTo>
                  <a:cubicBezTo>
                    <a:pt x="648171" y="1550913"/>
                    <a:pt x="645443" y="1552975"/>
                    <a:pt x="642842" y="1555218"/>
                  </a:cubicBezTo>
                  <a:cubicBezTo>
                    <a:pt x="638478" y="1559048"/>
                    <a:pt x="630294" y="1563426"/>
                    <a:pt x="629567" y="1563243"/>
                  </a:cubicBezTo>
                  <a:cubicBezTo>
                    <a:pt x="628839" y="1563060"/>
                    <a:pt x="626839" y="1561967"/>
                    <a:pt x="624657" y="1555947"/>
                  </a:cubicBezTo>
                  <a:cubicBezTo>
                    <a:pt x="616837" y="1535155"/>
                    <a:pt x="611927" y="1532420"/>
                    <a:pt x="589377" y="1536614"/>
                  </a:cubicBezTo>
                  <a:cubicBezTo>
                    <a:pt x="586213" y="1537854"/>
                    <a:pt x="582721" y="1537854"/>
                    <a:pt x="579557" y="1536614"/>
                  </a:cubicBezTo>
                  <a:cubicBezTo>
                    <a:pt x="576775" y="1533915"/>
                    <a:pt x="575083" y="1530268"/>
                    <a:pt x="574828" y="1526401"/>
                  </a:cubicBezTo>
                  <a:cubicBezTo>
                    <a:pt x="574811" y="1512758"/>
                    <a:pt x="566209" y="1500611"/>
                    <a:pt x="553370" y="1496124"/>
                  </a:cubicBezTo>
                  <a:cubicBezTo>
                    <a:pt x="544768" y="1492586"/>
                    <a:pt x="536821" y="1487589"/>
                    <a:pt x="529910" y="1481352"/>
                  </a:cubicBezTo>
                  <a:cubicBezTo>
                    <a:pt x="528056" y="1479673"/>
                    <a:pt x="526310" y="1477923"/>
                    <a:pt x="524637" y="1476062"/>
                  </a:cubicBezTo>
                  <a:cubicBezTo>
                    <a:pt x="517962" y="1466286"/>
                    <a:pt x="506979" y="1460377"/>
                    <a:pt x="495176" y="1460194"/>
                  </a:cubicBezTo>
                  <a:cubicBezTo>
                    <a:pt x="491211" y="1460395"/>
                    <a:pt x="487247" y="1460869"/>
                    <a:pt x="483356" y="1461653"/>
                  </a:cubicBezTo>
                  <a:cubicBezTo>
                    <a:pt x="477427" y="1463422"/>
                    <a:pt x="471099" y="1463422"/>
                    <a:pt x="465170" y="1461653"/>
                  </a:cubicBezTo>
                  <a:cubicBezTo>
                    <a:pt x="457514" y="1457878"/>
                    <a:pt x="450567" y="1452826"/>
                    <a:pt x="444621" y="1446698"/>
                  </a:cubicBezTo>
                  <a:cubicBezTo>
                    <a:pt x="441711" y="1443907"/>
                    <a:pt x="438801" y="1441354"/>
                    <a:pt x="435892" y="1439037"/>
                  </a:cubicBezTo>
                  <a:cubicBezTo>
                    <a:pt x="424144" y="1430301"/>
                    <a:pt x="411068" y="1423516"/>
                    <a:pt x="397157" y="1418975"/>
                  </a:cubicBezTo>
                  <a:cubicBezTo>
                    <a:pt x="386409" y="1415126"/>
                    <a:pt x="376061" y="1410239"/>
                    <a:pt x="366241" y="1404384"/>
                  </a:cubicBezTo>
                  <a:lnTo>
                    <a:pt x="364968" y="1404384"/>
                  </a:lnTo>
                  <a:cubicBezTo>
                    <a:pt x="356948" y="1400134"/>
                    <a:pt x="350183" y="1393842"/>
                    <a:pt x="345327" y="1386145"/>
                  </a:cubicBezTo>
                  <a:cubicBezTo>
                    <a:pt x="344418" y="1384321"/>
                    <a:pt x="343691" y="1382132"/>
                    <a:pt x="342782" y="1379944"/>
                  </a:cubicBezTo>
                  <a:cubicBezTo>
                    <a:pt x="340053" y="1373378"/>
                    <a:pt x="336780" y="1364441"/>
                    <a:pt x="327324" y="1361705"/>
                  </a:cubicBezTo>
                  <a:cubicBezTo>
                    <a:pt x="313139" y="1357328"/>
                    <a:pt x="300228" y="1372284"/>
                    <a:pt x="290953" y="1383045"/>
                  </a:cubicBezTo>
                  <a:lnTo>
                    <a:pt x="284952" y="1389610"/>
                  </a:lnTo>
                  <a:cubicBezTo>
                    <a:pt x="275641" y="1398839"/>
                    <a:pt x="265675" y="1407375"/>
                    <a:pt x="255128" y="1415145"/>
                  </a:cubicBezTo>
                  <a:lnTo>
                    <a:pt x="254218" y="1415145"/>
                  </a:lnTo>
                  <a:cubicBezTo>
                    <a:pt x="254218" y="1414050"/>
                    <a:pt x="254218" y="1414050"/>
                    <a:pt x="254218" y="1414050"/>
                  </a:cubicBezTo>
                  <a:cubicBezTo>
                    <a:pt x="245853" y="1392711"/>
                    <a:pt x="233851" y="1395082"/>
                    <a:pt x="218938" y="1400553"/>
                  </a:cubicBezTo>
                  <a:cubicBezTo>
                    <a:pt x="206426" y="1405022"/>
                    <a:pt x="192479" y="1402286"/>
                    <a:pt x="182568" y="1393440"/>
                  </a:cubicBezTo>
                  <a:cubicBezTo>
                    <a:pt x="175093" y="1389118"/>
                    <a:pt x="167382" y="1385215"/>
                    <a:pt x="159472" y="1381767"/>
                  </a:cubicBezTo>
                  <a:cubicBezTo>
                    <a:pt x="152634" y="1378959"/>
                    <a:pt x="146015" y="1375675"/>
                    <a:pt x="139650" y="1371918"/>
                  </a:cubicBezTo>
                  <a:cubicBezTo>
                    <a:pt x="136559" y="1370277"/>
                    <a:pt x="133285" y="1368088"/>
                    <a:pt x="130012" y="1366082"/>
                  </a:cubicBezTo>
                  <a:cubicBezTo>
                    <a:pt x="113463" y="1355321"/>
                    <a:pt x="93459" y="1342555"/>
                    <a:pt x="74001" y="1354044"/>
                  </a:cubicBezTo>
                  <a:lnTo>
                    <a:pt x="64543" y="1347661"/>
                  </a:lnTo>
                  <a:cubicBezTo>
                    <a:pt x="59816" y="1344378"/>
                    <a:pt x="55088" y="1341277"/>
                    <a:pt x="50541" y="1337629"/>
                  </a:cubicBezTo>
                  <a:cubicBezTo>
                    <a:pt x="44522" y="1332195"/>
                    <a:pt x="39157" y="1326066"/>
                    <a:pt x="34538" y="1319391"/>
                  </a:cubicBezTo>
                  <a:cubicBezTo>
                    <a:pt x="31082" y="1315013"/>
                    <a:pt x="27627" y="1310637"/>
                    <a:pt x="23627" y="1306441"/>
                  </a:cubicBezTo>
                  <a:cubicBezTo>
                    <a:pt x="20171" y="1303177"/>
                    <a:pt x="16316" y="1300368"/>
                    <a:pt x="12169" y="1298052"/>
                  </a:cubicBezTo>
                  <a:cubicBezTo>
                    <a:pt x="8369" y="1296082"/>
                    <a:pt x="4932" y="1293492"/>
                    <a:pt x="1985" y="1290392"/>
                  </a:cubicBezTo>
                  <a:cubicBezTo>
                    <a:pt x="-1106" y="1286379"/>
                    <a:pt x="-742" y="1286197"/>
                    <a:pt x="4168" y="1281637"/>
                  </a:cubicBezTo>
                  <a:cubicBezTo>
                    <a:pt x="6386" y="1279740"/>
                    <a:pt x="8405" y="1277588"/>
                    <a:pt x="10170" y="1275254"/>
                  </a:cubicBezTo>
                  <a:cubicBezTo>
                    <a:pt x="12042" y="1272755"/>
                    <a:pt x="13733" y="1270129"/>
                    <a:pt x="15261" y="1267411"/>
                  </a:cubicBezTo>
                  <a:cubicBezTo>
                    <a:pt x="19080" y="1261027"/>
                    <a:pt x="20536" y="1258656"/>
                    <a:pt x="29083" y="1258656"/>
                  </a:cubicBezTo>
                  <a:cubicBezTo>
                    <a:pt x="41812" y="1258656"/>
                    <a:pt x="49995" y="1257744"/>
                    <a:pt x="55633" y="1242970"/>
                  </a:cubicBezTo>
                  <a:cubicBezTo>
                    <a:pt x="58707" y="1234599"/>
                    <a:pt x="61125" y="1225990"/>
                    <a:pt x="62907" y="1217254"/>
                  </a:cubicBezTo>
                  <a:cubicBezTo>
                    <a:pt x="64289" y="1210032"/>
                    <a:pt x="64289" y="1202591"/>
                    <a:pt x="62907" y="1195367"/>
                  </a:cubicBezTo>
                  <a:cubicBezTo>
                    <a:pt x="61870" y="1190461"/>
                    <a:pt x="61452" y="1185427"/>
                    <a:pt x="61634" y="1180412"/>
                  </a:cubicBezTo>
                  <a:cubicBezTo>
                    <a:pt x="62307" y="1175213"/>
                    <a:pt x="63835" y="1170143"/>
                    <a:pt x="66181" y="1165456"/>
                  </a:cubicBezTo>
                  <a:cubicBezTo>
                    <a:pt x="69545" y="1158963"/>
                    <a:pt x="71399" y="1151795"/>
                    <a:pt x="71637" y="1144481"/>
                  </a:cubicBezTo>
                  <a:cubicBezTo>
                    <a:pt x="71272" y="1137551"/>
                    <a:pt x="69145" y="1130839"/>
                    <a:pt x="65454" y="1124966"/>
                  </a:cubicBezTo>
                  <a:cubicBezTo>
                    <a:pt x="63016" y="1121136"/>
                    <a:pt x="61343" y="1116849"/>
                    <a:pt x="60543" y="1112381"/>
                  </a:cubicBezTo>
                  <a:cubicBezTo>
                    <a:pt x="60761" y="1106089"/>
                    <a:pt x="62179" y="1099906"/>
                    <a:pt x="64726" y="1094142"/>
                  </a:cubicBezTo>
                  <a:cubicBezTo>
                    <a:pt x="65744" y="1091644"/>
                    <a:pt x="66580" y="1089090"/>
                    <a:pt x="67272" y="1086482"/>
                  </a:cubicBezTo>
                  <a:cubicBezTo>
                    <a:pt x="70545" y="1075356"/>
                    <a:pt x="73091" y="1071162"/>
                    <a:pt x="83274" y="1068243"/>
                  </a:cubicBezTo>
                  <a:lnTo>
                    <a:pt x="88003" y="1066966"/>
                  </a:lnTo>
                  <a:cubicBezTo>
                    <a:pt x="97023" y="1066164"/>
                    <a:pt x="104442" y="1059471"/>
                    <a:pt x="106189" y="1050551"/>
                  </a:cubicBezTo>
                  <a:cubicBezTo>
                    <a:pt x="106807" y="1047925"/>
                    <a:pt x="107170" y="1045226"/>
                    <a:pt x="107280" y="1042527"/>
                  </a:cubicBezTo>
                  <a:cubicBezTo>
                    <a:pt x="107262" y="1040027"/>
                    <a:pt x="107752" y="1037529"/>
                    <a:pt x="108735" y="1035231"/>
                  </a:cubicBezTo>
                  <a:cubicBezTo>
                    <a:pt x="109517" y="1033918"/>
                    <a:pt x="110571" y="1032805"/>
                    <a:pt x="111826" y="1031948"/>
                  </a:cubicBezTo>
                  <a:cubicBezTo>
                    <a:pt x="113390" y="1030745"/>
                    <a:pt x="114808" y="1029321"/>
                    <a:pt x="116009" y="1027753"/>
                  </a:cubicBezTo>
                  <a:cubicBezTo>
                    <a:pt x="122028" y="1020822"/>
                    <a:pt x="123192" y="1010901"/>
                    <a:pt x="118919" y="1002766"/>
                  </a:cubicBezTo>
                  <a:lnTo>
                    <a:pt x="116735" y="996017"/>
                  </a:lnTo>
                  <a:cubicBezTo>
                    <a:pt x="114917" y="986899"/>
                    <a:pt x="109953" y="978691"/>
                    <a:pt x="102733" y="972855"/>
                  </a:cubicBezTo>
                  <a:cubicBezTo>
                    <a:pt x="96223" y="968605"/>
                    <a:pt x="91512" y="962130"/>
                    <a:pt x="89457" y="954615"/>
                  </a:cubicBezTo>
                  <a:cubicBezTo>
                    <a:pt x="86785" y="936814"/>
                    <a:pt x="88858" y="918631"/>
                    <a:pt x="95459" y="901906"/>
                  </a:cubicBezTo>
                  <a:cubicBezTo>
                    <a:pt x="96732" y="898076"/>
                    <a:pt x="97823" y="894427"/>
                    <a:pt x="98732" y="890597"/>
                  </a:cubicBezTo>
                  <a:cubicBezTo>
                    <a:pt x="104734" y="868529"/>
                    <a:pt x="114736" y="859410"/>
                    <a:pt x="132921" y="859410"/>
                  </a:cubicBezTo>
                  <a:cubicBezTo>
                    <a:pt x="138032" y="859519"/>
                    <a:pt x="143123" y="859883"/>
                    <a:pt x="148197" y="860504"/>
                  </a:cubicBezTo>
                  <a:cubicBezTo>
                    <a:pt x="163927" y="864115"/>
                    <a:pt x="180440" y="861981"/>
                    <a:pt x="194752" y="854485"/>
                  </a:cubicBezTo>
                  <a:cubicBezTo>
                    <a:pt x="201244" y="849159"/>
                    <a:pt x="205936" y="841973"/>
                    <a:pt x="208209" y="833875"/>
                  </a:cubicBezTo>
                  <a:cubicBezTo>
                    <a:pt x="212209" y="824208"/>
                    <a:pt x="216756" y="817825"/>
                    <a:pt x="221848" y="816549"/>
                  </a:cubicBezTo>
                  <a:cubicBezTo>
                    <a:pt x="226940" y="815272"/>
                    <a:pt x="227850" y="816549"/>
                    <a:pt x="231487" y="821655"/>
                  </a:cubicBezTo>
                  <a:lnTo>
                    <a:pt x="233851" y="824756"/>
                  </a:lnTo>
                  <a:cubicBezTo>
                    <a:pt x="236578" y="828222"/>
                    <a:pt x="239670" y="831687"/>
                    <a:pt x="242579" y="834969"/>
                  </a:cubicBezTo>
                  <a:cubicBezTo>
                    <a:pt x="246835" y="839638"/>
                    <a:pt x="250781" y="844563"/>
                    <a:pt x="254400" y="849743"/>
                  </a:cubicBezTo>
                  <a:cubicBezTo>
                    <a:pt x="255856" y="851932"/>
                    <a:pt x="257310" y="854303"/>
                    <a:pt x="258765" y="856856"/>
                  </a:cubicBezTo>
                  <a:cubicBezTo>
                    <a:pt x="263329" y="866924"/>
                    <a:pt x="270894" y="875332"/>
                    <a:pt x="280405" y="880931"/>
                  </a:cubicBezTo>
                  <a:cubicBezTo>
                    <a:pt x="285461" y="884360"/>
                    <a:pt x="292080" y="884360"/>
                    <a:pt x="297136" y="880931"/>
                  </a:cubicBezTo>
                  <a:cubicBezTo>
                    <a:pt x="305865" y="873088"/>
                    <a:pt x="300774" y="853209"/>
                    <a:pt x="298955" y="847372"/>
                  </a:cubicBezTo>
                  <a:cubicBezTo>
                    <a:pt x="295772" y="839967"/>
                    <a:pt x="296099" y="831522"/>
                    <a:pt x="299864" y="824391"/>
                  </a:cubicBezTo>
                  <a:cubicBezTo>
                    <a:pt x="302174" y="819157"/>
                    <a:pt x="304192" y="813812"/>
                    <a:pt x="305865" y="808341"/>
                  </a:cubicBezTo>
                  <a:cubicBezTo>
                    <a:pt x="307084" y="804073"/>
                    <a:pt x="308538" y="799860"/>
                    <a:pt x="310229" y="795756"/>
                  </a:cubicBezTo>
                  <a:cubicBezTo>
                    <a:pt x="316667" y="778977"/>
                    <a:pt x="327851" y="764459"/>
                    <a:pt x="342417" y="753990"/>
                  </a:cubicBezTo>
                  <a:cubicBezTo>
                    <a:pt x="351947" y="747953"/>
                    <a:pt x="359530" y="739271"/>
                    <a:pt x="364240" y="729002"/>
                  </a:cubicBezTo>
                  <a:cubicBezTo>
                    <a:pt x="365695" y="726814"/>
                    <a:pt x="367331" y="724260"/>
                    <a:pt x="369150" y="721889"/>
                  </a:cubicBezTo>
                  <a:cubicBezTo>
                    <a:pt x="374261" y="715524"/>
                    <a:pt x="377770" y="708028"/>
                    <a:pt x="379335" y="700003"/>
                  </a:cubicBezTo>
                  <a:cubicBezTo>
                    <a:pt x="379389" y="692598"/>
                    <a:pt x="377389" y="685339"/>
                    <a:pt x="373515" y="679028"/>
                  </a:cubicBezTo>
                  <a:cubicBezTo>
                    <a:pt x="370933" y="675143"/>
                    <a:pt x="369660" y="670548"/>
                    <a:pt x="369878" y="665897"/>
                  </a:cubicBezTo>
                  <a:lnTo>
                    <a:pt x="375516" y="656959"/>
                  </a:lnTo>
                  <a:cubicBezTo>
                    <a:pt x="384245" y="648023"/>
                    <a:pt x="394429" y="643827"/>
                    <a:pt x="398066" y="644375"/>
                  </a:cubicBezTo>
                  <a:cubicBezTo>
                    <a:pt x="401703" y="644922"/>
                    <a:pt x="402794" y="646198"/>
                    <a:pt x="405340" y="650758"/>
                  </a:cubicBezTo>
                  <a:lnTo>
                    <a:pt x="407704" y="654406"/>
                  </a:lnTo>
                  <a:cubicBezTo>
                    <a:pt x="419616" y="670310"/>
                    <a:pt x="436746" y="681491"/>
                    <a:pt x="456078" y="685959"/>
                  </a:cubicBezTo>
                  <a:cubicBezTo>
                    <a:pt x="459424" y="687181"/>
                    <a:pt x="462697" y="688586"/>
                    <a:pt x="465898" y="690154"/>
                  </a:cubicBezTo>
                  <a:cubicBezTo>
                    <a:pt x="480264" y="696720"/>
                    <a:pt x="497904" y="704928"/>
                    <a:pt x="509361" y="699273"/>
                  </a:cubicBezTo>
                  <a:cubicBezTo>
                    <a:pt x="513998" y="696866"/>
                    <a:pt x="517236" y="692397"/>
                    <a:pt x="518090" y="687236"/>
                  </a:cubicBezTo>
                  <a:cubicBezTo>
                    <a:pt x="518727" y="683132"/>
                    <a:pt x="518727" y="678937"/>
                    <a:pt x="518090" y="674833"/>
                  </a:cubicBezTo>
                  <a:cubicBezTo>
                    <a:pt x="516998" y="670894"/>
                    <a:pt x="516998" y="666735"/>
                    <a:pt x="518090" y="662796"/>
                  </a:cubicBezTo>
                  <a:cubicBezTo>
                    <a:pt x="520000" y="659002"/>
                    <a:pt x="522255" y="655409"/>
                    <a:pt x="524819" y="652035"/>
                  </a:cubicBezTo>
                  <a:cubicBezTo>
                    <a:pt x="528201" y="647931"/>
                    <a:pt x="531020" y="643390"/>
                    <a:pt x="533184" y="638539"/>
                  </a:cubicBezTo>
                  <a:cubicBezTo>
                    <a:pt x="533529" y="637845"/>
                    <a:pt x="533838" y="637133"/>
                    <a:pt x="534130" y="636423"/>
                  </a:cubicBezTo>
                  <a:cubicBezTo>
                    <a:pt x="542076" y="617145"/>
                    <a:pt x="532948" y="595075"/>
                    <a:pt x="513726" y="587105"/>
                  </a:cubicBezTo>
                  <a:lnTo>
                    <a:pt x="508633" y="585281"/>
                  </a:lnTo>
                  <a:cubicBezTo>
                    <a:pt x="500632" y="582180"/>
                    <a:pt x="496994" y="581268"/>
                    <a:pt x="495903" y="573608"/>
                  </a:cubicBezTo>
                  <a:cubicBezTo>
                    <a:pt x="494812" y="565948"/>
                    <a:pt x="499358" y="560841"/>
                    <a:pt x="506633" y="553728"/>
                  </a:cubicBezTo>
                  <a:cubicBezTo>
                    <a:pt x="523746" y="541106"/>
                    <a:pt x="529002" y="517798"/>
                    <a:pt x="518999" y="499012"/>
                  </a:cubicBezTo>
                  <a:cubicBezTo>
                    <a:pt x="514634" y="488579"/>
                    <a:pt x="502759" y="483545"/>
                    <a:pt x="492267" y="487704"/>
                  </a:cubicBezTo>
                  <a:cubicBezTo>
                    <a:pt x="486866" y="489528"/>
                    <a:pt x="480955" y="489072"/>
                    <a:pt x="475899" y="486427"/>
                  </a:cubicBezTo>
                  <a:cubicBezTo>
                    <a:pt x="462751" y="474262"/>
                    <a:pt x="453932" y="458120"/>
                    <a:pt x="450804" y="440465"/>
                  </a:cubicBezTo>
                  <a:cubicBezTo>
                    <a:pt x="448658" y="433262"/>
                    <a:pt x="447675" y="425747"/>
                    <a:pt x="447894" y="418214"/>
                  </a:cubicBezTo>
                  <a:cubicBezTo>
                    <a:pt x="448276" y="412779"/>
                    <a:pt x="450603" y="407654"/>
                    <a:pt x="454440" y="403806"/>
                  </a:cubicBezTo>
                  <a:cubicBezTo>
                    <a:pt x="455714" y="402346"/>
                    <a:pt x="457169" y="400523"/>
                    <a:pt x="458987" y="397969"/>
                  </a:cubicBezTo>
                  <a:cubicBezTo>
                    <a:pt x="463842" y="393173"/>
                    <a:pt x="464897" y="385694"/>
                    <a:pt x="461534" y="379730"/>
                  </a:cubicBezTo>
                  <a:cubicBezTo>
                    <a:pt x="460951" y="378344"/>
                    <a:pt x="460151" y="377049"/>
                    <a:pt x="459169" y="375900"/>
                  </a:cubicBezTo>
                  <a:cubicBezTo>
                    <a:pt x="458732" y="375097"/>
                    <a:pt x="458186" y="374350"/>
                    <a:pt x="457532" y="373711"/>
                  </a:cubicBezTo>
                  <a:cubicBezTo>
                    <a:pt x="457714" y="371340"/>
                    <a:pt x="458623" y="370428"/>
                    <a:pt x="462988" y="368057"/>
                  </a:cubicBezTo>
                  <a:cubicBezTo>
                    <a:pt x="465024" y="366873"/>
                    <a:pt x="466971" y="365522"/>
                    <a:pt x="468808" y="364045"/>
                  </a:cubicBezTo>
                  <a:cubicBezTo>
                    <a:pt x="474390" y="359449"/>
                    <a:pt x="479136" y="353887"/>
                    <a:pt x="482810" y="347630"/>
                  </a:cubicBezTo>
                  <a:lnTo>
                    <a:pt x="485174" y="343982"/>
                  </a:lnTo>
                  <a:cubicBezTo>
                    <a:pt x="487102" y="341174"/>
                    <a:pt x="489302" y="338548"/>
                    <a:pt x="491721" y="336139"/>
                  </a:cubicBezTo>
                  <a:cubicBezTo>
                    <a:pt x="496959" y="331015"/>
                    <a:pt x="500996" y="324777"/>
                    <a:pt x="503542" y="317901"/>
                  </a:cubicBezTo>
                  <a:cubicBezTo>
                    <a:pt x="504814" y="313378"/>
                    <a:pt x="505597" y="308727"/>
                    <a:pt x="505906" y="304039"/>
                  </a:cubicBezTo>
                  <a:cubicBezTo>
                    <a:pt x="506287" y="297638"/>
                    <a:pt x="508088" y="291419"/>
                    <a:pt x="511179" y="285801"/>
                  </a:cubicBezTo>
                  <a:lnTo>
                    <a:pt x="514634" y="280694"/>
                  </a:lnTo>
                  <a:cubicBezTo>
                    <a:pt x="521291" y="274000"/>
                    <a:pt x="523600" y="264133"/>
                    <a:pt x="520636" y="255160"/>
                  </a:cubicBezTo>
                  <a:cubicBezTo>
                    <a:pt x="519726" y="252151"/>
                    <a:pt x="518436" y="249268"/>
                    <a:pt x="516817" y="246588"/>
                  </a:cubicBezTo>
                  <a:cubicBezTo>
                    <a:pt x="514144" y="243304"/>
                    <a:pt x="514144" y="238562"/>
                    <a:pt x="516817" y="235279"/>
                  </a:cubicBezTo>
                  <a:lnTo>
                    <a:pt x="519181" y="230902"/>
                  </a:lnTo>
                  <a:cubicBezTo>
                    <a:pt x="523219" y="224993"/>
                    <a:pt x="525436" y="218008"/>
                    <a:pt x="525546" y="210840"/>
                  </a:cubicBezTo>
                  <a:cubicBezTo>
                    <a:pt x="523727" y="198328"/>
                    <a:pt x="515907" y="187494"/>
                    <a:pt x="504633" y="181840"/>
                  </a:cubicBezTo>
                  <a:cubicBezTo>
                    <a:pt x="498850" y="178466"/>
                    <a:pt x="493885" y="173852"/>
                    <a:pt x="490084" y="168343"/>
                  </a:cubicBezTo>
                  <a:cubicBezTo>
                    <a:pt x="487538" y="164513"/>
                    <a:pt x="488266" y="162871"/>
                    <a:pt x="490084" y="158859"/>
                  </a:cubicBezTo>
                  <a:cubicBezTo>
                    <a:pt x="491412" y="156014"/>
                    <a:pt x="492375" y="153005"/>
                    <a:pt x="492994" y="149922"/>
                  </a:cubicBezTo>
                  <a:cubicBezTo>
                    <a:pt x="493358" y="146292"/>
                    <a:pt x="492921" y="142608"/>
                    <a:pt x="491721" y="139161"/>
                  </a:cubicBezTo>
                  <a:cubicBezTo>
                    <a:pt x="491030" y="136846"/>
                    <a:pt x="491030" y="134364"/>
                    <a:pt x="491721" y="132048"/>
                  </a:cubicBezTo>
                  <a:cubicBezTo>
                    <a:pt x="492721" y="129549"/>
                    <a:pt x="494340" y="127342"/>
                    <a:pt x="496449" y="125665"/>
                  </a:cubicBezTo>
                  <a:cubicBezTo>
                    <a:pt x="502814" y="121087"/>
                    <a:pt x="504760" y="112478"/>
                    <a:pt x="500996" y="105602"/>
                  </a:cubicBezTo>
                  <a:cubicBezTo>
                    <a:pt x="499687" y="102100"/>
                    <a:pt x="498049" y="98744"/>
                    <a:pt x="496086" y="95571"/>
                  </a:cubicBezTo>
                  <a:cubicBezTo>
                    <a:pt x="493649" y="91631"/>
                    <a:pt x="491866" y="87309"/>
                    <a:pt x="490812" y="82804"/>
                  </a:cubicBezTo>
                  <a:cubicBezTo>
                    <a:pt x="489539" y="74779"/>
                    <a:pt x="488084" y="55993"/>
                    <a:pt x="502269" y="50704"/>
                  </a:cubicBezTo>
                  <a:cubicBezTo>
                    <a:pt x="505033" y="49755"/>
                    <a:pt x="507906" y="49208"/>
                    <a:pt x="510816" y="49062"/>
                  </a:cubicBezTo>
                  <a:cubicBezTo>
                    <a:pt x="515253" y="48916"/>
                    <a:pt x="519618" y="47986"/>
                    <a:pt x="523727" y="46326"/>
                  </a:cubicBezTo>
                  <a:cubicBezTo>
                    <a:pt x="527146" y="44557"/>
                    <a:pt x="530329" y="42351"/>
                    <a:pt x="533184" y="39760"/>
                  </a:cubicBezTo>
                  <a:lnTo>
                    <a:pt x="537366" y="36660"/>
                  </a:lnTo>
                  <a:lnTo>
                    <a:pt x="542640" y="33012"/>
                  </a:lnTo>
                  <a:cubicBezTo>
                    <a:pt x="549387" y="29601"/>
                    <a:pt x="555134" y="24513"/>
                    <a:pt x="559371" y="18238"/>
                  </a:cubicBezTo>
                  <a:cubicBezTo>
                    <a:pt x="562717" y="12640"/>
                    <a:pt x="564936" y="6457"/>
                    <a:pt x="565918" y="0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</p:grpSp>
      <p:grpSp>
        <p:nvGrpSpPr>
          <p:cNvPr id="337" name="Группа 336">
            <a:extLst>
              <a:ext uri="{FF2B5EF4-FFF2-40B4-BE49-F238E27FC236}">
                <a16:creationId xmlns:a16="http://schemas.microsoft.com/office/drawing/2014/main" id="{B5F1423E-6668-65CF-D7B0-7A33BBCD74CD}"/>
              </a:ext>
            </a:extLst>
          </p:cNvPr>
          <p:cNvGrpSpPr/>
          <p:nvPr/>
        </p:nvGrpSpPr>
        <p:grpSpPr>
          <a:xfrm>
            <a:off x="7900972" y="981915"/>
            <a:ext cx="3629510" cy="4558551"/>
            <a:chOff x="5570821" y="999321"/>
            <a:chExt cx="3818716" cy="4796188"/>
          </a:xfrm>
          <a:solidFill>
            <a:schemeClr val="bg1">
              <a:lumMod val="95000"/>
            </a:schemeClr>
          </a:solidFill>
        </p:grpSpPr>
        <p:sp>
          <p:nvSpPr>
            <p:cNvPr id="338" name="Полилиния: фигура 337">
              <a:extLst>
                <a:ext uri="{FF2B5EF4-FFF2-40B4-BE49-F238E27FC236}">
                  <a16:creationId xmlns:a16="http://schemas.microsoft.com/office/drawing/2014/main" id="{04B834A9-E1C3-7EB8-5060-A994D201F770}"/>
                </a:ext>
              </a:extLst>
            </p:cNvPr>
            <p:cNvSpPr/>
            <p:nvPr/>
          </p:nvSpPr>
          <p:spPr>
            <a:xfrm>
              <a:off x="8078525" y="1951294"/>
              <a:ext cx="1148951" cy="1617240"/>
            </a:xfrm>
            <a:custGeom>
              <a:avLst/>
              <a:gdLst>
                <a:gd name="connsiteX0" fmla="*/ 1196719 w 1201385"/>
                <a:gd name="connsiteY0" fmla="*/ 1633837 h 1686105"/>
                <a:gd name="connsiteX1" fmla="*/ 1179795 w 1201385"/>
                <a:gd name="connsiteY1" fmla="*/ 1574890 h 1686105"/>
                <a:gd name="connsiteX2" fmla="*/ 1133778 w 1201385"/>
                <a:gd name="connsiteY2" fmla="*/ 1474679 h 1686105"/>
                <a:gd name="connsiteX3" fmla="*/ 1116094 w 1201385"/>
                <a:gd name="connsiteY3" fmla="*/ 1466312 h 1686105"/>
                <a:gd name="connsiteX4" fmla="*/ 1099741 w 1201385"/>
                <a:gd name="connsiteY4" fmla="*/ 1449198 h 1686105"/>
                <a:gd name="connsiteX5" fmla="*/ 1084718 w 1201385"/>
                <a:gd name="connsiteY5" fmla="*/ 1403181 h 1686105"/>
                <a:gd name="connsiteX6" fmla="*/ 1087000 w 1201385"/>
                <a:gd name="connsiteY6" fmla="*/ 1362108 h 1686105"/>
                <a:gd name="connsiteX7" fmla="*/ 1106015 w 1201385"/>
                <a:gd name="connsiteY7" fmla="*/ 1337198 h 1686105"/>
                <a:gd name="connsiteX8" fmla="*/ 1106015 w 1201385"/>
                <a:gd name="connsiteY8" fmla="*/ 1318182 h 1686105"/>
                <a:gd name="connsiteX9" fmla="*/ 1071027 w 1201385"/>
                <a:gd name="connsiteY9" fmla="*/ 1312287 h 1686105"/>
                <a:gd name="connsiteX10" fmla="*/ 1055815 w 1201385"/>
                <a:gd name="connsiteY10" fmla="*/ 1297645 h 1686105"/>
                <a:gd name="connsiteX11" fmla="*/ 1036800 w 1201385"/>
                <a:gd name="connsiteY11" fmla="*/ 1284715 h 1686105"/>
                <a:gd name="connsiteX12" fmla="*/ 1018925 w 1201385"/>
                <a:gd name="connsiteY12" fmla="*/ 1270263 h 1686105"/>
                <a:gd name="connsiteX13" fmla="*/ 1013981 w 1201385"/>
                <a:gd name="connsiteY13" fmla="*/ 1248015 h 1686105"/>
                <a:gd name="connsiteX14" fmla="*/ 1000480 w 1201385"/>
                <a:gd name="connsiteY14" fmla="*/ 1196293 h 1686105"/>
                <a:gd name="connsiteX15" fmla="*/ 1023869 w 1201385"/>
                <a:gd name="connsiteY15" fmla="*/ 1152368 h 1686105"/>
                <a:gd name="connsiteX16" fmla="*/ 1034518 w 1201385"/>
                <a:gd name="connsiteY16" fmla="*/ 1109393 h 1686105"/>
                <a:gd name="connsiteX17" fmla="*/ 999149 w 1201385"/>
                <a:gd name="connsiteY17" fmla="*/ 1080680 h 1686105"/>
                <a:gd name="connsiteX18" fmla="*/ 951040 w 1201385"/>
                <a:gd name="connsiteY18" fmla="*/ 1078398 h 1686105"/>
                <a:gd name="connsiteX19" fmla="*/ 913009 w 1201385"/>
                <a:gd name="connsiteY19" fmla="*/ 1046642 h 1686105"/>
                <a:gd name="connsiteX20" fmla="*/ 885057 w 1201385"/>
                <a:gd name="connsiteY20" fmla="*/ 1004808 h 1686105"/>
                <a:gd name="connsiteX21" fmla="*/ 882205 w 1201385"/>
                <a:gd name="connsiteY21" fmla="*/ 981229 h 1686105"/>
                <a:gd name="connsiteX22" fmla="*/ 869084 w 1201385"/>
                <a:gd name="connsiteY22" fmla="*/ 966017 h 1686105"/>
                <a:gd name="connsiteX23" fmla="*/ 873077 w 1201385"/>
                <a:gd name="connsiteY23" fmla="*/ 935212 h 1686105"/>
                <a:gd name="connsiteX24" fmla="*/ 882775 w 1201385"/>
                <a:gd name="connsiteY24" fmla="*/ 955559 h 1686105"/>
                <a:gd name="connsiteX25" fmla="*/ 898938 w 1201385"/>
                <a:gd name="connsiteY25" fmla="*/ 969820 h 1686105"/>
                <a:gd name="connsiteX26" fmla="*/ 920426 w 1201385"/>
                <a:gd name="connsiteY26" fmla="*/ 939776 h 1686105"/>
                <a:gd name="connsiteX27" fmla="*/ 886958 w 1201385"/>
                <a:gd name="connsiteY27" fmla="*/ 914485 h 1686105"/>
                <a:gd name="connsiteX28" fmla="*/ 850069 w 1201385"/>
                <a:gd name="connsiteY28" fmla="*/ 912204 h 1686105"/>
                <a:gd name="connsiteX29" fmla="*/ 831053 w 1201385"/>
                <a:gd name="connsiteY29" fmla="*/ 921521 h 1686105"/>
                <a:gd name="connsiteX30" fmla="*/ 813369 w 1201385"/>
                <a:gd name="connsiteY30" fmla="*/ 908971 h 1686105"/>
                <a:gd name="connsiteX31" fmla="*/ 802720 w 1201385"/>
                <a:gd name="connsiteY31" fmla="*/ 903647 h 1686105"/>
                <a:gd name="connsiteX32" fmla="*/ 802720 w 1201385"/>
                <a:gd name="connsiteY32" fmla="*/ 903647 h 1686105"/>
                <a:gd name="connsiteX33" fmla="*/ 789409 w 1201385"/>
                <a:gd name="connsiteY33" fmla="*/ 897752 h 1686105"/>
                <a:gd name="connsiteX34" fmla="*/ 787888 w 1201385"/>
                <a:gd name="connsiteY34" fmla="*/ 897752 h 1686105"/>
                <a:gd name="connsiteX35" fmla="*/ 786177 w 1201385"/>
                <a:gd name="connsiteY35" fmla="*/ 896611 h 1686105"/>
                <a:gd name="connsiteX36" fmla="*/ 784656 w 1201385"/>
                <a:gd name="connsiteY36" fmla="*/ 896611 h 1686105"/>
                <a:gd name="connsiteX37" fmla="*/ 767922 w 1201385"/>
                <a:gd name="connsiteY37" fmla="*/ 866757 h 1686105"/>
                <a:gd name="connsiteX38" fmla="*/ 743773 w 1201385"/>
                <a:gd name="connsiteY38" fmla="*/ 833670 h 1686105"/>
                <a:gd name="connsiteX39" fmla="*/ 727800 w 1201385"/>
                <a:gd name="connsiteY39" fmla="*/ 844129 h 1686105"/>
                <a:gd name="connsiteX40" fmla="*/ 708784 w 1201385"/>
                <a:gd name="connsiteY40" fmla="*/ 855157 h 1686105"/>
                <a:gd name="connsiteX41" fmla="*/ 715059 w 1201385"/>
                <a:gd name="connsiteY41" fmla="*/ 879877 h 1686105"/>
                <a:gd name="connsiteX42" fmla="*/ 697375 w 1201385"/>
                <a:gd name="connsiteY42" fmla="*/ 895660 h 1686105"/>
                <a:gd name="connsiteX43" fmla="*/ 647555 w 1201385"/>
                <a:gd name="connsiteY43" fmla="*/ 867898 h 1686105"/>
                <a:gd name="connsiteX44" fmla="*/ 594502 w 1201385"/>
                <a:gd name="connsiteY44" fmla="*/ 763123 h 1686105"/>
                <a:gd name="connsiteX45" fmla="*/ 568260 w 1201385"/>
                <a:gd name="connsiteY45" fmla="*/ 732888 h 1686105"/>
                <a:gd name="connsiteX46" fmla="*/ 534983 w 1201385"/>
                <a:gd name="connsiteY46" fmla="*/ 702274 h 1686105"/>
                <a:gd name="connsiteX47" fmla="*/ 526046 w 1201385"/>
                <a:gd name="connsiteY47" fmla="*/ 684970 h 1686105"/>
                <a:gd name="connsiteX48" fmla="*/ 531751 w 1201385"/>
                <a:gd name="connsiteY48" fmla="*/ 677744 h 1686105"/>
                <a:gd name="connsiteX49" fmla="*/ 522433 w 1201385"/>
                <a:gd name="connsiteY49" fmla="*/ 668426 h 1686105"/>
                <a:gd name="connsiteX50" fmla="*/ 531751 w 1201385"/>
                <a:gd name="connsiteY50" fmla="*/ 654165 h 1686105"/>
                <a:gd name="connsiteX51" fmla="*/ 542400 w 1201385"/>
                <a:gd name="connsiteY51" fmla="*/ 656447 h 1686105"/>
                <a:gd name="connsiteX52" fmla="*/ 541069 w 1201385"/>
                <a:gd name="connsiteY52" fmla="*/ 637431 h 1686105"/>
                <a:gd name="connsiteX53" fmla="*/ 538787 w 1201385"/>
                <a:gd name="connsiteY53" fmla="*/ 620127 h 1686105"/>
                <a:gd name="connsiteX54" fmla="*/ 560084 w 1201385"/>
                <a:gd name="connsiteY54" fmla="*/ 620127 h 1686105"/>
                <a:gd name="connsiteX55" fmla="*/ 564458 w 1201385"/>
                <a:gd name="connsiteY55" fmla="*/ 592935 h 1686105"/>
                <a:gd name="connsiteX56" fmla="*/ 550767 w 1201385"/>
                <a:gd name="connsiteY56" fmla="*/ 545016 h 1686105"/>
                <a:gd name="connsiteX57" fmla="*/ 541259 w 1201385"/>
                <a:gd name="connsiteY57" fmla="*/ 517064 h 1686105"/>
                <a:gd name="connsiteX58" fmla="*/ 560274 w 1201385"/>
                <a:gd name="connsiteY58" fmla="*/ 509458 h 1686105"/>
                <a:gd name="connsiteX59" fmla="*/ 589938 w 1201385"/>
                <a:gd name="connsiteY59" fmla="*/ 536840 h 1686105"/>
                <a:gd name="connsiteX60" fmla="*/ 612567 w 1201385"/>
                <a:gd name="connsiteY60" fmla="*/ 524480 h 1686105"/>
                <a:gd name="connsiteX61" fmla="*/ 592220 w 1201385"/>
                <a:gd name="connsiteY61" fmla="*/ 486449 h 1686105"/>
                <a:gd name="connsiteX62" fmla="*/ 581571 w 1201385"/>
                <a:gd name="connsiteY62" fmla="*/ 429403 h 1686105"/>
                <a:gd name="connsiteX63" fmla="*/ 593361 w 1201385"/>
                <a:gd name="connsiteY63" fmla="*/ 375209 h 1686105"/>
                <a:gd name="connsiteX64" fmla="*/ 607432 w 1201385"/>
                <a:gd name="connsiteY64" fmla="*/ 357715 h 1686105"/>
                <a:gd name="connsiteX65" fmla="*/ 618651 w 1201385"/>
                <a:gd name="connsiteY65" fmla="*/ 334326 h 1686105"/>
                <a:gd name="connsiteX66" fmla="*/ 641090 w 1201385"/>
                <a:gd name="connsiteY66" fmla="*/ 322346 h 1686105"/>
                <a:gd name="connsiteX67" fmla="*/ 657252 w 1201385"/>
                <a:gd name="connsiteY67" fmla="*/ 320255 h 1686105"/>
                <a:gd name="connsiteX68" fmla="*/ 667711 w 1201385"/>
                <a:gd name="connsiteY68" fmla="*/ 315121 h 1686105"/>
                <a:gd name="connsiteX69" fmla="*/ 681782 w 1201385"/>
                <a:gd name="connsiteY69" fmla="*/ 322156 h 1686105"/>
                <a:gd name="connsiteX70" fmla="*/ 706692 w 1201385"/>
                <a:gd name="connsiteY70" fmla="*/ 316261 h 1686105"/>
                <a:gd name="connsiteX71" fmla="*/ 692431 w 1201385"/>
                <a:gd name="connsiteY71" fmla="*/ 286407 h 1686105"/>
                <a:gd name="connsiteX72" fmla="*/ 663147 w 1201385"/>
                <a:gd name="connsiteY72" fmla="*/ 244193 h 1686105"/>
                <a:gd name="connsiteX73" fmla="*/ 666760 w 1201385"/>
                <a:gd name="connsiteY73" fmla="*/ 223466 h 1686105"/>
                <a:gd name="connsiteX74" fmla="*/ 655731 w 1201385"/>
                <a:gd name="connsiteY74" fmla="*/ 203120 h 1686105"/>
                <a:gd name="connsiteX75" fmla="*/ 651358 w 1201385"/>
                <a:gd name="connsiteY75" fmla="*/ 177639 h 1686105"/>
                <a:gd name="connsiteX76" fmla="*/ 640899 w 1201385"/>
                <a:gd name="connsiteY76" fmla="*/ 153300 h 1686105"/>
                <a:gd name="connsiteX77" fmla="*/ 634053 w 1201385"/>
                <a:gd name="connsiteY77" fmla="*/ 139418 h 1686105"/>
                <a:gd name="connsiteX78" fmla="*/ 621504 w 1201385"/>
                <a:gd name="connsiteY78" fmla="*/ 124586 h 1686105"/>
                <a:gd name="connsiteX79" fmla="*/ 627399 w 1201385"/>
                <a:gd name="connsiteY79" fmla="*/ 113557 h 1686105"/>
                <a:gd name="connsiteX80" fmla="*/ 611045 w 1201385"/>
                <a:gd name="connsiteY80" fmla="*/ 97394 h 1686105"/>
                <a:gd name="connsiteX81" fmla="*/ 614088 w 1201385"/>
                <a:gd name="connsiteY81" fmla="*/ 69442 h 1686105"/>
                <a:gd name="connsiteX82" fmla="*/ 608573 w 1201385"/>
                <a:gd name="connsiteY82" fmla="*/ 62976 h 1686105"/>
                <a:gd name="connsiteX83" fmla="*/ 603629 w 1201385"/>
                <a:gd name="connsiteY83" fmla="*/ 54039 h 1686105"/>
                <a:gd name="connsiteX84" fmla="*/ 594882 w 1201385"/>
                <a:gd name="connsiteY84" fmla="*/ 35024 h 1686105"/>
                <a:gd name="connsiteX85" fmla="*/ 603439 w 1201385"/>
                <a:gd name="connsiteY85" fmla="*/ 23044 h 1686105"/>
                <a:gd name="connsiteX86" fmla="*/ 595072 w 1201385"/>
                <a:gd name="connsiteY86" fmla="*/ 4029 h 1686105"/>
                <a:gd name="connsiteX87" fmla="*/ 595072 w 1201385"/>
                <a:gd name="connsiteY87" fmla="*/ 1557 h 1686105"/>
                <a:gd name="connsiteX88" fmla="*/ 595072 w 1201385"/>
                <a:gd name="connsiteY88" fmla="*/ 1557 h 1686105"/>
                <a:gd name="connsiteX89" fmla="*/ 587276 w 1201385"/>
                <a:gd name="connsiteY89" fmla="*/ 36 h 1686105"/>
                <a:gd name="connsiteX90" fmla="*/ 580620 w 1201385"/>
                <a:gd name="connsiteY90" fmla="*/ 4029 h 1686105"/>
                <a:gd name="connsiteX91" fmla="*/ 572824 w 1201385"/>
                <a:gd name="connsiteY91" fmla="*/ 9733 h 1686105"/>
                <a:gd name="connsiteX92" fmla="*/ 548675 w 1201385"/>
                <a:gd name="connsiteY92" fmla="*/ 9733 h 1686105"/>
                <a:gd name="connsiteX93" fmla="*/ 543730 w 1201385"/>
                <a:gd name="connsiteY93" fmla="*/ 8022 h 1686105"/>
                <a:gd name="connsiteX94" fmla="*/ 521483 w 1201385"/>
                <a:gd name="connsiteY94" fmla="*/ 7071 h 1686105"/>
                <a:gd name="connsiteX95" fmla="*/ 511214 w 1201385"/>
                <a:gd name="connsiteY95" fmla="*/ 37876 h 1686105"/>
                <a:gd name="connsiteX96" fmla="*/ 511214 w 1201385"/>
                <a:gd name="connsiteY96" fmla="*/ 46053 h 1686105"/>
                <a:gd name="connsiteX97" fmla="*/ 503418 w 1201385"/>
                <a:gd name="connsiteY97" fmla="*/ 79140 h 1686105"/>
                <a:gd name="connsiteX98" fmla="*/ 497333 w 1201385"/>
                <a:gd name="connsiteY98" fmla="*/ 88267 h 1686105"/>
                <a:gd name="connsiteX99" fmla="*/ 487635 w 1201385"/>
                <a:gd name="connsiteY99" fmla="*/ 112987 h 1686105"/>
                <a:gd name="connsiteX100" fmla="*/ 468620 w 1201385"/>
                <a:gd name="connsiteY100" fmla="*/ 195133 h 1686105"/>
                <a:gd name="connsiteX101" fmla="*/ 437054 w 1201385"/>
                <a:gd name="connsiteY101" fmla="*/ 215290 h 1686105"/>
                <a:gd name="connsiteX102" fmla="*/ 426976 w 1201385"/>
                <a:gd name="connsiteY102" fmla="*/ 213198 h 1686105"/>
                <a:gd name="connsiteX103" fmla="*/ 402827 w 1201385"/>
                <a:gd name="connsiteY103" fmla="*/ 215860 h 1686105"/>
                <a:gd name="connsiteX104" fmla="*/ 383812 w 1201385"/>
                <a:gd name="connsiteY104" fmla="*/ 223847 h 1686105"/>
                <a:gd name="connsiteX105" fmla="*/ 367078 w 1201385"/>
                <a:gd name="connsiteY105" fmla="*/ 230502 h 1686105"/>
                <a:gd name="connsiteX106" fmla="*/ 357000 w 1201385"/>
                <a:gd name="connsiteY106" fmla="*/ 240961 h 1686105"/>
                <a:gd name="connsiteX107" fmla="*/ 335322 w 1201385"/>
                <a:gd name="connsiteY107" fmla="*/ 257504 h 1686105"/>
                <a:gd name="connsiteX108" fmla="*/ 311743 w 1201385"/>
                <a:gd name="connsiteY108" fmla="*/ 238488 h 1686105"/>
                <a:gd name="connsiteX109" fmla="*/ 309651 w 1201385"/>
                <a:gd name="connsiteY109" fmla="*/ 232974 h 1686105"/>
                <a:gd name="connsiteX110" fmla="*/ 299954 w 1201385"/>
                <a:gd name="connsiteY110" fmla="*/ 215290 h 1686105"/>
                <a:gd name="connsiteX111" fmla="*/ 290826 w 1201385"/>
                <a:gd name="connsiteY111" fmla="*/ 198936 h 1686105"/>
                <a:gd name="connsiteX112" fmla="*/ 286833 w 1201385"/>
                <a:gd name="connsiteY112" fmla="*/ 187527 h 1686105"/>
                <a:gd name="connsiteX113" fmla="*/ 277896 w 1201385"/>
                <a:gd name="connsiteY113" fmla="*/ 170794 h 1686105"/>
                <a:gd name="connsiteX114" fmla="*/ 246710 w 1201385"/>
                <a:gd name="connsiteY114" fmla="*/ 173076 h 1686105"/>
                <a:gd name="connsiteX115" fmla="*/ 238724 w 1201385"/>
                <a:gd name="connsiteY115" fmla="*/ 179541 h 1686105"/>
                <a:gd name="connsiteX116" fmla="*/ 215715 w 1201385"/>
                <a:gd name="connsiteY116" fmla="*/ 190570 h 1686105"/>
                <a:gd name="connsiteX117" fmla="*/ 206018 w 1201385"/>
                <a:gd name="connsiteY117" fmla="*/ 190570 h 1686105"/>
                <a:gd name="connsiteX118" fmla="*/ 182058 w 1201385"/>
                <a:gd name="connsiteY118" fmla="*/ 197986 h 1686105"/>
                <a:gd name="connsiteX119" fmla="*/ 175213 w 1201385"/>
                <a:gd name="connsiteY119" fmla="*/ 209205 h 1686105"/>
                <a:gd name="connsiteX120" fmla="*/ 158669 w 1201385"/>
                <a:gd name="connsiteY120" fmla="*/ 228220 h 1686105"/>
                <a:gd name="connsiteX121" fmla="*/ 142696 w 1201385"/>
                <a:gd name="connsiteY121" fmla="*/ 232023 h 1686105"/>
                <a:gd name="connsiteX122" fmla="*/ 128054 w 1201385"/>
                <a:gd name="connsiteY122" fmla="*/ 238298 h 1686105"/>
                <a:gd name="connsiteX123" fmla="*/ 124821 w 1201385"/>
                <a:gd name="connsiteY123" fmla="*/ 247616 h 1686105"/>
                <a:gd name="connsiteX124" fmla="*/ 116075 w 1201385"/>
                <a:gd name="connsiteY124" fmla="*/ 266631 h 1686105"/>
                <a:gd name="connsiteX125" fmla="*/ 110180 w 1201385"/>
                <a:gd name="connsiteY125" fmla="*/ 271765 h 1686105"/>
                <a:gd name="connsiteX126" fmla="*/ 105426 w 1201385"/>
                <a:gd name="connsiteY126" fmla="*/ 275949 h 1686105"/>
                <a:gd name="connsiteX127" fmla="*/ 103335 w 1201385"/>
                <a:gd name="connsiteY127" fmla="*/ 282414 h 1686105"/>
                <a:gd name="connsiteX128" fmla="*/ 99722 w 1201385"/>
                <a:gd name="connsiteY128" fmla="*/ 292682 h 1686105"/>
                <a:gd name="connsiteX129" fmla="*/ 70628 w 1201385"/>
                <a:gd name="connsiteY129" fmla="*/ 306944 h 1686105"/>
                <a:gd name="connsiteX130" fmla="*/ 47239 w 1201385"/>
                <a:gd name="connsiteY130" fmla="*/ 321966 h 1686105"/>
                <a:gd name="connsiteX131" fmla="*/ 48570 w 1201385"/>
                <a:gd name="connsiteY131" fmla="*/ 329572 h 1686105"/>
                <a:gd name="connsiteX132" fmla="*/ 41535 w 1201385"/>
                <a:gd name="connsiteY132" fmla="*/ 350109 h 1686105"/>
                <a:gd name="connsiteX133" fmla="*/ 32597 w 1201385"/>
                <a:gd name="connsiteY133" fmla="*/ 354292 h 1686105"/>
                <a:gd name="connsiteX134" fmla="*/ 24040 w 1201385"/>
                <a:gd name="connsiteY134" fmla="*/ 358856 h 1686105"/>
                <a:gd name="connsiteX135" fmla="*/ 17195 w 1201385"/>
                <a:gd name="connsiteY135" fmla="*/ 368934 h 1686105"/>
                <a:gd name="connsiteX136" fmla="*/ 13011 w 1201385"/>
                <a:gd name="connsiteY136" fmla="*/ 375970 h 1686105"/>
                <a:gd name="connsiteX137" fmla="*/ 8067 w 1201385"/>
                <a:gd name="connsiteY137" fmla="*/ 382625 h 1686105"/>
                <a:gd name="connsiteX138" fmla="*/ 1982 w 1201385"/>
                <a:gd name="connsiteY138" fmla="*/ 406204 h 1686105"/>
                <a:gd name="connsiteX139" fmla="*/ 5215 w 1201385"/>
                <a:gd name="connsiteY139" fmla="*/ 411909 h 1686105"/>
                <a:gd name="connsiteX140" fmla="*/ 14532 w 1201385"/>
                <a:gd name="connsiteY140" fmla="*/ 418374 h 1686105"/>
                <a:gd name="connsiteX141" fmla="*/ 28414 w 1201385"/>
                <a:gd name="connsiteY141" fmla="*/ 418374 h 1686105"/>
                <a:gd name="connsiteX142" fmla="*/ 28794 w 1201385"/>
                <a:gd name="connsiteY142" fmla="*/ 418374 h 1686105"/>
                <a:gd name="connsiteX143" fmla="*/ 52943 w 1201385"/>
                <a:gd name="connsiteY143" fmla="*/ 434157 h 1686105"/>
                <a:gd name="connsiteX144" fmla="*/ 56367 w 1201385"/>
                <a:gd name="connsiteY144" fmla="*/ 439101 h 1686105"/>
                <a:gd name="connsiteX145" fmla="*/ 58268 w 1201385"/>
                <a:gd name="connsiteY145" fmla="*/ 441002 h 1686105"/>
                <a:gd name="connsiteX146" fmla="*/ 63592 w 1201385"/>
                <a:gd name="connsiteY146" fmla="*/ 449179 h 1686105"/>
                <a:gd name="connsiteX147" fmla="*/ 62071 w 1201385"/>
                <a:gd name="connsiteY147" fmla="*/ 461539 h 1686105"/>
                <a:gd name="connsiteX148" fmla="*/ 60930 w 1201385"/>
                <a:gd name="connsiteY148" fmla="*/ 468384 h 1686105"/>
                <a:gd name="connsiteX149" fmla="*/ 74241 w 1201385"/>
                <a:gd name="connsiteY149" fmla="*/ 476941 h 1686105"/>
                <a:gd name="connsiteX150" fmla="*/ 89073 w 1201385"/>
                <a:gd name="connsiteY150" fmla="*/ 485688 h 1686105"/>
                <a:gd name="connsiteX151" fmla="*/ 91925 w 1201385"/>
                <a:gd name="connsiteY151" fmla="*/ 488541 h 1686105"/>
                <a:gd name="connsiteX152" fmla="*/ 99531 w 1201385"/>
                <a:gd name="connsiteY152" fmla="*/ 494055 h 1686105"/>
                <a:gd name="connsiteX153" fmla="*/ 108088 w 1201385"/>
                <a:gd name="connsiteY153" fmla="*/ 494055 h 1686105"/>
                <a:gd name="connsiteX154" fmla="*/ 124632 w 1201385"/>
                <a:gd name="connsiteY154" fmla="*/ 496717 h 1686105"/>
                <a:gd name="connsiteX155" fmla="*/ 134139 w 1201385"/>
                <a:gd name="connsiteY155" fmla="*/ 509838 h 1686105"/>
                <a:gd name="connsiteX156" fmla="*/ 136041 w 1201385"/>
                <a:gd name="connsiteY156" fmla="*/ 515162 h 1686105"/>
                <a:gd name="connsiteX157" fmla="*/ 142696 w 1201385"/>
                <a:gd name="connsiteY157" fmla="*/ 521437 h 1686105"/>
                <a:gd name="connsiteX158" fmla="*/ 146309 w 1201385"/>
                <a:gd name="connsiteY158" fmla="*/ 523529 h 1686105"/>
                <a:gd name="connsiteX159" fmla="*/ 158479 w 1201385"/>
                <a:gd name="connsiteY159" fmla="*/ 546157 h 1686105"/>
                <a:gd name="connsiteX160" fmla="*/ 160951 w 1201385"/>
                <a:gd name="connsiteY160" fmla="*/ 556806 h 1686105"/>
                <a:gd name="connsiteX161" fmla="*/ 175593 w 1201385"/>
                <a:gd name="connsiteY161" fmla="*/ 566124 h 1686105"/>
                <a:gd name="connsiteX162" fmla="*/ 181678 w 1201385"/>
                <a:gd name="connsiteY162" fmla="*/ 564222 h 1686105"/>
                <a:gd name="connsiteX163" fmla="*/ 214764 w 1201385"/>
                <a:gd name="connsiteY163" fmla="*/ 562130 h 1686105"/>
                <a:gd name="connsiteX164" fmla="*/ 252795 w 1201385"/>
                <a:gd name="connsiteY164" fmla="*/ 590653 h 1686105"/>
                <a:gd name="connsiteX165" fmla="*/ 251845 w 1201385"/>
                <a:gd name="connsiteY165" fmla="*/ 604915 h 1686105"/>
                <a:gd name="connsiteX166" fmla="*/ 252795 w 1201385"/>
                <a:gd name="connsiteY166" fmla="*/ 619937 h 1686105"/>
                <a:gd name="connsiteX167" fmla="*/ 256028 w 1201385"/>
                <a:gd name="connsiteY167" fmla="*/ 618796 h 1686105"/>
                <a:gd name="connsiteX168" fmla="*/ 282839 w 1201385"/>
                <a:gd name="connsiteY168" fmla="*/ 618796 h 1686105"/>
                <a:gd name="connsiteX169" fmla="*/ 304137 w 1201385"/>
                <a:gd name="connsiteY169" fmla="*/ 630015 h 1686105"/>
                <a:gd name="connsiteX170" fmla="*/ 318969 w 1201385"/>
                <a:gd name="connsiteY170" fmla="*/ 616324 h 1686105"/>
                <a:gd name="connsiteX171" fmla="*/ 320870 w 1201385"/>
                <a:gd name="connsiteY171" fmla="*/ 587231 h 1686105"/>
                <a:gd name="connsiteX172" fmla="*/ 304517 w 1201385"/>
                <a:gd name="connsiteY172" fmla="*/ 591414 h 1686105"/>
                <a:gd name="connsiteX173" fmla="*/ 281889 w 1201385"/>
                <a:gd name="connsiteY173" fmla="*/ 574680 h 1686105"/>
                <a:gd name="connsiteX174" fmla="*/ 255458 w 1201385"/>
                <a:gd name="connsiteY174" fmla="*/ 549200 h 1686105"/>
                <a:gd name="connsiteX175" fmla="*/ 234921 w 1201385"/>
                <a:gd name="connsiteY175" fmla="*/ 518775 h 1686105"/>
                <a:gd name="connsiteX176" fmla="*/ 247851 w 1201385"/>
                <a:gd name="connsiteY176" fmla="*/ 471427 h 1686105"/>
                <a:gd name="connsiteX177" fmla="*/ 268768 w 1201385"/>
                <a:gd name="connsiteY177" fmla="*/ 457736 h 1686105"/>
                <a:gd name="connsiteX178" fmla="*/ 288924 w 1201385"/>
                <a:gd name="connsiteY178" fmla="*/ 438721 h 1686105"/>
                <a:gd name="connsiteX179" fmla="*/ 307940 w 1201385"/>
                <a:gd name="connsiteY179" fmla="*/ 422177 h 1686105"/>
                <a:gd name="connsiteX180" fmla="*/ 300524 w 1201385"/>
                <a:gd name="connsiteY180" fmla="*/ 437580 h 1686105"/>
                <a:gd name="connsiteX181" fmla="*/ 298622 w 1201385"/>
                <a:gd name="connsiteY181" fmla="*/ 452602 h 1686105"/>
                <a:gd name="connsiteX182" fmla="*/ 282650 w 1201385"/>
                <a:gd name="connsiteY182" fmla="*/ 498429 h 1686105"/>
                <a:gd name="connsiteX183" fmla="*/ 291206 w 1201385"/>
                <a:gd name="connsiteY183" fmla="*/ 510979 h 1686105"/>
                <a:gd name="connsiteX184" fmla="*/ 330378 w 1201385"/>
                <a:gd name="connsiteY184" fmla="*/ 537981 h 1686105"/>
                <a:gd name="connsiteX185" fmla="*/ 359282 w 1201385"/>
                <a:gd name="connsiteY185" fmla="*/ 571448 h 1686105"/>
                <a:gd name="connsiteX186" fmla="*/ 389326 w 1201385"/>
                <a:gd name="connsiteY186" fmla="*/ 579054 h 1686105"/>
                <a:gd name="connsiteX187" fmla="*/ 406630 w 1201385"/>
                <a:gd name="connsiteY187" fmla="*/ 614803 h 1686105"/>
                <a:gd name="connsiteX188" fmla="*/ 415947 w 1201385"/>
                <a:gd name="connsiteY188" fmla="*/ 619557 h 1686105"/>
                <a:gd name="connsiteX189" fmla="*/ 420701 w 1201385"/>
                <a:gd name="connsiteY189" fmla="*/ 632487 h 1686105"/>
                <a:gd name="connsiteX190" fmla="*/ 420701 w 1201385"/>
                <a:gd name="connsiteY190" fmla="*/ 646178 h 1686105"/>
                <a:gd name="connsiteX191" fmla="*/ 413285 w 1201385"/>
                <a:gd name="connsiteY191" fmla="*/ 663672 h 1686105"/>
                <a:gd name="connsiteX192" fmla="*/ 419560 w 1201385"/>
                <a:gd name="connsiteY192" fmla="*/ 680977 h 1686105"/>
                <a:gd name="connsiteX193" fmla="*/ 415377 w 1201385"/>
                <a:gd name="connsiteY193" fmla="*/ 696379 h 1686105"/>
                <a:gd name="connsiteX194" fmla="*/ 431160 w 1201385"/>
                <a:gd name="connsiteY194" fmla="*/ 746580 h 1686105"/>
                <a:gd name="connsiteX195" fmla="*/ 444851 w 1201385"/>
                <a:gd name="connsiteY195" fmla="*/ 789745 h 1686105"/>
                <a:gd name="connsiteX196" fmla="*/ 466148 w 1201385"/>
                <a:gd name="connsiteY196" fmla="*/ 836332 h 1686105"/>
                <a:gd name="connsiteX197" fmla="*/ 468239 w 1201385"/>
                <a:gd name="connsiteY197" fmla="*/ 877596 h 1686105"/>
                <a:gd name="connsiteX198" fmla="*/ 479459 w 1201385"/>
                <a:gd name="connsiteY198" fmla="*/ 900034 h 1686105"/>
                <a:gd name="connsiteX199" fmla="*/ 481170 w 1201385"/>
                <a:gd name="connsiteY199" fmla="*/ 928177 h 1686105"/>
                <a:gd name="connsiteX200" fmla="*/ 507982 w 1201385"/>
                <a:gd name="connsiteY200" fmla="*/ 962785 h 1686105"/>
                <a:gd name="connsiteX201" fmla="*/ 523384 w 1201385"/>
                <a:gd name="connsiteY201" fmla="*/ 1010703 h 1686105"/>
                <a:gd name="connsiteX202" fmla="*/ 531181 w 1201385"/>
                <a:gd name="connsiteY202" fmla="*/ 1038846 h 1686105"/>
                <a:gd name="connsiteX203" fmla="*/ 531181 w 1201385"/>
                <a:gd name="connsiteY203" fmla="*/ 1062806 h 1686105"/>
                <a:gd name="connsiteX204" fmla="*/ 538406 w 1201385"/>
                <a:gd name="connsiteY204" fmla="*/ 1107111 h 1686105"/>
                <a:gd name="connsiteX205" fmla="*/ 521673 w 1201385"/>
                <a:gd name="connsiteY205" fmla="*/ 1128028 h 1686105"/>
                <a:gd name="connsiteX206" fmla="*/ 528328 w 1201385"/>
                <a:gd name="connsiteY206" fmla="*/ 1142670 h 1686105"/>
                <a:gd name="connsiteX207" fmla="*/ 526427 w 1201385"/>
                <a:gd name="connsiteY207" fmla="*/ 1170242 h 1686105"/>
                <a:gd name="connsiteX208" fmla="*/ 514637 w 1201385"/>
                <a:gd name="connsiteY208" fmla="*/ 1187927 h 1686105"/>
                <a:gd name="connsiteX209" fmla="*/ 535935 w 1201385"/>
                <a:gd name="connsiteY209" fmla="*/ 1196293 h 1686105"/>
                <a:gd name="connsiteX210" fmla="*/ 549055 w 1201385"/>
                <a:gd name="connsiteY210" fmla="*/ 1205611 h 1686105"/>
                <a:gd name="connsiteX211" fmla="*/ 573014 w 1201385"/>
                <a:gd name="connsiteY211" fmla="*/ 1254480 h 1686105"/>
                <a:gd name="connsiteX212" fmla="*/ 580620 w 1201385"/>
                <a:gd name="connsiteY212" fmla="*/ 1280341 h 1686105"/>
                <a:gd name="connsiteX213" fmla="*/ 584994 w 1201385"/>
                <a:gd name="connsiteY213" fmla="*/ 1303540 h 1686105"/>
                <a:gd name="connsiteX214" fmla="*/ 614468 w 1201385"/>
                <a:gd name="connsiteY214" fmla="*/ 1344233 h 1686105"/>
                <a:gd name="connsiteX215" fmla="*/ 647555 w 1201385"/>
                <a:gd name="connsiteY215" fmla="*/ 1385496 h 1686105"/>
                <a:gd name="connsiteX216" fmla="*/ 669802 w 1201385"/>
                <a:gd name="connsiteY216" fmla="*/ 1406223 h 1686105"/>
                <a:gd name="connsiteX217" fmla="*/ 677789 w 1201385"/>
                <a:gd name="connsiteY217" fmla="*/ 1413639 h 1686105"/>
                <a:gd name="connsiteX218" fmla="*/ 691100 w 1201385"/>
                <a:gd name="connsiteY218" fmla="*/ 1427140 h 1686105"/>
                <a:gd name="connsiteX219" fmla="*/ 793783 w 1201385"/>
                <a:gd name="connsiteY219" fmla="*/ 1490461 h 1686105"/>
                <a:gd name="connsiteX220" fmla="*/ 847216 w 1201385"/>
                <a:gd name="connsiteY220" fmla="*/ 1511949 h 1686105"/>
                <a:gd name="connsiteX221" fmla="*/ 904262 w 1201385"/>
                <a:gd name="connsiteY221" fmla="*/ 1545606 h 1686105"/>
                <a:gd name="connsiteX222" fmla="*/ 1013981 w 1201385"/>
                <a:gd name="connsiteY222" fmla="*/ 1599420 h 1686105"/>
                <a:gd name="connsiteX223" fmla="*/ 1116664 w 1201385"/>
                <a:gd name="connsiteY223" fmla="*/ 1652282 h 1686105"/>
                <a:gd name="connsiteX224" fmla="*/ 1138152 w 1201385"/>
                <a:gd name="connsiteY224" fmla="*/ 1664642 h 1686105"/>
                <a:gd name="connsiteX225" fmla="*/ 1164203 w 1201385"/>
                <a:gd name="connsiteY225" fmla="*/ 1678143 h 1686105"/>
                <a:gd name="connsiteX226" fmla="*/ 1171238 w 1201385"/>
                <a:gd name="connsiteY226" fmla="*/ 1681186 h 1686105"/>
                <a:gd name="connsiteX227" fmla="*/ 1194437 w 1201385"/>
                <a:gd name="connsiteY227" fmla="*/ 1685749 h 1686105"/>
                <a:gd name="connsiteX228" fmla="*/ 1198620 w 1201385"/>
                <a:gd name="connsiteY228" fmla="*/ 1683468 h 1686105"/>
                <a:gd name="connsiteX229" fmla="*/ 1201283 w 1201385"/>
                <a:gd name="connsiteY229" fmla="*/ 1674720 h 1686105"/>
                <a:gd name="connsiteX230" fmla="*/ 1196719 w 1201385"/>
                <a:gd name="connsiteY230" fmla="*/ 1633837 h 168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</a:cxnLst>
              <a:rect l="l" t="t" r="r" b="b"/>
              <a:pathLst>
                <a:path w="1201385" h="1686105">
                  <a:moveTo>
                    <a:pt x="1196719" y="1633837"/>
                  </a:moveTo>
                  <a:cubicBezTo>
                    <a:pt x="1192726" y="1613681"/>
                    <a:pt x="1182838" y="1595807"/>
                    <a:pt x="1179795" y="1574890"/>
                  </a:cubicBezTo>
                  <a:cubicBezTo>
                    <a:pt x="1174661" y="1541613"/>
                    <a:pt x="1163822" y="1495025"/>
                    <a:pt x="1133778" y="1474679"/>
                  </a:cubicBezTo>
                  <a:cubicBezTo>
                    <a:pt x="1128264" y="1471066"/>
                    <a:pt x="1121418" y="1470495"/>
                    <a:pt x="1116094" y="1466312"/>
                  </a:cubicBezTo>
                  <a:cubicBezTo>
                    <a:pt x="1110351" y="1460893"/>
                    <a:pt x="1104894" y="1455169"/>
                    <a:pt x="1099741" y="1449198"/>
                  </a:cubicBezTo>
                  <a:cubicBezTo>
                    <a:pt x="1088160" y="1436857"/>
                    <a:pt x="1082645" y="1419990"/>
                    <a:pt x="1084718" y="1403181"/>
                  </a:cubicBezTo>
                  <a:cubicBezTo>
                    <a:pt x="1084718" y="1388729"/>
                    <a:pt x="1086239" y="1376179"/>
                    <a:pt x="1087000" y="1362108"/>
                  </a:cubicBezTo>
                  <a:cubicBezTo>
                    <a:pt x="1087951" y="1343092"/>
                    <a:pt x="1091184" y="1343092"/>
                    <a:pt x="1106015" y="1337198"/>
                  </a:cubicBezTo>
                  <a:cubicBezTo>
                    <a:pt x="1117425" y="1332634"/>
                    <a:pt x="1121228" y="1320844"/>
                    <a:pt x="1106015" y="1318182"/>
                  </a:cubicBezTo>
                  <a:cubicBezTo>
                    <a:pt x="1090803" y="1315520"/>
                    <a:pt x="1081105" y="1325028"/>
                    <a:pt x="1071027" y="1312287"/>
                  </a:cubicBezTo>
                  <a:cubicBezTo>
                    <a:pt x="1067433" y="1306069"/>
                    <a:pt x="1062166" y="1300992"/>
                    <a:pt x="1055815" y="1297645"/>
                  </a:cubicBezTo>
                  <a:cubicBezTo>
                    <a:pt x="1048722" y="1294565"/>
                    <a:pt x="1042276" y="1290172"/>
                    <a:pt x="1036800" y="1284715"/>
                  </a:cubicBezTo>
                  <a:cubicBezTo>
                    <a:pt x="1031285" y="1278630"/>
                    <a:pt x="1024439" y="1275778"/>
                    <a:pt x="1018925" y="1270263"/>
                  </a:cubicBezTo>
                  <a:cubicBezTo>
                    <a:pt x="1013411" y="1264749"/>
                    <a:pt x="1015312" y="1256762"/>
                    <a:pt x="1013981" y="1248015"/>
                  </a:cubicBezTo>
                  <a:cubicBezTo>
                    <a:pt x="1011509" y="1230331"/>
                    <a:pt x="1001621" y="1214168"/>
                    <a:pt x="1000480" y="1196293"/>
                  </a:cubicBezTo>
                  <a:cubicBezTo>
                    <a:pt x="999149" y="1174426"/>
                    <a:pt x="1011509" y="1167390"/>
                    <a:pt x="1023869" y="1152368"/>
                  </a:cubicBezTo>
                  <a:cubicBezTo>
                    <a:pt x="1035488" y="1141339"/>
                    <a:pt x="1039652" y="1124567"/>
                    <a:pt x="1034518" y="1109393"/>
                  </a:cubicBezTo>
                  <a:cubicBezTo>
                    <a:pt x="1031133" y="1092583"/>
                    <a:pt x="1016301" y="1080528"/>
                    <a:pt x="999149" y="1080680"/>
                  </a:cubicBezTo>
                  <a:cubicBezTo>
                    <a:pt x="983100" y="1082848"/>
                    <a:pt x="966804" y="1082087"/>
                    <a:pt x="951040" y="1078398"/>
                  </a:cubicBezTo>
                  <a:cubicBezTo>
                    <a:pt x="935904" y="1071153"/>
                    <a:pt x="922840" y="1060238"/>
                    <a:pt x="913009" y="1046642"/>
                  </a:cubicBezTo>
                  <a:cubicBezTo>
                    <a:pt x="900650" y="1034986"/>
                    <a:pt x="891104" y="1020686"/>
                    <a:pt x="885057" y="1004808"/>
                  </a:cubicBezTo>
                  <a:cubicBezTo>
                    <a:pt x="882965" y="997393"/>
                    <a:pt x="885057" y="988645"/>
                    <a:pt x="882205" y="981229"/>
                  </a:cubicBezTo>
                  <a:cubicBezTo>
                    <a:pt x="879352" y="973813"/>
                    <a:pt x="874599" y="971532"/>
                    <a:pt x="869084" y="966017"/>
                  </a:cubicBezTo>
                  <a:cubicBezTo>
                    <a:pt x="863569" y="960503"/>
                    <a:pt x="860337" y="938064"/>
                    <a:pt x="873077" y="935212"/>
                  </a:cubicBezTo>
                  <a:cubicBezTo>
                    <a:pt x="882014" y="933121"/>
                    <a:pt x="881444" y="949474"/>
                    <a:pt x="882775" y="955559"/>
                  </a:cubicBezTo>
                  <a:cubicBezTo>
                    <a:pt x="885247" y="966968"/>
                    <a:pt x="886578" y="973053"/>
                    <a:pt x="898938" y="969820"/>
                  </a:cubicBezTo>
                  <a:cubicBezTo>
                    <a:pt x="915482" y="965827"/>
                    <a:pt x="925750" y="957460"/>
                    <a:pt x="920426" y="939776"/>
                  </a:cubicBezTo>
                  <a:cubicBezTo>
                    <a:pt x="915101" y="922092"/>
                    <a:pt x="901410" y="920761"/>
                    <a:pt x="886958" y="914485"/>
                  </a:cubicBezTo>
                  <a:cubicBezTo>
                    <a:pt x="872507" y="908210"/>
                    <a:pt x="861288" y="897752"/>
                    <a:pt x="850069" y="912204"/>
                  </a:cubicBezTo>
                  <a:cubicBezTo>
                    <a:pt x="843793" y="920570"/>
                    <a:pt x="842652" y="927226"/>
                    <a:pt x="831053" y="921521"/>
                  </a:cubicBezTo>
                  <a:cubicBezTo>
                    <a:pt x="824588" y="918479"/>
                    <a:pt x="819453" y="912584"/>
                    <a:pt x="813369" y="908971"/>
                  </a:cubicBezTo>
                  <a:cubicBezTo>
                    <a:pt x="809965" y="906932"/>
                    <a:pt x="806390" y="905153"/>
                    <a:pt x="802720" y="903647"/>
                  </a:cubicBezTo>
                  <a:lnTo>
                    <a:pt x="802720" y="903647"/>
                  </a:lnTo>
                  <a:lnTo>
                    <a:pt x="789409" y="897752"/>
                  </a:lnTo>
                  <a:lnTo>
                    <a:pt x="787888" y="897752"/>
                  </a:lnTo>
                  <a:lnTo>
                    <a:pt x="786177" y="896611"/>
                  </a:lnTo>
                  <a:lnTo>
                    <a:pt x="784656" y="896611"/>
                  </a:lnTo>
                  <a:cubicBezTo>
                    <a:pt x="771915" y="888815"/>
                    <a:pt x="771915" y="880068"/>
                    <a:pt x="767922" y="866757"/>
                  </a:cubicBezTo>
                  <a:cubicBezTo>
                    <a:pt x="763929" y="853446"/>
                    <a:pt x="756893" y="833670"/>
                    <a:pt x="743773" y="833670"/>
                  </a:cubicBezTo>
                  <a:cubicBezTo>
                    <a:pt x="735786" y="833670"/>
                    <a:pt x="733314" y="839945"/>
                    <a:pt x="727800" y="844129"/>
                  </a:cubicBezTo>
                  <a:cubicBezTo>
                    <a:pt x="722285" y="848312"/>
                    <a:pt x="713728" y="849453"/>
                    <a:pt x="708784" y="855157"/>
                  </a:cubicBezTo>
                  <a:cubicBezTo>
                    <a:pt x="698706" y="867327"/>
                    <a:pt x="712207" y="869989"/>
                    <a:pt x="715059" y="879877"/>
                  </a:cubicBezTo>
                  <a:cubicBezTo>
                    <a:pt x="717911" y="889765"/>
                    <a:pt x="705742" y="893759"/>
                    <a:pt x="697375" y="895660"/>
                  </a:cubicBezTo>
                  <a:cubicBezTo>
                    <a:pt x="678360" y="899844"/>
                    <a:pt x="659344" y="881589"/>
                    <a:pt x="647555" y="867898"/>
                  </a:cubicBezTo>
                  <a:cubicBezTo>
                    <a:pt x="620173" y="837093"/>
                    <a:pt x="622645" y="791836"/>
                    <a:pt x="594502" y="763123"/>
                  </a:cubicBezTo>
                  <a:cubicBezTo>
                    <a:pt x="583853" y="752094"/>
                    <a:pt x="581952" y="738213"/>
                    <a:pt x="568260" y="732888"/>
                  </a:cubicBezTo>
                  <a:cubicBezTo>
                    <a:pt x="555102" y="725193"/>
                    <a:pt x="543750" y="714752"/>
                    <a:pt x="534983" y="702274"/>
                  </a:cubicBezTo>
                  <a:cubicBezTo>
                    <a:pt x="531561" y="698280"/>
                    <a:pt x="525285" y="690674"/>
                    <a:pt x="526046" y="684970"/>
                  </a:cubicBezTo>
                  <a:cubicBezTo>
                    <a:pt x="526807" y="679265"/>
                    <a:pt x="531751" y="678695"/>
                    <a:pt x="531751" y="677744"/>
                  </a:cubicBezTo>
                  <a:cubicBezTo>
                    <a:pt x="531751" y="673941"/>
                    <a:pt x="524525" y="672229"/>
                    <a:pt x="522433" y="668426"/>
                  </a:cubicBezTo>
                  <a:cubicBezTo>
                    <a:pt x="517490" y="659679"/>
                    <a:pt x="522433" y="654165"/>
                    <a:pt x="531751" y="654165"/>
                  </a:cubicBezTo>
                  <a:cubicBezTo>
                    <a:pt x="534223" y="654165"/>
                    <a:pt x="540878" y="657588"/>
                    <a:pt x="542400" y="656447"/>
                  </a:cubicBezTo>
                  <a:cubicBezTo>
                    <a:pt x="549815" y="652073"/>
                    <a:pt x="542400" y="643326"/>
                    <a:pt x="541069" y="637431"/>
                  </a:cubicBezTo>
                  <a:cubicBezTo>
                    <a:pt x="539737" y="631537"/>
                    <a:pt x="534033" y="627163"/>
                    <a:pt x="538787" y="620127"/>
                  </a:cubicBezTo>
                  <a:cubicBezTo>
                    <a:pt x="546202" y="609098"/>
                    <a:pt x="552288" y="618416"/>
                    <a:pt x="560084" y="620127"/>
                  </a:cubicBezTo>
                  <a:cubicBezTo>
                    <a:pt x="581381" y="624501"/>
                    <a:pt x="572634" y="602443"/>
                    <a:pt x="564458" y="592935"/>
                  </a:cubicBezTo>
                  <a:cubicBezTo>
                    <a:pt x="550576" y="576582"/>
                    <a:pt x="555140" y="564222"/>
                    <a:pt x="550767" y="545016"/>
                  </a:cubicBezTo>
                  <a:cubicBezTo>
                    <a:pt x="547096" y="535880"/>
                    <a:pt x="543921" y="526549"/>
                    <a:pt x="541259" y="517064"/>
                  </a:cubicBezTo>
                  <a:cubicBezTo>
                    <a:pt x="539357" y="501281"/>
                    <a:pt x="549626" y="500521"/>
                    <a:pt x="560274" y="509458"/>
                  </a:cubicBezTo>
                  <a:cubicBezTo>
                    <a:pt x="570789" y="517883"/>
                    <a:pt x="580696" y="527032"/>
                    <a:pt x="589938" y="536840"/>
                  </a:cubicBezTo>
                  <a:cubicBezTo>
                    <a:pt x="601157" y="548820"/>
                    <a:pt x="615799" y="540833"/>
                    <a:pt x="612567" y="524480"/>
                  </a:cubicBezTo>
                  <a:cubicBezTo>
                    <a:pt x="607394" y="511006"/>
                    <a:pt x="600568" y="498229"/>
                    <a:pt x="592220" y="486449"/>
                  </a:cubicBezTo>
                  <a:cubicBezTo>
                    <a:pt x="583188" y="468875"/>
                    <a:pt x="579499" y="449050"/>
                    <a:pt x="581571" y="429403"/>
                  </a:cubicBezTo>
                  <a:cubicBezTo>
                    <a:pt x="581609" y="410705"/>
                    <a:pt x="585621" y="392232"/>
                    <a:pt x="593361" y="375209"/>
                  </a:cubicBezTo>
                  <a:cubicBezTo>
                    <a:pt x="597164" y="368744"/>
                    <a:pt x="603629" y="364180"/>
                    <a:pt x="607432" y="357715"/>
                  </a:cubicBezTo>
                  <a:cubicBezTo>
                    <a:pt x="611235" y="351250"/>
                    <a:pt x="612376" y="340981"/>
                    <a:pt x="618651" y="334326"/>
                  </a:cubicBezTo>
                  <a:cubicBezTo>
                    <a:pt x="624964" y="328445"/>
                    <a:pt x="632685" y="324314"/>
                    <a:pt x="641090" y="322346"/>
                  </a:cubicBezTo>
                  <a:cubicBezTo>
                    <a:pt x="646414" y="321015"/>
                    <a:pt x="651928" y="322346"/>
                    <a:pt x="657252" y="320255"/>
                  </a:cubicBezTo>
                  <a:cubicBezTo>
                    <a:pt x="662577" y="318163"/>
                    <a:pt x="663718" y="315311"/>
                    <a:pt x="667711" y="315121"/>
                  </a:cubicBezTo>
                  <a:cubicBezTo>
                    <a:pt x="674556" y="315121"/>
                    <a:pt x="675697" y="320255"/>
                    <a:pt x="681782" y="322156"/>
                  </a:cubicBezTo>
                  <a:cubicBezTo>
                    <a:pt x="690529" y="323447"/>
                    <a:pt x="699448" y="321338"/>
                    <a:pt x="706692" y="316261"/>
                  </a:cubicBezTo>
                  <a:cubicBezTo>
                    <a:pt x="723426" y="303521"/>
                    <a:pt x="701939" y="294394"/>
                    <a:pt x="692431" y="286407"/>
                  </a:cubicBezTo>
                  <a:cubicBezTo>
                    <a:pt x="678284" y="275945"/>
                    <a:pt x="667996" y="261105"/>
                    <a:pt x="663147" y="244193"/>
                  </a:cubicBezTo>
                  <a:cubicBezTo>
                    <a:pt x="662196" y="236777"/>
                    <a:pt x="666950" y="230502"/>
                    <a:pt x="666760" y="223466"/>
                  </a:cubicBezTo>
                  <a:cubicBezTo>
                    <a:pt x="666570" y="216431"/>
                    <a:pt x="659535" y="210346"/>
                    <a:pt x="655731" y="203120"/>
                  </a:cubicBezTo>
                  <a:cubicBezTo>
                    <a:pt x="652574" y="195006"/>
                    <a:pt x="651092" y="186341"/>
                    <a:pt x="651358" y="177639"/>
                  </a:cubicBezTo>
                  <a:cubicBezTo>
                    <a:pt x="649627" y="168877"/>
                    <a:pt x="646072" y="160582"/>
                    <a:pt x="640899" y="153300"/>
                  </a:cubicBezTo>
                  <a:cubicBezTo>
                    <a:pt x="639112" y="148441"/>
                    <a:pt x="636830" y="143788"/>
                    <a:pt x="634053" y="139418"/>
                  </a:cubicBezTo>
                  <a:cubicBezTo>
                    <a:pt x="628920" y="133333"/>
                    <a:pt x="620173" y="133904"/>
                    <a:pt x="621504" y="124586"/>
                  </a:cubicBezTo>
                  <a:cubicBezTo>
                    <a:pt x="621504" y="120023"/>
                    <a:pt x="627588" y="118311"/>
                    <a:pt x="627399" y="113557"/>
                  </a:cubicBezTo>
                  <a:cubicBezTo>
                    <a:pt x="627399" y="105761"/>
                    <a:pt x="614468" y="103099"/>
                    <a:pt x="611045" y="97394"/>
                  </a:cubicBezTo>
                  <a:cubicBezTo>
                    <a:pt x="603629" y="85985"/>
                    <a:pt x="617130" y="80471"/>
                    <a:pt x="614088" y="69442"/>
                  </a:cubicBezTo>
                  <a:cubicBezTo>
                    <a:pt x="614088" y="65829"/>
                    <a:pt x="610284" y="65639"/>
                    <a:pt x="608573" y="62976"/>
                  </a:cubicBezTo>
                  <a:cubicBezTo>
                    <a:pt x="606862" y="60314"/>
                    <a:pt x="605341" y="56701"/>
                    <a:pt x="603629" y="54039"/>
                  </a:cubicBezTo>
                  <a:cubicBezTo>
                    <a:pt x="599446" y="47574"/>
                    <a:pt x="592981" y="43200"/>
                    <a:pt x="594882" y="35024"/>
                  </a:cubicBezTo>
                  <a:cubicBezTo>
                    <a:pt x="595833" y="30270"/>
                    <a:pt x="602678" y="27228"/>
                    <a:pt x="603439" y="23044"/>
                  </a:cubicBezTo>
                  <a:cubicBezTo>
                    <a:pt x="605150" y="14868"/>
                    <a:pt x="597354" y="11635"/>
                    <a:pt x="595072" y="4029"/>
                  </a:cubicBezTo>
                  <a:cubicBezTo>
                    <a:pt x="594996" y="3205"/>
                    <a:pt x="594996" y="2380"/>
                    <a:pt x="595072" y="1557"/>
                  </a:cubicBezTo>
                  <a:lnTo>
                    <a:pt x="595072" y="1557"/>
                  </a:lnTo>
                  <a:cubicBezTo>
                    <a:pt x="592658" y="376"/>
                    <a:pt x="589957" y="-147"/>
                    <a:pt x="587276" y="36"/>
                  </a:cubicBezTo>
                  <a:cubicBezTo>
                    <a:pt x="584804" y="36"/>
                    <a:pt x="583283" y="1557"/>
                    <a:pt x="580620" y="4029"/>
                  </a:cubicBezTo>
                  <a:cubicBezTo>
                    <a:pt x="578358" y="6360"/>
                    <a:pt x="575734" y="8288"/>
                    <a:pt x="572824" y="9733"/>
                  </a:cubicBezTo>
                  <a:cubicBezTo>
                    <a:pt x="565123" y="13111"/>
                    <a:pt x="556376" y="13111"/>
                    <a:pt x="548675" y="9733"/>
                  </a:cubicBezTo>
                  <a:lnTo>
                    <a:pt x="543730" y="8022"/>
                  </a:lnTo>
                  <a:cubicBezTo>
                    <a:pt x="534223" y="4409"/>
                    <a:pt x="528138" y="2508"/>
                    <a:pt x="521483" y="7071"/>
                  </a:cubicBezTo>
                  <a:cubicBezTo>
                    <a:pt x="514827" y="11635"/>
                    <a:pt x="511785" y="27037"/>
                    <a:pt x="511214" y="37876"/>
                  </a:cubicBezTo>
                  <a:cubicBezTo>
                    <a:pt x="511214" y="40728"/>
                    <a:pt x="511214" y="43391"/>
                    <a:pt x="511214" y="46053"/>
                  </a:cubicBezTo>
                  <a:cubicBezTo>
                    <a:pt x="512032" y="57618"/>
                    <a:pt x="509313" y="69158"/>
                    <a:pt x="503418" y="79140"/>
                  </a:cubicBezTo>
                  <a:cubicBezTo>
                    <a:pt x="501326" y="82562"/>
                    <a:pt x="499234" y="85605"/>
                    <a:pt x="497333" y="88267"/>
                  </a:cubicBezTo>
                  <a:cubicBezTo>
                    <a:pt x="491229" y="95074"/>
                    <a:pt x="487787" y="103850"/>
                    <a:pt x="487635" y="112987"/>
                  </a:cubicBezTo>
                  <a:cubicBezTo>
                    <a:pt x="486380" y="141303"/>
                    <a:pt x="479934" y="169149"/>
                    <a:pt x="468620" y="195133"/>
                  </a:cubicBezTo>
                  <a:cubicBezTo>
                    <a:pt x="463485" y="207303"/>
                    <a:pt x="456831" y="218903"/>
                    <a:pt x="437054" y="215290"/>
                  </a:cubicBezTo>
                  <a:cubicBezTo>
                    <a:pt x="433251" y="215290"/>
                    <a:pt x="430019" y="213769"/>
                    <a:pt x="426976" y="213198"/>
                  </a:cubicBezTo>
                  <a:cubicBezTo>
                    <a:pt x="419028" y="209716"/>
                    <a:pt x="409824" y="210732"/>
                    <a:pt x="402827" y="215860"/>
                  </a:cubicBezTo>
                  <a:cubicBezTo>
                    <a:pt x="396856" y="219327"/>
                    <a:pt x="390466" y="222012"/>
                    <a:pt x="383812" y="223847"/>
                  </a:cubicBezTo>
                  <a:cubicBezTo>
                    <a:pt x="377935" y="225233"/>
                    <a:pt x="372307" y="227477"/>
                    <a:pt x="367078" y="230502"/>
                  </a:cubicBezTo>
                  <a:cubicBezTo>
                    <a:pt x="363218" y="233461"/>
                    <a:pt x="359814" y="236986"/>
                    <a:pt x="357000" y="240961"/>
                  </a:cubicBezTo>
                  <a:cubicBezTo>
                    <a:pt x="352170" y="249055"/>
                    <a:pt x="344411" y="254979"/>
                    <a:pt x="335322" y="257504"/>
                  </a:cubicBezTo>
                  <a:cubicBezTo>
                    <a:pt x="319349" y="260356"/>
                    <a:pt x="314786" y="247236"/>
                    <a:pt x="311743" y="238488"/>
                  </a:cubicBezTo>
                  <a:cubicBezTo>
                    <a:pt x="311743" y="236587"/>
                    <a:pt x="310412" y="234876"/>
                    <a:pt x="309651" y="232974"/>
                  </a:cubicBezTo>
                  <a:cubicBezTo>
                    <a:pt x="306856" y="226847"/>
                    <a:pt x="303623" y="220935"/>
                    <a:pt x="299954" y="215290"/>
                  </a:cubicBezTo>
                  <a:cubicBezTo>
                    <a:pt x="296911" y="210156"/>
                    <a:pt x="293488" y="204641"/>
                    <a:pt x="290826" y="198936"/>
                  </a:cubicBezTo>
                  <a:cubicBezTo>
                    <a:pt x="289191" y="195249"/>
                    <a:pt x="287840" y="191433"/>
                    <a:pt x="286833" y="187527"/>
                  </a:cubicBezTo>
                  <a:cubicBezTo>
                    <a:pt x="284741" y="180492"/>
                    <a:pt x="282839" y="173646"/>
                    <a:pt x="277896" y="170794"/>
                  </a:cubicBezTo>
                  <a:cubicBezTo>
                    <a:pt x="267874" y="165745"/>
                    <a:pt x="255895" y="166624"/>
                    <a:pt x="246710" y="173076"/>
                  </a:cubicBezTo>
                  <a:cubicBezTo>
                    <a:pt x="243858" y="174992"/>
                    <a:pt x="241196" y="177156"/>
                    <a:pt x="238724" y="179541"/>
                  </a:cubicBezTo>
                  <a:cubicBezTo>
                    <a:pt x="232829" y="186145"/>
                    <a:pt x="224558" y="190117"/>
                    <a:pt x="215715" y="190570"/>
                  </a:cubicBezTo>
                  <a:cubicBezTo>
                    <a:pt x="212483" y="190760"/>
                    <a:pt x="209250" y="190760"/>
                    <a:pt x="206018" y="190570"/>
                  </a:cubicBezTo>
                  <a:cubicBezTo>
                    <a:pt x="197289" y="188782"/>
                    <a:pt x="188257" y="191579"/>
                    <a:pt x="182058" y="197986"/>
                  </a:cubicBezTo>
                  <a:cubicBezTo>
                    <a:pt x="179206" y="201346"/>
                    <a:pt x="176886" y="205130"/>
                    <a:pt x="175213" y="209205"/>
                  </a:cubicBezTo>
                  <a:cubicBezTo>
                    <a:pt x="172018" y="217239"/>
                    <a:pt x="166180" y="223946"/>
                    <a:pt x="158669" y="228220"/>
                  </a:cubicBezTo>
                  <a:cubicBezTo>
                    <a:pt x="153630" y="230468"/>
                    <a:pt x="148211" y="231757"/>
                    <a:pt x="142696" y="232023"/>
                  </a:cubicBezTo>
                  <a:cubicBezTo>
                    <a:pt x="134900" y="232023"/>
                    <a:pt x="130146" y="233354"/>
                    <a:pt x="128054" y="238298"/>
                  </a:cubicBezTo>
                  <a:cubicBezTo>
                    <a:pt x="126723" y="241310"/>
                    <a:pt x="125639" y="244427"/>
                    <a:pt x="124821" y="247616"/>
                  </a:cubicBezTo>
                  <a:cubicBezTo>
                    <a:pt x="123433" y="254553"/>
                    <a:pt x="120448" y="261067"/>
                    <a:pt x="116075" y="266631"/>
                  </a:cubicBezTo>
                  <a:cubicBezTo>
                    <a:pt x="114306" y="268554"/>
                    <a:pt x="112329" y="270276"/>
                    <a:pt x="110180" y="271765"/>
                  </a:cubicBezTo>
                  <a:cubicBezTo>
                    <a:pt x="108393" y="272916"/>
                    <a:pt x="106795" y="274325"/>
                    <a:pt x="105426" y="275949"/>
                  </a:cubicBezTo>
                  <a:cubicBezTo>
                    <a:pt x="104342" y="277961"/>
                    <a:pt x="103639" y="280151"/>
                    <a:pt x="103335" y="282414"/>
                  </a:cubicBezTo>
                  <a:cubicBezTo>
                    <a:pt x="102916" y="286063"/>
                    <a:pt x="101680" y="289569"/>
                    <a:pt x="99722" y="292682"/>
                  </a:cubicBezTo>
                  <a:cubicBezTo>
                    <a:pt x="92039" y="300750"/>
                    <a:pt x="81714" y="305807"/>
                    <a:pt x="70628" y="306944"/>
                  </a:cubicBezTo>
                  <a:cubicBezTo>
                    <a:pt x="56556" y="310177"/>
                    <a:pt x="48000" y="312839"/>
                    <a:pt x="47239" y="321966"/>
                  </a:cubicBezTo>
                  <a:cubicBezTo>
                    <a:pt x="47201" y="324562"/>
                    <a:pt x="47657" y="327142"/>
                    <a:pt x="48570" y="329572"/>
                  </a:cubicBezTo>
                  <a:cubicBezTo>
                    <a:pt x="51955" y="337205"/>
                    <a:pt x="48893" y="346154"/>
                    <a:pt x="41535" y="350109"/>
                  </a:cubicBezTo>
                  <a:cubicBezTo>
                    <a:pt x="38739" y="351858"/>
                    <a:pt x="35734" y="353263"/>
                    <a:pt x="32597" y="354292"/>
                  </a:cubicBezTo>
                  <a:cubicBezTo>
                    <a:pt x="29479" y="355230"/>
                    <a:pt x="26569" y="356781"/>
                    <a:pt x="24040" y="358856"/>
                  </a:cubicBezTo>
                  <a:cubicBezTo>
                    <a:pt x="21302" y="361887"/>
                    <a:pt x="19001" y="365277"/>
                    <a:pt x="17195" y="368934"/>
                  </a:cubicBezTo>
                  <a:cubicBezTo>
                    <a:pt x="15864" y="371406"/>
                    <a:pt x="14532" y="373688"/>
                    <a:pt x="13011" y="375970"/>
                  </a:cubicBezTo>
                  <a:lnTo>
                    <a:pt x="8067" y="382625"/>
                  </a:lnTo>
                  <a:cubicBezTo>
                    <a:pt x="841" y="391943"/>
                    <a:pt x="-2391" y="396887"/>
                    <a:pt x="1982" y="406204"/>
                  </a:cubicBezTo>
                  <a:cubicBezTo>
                    <a:pt x="2819" y="408233"/>
                    <a:pt x="3903" y="410148"/>
                    <a:pt x="5215" y="411909"/>
                  </a:cubicBezTo>
                  <a:cubicBezTo>
                    <a:pt x="7345" y="415214"/>
                    <a:pt x="10691" y="417539"/>
                    <a:pt x="14532" y="418374"/>
                  </a:cubicBezTo>
                  <a:cubicBezTo>
                    <a:pt x="19153" y="418884"/>
                    <a:pt x="23793" y="418884"/>
                    <a:pt x="28414" y="418374"/>
                  </a:cubicBezTo>
                  <a:lnTo>
                    <a:pt x="28794" y="418374"/>
                  </a:lnTo>
                  <a:cubicBezTo>
                    <a:pt x="39291" y="418290"/>
                    <a:pt x="48798" y="424512"/>
                    <a:pt x="52943" y="434157"/>
                  </a:cubicBezTo>
                  <a:cubicBezTo>
                    <a:pt x="54084" y="435678"/>
                    <a:pt x="55035" y="437389"/>
                    <a:pt x="56367" y="439101"/>
                  </a:cubicBezTo>
                  <a:cubicBezTo>
                    <a:pt x="56899" y="439827"/>
                    <a:pt x="57545" y="440468"/>
                    <a:pt x="58268" y="441002"/>
                  </a:cubicBezTo>
                  <a:cubicBezTo>
                    <a:pt x="60816" y="443130"/>
                    <a:pt x="62680" y="445981"/>
                    <a:pt x="63592" y="449179"/>
                  </a:cubicBezTo>
                  <a:cubicBezTo>
                    <a:pt x="64296" y="453359"/>
                    <a:pt x="63782" y="457656"/>
                    <a:pt x="62071" y="461539"/>
                  </a:cubicBezTo>
                  <a:cubicBezTo>
                    <a:pt x="60930" y="464962"/>
                    <a:pt x="60360" y="467053"/>
                    <a:pt x="60930" y="468384"/>
                  </a:cubicBezTo>
                  <a:cubicBezTo>
                    <a:pt x="61500" y="469716"/>
                    <a:pt x="68916" y="474469"/>
                    <a:pt x="74241" y="476941"/>
                  </a:cubicBezTo>
                  <a:cubicBezTo>
                    <a:pt x="79622" y="479039"/>
                    <a:pt x="84623" y="481992"/>
                    <a:pt x="89073" y="485688"/>
                  </a:cubicBezTo>
                  <a:lnTo>
                    <a:pt x="91925" y="488541"/>
                  </a:lnTo>
                  <a:cubicBezTo>
                    <a:pt x="93750" y="491195"/>
                    <a:pt x="96432" y="493143"/>
                    <a:pt x="99531" y="494055"/>
                  </a:cubicBezTo>
                  <a:cubicBezTo>
                    <a:pt x="102364" y="494453"/>
                    <a:pt x="105255" y="494453"/>
                    <a:pt x="108088" y="494055"/>
                  </a:cubicBezTo>
                  <a:cubicBezTo>
                    <a:pt x="113736" y="493376"/>
                    <a:pt x="119479" y="494299"/>
                    <a:pt x="124632" y="496717"/>
                  </a:cubicBezTo>
                  <a:cubicBezTo>
                    <a:pt x="129594" y="499454"/>
                    <a:pt x="133093" y="504265"/>
                    <a:pt x="134139" y="509838"/>
                  </a:cubicBezTo>
                  <a:cubicBezTo>
                    <a:pt x="134634" y="511660"/>
                    <a:pt x="135261" y="513440"/>
                    <a:pt x="136041" y="515162"/>
                  </a:cubicBezTo>
                  <a:cubicBezTo>
                    <a:pt x="137505" y="517927"/>
                    <a:pt x="139844" y="520133"/>
                    <a:pt x="142696" y="521437"/>
                  </a:cubicBezTo>
                  <a:lnTo>
                    <a:pt x="146309" y="523529"/>
                  </a:lnTo>
                  <a:cubicBezTo>
                    <a:pt x="153915" y="528536"/>
                    <a:pt x="158498" y="537043"/>
                    <a:pt x="158479" y="546157"/>
                  </a:cubicBezTo>
                  <a:cubicBezTo>
                    <a:pt x="158954" y="549778"/>
                    <a:pt x="159791" y="553343"/>
                    <a:pt x="160951" y="556806"/>
                  </a:cubicBezTo>
                  <a:cubicBezTo>
                    <a:pt x="164754" y="566884"/>
                    <a:pt x="169318" y="567835"/>
                    <a:pt x="175593" y="566124"/>
                  </a:cubicBezTo>
                  <a:lnTo>
                    <a:pt x="181678" y="564222"/>
                  </a:lnTo>
                  <a:cubicBezTo>
                    <a:pt x="192212" y="560098"/>
                    <a:pt x="203793" y="559367"/>
                    <a:pt x="214764" y="562130"/>
                  </a:cubicBezTo>
                  <a:cubicBezTo>
                    <a:pt x="223702" y="564602"/>
                    <a:pt x="249182" y="575631"/>
                    <a:pt x="252795" y="590653"/>
                  </a:cubicBezTo>
                  <a:cubicBezTo>
                    <a:pt x="253385" y="595424"/>
                    <a:pt x="253062" y="600264"/>
                    <a:pt x="251845" y="604915"/>
                  </a:cubicBezTo>
                  <a:cubicBezTo>
                    <a:pt x="249943" y="614232"/>
                    <a:pt x="249562" y="618606"/>
                    <a:pt x="252795" y="619937"/>
                  </a:cubicBezTo>
                  <a:cubicBezTo>
                    <a:pt x="256028" y="621268"/>
                    <a:pt x="252795" y="619937"/>
                    <a:pt x="256028" y="618796"/>
                  </a:cubicBezTo>
                  <a:cubicBezTo>
                    <a:pt x="263786" y="612316"/>
                    <a:pt x="275081" y="612316"/>
                    <a:pt x="282839" y="618796"/>
                  </a:cubicBezTo>
                  <a:cubicBezTo>
                    <a:pt x="289115" y="623913"/>
                    <a:pt x="296360" y="627726"/>
                    <a:pt x="304137" y="630015"/>
                  </a:cubicBezTo>
                  <a:cubicBezTo>
                    <a:pt x="308529" y="624896"/>
                    <a:pt x="313511" y="620302"/>
                    <a:pt x="318969" y="616324"/>
                  </a:cubicBezTo>
                  <a:cubicBezTo>
                    <a:pt x="326575" y="609479"/>
                    <a:pt x="337984" y="592365"/>
                    <a:pt x="320870" y="587231"/>
                  </a:cubicBezTo>
                  <a:cubicBezTo>
                    <a:pt x="314786" y="585329"/>
                    <a:pt x="309651" y="592175"/>
                    <a:pt x="304517" y="591414"/>
                  </a:cubicBezTo>
                  <a:cubicBezTo>
                    <a:pt x="299383" y="590653"/>
                    <a:pt x="288164" y="579624"/>
                    <a:pt x="281889" y="574680"/>
                  </a:cubicBezTo>
                  <a:cubicBezTo>
                    <a:pt x="272039" y="567327"/>
                    <a:pt x="263159" y="558766"/>
                    <a:pt x="255458" y="549200"/>
                  </a:cubicBezTo>
                  <a:cubicBezTo>
                    <a:pt x="244809" y="536079"/>
                    <a:pt x="229216" y="539312"/>
                    <a:pt x="234921" y="518775"/>
                  </a:cubicBezTo>
                  <a:cubicBezTo>
                    <a:pt x="236937" y="502452"/>
                    <a:pt x="241291" y="486506"/>
                    <a:pt x="247851" y="471427"/>
                  </a:cubicBezTo>
                  <a:cubicBezTo>
                    <a:pt x="253556" y="462680"/>
                    <a:pt x="260401" y="461919"/>
                    <a:pt x="268768" y="457736"/>
                  </a:cubicBezTo>
                  <a:cubicBezTo>
                    <a:pt x="276640" y="452746"/>
                    <a:pt x="283486" y="446290"/>
                    <a:pt x="288924" y="438721"/>
                  </a:cubicBezTo>
                  <a:cubicBezTo>
                    <a:pt x="291396" y="435868"/>
                    <a:pt x="305088" y="414000"/>
                    <a:pt x="307940" y="422177"/>
                  </a:cubicBezTo>
                  <a:cubicBezTo>
                    <a:pt x="304840" y="426980"/>
                    <a:pt x="302349" y="432156"/>
                    <a:pt x="300524" y="437580"/>
                  </a:cubicBezTo>
                  <a:cubicBezTo>
                    <a:pt x="300524" y="444045"/>
                    <a:pt x="303376" y="446327"/>
                    <a:pt x="298622" y="452602"/>
                  </a:cubicBezTo>
                  <a:cubicBezTo>
                    <a:pt x="289495" y="464772"/>
                    <a:pt x="268958" y="463440"/>
                    <a:pt x="282650" y="498429"/>
                  </a:cubicBezTo>
                  <a:cubicBezTo>
                    <a:pt x="284323" y="503308"/>
                    <a:pt x="287270" y="507646"/>
                    <a:pt x="291206" y="510979"/>
                  </a:cubicBezTo>
                  <a:cubicBezTo>
                    <a:pt x="302996" y="520867"/>
                    <a:pt x="318399" y="527332"/>
                    <a:pt x="330378" y="537981"/>
                  </a:cubicBezTo>
                  <a:cubicBezTo>
                    <a:pt x="342358" y="548629"/>
                    <a:pt x="347492" y="565363"/>
                    <a:pt x="359282" y="571448"/>
                  </a:cubicBezTo>
                  <a:cubicBezTo>
                    <a:pt x="371071" y="577533"/>
                    <a:pt x="381529" y="564412"/>
                    <a:pt x="389326" y="579054"/>
                  </a:cubicBezTo>
                  <a:cubicBezTo>
                    <a:pt x="397122" y="593696"/>
                    <a:pt x="389326" y="604915"/>
                    <a:pt x="406630" y="614803"/>
                  </a:cubicBezTo>
                  <a:cubicBezTo>
                    <a:pt x="411954" y="617845"/>
                    <a:pt x="411574" y="614803"/>
                    <a:pt x="415947" y="619557"/>
                  </a:cubicBezTo>
                  <a:cubicBezTo>
                    <a:pt x="418210" y="623590"/>
                    <a:pt x="419807" y="627954"/>
                    <a:pt x="420701" y="632487"/>
                  </a:cubicBezTo>
                  <a:cubicBezTo>
                    <a:pt x="423363" y="640854"/>
                    <a:pt x="422602" y="640284"/>
                    <a:pt x="420701" y="646178"/>
                  </a:cubicBezTo>
                  <a:cubicBezTo>
                    <a:pt x="418800" y="652073"/>
                    <a:pt x="413665" y="655876"/>
                    <a:pt x="413285" y="663672"/>
                  </a:cubicBezTo>
                  <a:cubicBezTo>
                    <a:pt x="412905" y="671469"/>
                    <a:pt x="418039" y="673180"/>
                    <a:pt x="419560" y="680977"/>
                  </a:cubicBezTo>
                  <a:cubicBezTo>
                    <a:pt x="421081" y="688773"/>
                    <a:pt x="416708" y="691625"/>
                    <a:pt x="415377" y="696379"/>
                  </a:cubicBezTo>
                  <a:cubicBezTo>
                    <a:pt x="410205" y="714761"/>
                    <a:pt x="416404" y="734461"/>
                    <a:pt x="431160" y="746580"/>
                  </a:cubicBezTo>
                  <a:cubicBezTo>
                    <a:pt x="442759" y="757418"/>
                    <a:pt x="442188" y="774913"/>
                    <a:pt x="444851" y="789745"/>
                  </a:cubicBezTo>
                  <a:cubicBezTo>
                    <a:pt x="450765" y="805790"/>
                    <a:pt x="457876" y="821365"/>
                    <a:pt x="466148" y="836332"/>
                  </a:cubicBezTo>
                  <a:cubicBezTo>
                    <a:pt x="470902" y="851164"/>
                    <a:pt x="461204" y="863714"/>
                    <a:pt x="468239" y="877596"/>
                  </a:cubicBezTo>
                  <a:cubicBezTo>
                    <a:pt x="473107" y="884460"/>
                    <a:pt x="476872" y="892028"/>
                    <a:pt x="479459" y="900034"/>
                  </a:cubicBezTo>
                  <a:cubicBezTo>
                    <a:pt x="481360" y="909161"/>
                    <a:pt x="478128" y="919049"/>
                    <a:pt x="481170" y="928177"/>
                  </a:cubicBezTo>
                  <a:cubicBezTo>
                    <a:pt x="488434" y="940917"/>
                    <a:pt x="497466" y="952554"/>
                    <a:pt x="507982" y="962785"/>
                  </a:cubicBezTo>
                  <a:cubicBezTo>
                    <a:pt x="515569" y="977864"/>
                    <a:pt x="520760" y="994027"/>
                    <a:pt x="523384" y="1010703"/>
                  </a:cubicBezTo>
                  <a:cubicBezTo>
                    <a:pt x="527397" y="1019640"/>
                    <a:pt x="530021" y="1029129"/>
                    <a:pt x="531181" y="1038846"/>
                  </a:cubicBezTo>
                  <a:cubicBezTo>
                    <a:pt x="530705" y="1046832"/>
                    <a:pt x="530705" y="1054819"/>
                    <a:pt x="531181" y="1062806"/>
                  </a:cubicBezTo>
                  <a:cubicBezTo>
                    <a:pt x="534033" y="1081821"/>
                    <a:pt x="552288" y="1087145"/>
                    <a:pt x="538406" y="1107111"/>
                  </a:cubicBezTo>
                  <a:cubicBezTo>
                    <a:pt x="534603" y="1112816"/>
                    <a:pt x="522814" y="1121183"/>
                    <a:pt x="521673" y="1128028"/>
                  </a:cubicBezTo>
                  <a:cubicBezTo>
                    <a:pt x="520532" y="1134874"/>
                    <a:pt x="525666" y="1137536"/>
                    <a:pt x="528328" y="1142670"/>
                  </a:cubicBezTo>
                  <a:cubicBezTo>
                    <a:pt x="533767" y="1151284"/>
                    <a:pt x="533006" y="1162446"/>
                    <a:pt x="526427" y="1170242"/>
                  </a:cubicBezTo>
                  <a:cubicBezTo>
                    <a:pt x="521673" y="1175186"/>
                    <a:pt x="510073" y="1178799"/>
                    <a:pt x="514637" y="1187927"/>
                  </a:cubicBezTo>
                  <a:cubicBezTo>
                    <a:pt x="519201" y="1197054"/>
                    <a:pt x="530420" y="1194012"/>
                    <a:pt x="535935" y="1196293"/>
                  </a:cubicBezTo>
                  <a:cubicBezTo>
                    <a:pt x="540993" y="1198290"/>
                    <a:pt x="545499" y="1201504"/>
                    <a:pt x="549055" y="1205611"/>
                  </a:cubicBezTo>
                  <a:cubicBezTo>
                    <a:pt x="562689" y="1218465"/>
                    <a:pt x="571208" y="1235826"/>
                    <a:pt x="573014" y="1254480"/>
                  </a:cubicBezTo>
                  <a:cubicBezTo>
                    <a:pt x="574155" y="1263608"/>
                    <a:pt x="578719" y="1271404"/>
                    <a:pt x="580620" y="1280341"/>
                  </a:cubicBezTo>
                  <a:cubicBezTo>
                    <a:pt x="581533" y="1288176"/>
                    <a:pt x="582979" y="1295915"/>
                    <a:pt x="584994" y="1303540"/>
                  </a:cubicBezTo>
                  <a:cubicBezTo>
                    <a:pt x="591497" y="1319228"/>
                    <a:pt x="601594" y="1333166"/>
                    <a:pt x="614468" y="1344233"/>
                  </a:cubicBezTo>
                  <a:cubicBezTo>
                    <a:pt x="627208" y="1356593"/>
                    <a:pt x="633483" y="1372946"/>
                    <a:pt x="647555" y="1385496"/>
                  </a:cubicBezTo>
                  <a:lnTo>
                    <a:pt x="669802" y="1406223"/>
                  </a:lnTo>
                  <a:lnTo>
                    <a:pt x="677789" y="1413639"/>
                  </a:lnTo>
                  <a:lnTo>
                    <a:pt x="691100" y="1427140"/>
                  </a:lnTo>
                  <a:cubicBezTo>
                    <a:pt x="719243" y="1455473"/>
                    <a:pt x="758985" y="1471826"/>
                    <a:pt x="793783" y="1490461"/>
                  </a:cubicBezTo>
                  <a:cubicBezTo>
                    <a:pt x="810897" y="1499779"/>
                    <a:pt x="829912" y="1503012"/>
                    <a:pt x="847216" y="1511949"/>
                  </a:cubicBezTo>
                  <a:cubicBezTo>
                    <a:pt x="864520" y="1520886"/>
                    <a:pt x="885247" y="1535338"/>
                    <a:pt x="904262" y="1545606"/>
                  </a:cubicBezTo>
                  <a:cubicBezTo>
                    <a:pt x="940962" y="1564621"/>
                    <a:pt x="972908" y="1591053"/>
                    <a:pt x="1013981" y="1599420"/>
                  </a:cubicBezTo>
                  <a:cubicBezTo>
                    <a:pt x="1051632" y="1609422"/>
                    <a:pt x="1086658" y="1627448"/>
                    <a:pt x="1116664" y="1652282"/>
                  </a:cubicBezTo>
                  <a:cubicBezTo>
                    <a:pt x="1123339" y="1657188"/>
                    <a:pt x="1130545" y="1661334"/>
                    <a:pt x="1138152" y="1664642"/>
                  </a:cubicBezTo>
                  <a:cubicBezTo>
                    <a:pt x="1147089" y="1668255"/>
                    <a:pt x="1155265" y="1674150"/>
                    <a:pt x="1164203" y="1678143"/>
                  </a:cubicBezTo>
                  <a:lnTo>
                    <a:pt x="1171238" y="1681186"/>
                  </a:lnTo>
                  <a:cubicBezTo>
                    <a:pt x="1178236" y="1685274"/>
                    <a:pt x="1186412" y="1686890"/>
                    <a:pt x="1194437" y="1685749"/>
                  </a:cubicBezTo>
                  <a:cubicBezTo>
                    <a:pt x="1196015" y="1685369"/>
                    <a:pt x="1197461" y="1684589"/>
                    <a:pt x="1198620" y="1683468"/>
                  </a:cubicBezTo>
                  <a:cubicBezTo>
                    <a:pt x="1200750" y="1681091"/>
                    <a:pt x="1201720" y="1677877"/>
                    <a:pt x="1201283" y="1674720"/>
                  </a:cubicBezTo>
                  <a:cubicBezTo>
                    <a:pt x="1200807" y="1660991"/>
                    <a:pt x="1199267" y="1647338"/>
                    <a:pt x="1196719" y="1633837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39" name="Полилиния: фигура 338">
              <a:extLst>
                <a:ext uri="{FF2B5EF4-FFF2-40B4-BE49-F238E27FC236}">
                  <a16:creationId xmlns:a16="http://schemas.microsoft.com/office/drawing/2014/main" id="{B8CD8A1F-C0E9-BC4A-C7DB-191B1EE2E698}"/>
                </a:ext>
              </a:extLst>
            </p:cNvPr>
            <p:cNvSpPr/>
            <p:nvPr/>
          </p:nvSpPr>
          <p:spPr>
            <a:xfrm>
              <a:off x="6381507" y="2823516"/>
              <a:ext cx="33647" cy="25774"/>
            </a:xfrm>
            <a:custGeom>
              <a:avLst/>
              <a:gdLst>
                <a:gd name="connsiteX0" fmla="*/ 30833 w 35182"/>
                <a:gd name="connsiteY0" fmla="*/ 17674 h 26872"/>
                <a:gd name="connsiteX1" fmla="*/ 25319 w 35182"/>
                <a:gd name="connsiteY1" fmla="*/ 16343 h 26872"/>
                <a:gd name="connsiteX2" fmla="*/ 22276 w 35182"/>
                <a:gd name="connsiteY2" fmla="*/ 11779 h 26872"/>
                <a:gd name="connsiteX3" fmla="*/ 22276 w 35182"/>
                <a:gd name="connsiteY3" fmla="*/ 10068 h 26872"/>
                <a:gd name="connsiteX4" fmla="*/ 20945 w 35182"/>
                <a:gd name="connsiteY4" fmla="*/ 8927 h 26872"/>
                <a:gd name="connsiteX5" fmla="*/ 19424 w 35182"/>
                <a:gd name="connsiteY5" fmla="*/ 7786 h 26872"/>
                <a:gd name="connsiteX6" fmla="*/ 17902 w 35182"/>
                <a:gd name="connsiteY6" fmla="*/ 7786 h 26872"/>
                <a:gd name="connsiteX7" fmla="*/ 9346 w 35182"/>
                <a:gd name="connsiteY7" fmla="*/ 3413 h 26872"/>
                <a:gd name="connsiteX8" fmla="*/ 5923 w 35182"/>
                <a:gd name="connsiteY8" fmla="*/ 560 h 26872"/>
                <a:gd name="connsiteX9" fmla="*/ 1740 w 35182"/>
                <a:gd name="connsiteY9" fmla="*/ 560 h 26872"/>
                <a:gd name="connsiteX10" fmla="*/ 6874 w 35182"/>
                <a:gd name="connsiteY10" fmla="*/ 8357 h 26872"/>
                <a:gd name="connsiteX11" fmla="*/ 12578 w 35182"/>
                <a:gd name="connsiteY11" fmla="*/ 10258 h 26872"/>
                <a:gd name="connsiteX12" fmla="*/ 13909 w 35182"/>
                <a:gd name="connsiteY12" fmla="*/ 12920 h 26872"/>
                <a:gd name="connsiteX13" fmla="*/ 17332 w 35182"/>
                <a:gd name="connsiteY13" fmla="*/ 15392 h 26872"/>
                <a:gd name="connsiteX14" fmla="*/ 19234 w 35182"/>
                <a:gd name="connsiteY14" fmla="*/ 20336 h 26872"/>
                <a:gd name="connsiteX15" fmla="*/ 22276 w 35182"/>
                <a:gd name="connsiteY15" fmla="*/ 25471 h 26872"/>
                <a:gd name="connsiteX16" fmla="*/ 27981 w 35182"/>
                <a:gd name="connsiteY16" fmla="*/ 26802 h 26872"/>
                <a:gd name="connsiteX17" fmla="*/ 30453 w 35182"/>
                <a:gd name="connsiteY17" fmla="*/ 26802 h 26872"/>
                <a:gd name="connsiteX18" fmla="*/ 32545 w 35182"/>
                <a:gd name="connsiteY18" fmla="*/ 26802 h 26872"/>
                <a:gd name="connsiteX19" fmla="*/ 34826 w 35182"/>
                <a:gd name="connsiteY19" fmla="*/ 23949 h 26872"/>
                <a:gd name="connsiteX20" fmla="*/ 34826 w 35182"/>
                <a:gd name="connsiteY20" fmla="*/ 20336 h 26872"/>
                <a:gd name="connsiteX21" fmla="*/ 33115 w 35182"/>
                <a:gd name="connsiteY21" fmla="*/ 18245 h 26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182" h="26872">
                  <a:moveTo>
                    <a:pt x="30833" y="17674"/>
                  </a:moveTo>
                  <a:cubicBezTo>
                    <a:pt x="28893" y="17979"/>
                    <a:pt x="26916" y="17503"/>
                    <a:pt x="25319" y="16343"/>
                  </a:cubicBezTo>
                  <a:cubicBezTo>
                    <a:pt x="23779" y="15259"/>
                    <a:pt x="22695" y="13624"/>
                    <a:pt x="22276" y="11779"/>
                  </a:cubicBezTo>
                  <a:cubicBezTo>
                    <a:pt x="22276" y="11779"/>
                    <a:pt x="22276" y="10639"/>
                    <a:pt x="22276" y="10068"/>
                  </a:cubicBezTo>
                  <a:cubicBezTo>
                    <a:pt x="21934" y="9593"/>
                    <a:pt x="21478" y="9193"/>
                    <a:pt x="20945" y="8927"/>
                  </a:cubicBezTo>
                  <a:cubicBezTo>
                    <a:pt x="20945" y="8927"/>
                    <a:pt x="19994" y="8927"/>
                    <a:pt x="19424" y="7786"/>
                  </a:cubicBezTo>
                  <a:lnTo>
                    <a:pt x="17902" y="7786"/>
                  </a:lnTo>
                  <a:cubicBezTo>
                    <a:pt x="14746" y="7026"/>
                    <a:pt x="11799" y="5524"/>
                    <a:pt x="9346" y="3413"/>
                  </a:cubicBezTo>
                  <a:cubicBezTo>
                    <a:pt x="8338" y="2310"/>
                    <a:pt x="7197" y="1340"/>
                    <a:pt x="5923" y="560"/>
                  </a:cubicBezTo>
                  <a:cubicBezTo>
                    <a:pt x="4630" y="-187"/>
                    <a:pt x="3033" y="-187"/>
                    <a:pt x="1740" y="560"/>
                  </a:cubicBezTo>
                  <a:cubicBezTo>
                    <a:pt x="-3395" y="3413"/>
                    <a:pt x="4212" y="7786"/>
                    <a:pt x="6874" y="8357"/>
                  </a:cubicBezTo>
                  <a:cubicBezTo>
                    <a:pt x="9536" y="8927"/>
                    <a:pt x="11247" y="8357"/>
                    <a:pt x="12578" y="10258"/>
                  </a:cubicBezTo>
                  <a:cubicBezTo>
                    <a:pt x="13909" y="12160"/>
                    <a:pt x="12578" y="12160"/>
                    <a:pt x="13909" y="12920"/>
                  </a:cubicBezTo>
                  <a:cubicBezTo>
                    <a:pt x="15241" y="13681"/>
                    <a:pt x="16381" y="14442"/>
                    <a:pt x="17332" y="15392"/>
                  </a:cubicBezTo>
                  <a:cubicBezTo>
                    <a:pt x="18359" y="16857"/>
                    <a:pt x="19006" y="18568"/>
                    <a:pt x="19234" y="20336"/>
                  </a:cubicBezTo>
                  <a:cubicBezTo>
                    <a:pt x="19823" y="22257"/>
                    <a:pt x="20869" y="24025"/>
                    <a:pt x="22276" y="25471"/>
                  </a:cubicBezTo>
                  <a:cubicBezTo>
                    <a:pt x="23987" y="26497"/>
                    <a:pt x="25984" y="26954"/>
                    <a:pt x="27981" y="26802"/>
                  </a:cubicBezTo>
                  <a:lnTo>
                    <a:pt x="30453" y="26802"/>
                  </a:lnTo>
                  <a:cubicBezTo>
                    <a:pt x="31137" y="26897"/>
                    <a:pt x="31860" y="26897"/>
                    <a:pt x="32545" y="26802"/>
                  </a:cubicBezTo>
                  <a:cubicBezTo>
                    <a:pt x="33762" y="26326"/>
                    <a:pt x="34636" y="25242"/>
                    <a:pt x="34826" y="23949"/>
                  </a:cubicBezTo>
                  <a:cubicBezTo>
                    <a:pt x="35302" y="22789"/>
                    <a:pt x="35302" y="21496"/>
                    <a:pt x="34826" y="20336"/>
                  </a:cubicBezTo>
                  <a:cubicBezTo>
                    <a:pt x="34712" y="19367"/>
                    <a:pt x="34047" y="18549"/>
                    <a:pt x="33115" y="1824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40" name="Полилиния: фигура 339">
              <a:extLst>
                <a:ext uri="{FF2B5EF4-FFF2-40B4-BE49-F238E27FC236}">
                  <a16:creationId xmlns:a16="http://schemas.microsoft.com/office/drawing/2014/main" id="{8B3E79C3-4095-56FA-B467-2F522A6DE9EB}"/>
                </a:ext>
              </a:extLst>
            </p:cNvPr>
            <p:cNvSpPr/>
            <p:nvPr/>
          </p:nvSpPr>
          <p:spPr>
            <a:xfrm>
              <a:off x="5644113" y="2064956"/>
              <a:ext cx="2152796" cy="2603945"/>
            </a:xfrm>
            <a:custGeom>
              <a:avLst/>
              <a:gdLst>
                <a:gd name="connsiteX0" fmla="*/ 76252 w 2251041"/>
                <a:gd name="connsiteY0" fmla="*/ 867292 h 2714826"/>
                <a:gd name="connsiteX1" fmla="*/ 60089 w 2251041"/>
                <a:gd name="connsiteY1" fmla="*/ 864439 h 2714826"/>
                <a:gd name="connsiteX2" fmla="*/ 51722 w 2251041"/>
                <a:gd name="connsiteY2" fmla="*/ 881173 h 2714826"/>
                <a:gd name="connsiteX3" fmla="*/ 54194 w 2251041"/>
                <a:gd name="connsiteY3" fmla="*/ 888018 h 2714826"/>
                <a:gd name="connsiteX4" fmla="*/ 57997 w 2251041"/>
                <a:gd name="connsiteY4" fmla="*/ 897716 h 2714826"/>
                <a:gd name="connsiteX5" fmla="*/ 53433 w 2251041"/>
                <a:gd name="connsiteY5" fmla="*/ 914830 h 2714826"/>
                <a:gd name="connsiteX6" fmla="*/ 50771 w 2251041"/>
                <a:gd name="connsiteY6" fmla="*/ 920345 h 2714826"/>
                <a:gd name="connsiteX7" fmla="*/ 61990 w 2251041"/>
                <a:gd name="connsiteY7" fmla="*/ 954192 h 2714826"/>
                <a:gd name="connsiteX8" fmla="*/ 73209 w 2251041"/>
                <a:gd name="connsiteY8" fmla="*/ 984427 h 2714826"/>
                <a:gd name="connsiteX9" fmla="*/ 73209 w 2251041"/>
                <a:gd name="connsiteY9" fmla="*/ 996406 h 2714826"/>
                <a:gd name="connsiteX10" fmla="*/ 89943 w 2251041"/>
                <a:gd name="connsiteY10" fmla="*/ 1023028 h 2714826"/>
                <a:gd name="connsiteX11" fmla="*/ 92795 w 2251041"/>
                <a:gd name="connsiteY11" fmla="*/ 1025500 h 2714826"/>
                <a:gd name="connsiteX12" fmla="*/ 104775 w 2251041"/>
                <a:gd name="connsiteY12" fmla="*/ 1042423 h 2714826"/>
                <a:gd name="connsiteX13" fmla="*/ 118085 w 2251041"/>
                <a:gd name="connsiteY13" fmla="*/ 1058777 h 2714826"/>
                <a:gd name="connsiteX14" fmla="*/ 128544 w 2251041"/>
                <a:gd name="connsiteY14" fmla="*/ 1064862 h 2714826"/>
                <a:gd name="connsiteX15" fmla="*/ 159159 w 2251041"/>
                <a:gd name="connsiteY15" fmla="*/ 1094145 h 2714826"/>
                <a:gd name="connsiteX16" fmla="*/ 165244 w 2251041"/>
                <a:gd name="connsiteY16" fmla="*/ 1121337 h 2714826"/>
                <a:gd name="connsiteX17" fmla="*/ 171138 w 2251041"/>
                <a:gd name="connsiteY17" fmla="*/ 1146818 h 2714826"/>
                <a:gd name="connsiteX18" fmla="*/ 192436 w 2251041"/>
                <a:gd name="connsiteY18" fmla="*/ 1165833 h 2714826"/>
                <a:gd name="connsiteX19" fmla="*/ 215064 w 2251041"/>
                <a:gd name="connsiteY19" fmla="*/ 1189602 h 2714826"/>
                <a:gd name="connsiteX20" fmla="*/ 203845 w 2251041"/>
                <a:gd name="connsiteY20" fmla="*/ 1212421 h 2714826"/>
                <a:gd name="connsiteX21" fmla="*/ 194908 w 2251041"/>
                <a:gd name="connsiteY21" fmla="*/ 1221358 h 2714826"/>
                <a:gd name="connsiteX22" fmla="*/ 159919 w 2251041"/>
                <a:gd name="connsiteY22" fmla="*/ 1254825 h 2714826"/>
                <a:gd name="connsiteX23" fmla="*/ 156306 w 2251041"/>
                <a:gd name="connsiteY23" fmla="*/ 1258248 h 2714826"/>
                <a:gd name="connsiteX24" fmla="*/ 135580 w 2251041"/>
                <a:gd name="connsiteY24" fmla="*/ 1285630 h 2714826"/>
                <a:gd name="connsiteX25" fmla="*/ 138242 w 2251041"/>
                <a:gd name="connsiteY25" fmla="*/ 1294187 h 2714826"/>
                <a:gd name="connsiteX26" fmla="*/ 141665 w 2251041"/>
                <a:gd name="connsiteY26" fmla="*/ 1306737 h 2714826"/>
                <a:gd name="connsiteX27" fmla="*/ 132728 w 2251041"/>
                <a:gd name="connsiteY27" fmla="*/ 1323661 h 2714826"/>
                <a:gd name="connsiteX28" fmla="*/ 130636 w 2251041"/>
                <a:gd name="connsiteY28" fmla="*/ 1325753 h 2714826"/>
                <a:gd name="connsiteX29" fmla="*/ 120368 w 2251041"/>
                <a:gd name="connsiteY29" fmla="*/ 1354846 h 2714826"/>
                <a:gd name="connsiteX30" fmla="*/ 124931 w 2251041"/>
                <a:gd name="connsiteY30" fmla="*/ 1362072 h 2714826"/>
                <a:gd name="connsiteX31" fmla="*/ 128354 w 2251041"/>
                <a:gd name="connsiteY31" fmla="*/ 1401054 h 2714826"/>
                <a:gd name="connsiteX32" fmla="*/ 99451 w 2251041"/>
                <a:gd name="connsiteY32" fmla="*/ 1409230 h 2714826"/>
                <a:gd name="connsiteX33" fmla="*/ 84619 w 2251041"/>
                <a:gd name="connsiteY33" fmla="*/ 1409230 h 2714826"/>
                <a:gd name="connsiteX34" fmla="*/ 77393 w 2251041"/>
                <a:gd name="connsiteY34" fmla="*/ 1418167 h 2714826"/>
                <a:gd name="connsiteX35" fmla="*/ 74160 w 2251041"/>
                <a:gd name="connsiteY35" fmla="*/ 1426724 h 2714826"/>
                <a:gd name="connsiteX36" fmla="*/ 60469 w 2251041"/>
                <a:gd name="connsiteY36" fmla="*/ 1439465 h 2714826"/>
                <a:gd name="connsiteX37" fmla="*/ 56285 w 2251041"/>
                <a:gd name="connsiteY37" fmla="*/ 1442127 h 2714826"/>
                <a:gd name="connsiteX38" fmla="*/ 43165 w 2251041"/>
                <a:gd name="connsiteY38" fmla="*/ 1452585 h 2714826"/>
                <a:gd name="connsiteX39" fmla="*/ 15593 w 2251041"/>
                <a:gd name="connsiteY39" fmla="*/ 1470270 h 2714826"/>
                <a:gd name="connsiteX40" fmla="*/ 0 w 2251041"/>
                <a:gd name="connsiteY40" fmla="*/ 1480158 h 2714826"/>
                <a:gd name="connsiteX41" fmla="*/ 8367 w 2251041"/>
                <a:gd name="connsiteY41" fmla="*/ 1487574 h 2714826"/>
                <a:gd name="connsiteX42" fmla="*/ 35939 w 2251041"/>
                <a:gd name="connsiteY42" fmla="*/ 1515907 h 2714826"/>
                <a:gd name="connsiteX43" fmla="*/ 73970 w 2251041"/>
                <a:gd name="connsiteY43" fmla="*/ 1614406 h 2714826"/>
                <a:gd name="connsiteX44" fmla="*/ 75491 w 2251041"/>
                <a:gd name="connsiteY44" fmla="*/ 1620872 h 2714826"/>
                <a:gd name="connsiteX45" fmla="*/ 83097 w 2251041"/>
                <a:gd name="connsiteY45" fmla="*/ 1682291 h 2714826"/>
                <a:gd name="connsiteX46" fmla="*/ 83097 w 2251041"/>
                <a:gd name="connsiteY46" fmla="*/ 1683622 h 2714826"/>
                <a:gd name="connsiteX47" fmla="*/ 87471 w 2251041"/>
                <a:gd name="connsiteY47" fmla="*/ 1702637 h 2714826"/>
                <a:gd name="connsiteX48" fmla="*/ 91845 w 2251041"/>
                <a:gd name="connsiteY48" fmla="*/ 1736675 h 2714826"/>
                <a:gd name="connsiteX49" fmla="*/ 74160 w 2251041"/>
                <a:gd name="connsiteY49" fmla="*/ 1759684 h 2714826"/>
                <a:gd name="connsiteX50" fmla="*/ 55145 w 2251041"/>
                <a:gd name="connsiteY50" fmla="*/ 1787827 h 2714826"/>
                <a:gd name="connsiteX51" fmla="*/ 61230 w 2251041"/>
                <a:gd name="connsiteY51" fmla="*/ 1796003 h 2714826"/>
                <a:gd name="connsiteX52" fmla="*/ 71878 w 2251041"/>
                <a:gd name="connsiteY52" fmla="*/ 1801708 h 2714826"/>
                <a:gd name="connsiteX53" fmla="*/ 94126 w 2251041"/>
                <a:gd name="connsiteY53" fmla="*/ 1823005 h 2714826"/>
                <a:gd name="connsiteX54" fmla="*/ 94126 w 2251041"/>
                <a:gd name="connsiteY54" fmla="*/ 1850767 h 2714826"/>
                <a:gd name="connsiteX55" fmla="*/ 94126 w 2251041"/>
                <a:gd name="connsiteY55" fmla="*/ 1870734 h 2714826"/>
                <a:gd name="connsiteX56" fmla="*/ 105536 w 2251041"/>
                <a:gd name="connsiteY56" fmla="*/ 1886707 h 2714826"/>
                <a:gd name="connsiteX57" fmla="*/ 117896 w 2251041"/>
                <a:gd name="connsiteY57" fmla="*/ 1901919 h 2714826"/>
                <a:gd name="connsiteX58" fmla="*/ 121889 w 2251041"/>
                <a:gd name="connsiteY58" fmla="*/ 1920934 h 2714826"/>
                <a:gd name="connsiteX59" fmla="*/ 125882 w 2251041"/>
                <a:gd name="connsiteY59" fmla="*/ 1938428 h 2714826"/>
                <a:gd name="connsiteX60" fmla="*/ 135200 w 2251041"/>
                <a:gd name="connsiteY60" fmla="*/ 1947746 h 2714826"/>
                <a:gd name="connsiteX61" fmla="*/ 148130 w 2251041"/>
                <a:gd name="connsiteY61" fmla="*/ 1979882 h 2714826"/>
                <a:gd name="connsiteX62" fmla="*/ 141665 w 2251041"/>
                <a:gd name="connsiteY62" fmla="*/ 1989960 h 2714826"/>
                <a:gd name="connsiteX63" fmla="*/ 137481 w 2251041"/>
                <a:gd name="connsiteY63" fmla="*/ 1995665 h 2714826"/>
                <a:gd name="connsiteX64" fmla="*/ 133488 w 2251041"/>
                <a:gd name="connsiteY64" fmla="*/ 2005172 h 2714826"/>
                <a:gd name="connsiteX65" fmla="*/ 128735 w 2251041"/>
                <a:gd name="connsiteY65" fmla="*/ 2016011 h 2714826"/>
                <a:gd name="connsiteX66" fmla="*/ 128735 w 2251041"/>
                <a:gd name="connsiteY66" fmla="*/ 2017152 h 2714826"/>
                <a:gd name="connsiteX67" fmla="*/ 125692 w 2251041"/>
                <a:gd name="connsiteY67" fmla="*/ 2034076 h 2714826"/>
                <a:gd name="connsiteX68" fmla="*/ 126833 w 2251041"/>
                <a:gd name="connsiteY68" fmla="*/ 2037879 h 2714826"/>
                <a:gd name="connsiteX69" fmla="*/ 128924 w 2251041"/>
                <a:gd name="connsiteY69" fmla="*/ 2056894 h 2714826"/>
                <a:gd name="connsiteX70" fmla="*/ 127403 w 2251041"/>
                <a:gd name="connsiteY70" fmla="*/ 2064501 h 2714826"/>
                <a:gd name="connsiteX71" fmla="*/ 132347 w 2251041"/>
                <a:gd name="connsiteY71" fmla="*/ 2089220 h 2714826"/>
                <a:gd name="connsiteX72" fmla="*/ 156497 w 2251041"/>
                <a:gd name="connsiteY72" fmla="*/ 2087319 h 2714826"/>
                <a:gd name="connsiteX73" fmla="*/ 175512 w 2251041"/>
                <a:gd name="connsiteY73" fmla="*/ 2082565 h 2714826"/>
                <a:gd name="connsiteX74" fmla="*/ 201943 w 2251041"/>
                <a:gd name="connsiteY74" fmla="*/ 2089791 h 2714826"/>
                <a:gd name="connsiteX75" fmla="*/ 219818 w 2251041"/>
                <a:gd name="connsiteY75" fmla="*/ 2095876 h 2714826"/>
                <a:gd name="connsiteX76" fmla="*/ 246439 w 2251041"/>
                <a:gd name="connsiteY76" fmla="*/ 2093974 h 2714826"/>
                <a:gd name="connsiteX77" fmla="*/ 252144 w 2251041"/>
                <a:gd name="connsiteY77" fmla="*/ 2091312 h 2714826"/>
                <a:gd name="connsiteX78" fmla="*/ 264694 w 2251041"/>
                <a:gd name="connsiteY78" fmla="*/ 2086178 h 2714826"/>
                <a:gd name="connsiteX79" fmla="*/ 269828 w 2251041"/>
                <a:gd name="connsiteY79" fmla="*/ 2086178 h 2714826"/>
                <a:gd name="connsiteX80" fmla="*/ 275153 w 2251041"/>
                <a:gd name="connsiteY80" fmla="*/ 2088460 h 2714826"/>
                <a:gd name="connsiteX81" fmla="*/ 288464 w 2251041"/>
                <a:gd name="connsiteY81" fmla="*/ 2107475 h 2714826"/>
                <a:gd name="connsiteX82" fmla="*/ 291316 w 2251041"/>
                <a:gd name="connsiteY82" fmla="*/ 2112800 h 2714826"/>
                <a:gd name="connsiteX83" fmla="*/ 288844 w 2251041"/>
                <a:gd name="connsiteY83" fmla="*/ 2146057 h 2714826"/>
                <a:gd name="connsiteX84" fmla="*/ 287893 w 2251041"/>
                <a:gd name="connsiteY84" fmla="*/ 2146837 h 2714826"/>
                <a:gd name="connsiteX85" fmla="*/ 281618 w 2251041"/>
                <a:gd name="connsiteY85" fmla="*/ 2154253 h 2714826"/>
                <a:gd name="connsiteX86" fmla="*/ 278386 w 2251041"/>
                <a:gd name="connsiteY86" fmla="*/ 2166613 h 2714826"/>
                <a:gd name="connsiteX87" fmla="*/ 287513 w 2251041"/>
                <a:gd name="connsiteY87" fmla="*/ 2170416 h 2714826"/>
                <a:gd name="connsiteX88" fmla="*/ 287513 w 2251041"/>
                <a:gd name="connsiteY88" fmla="*/ 2170416 h 2714826"/>
                <a:gd name="connsiteX89" fmla="*/ 301394 w 2251041"/>
                <a:gd name="connsiteY89" fmla="*/ 2168324 h 2714826"/>
                <a:gd name="connsiteX90" fmla="*/ 328396 w 2251041"/>
                <a:gd name="connsiteY90" fmla="*/ 2168324 h 2714826"/>
                <a:gd name="connsiteX91" fmla="*/ 355588 w 2251041"/>
                <a:gd name="connsiteY91" fmla="*/ 2195517 h 2714826"/>
                <a:gd name="connsiteX92" fmla="*/ 363955 w 2251041"/>
                <a:gd name="connsiteY92" fmla="*/ 2213391 h 2714826"/>
                <a:gd name="connsiteX93" fmla="*/ 372511 w 2251041"/>
                <a:gd name="connsiteY93" fmla="*/ 2231075 h 2714826"/>
                <a:gd name="connsiteX94" fmla="*/ 375744 w 2251041"/>
                <a:gd name="connsiteY94" fmla="*/ 2235639 h 2714826"/>
                <a:gd name="connsiteX95" fmla="*/ 382970 w 2251041"/>
                <a:gd name="connsiteY95" fmla="*/ 2250281 h 2714826"/>
                <a:gd name="connsiteX96" fmla="*/ 378026 w 2251041"/>
                <a:gd name="connsiteY96" fmla="*/ 2265683 h 2714826"/>
                <a:gd name="connsiteX97" fmla="*/ 375174 w 2251041"/>
                <a:gd name="connsiteY97" fmla="*/ 2269486 h 2714826"/>
                <a:gd name="connsiteX98" fmla="*/ 371751 w 2251041"/>
                <a:gd name="connsiteY98" fmla="*/ 2282227 h 2714826"/>
                <a:gd name="connsiteX99" fmla="*/ 389245 w 2251041"/>
                <a:gd name="connsiteY99" fmla="*/ 2287741 h 2714826"/>
                <a:gd name="connsiteX100" fmla="*/ 413014 w 2251041"/>
                <a:gd name="connsiteY100" fmla="*/ 2294587 h 2714826"/>
                <a:gd name="connsiteX101" fmla="*/ 420430 w 2251041"/>
                <a:gd name="connsiteY101" fmla="*/ 2340033 h 2714826"/>
                <a:gd name="connsiteX102" fmla="*/ 420430 w 2251041"/>
                <a:gd name="connsiteY102" fmla="*/ 2370458 h 2714826"/>
                <a:gd name="connsiteX103" fmla="*/ 428987 w 2251041"/>
                <a:gd name="connsiteY103" fmla="*/ 2379395 h 2714826"/>
                <a:gd name="connsiteX104" fmla="*/ 446291 w 2251041"/>
                <a:gd name="connsiteY104" fmla="*/ 2405636 h 2714826"/>
                <a:gd name="connsiteX105" fmla="*/ 465306 w 2251041"/>
                <a:gd name="connsiteY105" fmla="*/ 2424652 h 2714826"/>
                <a:gd name="connsiteX106" fmla="*/ 473864 w 2251041"/>
                <a:gd name="connsiteY106" fmla="*/ 2425793 h 2714826"/>
                <a:gd name="connsiteX107" fmla="*/ 497633 w 2251041"/>
                <a:gd name="connsiteY107" fmla="*/ 2436061 h 2714826"/>
                <a:gd name="connsiteX108" fmla="*/ 497633 w 2251041"/>
                <a:gd name="connsiteY108" fmla="*/ 2474092 h 2714826"/>
                <a:gd name="connsiteX109" fmla="*/ 495351 w 2251041"/>
                <a:gd name="connsiteY109" fmla="*/ 2486452 h 2714826"/>
                <a:gd name="connsiteX110" fmla="*/ 490217 w 2251041"/>
                <a:gd name="connsiteY110" fmla="*/ 2514404 h 2714826"/>
                <a:gd name="connsiteX111" fmla="*/ 484892 w 2251041"/>
                <a:gd name="connsiteY111" fmla="*/ 2545590 h 2714826"/>
                <a:gd name="connsiteX112" fmla="*/ 487174 w 2251041"/>
                <a:gd name="connsiteY112" fmla="*/ 2566317 h 2714826"/>
                <a:gd name="connsiteX113" fmla="*/ 488696 w 2251041"/>
                <a:gd name="connsiteY113" fmla="*/ 2597692 h 2714826"/>
                <a:gd name="connsiteX114" fmla="*/ 486794 w 2251041"/>
                <a:gd name="connsiteY114" fmla="*/ 2629447 h 2714826"/>
                <a:gd name="connsiteX115" fmla="*/ 486794 w 2251041"/>
                <a:gd name="connsiteY115" fmla="*/ 2648463 h 2714826"/>
                <a:gd name="connsiteX116" fmla="*/ 499154 w 2251041"/>
                <a:gd name="connsiteY116" fmla="*/ 2671852 h 2714826"/>
                <a:gd name="connsiteX117" fmla="*/ 511324 w 2251041"/>
                <a:gd name="connsiteY117" fmla="*/ 2684022 h 2714826"/>
                <a:gd name="connsiteX118" fmla="*/ 525586 w 2251041"/>
                <a:gd name="connsiteY118" fmla="*/ 2696001 h 2714826"/>
                <a:gd name="connsiteX119" fmla="*/ 557341 w 2251041"/>
                <a:gd name="connsiteY119" fmla="*/ 2681930 h 2714826"/>
                <a:gd name="connsiteX120" fmla="*/ 559433 w 2251041"/>
                <a:gd name="connsiteY120" fmla="*/ 2673373 h 2714826"/>
                <a:gd name="connsiteX121" fmla="*/ 563806 w 2251041"/>
                <a:gd name="connsiteY121" fmla="*/ 2659682 h 2714826"/>
                <a:gd name="connsiteX122" fmla="*/ 581491 w 2251041"/>
                <a:gd name="connsiteY122" fmla="*/ 2651315 h 2714826"/>
                <a:gd name="connsiteX123" fmla="*/ 586054 w 2251041"/>
                <a:gd name="connsiteY123" fmla="*/ 2651315 h 2714826"/>
                <a:gd name="connsiteX124" fmla="*/ 631311 w 2251041"/>
                <a:gd name="connsiteY124" fmla="*/ 2632300 h 2714826"/>
                <a:gd name="connsiteX125" fmla="*/ 638156 w 2251041"/>
                <a:gd name="connsiteY125" fmla="*/ 2620701 h 2714826"/>
                <a:gd name="connsiteX126" fmla="*/ 660975 w 2251041"/>
                <a:gd name="connsiteY126" fmla="*/ 2598262 h 2714826"/>
                <a:gd name="connsiteX127" fmla="*/ 684744 w 2251041"/>
                <a:gd name="connsiteY127" fmla="*/ 2631349 h 2714826"/>
                <a:gd name="connsiteX128" fmla="*/ 684744 w 2251041"/>
                <a:gd name="connsiteY128" fmla="*/ 2633251 h 2714826"/>
                <a:gd name="connsiteX129" fmla="*/ 688547 w 2251041"/>
                <a:gd name="connsiteY129" fmla="*/ 2642378 h 2714826"/>
                <a:gd name="connsiteX130" fmla="*/ 692921 w 2251041"/>
                <a:gd name="connsiteY130" fmla="*/ 2638765 h 2714826"/>
                <a:gd name="connsiteX131" fmla="*/ 691780 w 2251041"/>
                <a:gd name="connsiteY131" fmla="*/ 2635723 h 2714826"/>
                <a:gd name="connsiteX132" fmla="*/ 709274 w 2251041"/>
                <a:gd name="connsiteY132" fmla="*/ 2619369 h 2714826"/>
                <a:gd name="connsiteX133" fmla="*/ 724866 w 2251041"/>
                <a:gd name="connsiteY133" fmla="*/ 2590086 h 2714826"/>
                <a:gd name="connsiteX134" fmla="*/ 739509 w 2251041"/>
                <a:gd name="connsiteY134" fmla="*/ 2541597 h 2714826"/>
                <a:gd name="connsiteX135" fmla="*/ 758524 w 2251041"/>
                <a:gd name="connsiteY135" fmla="*/ 2498241 h 2714826"/>
                <a:gd name="connsiteX136" fmla="*/ 772595 w 2251041"/>
                <a:gd name="connsiteY136" fmla="*/ 2451273 h 2714826"/>
                <a:gd name="connsiteX137" fmla="*/ 833634 w 2251041"/>
                <a:gd name="connsiteY137" fmla="*/ 2401833 h 2714826"/>
                <a:gd name="connsiteX138" fmla="*/ 925669 w 2251041"/>
                <a:gd name="connsiteY138" fmla="*/ 2433209 h 2714826"/>
                <a:gd name="connsiteX139" fmla="*/ 932895 w 2251041"/>
                <a:gd name="connsiteY139" fmla="*/ 2452224 h 2714826"/>
                <a:gd name="connsiteX140" fmla="*/ 943543 w 2251041"/>
                <a:gd name="connsiteY140" fmla="*/ 2474852 h 2714826"/>
                <a:gd name="connsiteX141" fmla="*/ 977771 w 2251041"/>
                <a:gd name="connsiteY141" fmla="*/ 2472571 h 2714826"/>
                <a:gd name="connsiteX142" fmla="*/ 990131 w 2251041"/>
                <a:gd name="connsiteY142" fmla="*/ 2463633 h 2714826"/>
                <a:gd name="connsiteX143" fmla="*/ 1023408 w 2251041"/>
                <a:gd name="connsiteY143" fmla="*/ 2453365 h 2714826"/>
                <a:gd name="connsiteX144" fmla="*/ 1054023 w 2251041"/>
                <a:gd name="connsiteY144" fmla="*/ 2481508 h 2714826"/>
                <a:gd name="connsiteX145" fmla="*/ 1054023 w 2251041"/>
                <a:gd name="connsiteY145" fmla="*/ 2483790 h 2714826"/>
                <a:gd name="connsiteX146" fmla="*/ 1061819 w 2251041"/>
                <a:gd name="connsiteY146" fmla="*/ 2499763 h 2714826"/>
                <a:gd name="connsiteX147" fmla="*/ 1065052 w 2251041"/>
                <a:gd name="connsiteY147" fmla="*/ 2502995 h 2714826"/>
                <a:gd name="connsiteX148" fmla="*/ 1076081 w 2251041"/>
                <a:gd name="connsiteY148" fmla="*/ 2517637 h 2714826"/>
                <a:gd name="connsiteX149" fmla="*/ 1079884 w 2251041"/>
                <a:gd name="connsiteY149" fmla="*/ 2525243 h 2714826"/>
                <a:gd name="connsiteX150" fmla="*/ 1098899 w 2251041"/>
                <a:gd name="connsiteY150" fmla="*/ 2552625 h 2714826"/>
                <a:gd name="connsiteX151" fmla="*/ 1120767 w 2251041"/>
                <a:gd name="connsiteY151" fmla="*/ 2578866 h 2714826"/>
                <a:gd name="connsiteX152" fmla="*/ 1125521 w 2251041"/>
                <a:gd name="connsiteY152" fmla="*/ 2588755 h 2714826"/>
                <a:gd name="connsiteX153" fmla="*/ 1135599 w 2251041"/>
                <a:gd name="connsiteY153" fmla="*/ 2615947 h 2714826"/>
                <a:gd name="connsiteX154" fmla="*/ 1141494 w 2251041"/>
                <a:gd name="connsiteY154" fmla="*/ 2631920 h 2714826"/>
                <a:gd name="connsiteX155" fmla="*/ 1170017 w 2251041"/>
                <a:gd name="connsiteY155" fmla="*/ 2654168 h 2714826"/>
                <a:gd name="connsiteX156" fmla="*/ 1201582 w 2251041"/>
                <a:gd name="connsiteY156" fmla="*/ 2680409 h 2714826"/>
                <a:gd name="connsiteX157" fmla="*/ 1214132 w 2251041"/>
                <a:gd name="connsiteY157" fmla="*/ 2694670 h 2714826"/>
                <a:gd name="connsiteX158" fmla="*/ 1230485 w 2251041"/>
                <a:gd name="connsiteY158" fmla="*/ 2713686 h 2714826"/>
                <a:gd name="connsiteX159" fmla="*/ 1230485 w 2251041"/>
                <a:gd name="connsiteY159" fmla="*/ 2714827 h 2714826"/>
                <a:gd name="connsiteX160" fmla="*/ 1241515 w 2251041"/>
                <a:gd name="connsiteY160" fmla="*/ 2703988 h 2714826"/>
                <a:gd name="connsiteX161" fmla="*/ 1305596 w 2251041"/>
                <a:gd name="connsiteY161" fmla="*/ 2661964 h 2714826"/>
                <a:gd name="connsiteX162" fmla="*/ 1339634 w 2251041"/>
                <a:gd name="connsiteY162" fmla="*/ 2667859 h 2714826"/>
                <a:gd name="connsiteX163" fmla="*/ 1369678 w 2251041"/>
                <a:gd name="connsiteY163" fmla="*/ 2669760 h 2714826"/>
                <a:gd name="connsiteX164" fmla="*/ 1403716 w 2251041"/>
                <a:gd name="connsiteY164" fmla="*/ 2671281 h 2714826"/>
                <a:gd name="connsiteX165" fmla="*/ 1434711 w 2251041"/>
                <a:gd name="connsiteY165" fmla="*/ 2671281 h 2714826"/>
                <a:gd name="connsiteX166" fmla="*/ 1468558 w 2251041"/>
                <a:gd name="connsiteY166" fmla="*/ 2661013 h 2714826"/>
                <a:gd name="connsiteX167" fmla="*/ 1487574 w 2251041"/>
                <a:gd name="connsiteY167" fmla="*/ 2656830 h 2714826"/>
                <a:gd name="connsiteX168" fmla="*/ 1502406 w 2251041"/>
                <a:gd name="connsiteY168" fmla="*/ 2652836 h 2714826"/>
                <a:gd name="connsiteX169" fmla="*/ 1545000 w 2251041"/>
                <a:gd name="connsiteY169" fmla="*/ 2668239 h 2714826"/>
                <a:gd name="connsiteX170" fmla="*/ 1568389 w 2251041"/>
                <a:gd name="connsiteY170" fmla="*/ 2681169 h 2714826"/>
                <a:gd name="connsiteX171" fmla="*/ 1599004 w 2251041"/>
                <a:gd name="connsiteY171" fmla="*/ 2675085 h 2714826"/>
                <a:gd name="connsiteX172" fmla="*/ 1606420 w 2251041"/>
                <a:gd name="connsiteY172" fmla="*/ 2669190 h 2714826"/>
                <a:gd name="connsiteX173" fmla="*/ 1620681 w 2251041"/>
                <a:gd name="connsiteY173" fmla="*/ 2660062 h 2714826"/>
                <a:gd name="connsiteX174" fmla="*/ 1632281 w 2251041"/>
                <a:gd name="connsiteY174" fmla="*/ 2662344 h 2714826"/>
                <a:gd name="connsiteX175" fmla="*/ 1637986 w 2251041"/>
                <a:gd name="connsiteY175" fmla="*/ 2663865 h 2714826"/>
                <a:gd name="connsiteX176" fmla="*/ 1646542 w 2251041"/>
                <a:gd name="connsiteY176" fmla="*/ 2661013 h 2714826"/>
                <a:gd name="connsiteX177" fmla="*/ 1652057 w 2251041"/>
                <a:gd name="connsiteY177" fmla="*/ 2657590 h 2714826"/>
                <a:gd name="connsiteX178" fmla="*/ 1674305 w 2251041"/>
                <a:gd name="connsiteY178" fmla="*/ 2651695 h 2714826"/>
                <a:gd name="connsiteX179" fmla="*/ 1684002 w 2251041"/>
                <a:gd name="connsiteY179" fmla="*/ 2657971 h 2714826"/>
                <a:gd name="connsiteX180" fmla="*/ 1690658 w 2251041"/>
                <a:gd name="connsiteY180" fmla="*/ 2661964 h 2714826"/>
                <a:gd name="connsiteX181" fmla="*/ 1706821 w 2251041"/>
                <a:gd name="connsiteY181" fmla="*/ 2652456 h 2714826"/>
                <a:gd name="connsiteX182" fmla="*/ 1711005 w 2251041"/>
                <a:gd name="connsiteY182" fmla="*/ 2648273 h 2714826"/>
                <a:gd name="connsiteX183" fmla="*/ 1724885 w 2251041"/>
                <a:gd name="connsiteY183" fmla="*/ 2638385 h 2714826"/>
                <a:gd name="connsiteX184" fmla="*/ 1738006 w 2251041"/>
                <a:gd name="connsiteY184" fmla="*/ 2629067 h 2714826"/>
                <a:gd name="connsiteX185" fmla="*/ 1740859 w 2251041"/>
                <a:gd name="connsiteY185" fmla="*/ 2625835 h 2714826"/>
                <a:gd name="connsiteX186" fmla="*/ 1750556 w 2251041"/>
                <a:gd name="connsiteY186" fmla="*/ 2617848 h 2714826"/>
                <a:gd name="connsiteX187" fmla="*/ 1759684 w 2251041"/>
                <a:gd name="connsiteY187" fmla="*/ 2615756 h 2714826"/>
                <a:gd name="connsiteX188" fmla="*/ 1765008 w 2251041"/>
                <a:gd name="connsiteY188" fmla="*/ 2615756 h 2714826"/>
                <a:gd name="connsiteX189" fmla="*/ 1771093 w 2251041"/>
                <a:gd name="connsiteY189" fmla="*/ 2610432 h 2714826"/>
                <a:gd name="connsiteX190" fmla="*/ 1776607 w 2251041"/>
                <a:gd name="connsiteY190" fmla="*/ 2604537 h 2714826"/>
                <a:gd name="connsiteX191" fmla="*/ 1787637 w 2251041"/>
                <a:gd name="connsiteY191" fmla="*/ 2599403 h 2714826"/>
                <a:gd name="connsiteX192" fmla="*/ 1792581 w 2251041"/>
                <a:gd name="connsiteY192" fmla="*/ 2597882 h 2714826"/>
                <a:gd name="connsiteX193" fmla="*/ 1801328 w 2251041"/>
                <a:gd name="connsiteY193" fmla="*/ 2592748 h 2714826"/>
                <a:gd name="connsiteX194" fmla="*/ 1819392 w 2251041"/>
                <a:gd name="connsiteY194" fmla="*/ 2584571 h 2714826"/>
                <a:gd name="connsiteX195" fmla="*/ 1832323 w 2251041"/>
                <a:gd name="connsiteY195" fmla="*/ 2584571 h 2714826"/>
                <a:gd name="connsiteX196" fmla="*/ 1864269 w 2251041"/>
                <a:gd name="connsiteY196" fmla="*/ 2563464 h 2714826"/>
                <a:gd name="connsiteX197" fmla="*/ 1900207 w 2251041"/>
                <a:gd name="connsiteY197" fmla="*/ 2521250 h 2714826"/>
                <a:gd name="connsiteX198" fmla="*/ 1934435 w 2251041"/>
                <a:gd name="connsiteY198" fmla="*/ 2501094 h 2714826"/>
                <a:gd name="connsiteX199" fmla="*/ 1956493 w 2251041"/>
                <a:gd name="connsiteY199" fmla="*/ 2486262 h 2714826"/>
                <a:gd name="connsiteX200" fmla="*/ 1961057 w 2251041"/>
                <a:gd name="connsiteY200" fmla="*/ 2483980 h 2714826"/>
                <a:gd name="connsiteX201" fmla="*/ 1955352 w 2251041"/>
                <a:gd name="connsiteY201" fmla="*/ 2473521 h 2714826"/>
                <a:gd name="connsiteX202" fmla="*/ 1940900 w 2251041"/>
                <a:gd name="connsiteY202" fmla="*/ 2442907 h 2714826"/>
                <a:gd name="connsiteX203" fmla="*/ 1937478 w 2251041"/>
                <a:gd name="connsiteY203" fmla="*/ 2433779 h 2714826"/>
                <a:gd name="connsiteX204" fmla="*/ 1931773 w 2251041"/>
                <a:gd name="connsiteY204" fmla="*/ 2389093 h 2714826"/>
                <a:gd name="connsiteX205" fmla="*/ 1942232 w 2251041"/>
                <a:gd name="connsiteY205" fmla="*/ 2375782 h 2714826"/>
                <a:gd name="connsiteX206" fmla="*/ 1946795 w 2251041"/>
                <a:gd name="connsiteY206" fmla="*/ 2356767 h 2714826"/>
                <a:gd name="connsiteX207" fmla="*/ 1915610 w 2251041"/>
                <a:gd name="connsiteY207" fmla="*/ 2334139 h 2714826"/>
                <a:gd name="connsiteX208" fmla="*/ 1912568 w 2251041"/>
                <a:gd name="connsiteY208" fmla="*/ 2334139 h 2714826"/>
                <a:gd name="connsiteX209" fmla="*/ 1878530 w 2251041"/>
                <a:gd name="connsiteY209" fmla="*/ 2311130 h 2714826"/>
                <a:gd name="connsiteX210" fmla="*/ 1886897 w 2251041"/>
                <a:gd name="connsiteY210" fmla="*/ 2297629 h 2714826"/>
                <a:gd name="connsiteX211" fmla="*/ 1890700 w 2251041"/>
                <a:gd name="connsiteY211" fmla="*/ 2293446 h 2714826"/>
                <a:gd name="connsiteX212" fmla="*/ 1887847 w 2251041"/>
                <a:gd name="connsiteY212" fmla="*/ 2284508 h 2714826"/>
                <a:gd name="connsiteX213" fmla="*/ 1884045 w 2251041"/>
                <a:gd name="connsiteY213" fmla="*/ 2275001 h 2714826"/>
                <a:gd name="connsiteX214" fmla="*/ 1888228 w 2251041"/>
                <a:gd name="connsiteY214" fmla="*/ 2255985 h 2714826"/>
                <a:gd name="connsiteX215" fmla="*/ 1891270 w 2251041"/>
                <a:gd name="connsiteY215" fmla="*/ 2243816 h 2714826"/>
                <a:gd name="connsiteX216" fmla="*/ 1888038 w 2251041"/>
                <a:gd name="connsiteY216" fmla="*/ 2241343 h 2714826"/>
                <a:gd name="connsiteX217" fmla="*/ 1865029 w 2251041"/>
                <a:gd name="connsiteY217" fmla="*/ 2236400 h 2714826"/>
                <a:gd name="connsiteX218" fmla="*/ 1858183 w 2251041"/>
                <a:gd name="connsiteY218" fmla="*/ 2230124 h 2714826"/>
                <a:gd name="connsiteX219" fmla="*/ 1850577 w 2251041"/>
                <a:gd name="connsiteY219" fmla="*/ 2224040 h 2714826"/>
                <a:gd name="connsiteX220" fmla="*/ 1846774 w 2251041"/>
                <a:gd name="connsiteY220" fmla="*/ 2222708 h 2714826"/>
                <a:gd name="connsiteX221" fmla="*/ 1831752 w 2251041"/>
                <a:gd name="connsiteY221" fmla="*/ 2210539 h 2714826"/>
                <a:gd name="connsiteX222" fmla="*/ 1833273 w 2251041"/>
                <a:gd name="connsiteY222" fmla="*/ 2200841 h 2714826"/>
                <a:gd name="connsiteX223" fmla="*/ 1841640 w 2251041"/>
                <a:gd name="connsiteY223" fmla="*/ 2197228 h 2714826"/>
                <a:gd name="connsiteX224" fmla="*/ 1844302 w 2251041"/>
                <a:gd name="connsiteY224" fmla="*/ 2197228 h 2714826"/>
                <a:gd name="connsiteX225" fmla="*/ 1848866 w 2251041"/>
                <a:gd name="connsiteY225" fmla="*/ 2165092 h 2714826"/>
                <a:gd name="connsiteX226" fmla="*/ 1848866 w 2251041"/>
                <a:gd name="connsiteY226" fmla="*/ 2138090 h 2714826"/>
                <a:gd name="connsiteX227" fmla="*/ 1850387 w 2251041"/>
                <a:gd name="connsiteY227" fmla="*/ 2120786 h 2714826"/>
                <a:gd name="connsiteX228" fmla="*/ 1846584 w 2251041"/>
                <a:gd name="connsiteY228" fmla="*/ 2113750 h 2714826"/>
                <a:gd name="connsiteX229" fmla="*/ 1840879 w 2251041"/>
                <a:gd name="connsiteY229" fmla="*/ 2098348 h 2714826"/>
                <a:gd name="connsiteX230" fmla="*/ 1845443 w 2251041"/>
                <a:gd name="connsiteY230" fmla="*/ 2087699 h 2714826"/>
                <a:gd name="connsiteX231" fmla="*/ 1848296 w 2251041"/>
                <a:gd name="connsiteY231" fmla="*/ 2080093 h 2714826"/>
                <a:gd name="connsiteX232" fmla="*/ 1844492 w 2251041"/>
                <a:gd name="connsiteY232" fmla="*/ 2067163 h 2714826"/>
                <a:gd name="connsiteX233" fmla="*/ 1844492 w 2251041"/>
                <a:gd name="connsiteY233" fmla="*/ 2040731 h 2714826"/>
                <a:gd name="connsiteX234" fmla="*/ 1846014 w 2251041"/>
                <a:gd name="connsiteY234" fmla="*/ 2037308 h 2714826"/>
                <a:gd name="connsiteX235" fmla="*/ 1859135 w 2251041"/>
                <a:gd name="connsiteY235" fmla="*/ 2019434 h 2714826"/>
                <a:gd name="connsiteX236" fmla="*/ 1868642 w 2251041"/>
                <a:gd name="connsiteY236" fmla="*/ 2016201 h 2714826"/>
                <a:gd name="connsiteX237" fmla="*/ 1875297 w 2251041"/>
                <a:gd name="connsiteY237" fmla="*/ 2013729 h 2714826"/>
                <a:gd name="connsiteX238" fmla="*/ 1879861 w 2251041"/>
                <a:gd name="connsiteY238" fmla="*/ 2008785 h 2714826"/>
                <a:gd name="connsiteX239" fmla="*/ 1892031 w 2251041"/>
                <a:gd name="connsiteY239" fmla="*/ 1999278 h 2714826"/>
                <a:gd name="connsiteX240" fmla="*/ 1903060 w 2251041"/>
                <a:gd name="connsiteY240" fmla="*/ 1998327 h 2714826"/>
                <a:gd name="connsiteX241" fmla="*/ 1911237 w 2251041"/>
                <a:gd name="connsiteY241" fmla="*/ 1998327 h 2714826"/>
                <a:gd name="connsiteX242" fmla="*/ 1916751 w 2251041"/>
                <a:gd name="connsiteY242" fmla="*/ 1992432 h 2714826"/>
                <a:gd name="connsiteX243" fmla="*/ 1929871 w 2251041"/>
                <a:gd name="connsiteY243" fmla="*/ 1981593 h 2714826"/>
                <a:gd name="connsiteX244" fmla="*/ 1938238 w 2251041"/>
                <a:gd name="connsiteY244" fmla="*/ 1980072 h 2714826"/>
                <a:gd name="connsiteX245" fmla="*/ 1948507 w 2251041"/>
                <a:gd name="connsiteY245" fmla="*/ 1976079 h 2714826"/>
                <a:gd name="connsiteX246" fmla="*/ 1951549 w 2251041"/>
                <a:gd name="connsiteY246" fmla="*/ 1954972 h 2714826"/>
                <a:gd name="connsiteX247" fmla="*/ 1949077 w 2251041"/>
                <a:gd name="connsiteY247" fmla="*/ 1940330 h 2714826"/>
                <a:gd name="connsiteX248" fmla="*/ 1981783 w 2251041"/>
                <a:gd name="connsiteY248" fmla="*/ 1904771 h 2714826"/>
                <a:gd name="connsiteX249" fmla="*/ 2016582 w 2251041"/>
                <a:gd name="connsiteY249" fmla="*/ 1885756 h 2714826"/>
                <a:gd name="connsiteX250" fmla="*/ 2031604 w 2251041"/>
                <a:gd name="connsiteY250" fmla="*/ 1842401 h 2714826"/>
                <a:gd name="connsiteX251" fmla="*/ 2031604 w 2251041"/>
                <a:gd name="connsiteY251" fmla="*/ 1836696 h 2714826"/>
                <a:gd name="connsiteX252" fmla="*/ 2035977 w 2251041"/>
                <a:gd name="connsiteY252" fmla="*/ 1812927 h 2714826"/>
                <a:gd name="connsiteX253" fmla="*/ 2046246 w 2251041"/>
                <a:gd name="connsiteY253" fmla="*/ 1804750 h 2714826"/>
                <a:gd name="connsiteX254" fmla="*/ 2051000 w 2251041"/>
                <a:gd name="connsiteY254" fmla="*/ 1802088 h 2714826"/>
                <a:gd name="connsiteX255" fmla="*/ 2054993 w 2251041"/>
                <a:gd name="connsiteY255" fmla="*/ 1795243 h 2714826"/>
                <a:gd name="connsiteX256" fmla="*/ 2039020 w 2251041"/>
                <a:gd name="connsiteY256" fmla="*/ 1772995 h 2714826"/>
                <a:gd name="connsiteX257" fmla="*/ 2022666 w 2251041"/>
                <a:gd name="connsiteY257" fmla="*/ 1747324 h 2714826"/>
                <a:gd name="connsiteX258" fmla="*/ 2017342 w 2251041"/>
                <a:gd name="connsiteY258" fmla="*/ 1735154 h 2714826"/>
                <a:gd name="connsiteX259" fmla="*/ 2013539 w 2251041"/>
                <a:gd name="connsiteY259" fmla="*/ 1728118 h 2714826"/>
                <a:gd name="connsiteX260" fmla="*/ 2006123 w 2251041"/>
                <a:gd name="connsiteY260" fmla="*/ 1712906 h 2714826"/>
                <a:gd name="connsiteX261" fmla="*/ 1998327 w 2251041"/>
                <a:gd name="connsiteY261" fmla="*/ 1703018 h 2714826"/>
                <a:gd name="connsiteX262" fmla="*/ 1986917 w 2251041"/>
                <a:gd name="connsiteY262" fmla="*/ 1698454 h 2714826"/>
                <a:gd name="connsiteX263" fmla="*/ 1964099 w 2251041"/>
                <a:gd name="connsiteY263" fmla="*/ 1683622 h 2714826"/>
                <a:gd name="connsiteX264" fmla="*/ 1962578 w 2251041"/>
                <a:gd name="connsiteY264" fmla="*/ 1654529 h 2714826"/>
                <a:gd name="connsiteX265" fmla="*/ 1962578 w 2251041"/>
                <a:gd name="connsiteY265" fmla="*/ 1652437 h 2714826"/>
                <a:gd name="connsiteX266" fmla="*/ 1962578 w 2251041"/>
                <a:gd name="connsiteY266" fmla="*/ 1640267 h 2714826"/>
                <a:gd name="connsiteX267" fmla="*/ 1962578 w 2251041"/>
                <a:gd name="connsiteY267" fmla="*/ 1638366 h 2714826"/>
                <a:gd name="connsiteX268" fmla="*/ 1970184 w 2251041"/>
                <a:gd name="connsiteY268" fmla="*/ 1600335 h 2714826"/>
                <a:gd name="connsiteX269" fmla="*/ 1975889 w 2251041"/>
                <a:gd name="connsiteY269" fmla="*/ 1586834 h 2714826"/>
                <a:gd name="connsiteX270" fmla="*/ 1978170 w 2251041"/>
                <a:gd name="connsiteY270" fmla="*/ 1580559 h 2714826"/>
                <a:gd name="connsiteX271" fmla="*/ 1981974 w 2251041"/>
                <a:gd name="connsiteY271" fmla="*/ 1564205 h 2714826"/>
                <a:gd name="connsiteX272" fmla="*/ 1979502 w 2251041"/>
                <a:gd name="connsiteY272" fmla="*/ 1557170 h 2714826"/>
                <a:gd name="connsiteX273" fmla="*/ 1976079 w 2251041"/>
                <a:gd name="connsiteY273" fmla="*/ 1547472 h 2714826"/>
                <a:gd name="connsiteX274" fmla="*/ 1976079 w 2251041"/>
                <a:gd name="connsiteY274" fmla="*/ 1538725 h 2714826"/>
                <a:gd name="connsiteX275" fmla="*/ 1974368 w 2251041"/>
                <a:gd name="connsiteY275" fmla="*/ 1528457 h 2714826"/>
                <a:gd name="connsiteX276" fmla="*/ 1971325 w 2251041"/>
                <a:gd name="connsiteY276" fmla="*/ 1524654 h 2714826"/>
                <a:gd name="connsiteX277" fmla="*/ 1965050 w 2251041"/>
                <a:gd name="connsiteY277" fmla="*/ 1511913 h 2714826"/>
                <a:gd name="connsiteX278" fmla="*/ 1965050 w 2251041"/>
                <a:gd name="connsiteY278" fmla="*/ 1500314 h 2714826"/>
                <a:gd name="connsiteX279" fmla="*/ 1965050 w 2251041"/>
                <a:gd name="connsiteY279" fmla="*/ 1488905 h 2714826"/>
                <a:gd name="connsiteX280" fmla="*/ 1957824 w 2251041"/>
                <a:gd name="connsiteY280" fmla="*/ 1479017 h 2714826"/>
                <a:gd name="connsiteX281" fmla="*/ 1950218 w 2251041"/>
                <a:gd name="connsiteY281" fmla="*/ 1468939 h 2714826"/>
                <a:gd name="connsiteX282" fmla="*/ 1947175 w 2251041"/>
                <a:gd name="connsiteY282" fmla="*/ 1441747 h 2714826"/>
                <a:gd name="connsiteX283" fmla="*/ 1969804 w 2251041"/>
                <a:gd name="connsiteY283" fmla="*/ 1424443 h 2714826"/>
                <a:gd name="connsiteX284" fmla="*/ 2009356 w 2251041"/>
                <a:gd name="connsiteY284" fmla="*/ 1424443 h 2714826"/>
                <a:gd name="connsiteX285" fmla="*/ 2025519 w 2251041"/>
                <a:gd name="connsiteY285" fmla="*/ 1426914 h 2714826"/>
                <a:gd name="connsiteX286" fmla="*/ 2033125 w 2251041"/>
                <a:gd name="connsiteY286" fmla="*/ 1428056 h 2714826"/>
                <a:gd name="connsiteX287" fmla="*/ 2046246 w 2251041"/>
                <a:gd name="connsiteY287" fmla="*/ 1428056 h 2714826"/>
                <a:gd name="connsiteX288" fmla="*/ 2051380 w 2251041"/>
                <a:gd name="connsiteY288" fmla="*/ 1423682 h 2714826"/>
                <a:gd name="connsiteX289" fmla="*/ 2058415 w 2251041"/>
                <a:gd name="connsiteY289" fmla="*/ 1417597 h 2714826"/>
                <a:gd name="connsiteX290" fmla="*/ 2074959 w 2251041"/>
                <a:gd name="connsiteY290" fmla="*/ 1412463 h 2714826"/>
                <a:gd name="connsiteX291" fmla="*/ 2093974 w 2251041"/>
                <a:gd name="connsiteY291" fmla="*/ 1402765 h 2714826"/>
                <a:gd name="connsiteX292" fmla="*/ 2099869 w 2251041"/>
                <a:gd name="connsiteY292" fmla="*/ 1387933 h 2714826"/>
                <a:gd name="connsiteX293" fmla="*/ 2101961 w 2251041"/>
                <a:gd name="connsiteY293" fmla="*/ 1380327 h 2714826"/>
                <a:gd name="connsiteX294" fmla="*/ 2116983 w 2251041"/>
                <a:gd name="connsiteY294" fmla="*/ 1367396 h 2714826"/>
                <a:gd name="connsiteX295" fmla="*/ 2122497 w 2251041"/>
                <a:gd name="connsiteY295" fmla="*/ 1367396 h 2714826"/>
                <a:gd name="connsiteX296" fmla="*/ 2131434 w 2251041"/>
                <a:gd name="connsiteY296" fmla="*/ 1363593 h 2714826"/>
                <a:gd name="connsiteX297" fmla="*/ 2145886 w 2251041"/>
                <a:gd name="connsiteY297" fmla="*/ 1358649 h 2714826"/>
                <a:gd name="connsiteX298" fmla="*/ 2145886 w 2251041"/>
                <a:gd name="connsiteY298" fmla="*/ 1358649 h 2714826"/>
                <a:gd name="connsiteX299" fmla="*/ 2157296 w 2251041"/>
                <a:gd name="connsiteY299" fmla="*/ 1364354 h 2714826"/>
                <a:gd name="connsiteX300" fmla="*/ 2161669 w 2251041"/>
                <a:gd name="connsiteY300" fmla="*/ 1367016 h 2714826"/>
                <a:gd name="connsiteX301" fmla="*/ 2166993 w 2251041"/>
                <a:gd name="connsiteY301" fmla="*/ 1364734 h 2714826"/>
                <a:gd name="connsiteX302" fmla="*/ 2170036 w 2251041"/>
                <a:gd name="connsiteY302" fmla="*/ 1347811 h 2714826"/>
                <a:gd name="connsiteX303" fmla="*/ 2166803 w 2251041"/>
                <a:gd name="connsiteY303" fmla="*/ 1311871 h 2714826"/>
                <a:gd name="connsiteX304" fmla="*/ 2166803 w 2251041"/>
                <a:gd name="connsiteY304" fmla="*/ 1301033 h 2714826"/>
                <a:gd name="connsiteX305" fmla="*/ 2166803 w 2251041"/>
                <a:gd name="connsiteY305" fmla="*/ 1295328 h 2714826"/>
                <a:gd name="connsiteX306" fmla="*/ 2161669 w 2251041"/>
                <a:gd name="connsiteY306" fmla="*/ 1280306 h 2714826"/>
                <a:gd name="connsiteX307" fmla="*/ 2157485 w 2251041"/>
                <a:gd name="connsiteY307" fmla="*/ 1277454 h 2714826"/>
                <a:gd name="connsiteX308" fmla="*/ 2148358 w 2251041"/>
                <a:gd name="connsiteY308" fmla="*/ 1266995 h 2714826"/>
                <a:gd name="connsiteX309" fmla="*/ 2147218 w 2251041"/>
                <a:gd name="connsiteY309" fmla="*/ 1254255 h 2714826"/>
                <a:gd name="connsiteX310" fmla="*/ 2145886 w 2251041"/>
                <a:gd name="connsiteY310" fmla="*/ 1244367 h 2714826"/>
                <a:gd name="connsiteX311" fmla="*/ 2137329 w 2251041"/>
                <a:gd name="connsiteY311" fmla="*/ 1237712 h 2714826"/>
                <a:gd name="connsiteX312" fmla="*/ 2132386 w 2251041"/>
                <a:gd name="connsiteY312" fmla="*/ 1234479 h 2714826"/>
                <a:gd name="connsiteX313" fmla="*/ 2116793 w 2251041"/>
                <a:gd name="connsiteY313" fmla="*/ 1221358 h 2714826"/>
                <a:gd name="connsiteX314" fmla="*/ 2093784 w 2251041"/>
                <a:gd name="connsiteY314" fmla="*/ 1203864 h 2714826"/>
                <a:gd name="connsiteX315" fmla="*/ 2080283 w 2251041"/>
                <a:gd name="connsiteY315" fmla="*/ 1189032 h 2714826"/>
                <a:gd name="connsiteX316" fmla="*/ 2077811 w 2251041"/>
                <a:gd name="connsiteY316" fmla="*/ 1183898 h 2714826"/>
                <a:gd name="connsiteX317" fmla="*/ 2073247 w 2251041"/>
                <a:gd name="connsiteY317" fmla="*/ 1178954 h 2714826"/>
                <a:gd name="connsiteX318" fmla="*/ 2068113 w 2251041"/>
                <a:gd name="connsiteY318" fmla="*/ 1174010 h 2714826"/>
                <a:gd name="connsiteX319" fmla="*/ 2059176 w 2251041"/>
                <a:gd name="connsiteY319" fmla="*/ 1148339 h 2714826"/>
                <a:gd name="connsiteX320" fmla="*/ 2051189 w 2251041"/>
                <a:gd name="connsiteY320" fmla="*/ 1129324 h 2714826"/>
                <a:gd name="connsiteX321" fmla="*/ 2049668 w 2251041"/>
                <a:gd name="connsiteY321" fmla="*/ 1127802 h 2714826"/>
                <a:gd name="connsiteX322" fmla="*/ 2045675 w 2251041"/>
                <a:gd name="connsiteY322" fmla="*/ 1108787 h 2714826"/>
                <a:gd name="connsiteX323" fmla="*/ 2047387 w 2251041"/>
                <a:gd name="connsiteY323" fmla="*/ 1101371 h 2714826"/>
                <a:gd name="connsiteX324" fmla="*/ 2049478 w 2251041"/>
                <a:gd name="connsiteY324" fmla="*/ 1082356 h 2714826"/>
                <a:gd name="connsiteX325" fmla="*/ 2047767 w 2251041"/>
                <a:gd name="connsiteY325" fmla="*/ 1075700 h 2714826"/>
                <a:gd name="connsiteX326" fmla="*/ 2047767 w 2251041"/>
                <a:gd name="connsiteY326" fmla="*/ 1053262 h 2714826"/>
                <a:gd name="connsiteX327" fmla="*/ 2063550 w 2251041"/>
                <a:gd name="connsiteY327" fmla="*/ 1045276 h 2714826"/>
                <a:gd name="connsiteX328" fmla="*/ 2070015 w 2251041"/>
                <a:gd name="connsiteY328" fmla="*/ 1043564 h 2714826"/>
                <a:gd name="connsiteX329" fmla="*/ 2075149 w 2251041"/>
                <a:gd name="connsiteY329" fmla="*/ 1036719 h 2714826"/>
                <a:gd name="connsiteX330" fmla="*/ 2079713 w 2251041"/>
                <a:gd name="connsiteY330" fmla="*/ 1027211 h 2714826"/>
                <a:gd name="connsiteX331" fmla="*/ 2100820 w 2251041"/>
                <a:gd name="connsiteY331" fmla="*/ 1018274 h 2714826"/>
                <a:gd name="connsiteX332" fmla="*/ 2118504 w 2251041"/>
                <a:gd name="connsiteY332" fmla="*/ 1013710 h 2714826"/>
                <a:gd name="connsiteX333" fmla="*/ 2118504 w 2251041"/>
                <a:gd name="connsiteY333" fmla="*/ 1003822 h 2714826"/>
                <a:gd name="connsiteX334" fmla="*/ 2101771 w 2251041"/>
                <a:gd name="connsiteY334" fmla="*/ 991462 h 2714826"/>
                <a:gd name="connsiteX335" fmla="*/ 2079523 w 2251041"/>
                <a:gd name="connsiteY335" fmla="*/ 975679 h 2714826"/>
                <a:gd name="connsiteX336" fmla="*/ 2101200 w 2251041"/>
                <a:gd name="connsiteY336" fmla="*/ 945255 h 2714826"/>
                <a:gd name="connsiteX337" fmla="*/ 2112229 w 2251041"/>
                <a:gd name="connsiteY337" fmla="*/ 938980 h 2714826"/>
                <a:gd name="connsiteX338" fmla="*/ 2127822 w 2251041"/>
                <a:gd name="connsiteY338" fmla="*/ 917302 h 2714826"/>
                <a:gd name="connsiteX339" fmla="*/ 2129533 w 2251041"/>
                <a:gd name="connsiteY339" fmla="*/ 909696 h 2714826"/>
                <a:gd name="connsiteX340" fmla="*/ 2136188 w 2251041"/>
                <a:gd name="connsiteY340" fmla="*/ 892392 h 2714826"/>
                <a:gd name="connsiteX341" fmla="*/ 2149309 w 2251041"/>
                <a:gd name="connsiteY341" fmla="*/ 884786 h 2714826"/>
                <a:gd name="connsiteX342" fmla="*/ 2149309 w 2251041"/>
                <a:gd name="connsiteY342" fmla="*/ 884786 h 2714826"/>
                <a:gd name="connsiteX343" fmla="*/ 2163571 w 2251041"/>
                <a:gd name="connsiteY343" fmla="*/ 893723 h 2714826"/>
                <a:gd name="connsiteX344" fmla="*/ 2170226 w 2251041"/>
                <a:gd name="connsiteY344" fmla="*/ 899808 h 2714826"/>
                <a:gd name="connsiteX345" fmla="*/ 2192094 w 2251041"/>
                <a:gd name="connsiteY345" fmla="*/ 897526 h 2714826"/>
                <a:gd name="connsiteX346" fmla="*/ 2193615 w 2251041"/>
                <a:gd name="connsiteY346" fmla="*/ 887258 h 2714826"/>
                <a:gd name="connsiteX347" fmla="*/ 2193615 w 2251041"/>
                <a:gd name="connsiteY347" fmla="*/ 883265 h 2714826"/>
                <a:gd name="connsiteX348" fmla="*/ 2199129 w 2251041"/>
                <a:gd name="connsiteY348" fmla="*/ 856833 h 2714826"/>
                <a:gd name="connsiteX349" fmla="*/ 2204644 w 2251041"/>
                <a:gd name="connsiteY349" fmla="*/ 843523 h 2714826"/>
                <a:gd name="connsiteX350" fmla="*/ 2205785 w 2251041"/>
                <a:gd name="connsiteY350" fmla="*/ 836867 h 2714826"/>
                <a:gd name="connsiteX351" fmla="*/ 2211490 w 2251041"/>
                <a:gd name="connsiteY351" fmla="*/ 818993 h 2714826"/>
                <a:gd name="connsiteX352" fmla="*/ 2220807 w 2251041"/>
                <a:gd name="connsiteY352" fmla="*/ 810436 h 2714826"/>
                <a:gd name="connsiteX353" fmla="*/ 2227272 w 2251041"/>
                <a:gd name="connsiteY353" fmla="*/ 804921 h 2714826"/>
                <a:gd name="connsiteX354" fmla="*/ 2227272 w 2251041"/>
                <a:gd name="connsiteY354" fmla="*/ 771644 h 2714826"/>
                <a:gd name="connsiteX355" fmla="*/ 2216624 w 2251041"/>
                <a:gd name="connsiteY355" fmla="*/ 766510 h 2714826"/>
                <a:gd name="connsiteX356" fmla="*/ 2208447 w 2251041"/>
                <a:gd name="connsiteY356" fmla="*/ 764228 h 2714826"/>
                <a:gd name="connsiteX357" fmla="*/ 2192854 w 2251041"/>
                <a:gd name="connsiteY357" fmla="*/ 751868 h 2714826"/>
                <a:gd name="connsiteX358" fmla="*/ 2190762 w 2251041"/>
                <a:gd name="connsiteY358" fmla="*/ 749396 h 2714826"/>
                <a:gd name="connsiteX359" fmla="*/ 2171747 w 2251041"/>
                <a:gd name="connsiteY359" fmla="*/ 703189 h 2714826"/>
                <a:gd name="connsiteX360" fmla="*/ 2159958 w 2251041"/>
                <a:gd name="connsiteY360" fmla="*/ 667060 h 2714826"/>
                <a:gd name="connsiteX361" fmla="*/ 2143224 w 2251041"/>
                <a:gd name="connsiteY361" fmla="*/ 622374 h 2714826"/>
                <a:gd name="connsiteX362" fmla="*/ 2149119 w 2251041"/>
                <a:gd name="connsiteY362" fmla="*/ 612486 h 2714826"/>
                <a:gd name="connsiteX363" fmla="*/ 2152922 w 2251041"/>
                <a:gd name="connsiteY363" fmla="*/ 605070 h 2714826"/>
                <a:gd name="connsiteX364" fmla="*/ 2145506 w 2251041"/>
                <a:gd name="connsiteY364" fmla="*/ 599935 h 2714826"/>
                <a:gd name="connsiteX365" fmla="*/ 2130864 w 2251041"/>
                <a:gd name="connsiteY365" fmla="*/ 585294 h 2714826"/>
                <a:gd name="connsiteX366" fmla="*/ 2140942 w 2251041"/>
                <a:gd name="connsiteY366" fmla="*/ 559623 h 2714826"/>
                <a:gd name="connsiteX367" fmla="*/ 2181635 w 2251041"/>
                <a:gd name="connsiteY367" fmla="*/ 521592 h 2714826"/>
                <a:gd name="connsiteX368" fmla="*/ 2186960 w 2251041"/>
                <a:gd name="connsiteY368" fmla="*/ 518169 h 2714826"/>
                <a:gd name="connsiteX369" fmla="*/ 2196087 w 2251041"/>
                <a:gd name="connsiteY369" fmla="*/ 510753 h 2714826"/>
                <a:gd name="connsiteX370" fmla="*/ 2196087 w 2251041"/>
                <a:gd name="connsiteY370" fmla="*/ 503337 h 2714826"/>
                <a:gd name="connsiteX371" fmla="*/ 2197608 w 2251041"/>
                <a:gd name="connsiteY371" fmla="*/ 491167 h 2714826"/>
                <a:gd name="connsiteX372" fmla="*/ 2226322 w 2251041"/>
                <a:gd name="connsiteY372" fmla="*/ 481470 h 2714826"/>
                <a:gd name="connsiteX373" fmla="*/ 2240013 w 2251041"/>
                <a:gd name="connsiteY373" fmla="*/ 480329 h 2714826"/>
                <a:gd name="connsiteX374" fmla="*/ 2239062 w 2251041"/>
                <a:gd name="connsiteY374" fmla="*/ 468349 h 2714826"/>
                <a:gd name="connsiteX375" fmla="*/ 2236970 w 2251041"/>
                <a:gd name="connsiteY375" fmla="*/ 458081 h 2714826"/>
                <a:gd name="connsiteX376" fmla="*/ 2240773 w 2251041"/>
                <a:gd name="connsiteY376" fmla="*/ 440967 h 2714826"/>
                <a:gd name="connsiteX377" fmla="*/ 2242865 w 2251041"/>
                <a:gd name="connsiteY377" fmla="*/ 435452 h 2714826"/>
                <a:gd name="connsiteX378" fmla="*/ 2245907 w 2251041"/>
                <a:gd name="connsiteY378" fmla="*/ 427846 h 2714826"/>
                <a:gd name="connsiteX379" fmla="*/ 2251041 w 2251041"/>
                <a:gd name="connsiteY379" fmla="*/ 414345 h 2714826"/>
                <a:gd name="connsiteX380" fmla="*/ 2244956 w 2251041"/>
                <a:gd name="connsiteY380" fmla="*/ 408831 h 2714826"/>
                <a:gd name="connsiteX381" fmla="*/ 2240963 w 2251041"/>
                <a:gd name="connsiteY381" fmla="*/ 405408 h 2714826"/>
                <a:gd name="connsiteX382" fmla="*/ 2238491 w 2251041"/>
                <a:gd name="connsiteY382" fmla="*/ 403126 h 2714826"/>
                <a:gd name="connsiteX383" fmla="*/ 2229935 w 2251041"/>
                <a:gd name="connsiteY383" fmla="*/ 396281 h 2714826"/>
                <a:gd name="connsiteX384" fmla="*/ 2228603 w 2251041"/>
                <a:gd name="connsiteY384" fmla="*/ 396281 h 2714826"/>
                <a:gd name="connsiteX385" fmla="*/ 2208447 w 2251041"/>
                <a:gd name="connsiteY385" fmla="*/ 377265 h 2714826"/>
                <a:gd name="connsiteX386" fmla="*/ 2202742 w 2251041"/>
                <a:gd name="connsiteY386" fmla="*/ 366236 h 2714826"/>
                <a:gd name="connsiteX387" fmla="*/ 2197799 w 2251041"/>
                <a:gd name="connsiteY387" fmla="*/ 356729 h 2714826"/>
                <a:gd name="connsiteX388" fmla="*/ 2185819 w 2251041"/>
                <a:gd name="connsiteY388" fmla="*/ 349503 h 2714826"/>
                <a:gd name="connsiteX389" fmla="*/ 2181255 w 2251041"/>
                <a:gd name="connsiteY389" fmla="*/ 348172 h 2714826"/>
                <a:gd name="connsiteX390" fmla="*/ 2144745 w 2251041"/>
                <a:gd name="connsiteY390" fmla="*/ 353116 h 2714826"/>
                <a:gd name="connsiteX391" fmla="*/ 2089601 w 2251041"/>
                <a:gd name="connsiteY391" fmla="*/ 346651 h 2714826"/>
                <a:gd name="connsiteX392" fmla="*/ 2074769 w 2251041"/>
                <a:gd name="connsiteY392" fmla="*/ 322881 h 2714826"/>
                <a:gd name="connsiteX393" fmla="*/ 2078001 w 2251041"/>
                <a:gd name="connsiteY393" fmla="*/ 312993 h 2714826"/>
                <a:gd name="connsiteX394" fmla="*/ 2083706 w 2251041"/>
                <a:gd name="connsiteY394" fmla="*/ 313944 h 2714826"/>
                <a:gd name="connsiteX395" fmla="*/ 2078762 w 2251041"/>
                <a:gd name="connsiteY395" fmla="*/ 311472 h 2714826"/>
                <a:gd name="connsiteX396" fmla="*/ 2079713 w 2251041"/>
                <a:gd name="connsiteY396" fmla="*/ 308049 h 2714826"/>
                <a:gd name="connsiteX397" fmla="*/ 2078572 w 2251041"/>
                <a:gd name="connsiteY397" fmla="*/ 308049 h 2714826"/>
                <a:gd name="connsiteX398" fmla="*/ 2059556 w 2251041"/>
                <a:gd name="connsiteY398" fmla="*/ 301204 h 2714826"/>
                <a:gd name="connsiteX399" fmla="*/ 2044915 w 2251041"/>
                <a:gd name="connsiteY399" fmla="*/ 278005 h 2714826"/>
                <a:gd name="connsiteX400" fmla="*/ 2049859 w 2251041"/>
                <a:gd name="connsiteY400" fmla="*/ 260130 h 2714826"/>
                <a:gd name="connsiteX401" fmla="*/ 2052711 w 2251041"/>
                <a:gd name="connsiteY401" fmla="*/ 252714 h 2714826"/>
                <a:gd name="connsiteX402" fmla="*/ 2055183 w 2251041"/>
                <a:gd name="connsiteY402" fmla="*/ 243207 h 2714826"/>
                <a:gd name="connsiteX403" fmla="*/ 2058986 w 2251041"/>
                <a:gd name="connsiteY403" fmla="*/ 229135 h 2714826"/>
                <a:gd name="connsiteX404" fmla="*/ 2072677 w 2251041"/>
                <a:gd name="connsiteY404" fmla="*/ 204415 h 2714826"/>
                <a:gd name="connsiteX405" fmla="*/ 2083896 w 2251041"/>
                <a:gd name="connsiteY405" fmla="*/ 185400 h 2714826"/>
                <a:gd name="connsiteX406" fmla="*/ 2086938 w 2251041"/>
                <a:gd name="connsiteY406" fmla="*/ 162582 h 2714826"/>
                <a:gd name="connsiteX407" fmla="*/ 2093594 w 2251041"/>
                <a:gd name="connsiteY407" fmla="*/ 131016 h 2714826"/>
                <a:gd name="connsiteX408" fmla="*/ 2108806 w 2251041"/>
                <a:gd name="connsiteY408" fmla="*/ 117325 h 2714826"/>
                <a:gd name="connsiteX409" fmla="*/ 2121737 w 2251041"/>
                <a:gd name="connsiteY409" fmla="*/ 99450 h 2714826"/>
                <a:gd name="connsiteX410" fmla="*/ 2099679 w 2251041"/>
                <a:gd name="connsiteY410" fmla="*/ 74160 h 2714826"/>
                <a:gd name="connsiteX411" fmla="*/ 2083896 w 2251041"/>
                <a:gd name="connsiteY411" fmla="*/ 63702 h 2714826"/>
                <a:gd name="connsiteX412" fmla="*/ 2080664 w 2251041"/>
                <a:gd name="connsiteY412" fmla="*/ 59898 h 2714826"/>
                <a:gd name="connsiteX413" fmla="*/ 2070395 w 2251041"/>
                <a:gd name="connsiteY413" fmla="*/ 54194 h 2714826"/>
                <a:gd name="connsiteX414" fmla="*/ 2064310 w 2251041"/>
                <a:gd name="connsiteY414" fmla="*/ 54194 h 2714826"/>
                <a:gd name="connsiteX415" fmla="*/ 2047387 w 2251041"/>
                <a:gd name="connsiteY415" fmla="*/ 51151 h 2714826"/>
                <a:gd name="connsiteX416" fmla="*/ 2039590 w 2251041"/>
                <a:gd name="connsiteY416" fmla="*/ 41834 h 2714826"/>
                <a:gd name="connsiteX417" fmla="*/ 2034456 w 2251041"/>
                <a:gd name="connsiteY417" fmla="*/ 35559 h 2714826"/>
                <a:gd name="connsiteX418" fmla="*/ 2015440 w 2251041"/>
                <a:gd name="connsiteY418" fmla="*/ 31756 h 2714826"/>
                <a:gd name="connsiteX419" fmla="*/ 1985777 w 2251041"/>
                <a:gd name="connsiteY419" fmla="*/ 22248 h 2714826"/>
                <a:gd name="connsiteX420" fmla="*/ 1973417 w 2251041"/>
                <a:gd name="connsiteY420" fmla="*/ 0 h 2714826"/>
                <a:gd name="connsiteX421" fmla="*/ 1968853 w 2251041"/>
                <a:gd name="connsiteY421" fmla="*/ 28713 h 2714826"/>
                <a:gd name="connsiteX422" fmla="*/ 2003461 w 2251041"/>
                <a:gd name="connsiteY422" fmla="*/ 66744 h 2714826"/>
                <a:gd name="connsiteX423" fmla="*/ 2014490 w 2251041"/>
                <a:gd name="connsiteY423" fmla="*/ 80625 h 2714826"/>
                <a:gd name="connsiteX424" fmla="*/ 1992622 w 2251041"/>
                <a:gd name="connsiteY424" fmla="*/ 80625 h 2714826"/>
                <a:gd name="connsiteX425" fmla="*/ 1926449 w 2251041"/>
                <a:gd name="connsiteY425" fmla="*/ 67885 h 2714826"/>
                <a:gd name="connsiteX426" fmla="*/ 1897926 w 2251041"/>
                <a:gd name="connsiteY426" fmla="*/ 86900 h 2714826"/>
                <a:gd name="connsiteX427" fmla="*/ 1875868 w 2251041"/>
                <a:gd name="connsiteY427" fmla="*/ 69787 h 2714826"/>
                <a:gd name="connsiteX428" fmla="*/ 1812356 w 2251041"/>
                <a:gd name="connsiteY428" fmla="*/ 27382 h 2714826"/>
                <a:gd name="connsiteX429" fmla="*/ 1731922 w 2251041"/>
                <a:gd name="connsiteY429" fmla="*/ 55145 h 2714826"/>
                <a:gd name="connsiteX430" fmla="*/ 1671072 w 2251041"/>
                <a:gd name="connsiteY430" fmla="*/ 115804 h 2714826"/>
                <a:gd name="connsiteX431" fmla="*/ 1653578 w 2251041"/>
                <a:gd name="connsiteY431" fmla="*/ 155166 h 2714826"/>
                <a:gd name="connsiteX432" fmla="*/ 1636084 w 2251041"/>
                <a:gd name="connsiteY432" fmla="*/ 191675 h 2714826"/>
                <a:gd name="connsiteX433" fmla="*/ 1623343 w 2251041"/>
                <a:gd name="connsiteY433" fmla="*/ 230847 h 2714826"/>
                <a:gd name="connsiteX434" fmla="*/ 1600145 w 2251041"/>
                <a:gd name="connsiteY434" fmla="*/ 258799 h 2714826"/>
                <a:gd name="connsiteX435" fmla="*/ 1571621 w 2251041"/>
                <a:gd name="connsiteY435" fmla="*/ 265075 h 2714826"/>
                <a:gd name="connsiteX436" fmla="*/ 1559452 w 2251041"/>
                <a:gd name="connsiteY436" fmla="*/ 255947 h 2714826"/>
                <a:gd name="connsiteX437" fmla="*/ 1540437 w 2251041"/>
                <a:gd name="connsiteY437" fmla="*/ 251764 h 2714826"/>
                <a:gd name="connsiteX438" fmla="*/ 1500314 w 2251041"/>
                <a:gd name="connsiteY438" fmla="*/ 289794 h 2714826"/>
                <a:gd name="connsiteX439" fmla="*/ 1467798 w 2251041"/>
                <a:gd name="connsiteY439" fmla="*/ 287703 h 2714826"/>
                <a:gd name="connsiteX440" fmla="*/ 1439845 w 2251041"/>
                <a:gd name="connsiteY440" fmla="*/ 287703 h 2714826"/>
                <a:gd name="connsiteX441" fmla="*/ 1415505 w 2251041"/>
                <a:gd name="connsiteY441" fmla="*/ 297591 h 2714826"/>
                <a:gd name="connsiteX442" fmla="*/ 1435852 w 2251041"/>
                <a:gd name="connsiteY442" fmla="*/ 264504 h 2714826"/>
                <a:gd name="connsiteX443" fmla="*/ 1420830 w 2251041"/>
                <a:gd name="connsiteY443" fmla="*/ 242256 h 2714826"/>
                <a:gd name="connsiteX444" fmla="*/ 1382799 w 2251041"/>
                <a:gd name="connsiteY444" fmla="*/ 243967 h 2714826"/>
                <a:gd name="connsiteX445" fmla="*/ 1317576 w 2251041"/>
                <a:gd name="connsiteY445" fmla="*/ 286942 h 2714826"/>
                <a:gd name="connsiteX446" fmla="*/ 1323851 w 2251041"/>
                <a:gd name="connsiteY446" fmla="*/ 361102 h 2714826"/>
                <a:gd name="connsiteX447" fmla="*/ 1326323 w 2251041"/>
                <a:gd name="connsiteY447" fmla="*/ 395900 h 2714826"/>
                <a:gd name="connsiteX448" fmla="*/ 1305787 w 2251041"/>
                <a:gd name="connsiteY448" fmla="*/ 417768 h 2714826"/>
                <a:gd name="connsiteX449" fmla="*/ 1300652 w 2251041"/>
                <a:gd name="connsiteY449" fmla="*/ 391527 h 2714826"/>
                <a:gd name="connsiteX450" fmla="*/ 1313963 w 2251041"/>
                <a:gd name="connsiteY450" fmla="*/ 366427 h 2714826"/>
                <a:gd name="connsiteX451" fmla="*/ 1304265 w 2251041"/>
                <a:gd name="connsiteY451" fmla="*/ 367758 h 2714826"/>
                <a:gd name="connsiteX452" fmla="*/ 1288863 w 2251041"/>
                <a:gd name="connsiteY452" fmla="*/ 355778 h 2714826"/>
                <a:gd name="connsiteX453" fmla="*/ 1290574 w 2251041"/>
                <a:gd name="connsiteY453" fmla="*/ 345510 h 2714826"/>
                <a:gd name="connsiteX454" fmla="*/ 1261671 w 2251041"/>
                <a:gd name="connsiteY454" fmla="*/ 359581 h 2714826"/>
                <a:gd name="connsiteX455" fmla="*/ 1239233 w 2251041"/>
                <a:gd name="connsiteY455" fmla="*/ 380308 h 2714826"/>
                <a:gd name="connsiteX456" fmla="*/ 1239233 w 2251041"/>
                <a:gd name="connsiteY456" fmla="*/ 355207 h 2714826"/>
                <a:gd name="connsiteX457" fmla="*/ 1270228 w 2251041"/>
                <a:gd name="connsiteY457" fmla="*/ 339995 h 2714826"/>
                <a:gd name="connsiteX458" fmla="*/ 1287151 w 2251041"/>
                <a:gd name="connsiteY458" fmla="*/ 315085 h 2714826"/>
                <a:gd name="connsiteX459" fmla="*/ 1257488 w 2251041"/>
                <a:gd name="connsiteY459" fmla="*/ 320029 h 2714826"/>
                <a:gd name="connsiteX460" fmla="*/ 1175722 w 2251041"/>
                <a:gd name="connsiteY460" fmla="*/ 367567 h 2714826"/>
                <a:gd name="connsiteX461" fmla="*/ 1141494 w 2251041"/>
                <a:gd name="connsiteY461" fmla="*/ 396091 h 2714826"/>
                <a:gd name="connsiteX462" fmla="*/ 1098329 w 2251041"/>
                <a:gd name="connsiteY462" fmla="*/ 411493 h 2714826"/>
                <a:gd name="connsiteX463" fmla="*/ 1080264 w 2251041"/>
                <a:gd name="connsiteY463" fmla="*/ 426705 h 2714826"/>
                <a:gd name="connsiteX464" fmla="*/ 1108597 w 2251041"/>
                <a:gd name="connsiteY464" fmla="*/ 443249 h 2714826"/>
                <a:gd name="connsiteX465" fmla="*/ 1084067 w 2251041"/>
                <a:gd name="connsiteY465" fmla="*/ 486033 h 2714826"/>
                <a:gd name="connsiteX466" fmla="*/ 1074369 w 2251041"/>
                <a:gd name="connsiteY466" fmla="*/ 509422 h 2714826"/>
                <a:gd name="connsiteX467" fmla="*/ 1094716 w 2251041"/>
                <a:gd name="connsiteY467" fmla="*/ 532241 h 2714826"/>
                <a:gd name="connsiteX468" fmla="*/ 1117724 w 2251041"/>
                <a:gd name="connsiteY468" fmla="*/ 520071 h 2714826"/>
                <a:gd name="connsiteX469" fmla="*/ 1164883 w 2251041"/>
                <a:gd name="connsiteY469" fmla="*/ 575215 h 2714826"/>
                <a:gd name="connsiteX470" fmla="*/ 1167355 w 2251041"/>
                <a:gd name="connsiteY470" fmla="*/ 592900 h 2714826"/>
                <a:gd name="connsiteX471" fmla="*/ 1155185 w 2251041"/>
                <a:gd name="connsiteY471" fmla="*/ 602217 h 2714826"/>
                <a:gd name="connsiteX472" fmla="*/ 1136169 w 2251041"/>
                <a:gd name="connsiteY472" fmla="*/ 600316 h 2714826"/>
                <a:gd name="connsiteX473" fmla="*/ 1110498 w 2251041"/>
                <a:gd name="connsiteY473" fmla="*/ 638346 h 2714826"/>
                <a:gd name="connsiteX474" fmla="*/ 1134648 w 2251041"/>
                <a:gd name="connsiteY474" fmla="*/ 654890 h 2714826"/>
                <a:gd name="connsiteX475" fmla="*/ 1115633 w 2251041"/>
                <a:gd name="connsiteY475" fmla="*/ 665919 h 2714826"/>
                <a:gd name="connsiteX476" fmla="*/ 1044325 w 2251041"/>
                <a:gd name="connsiteY476" fmla="*/ 665919 h 2714826"/>
                <a:gd name="connsiteX477" fmla="*/ 1007815 w 2251041"/>
                <a:gd name="connsiteY477" fmla="*/ 724296 h 2714826"/>
                <a:gd name="connsiteX478" fmla="*/ 1000400 w 2251041"/>
                <a:gd name="connsiteY478" fmla="*/ 739699 h 2714826"/>
                <a:gd name="connsiteX479" fmla="*/ 963700 w 2251041"/>
                <a:gd name="connsiteY479" fmla="*/ 747495 h 2714826"/>
                <a:gd name="connsiteX480" fmla="*/ 930803 w 2251041"/>
                <a:gd name="connsiteY480" fmla="*/ 736466 h 2714826"/>
                <a:gd name="connsiteX481" fmla="*/ 905513 w 2251041"/>
                <a:gd name="connsiteY481" fmla="*/ 723916 h 2714826"/>
                <a:gd name="connsiteX482" fmla="*/ 916351 w 2251041"/>
                <a:gd name="connsiteY482" fmla="*/ 784955 h 2714826"/>
                <a:gd name="connsiteX483" fmla="*/ 935367 w 2251041"/>
                <a:gd name="connsiteY483" fmla="*/ 852079 h 2714826"/>
                <a:gd name="connsiteX484" fmla="*/ 933846 w 2251041"/>
                <a:gd name="connsiteY484" fmla="*/ 880222 h 2714826"/>
                <a:gd name="connsiteX485" fmla="*/ 910077 w 2251041"/>
                <a:gd name="connsiteY485" fmla="*/ 874137 h 2714826"/>
                <a:gd name="connsiteX486" fmla="*/ 898858 w 2251041"/>
                <a:gd name="connsiteY486" fmla="*/ 878321 h 2714826"/>
                <a:gd name="connsiteX487" fmla="*/ 882504 w 2251041"/>
                <a:gd name="connsiteY487" fmla="*/ 875278 h 2714826"/>
                <a:gd name="connsiteX488" fmla="*/ 861207 w 2251041"/>
                <a:gd name="connsiteY488" fmla="*/ 872616 h 2714826"/>
                <a:gd name="connsiteX489" fmla="*/ 844664 w 2251041"/>
                <a:gd name="connsiteY489" fmla="*/ 862728 h 2714826"/>
                <a:gd name="connsiteX490" fmla="*/ 827550 w 2251041"/>
                <a:gd name="connsiteY490" fmla="*/ 853220 h 2714826"/>
                <a:gd name="connsiteX491" fmla="*/ 815000 w 2251041"/>
                <a:gd name="connsiteY491" fmla="*/ 843332 h 2714826"/>
                <a:gd name="connsiteX492" fmla="*/ 797885 w 2251041"/>
                <a:gd name="connsiteY492" fmla="*/ 840100 h 2714826"/>
                <a:gd name="connsiteX493" fmla="*/ 786286 w 2251041"/>
                <a:gd name="connsiteY493" fmla="*/ 826028 h 2714826"/>
                <a:gd name="connsiteX494" fmla="*/ 740839 w 2251041"/>
                <a:gd name="connsiteY494" fmla="*/ 797505 h 2714826"/>
                <a:gd name="connsiteX495" fmla="*/ 740839 w 2251041"/>
                <a:gd name="connsiteY495" fmla="*/ 793702 h 2714826"/>
                <a:gd name="connsiteX496" fmla="*/ 746164 w 2251041"/>
                <a:gd name="connsiteY496" fmla="*/ 787998 h 2714826"/>
                <a:gd name="connsiteX497" fmla="*/ 763087 w 2251041"/>
                <a:gd name="connsiteY497" fmla="*/ 782103 h 2714826"/>
                <a:gd name="connsiteX498" fmla="*/ 767461 w 2251041"/>
                <a:gd name="connsiteY498" fmla="*/ 751218 h 2714826"/>
                <a:gd name="connsiteX499" fmla="*/ 765940 w 2251041"/>
                <a:gd name="connsiteY499" fmla="*/ 749396 h 2714826"/>
                <a:gd name="connsiteX500" fmla="*/ 738177 w 2251041"/>
                <a:gd name="connsiteY500" fmla="*/ 738938 h 2714826"/>
                <a:gd name="connsiteX501" fmla="*/ 731902 w 2251041"/>
                <a:gd name="connsiteY501" fmla="*/ 741410 h 2714826"/>
                <a:gd name="connsiteX502" fmla="*/ 731902 w 2251041"/>
                <a:gd name="connsiteY502" fmla="*/ 741410 h 2714826"/>
                <a:gd name="connsiteX503" fmla="*/ 726198 w 2251041"/>
                <a:gd name="connsiteY503" fmla="*/ 739889 h 2714826"/>
                <a:gd name="connsiteX504" fmla="*/ 723345 w 2251041"/>
                <a:gd name="connsiteY504" fmla="*/ 734564 h 2714826"/>
                <a:gd name="connsiteX505" fmla="*/ 725437 w 2251041"/>
                <a:gd name="connsiteY505" fmla="*/ 723155 h 2714826"/>
                <a:gd name="connsiteX506" fmla="*/ 725437 w 2251041"/>
                <a:gd name="connsiteY506" fmla="*/ 704140 h 2714826"/>
                <a:gd name="connsiteX507" fmla="*/ 716880 w 2251041"/>
                <a:gd name="connsiteY507" fmla="*/ 700907 h 2714826"/>
                <a:gd name="connsiteX508" fmla="*/ 704520 w 2251041"/>
                <a:gd name="connsiteY508" fmla="*/ 693111 h 2714826"/>
                <a:gd name="connsiteX509" fmla="*/ 704520 w 2251041"/>
                <a:gd name="connsiteY509" fmla="*/ 693111 h 2714826"/>
                <a:gd name="connsiteX510" fmla="*/ 698245 w 2251041"/>
                <a:gd name="connsiteY510" fmla="*/ 684364 h 2714826"/>
                <a:gd name="connsiteX511" fmla="*/ 691019 w 2251041"/>
                <a:gd name="connsiteY511" fmla="*/ 668010 h 2714826"/>
                <a:gd name="connsiteX512" fmla="*/ 664588 w 2251041"/>
                <a:gd name="connsiteY512" fmla="*/ 660404 h 2714826"/>
                <a:gd name="connsiteX513" fmla="*/ 599745 w 2251041"/>
                <a:gd name="connsiteY513" fmla="*/ 662116 h 2714826"/>
                <a:gd name="connsiteX514" fmla="*/ 596513 w 2251041"/>
                <a:gd name="connsiteY514" fmla="*/ 679610 h 2714826"/>
                <a:gd name="connsiteX515" fmla="*/ 591759 w 2251041"/>
                <a:gd name="connsiteY515" fmla="*/ 683983 h 2714826"/>
                <a:gd name="connsiteX516" fmla="*/ 586245 w 2251041"/>
                <a:gd name="connsiteY516" fmla="*/ 683983 h 2714826"/>
                <a:gd name="connsiteX517" fmla="*/ 570271 w 2251041"/>
                <a:gd name="connsiteY517" fmla="*/ 682082 h 2714826"/>
                <a:gd name="connsiteX518" fmla="*/ 551256 w 2251041"/>
                <a:gd name="connsiteY518" fmla="*/ 686075 h 2714826"/>
                <a:gd name="connsiteX519" fmla="*/ 538136 w 2251041"/>
                <a:gd name="connsiteY519" fmla="*/ 683793 h 2714826"/>
                <a:gd name="connsiteX520" fmla="*/ 531860 w 2251041"/>
                <a:gd name="connsiteY520" fmla="*/ 681511 h 2714826"/>
                <a:gd name="connsiteX521" fmla="*/ 525775 w 2251041"/>
                <a:gd name="connsiteY521" fmla="*/ 678849 h 2714826"/>
                <a:gd name="connsiteX522" fmla="*/ 518550 w 2251041"/>
                <a:gd name="connsiteY522" fmla="*/ 683223 h 2714826"/>
                <a:gd name="connsiteX523" fmla="*/ 513415 w 2251041"/>
                <a:gd name="connsiteY523" fmla="*/ 683223 h 2714826"/>
                <a:gd name="connsiteX524" fmla="*/ 505809 w 2251041"/>
                <a:gd name="connsiteY524" fmla="*/ 672574 h 2714826"/>
                <a:gd name="connsiteX525" fmla="*/ 500865 w 2251041"/>
                <a:gd name="connsiteY525" fmla="*/ 664207 h 2714826"/>
                <a:gd name="connsiteX526" fmla="*/ 498203 w 2251041"/>
                <a:gd name="connsiteY526" fmla="*/ 661926 h 2714826"/>
                <a:gd name="connsiteX527" fmla="*/ 495351 w 2251041"/>
                <a:gd name="connsiteY527" fmla="*/ 661926 h 2714826"/>
                <a:gd name="connsiteX528" fmla="*/ 498774 w 2251041"/>
                <a:gd name="connsiteY528" fmla="*/ 679230 h 2714826"/>
                <a:gd name="connsiteX529" fmla="*/ 492118 w 2251041"/>
                <a:gd name="connsiteY529" fmla="*/ 691780 h 2714826"/>
                <a:gd name="connsiteX530" fmla="*/ 487745 w 2251041"/>
                <a:gd name="connsiteY530" fmla="*/ 703950 h 2714826"/>
                <a:gd name="connsiteX531" fmla="*/ 478237 w 2251041"/>
                <a:gd name="connsiteY531" fmla="*/ 709844 h 2714826"/>
                <a:gd name="connsiteX532" fmla="*/ 512084 w 2251041"/>
                <a:gd name="connsiteY532" fmla="*/ 773736 h 2714826"/>
                <a:gd name="connsiteX533" fmla="*/ 512084 w 2251041"/>
                <a:gd name="connsiteY533" fmla="*/ 773736 h 2714826"/>
                <a:gd name="connsiteX534" fmla="*/ 512084 w 2251041"/>
                <a:gd name="connsiteY534" fmla="*/ 785145 h 2714826"/>
                <a:gd name="connsiteX535" fmla="*/ 506000 w 2251041"/>
                <a:gd name="connsiteY535" fmla="*/ 798456 h 2714826"/>
                <a:gd name="connsiteX536" fmla="*/ 496682 w 2251041"/>
                <a:gd name="connsiteY536" fmla="*/ 804731 h 2714826"/>
                <a:gd name="connsiteX537" fmla="*/ 495161 w 2251041"/>
                <a:gd name="connsiteY537" fmla="*/ 804731 h 2714826"/>
                <a:gd name="connsiteX538" fmla="*/ 486414 w 2251041"/>
                <a:gd name="connsiteY538" fmla="*/ 811196 h 2714826"/>
                <a:gd name="connsiteX539" fmla="*/ 478617 w 2251041"/>
                <a:gd name="connsiteY539" fmla="*/ 815760 h 2714826"/>
                <a:gd name="connsiteX540" fmla="*/ 462645 w 2251041"/>
                <a:gd name="connsiteY540" fmla="*/ 815760 h 2714826"/>
                <a:gd name="connsiteX541" fmla="*/ 453327 w 2251041"/>
                <a:gd name="connsiteY541" fmla="*/ 822035 h 2714826"/>
                <a:gd name="connsiteX542" fmla="*/ 419479 w 2251041"/>
                <a:gd name="connsiteY542" fmla="*/ 838959 h 2714826"/>
                <a:gd name="connsiteX543" fmla="*/ 406549 w 2251041"/>
                <a:gd name="connsiteY543" fmla="*/ 836867 h 2714826"/>
                <a:gd name="connsiteX544" fmla="*/ 395900 w 2251041"/>
                <a:gd name="connsiteY544" fmla="*/ 826028 h 2714826"/>
                <a:gd name="connsiteX545" fmla="*/ 375935 w 2251041"/>
                <a:gd name="connsiteY545" fmla="*/ 845044 h 2714826"/>
                <a:gd name="connsiteX546" fmla="*/ 344939 w 2251041"/>
                <a:gd name="connsiteY546" fmla="*/ 846565 h 2714826"/>
                <a:gd name="connsiteX547" fmla="*/ 322691 w 2251041"/>
                <a:gd name="connsiteY547" fmla="*/ 827550 h 2714826"/>
                <a:gd name="connsiteX548" fmla="*/ 322691 w 2251041"/>
                <a:gd name="connsiteY548" fmla="*/ 814429 h 2714826"/>
                <a:gd name="connsiteX549" fmla="*/ 332008 w 2251041"/>
                <a:gd name="connsiteY549" fmla="*/ 801499 h 2714826"/>
                <a:gd name="connsiteX550" fmla="*/ 300633 w 2251041"/>
                <a:gd name="connsiteY550" fmla="*/ 798646 h 2714826"/>
                <a:gd name="connsiteX551" fmla="*/ 266406 w 2251041"/>
                <a:gd name="connsiteY551" fmla="*/ 813668 h 2714826"/>
                <a:gd name="connsiteX552" fmla="*/ 247390 w 2251041"/>
                <a:gd name="connsiteY552" fmla="*/ 814999 h 2714826"/>
                <a:gd name="connsiteX553" fmla="*/ 218487 w 2251041"/>
                <a:gd name="connsiteY553" fmla="*/ 819183 h 2714826"/>
                <a:gd name="connsiteX554" fmla="*/ 188633 w 2251041"/>
                <a:gd name="connsiteY554" fmla="*/ 832494 h 2714826"/>
                <a:gd name="connsiteX555" fmla="*/ 153834 w 2251041"/>
                <a:gd name="connsiteY555" fmla="*/ 859115 h 2714826"/>
                <a:gd name="connsiteX556" fmla="*/ 144517 w 2251041"/>
                <a:gd name="connsiteY556" fmla="*/ 881553 h 2714826"/>
                <a:gd name="connsiteX557" fmla="*/ 153834 w 2251041"/>
                <a:gd name="connsiteY557" fmla="*/ 893533 h 2714826"/>
                <a:gd name="connsiteX558" fmla="*/ 142615 w 2251041"/>
                <a:gd name="connsiteY558" fmla="*/ 891061 h 2714826"/>
                <a:gd name="connsiteX559" fmla="*/ 131587 w 2251041"/>
                <a:gd name="connsiteY559" fmla="*/ 861587 h 2714826"/>
                <a:gd name="connsiteX560" fmla="*/ 112571 w 2251041"/>
                <a:gd name="connsiteY560" fmla="*/ 830212 h 2714826"/>
                <a:gd name="connsiteX561" fmla="*/ 102303 w 2251041"/>
                <a:gd name="connsiteY561" fmla="*/ 843903 h 2714826"/>
                <a:gd name="connsiteX562" fmla="*/ 76252 w 2251041"/>
                <a:gd name="connsiteY562" fmla="*/ 867292 h 2714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</a:cxnLst>
              <a:rect l="l" t="t" r="r" b="b"/>
              <a:pathLst>
                <a:path w="2251041" h="2714826">
                  <a:moveTo>
                    <a:pt x="76252" y="867292"/>
                  </a:moveTo>
                  <a:cubicBezTo>
                    <a:pt x="70776" y="866950"/>
                    <a:pt x="65356" y="865999"/>
                    <a:pt x="60089" y="864439"/>
                  </a:cubicBezTo>
                  <a:cubicBezTo>
                    <a:pt x="55753" y="869098"/>
                    <a:pt x="52844" y="874898"/>
                    <a:pt x="51722" y="881173"/>
                  </a:cubicBezTo>
                  <a:cubicBezTo>
                    <a:pt x="51741" y="883664"/>
                    <a:pt x="52596" y="886098"/>
                    <a:pt x="54194" y="888018"/>
                  </a:cubicBezTo>
                  <a:cubicBezTo>
                    <a:pt x="56152" y="890928"/>
                    <a:pt x="57465" y="894237"/>
                    <a:pt x="57997" y="897716"/>
                  </a:cubicBezTo>
                  <a:cubicBezTo>
                    <a:pt x="58510" y="903782"/>
                    <a:pt x="56894" y="909829"/>
                    <a:pt x="53433" y="914830"/>
                  </a:cubicBezTo>
                  <a:cubicBezTo>
                    <a:pt x="52483" y="916732"/>
                    <a:pt x="51532" y="918443"/>
                    <a:pt x="50771" y="920345"/>
                  </a:cubicBezTo>
                  <a:cubicBezTo>
                    <a:pt x="44686" y="936127"/>
                    <a:pt x="49250" y="943543"/>
                    <a:pt x="61990" y="954192"/>
                  </a:cubicBezTo>
                  <a:cubicBezTo>
                    <a:pt x="70433" y="961836"/>
                    <a:pt x="74617" y="973131"/>
                    <a:pt x="73209" y="984427"/>
                  </a:cubicBezTo>
                  <a:cubicBezTo>
                    <a:pt x="72848" y="988420"/>
                    <a:pt x="72848" y="992413"/>
                    <a:pt x="73209" y="996406"/>
                  </a:cubicBezTo>
                  <a:cubicBezTo>
                    <a:pt x="74693" y="1007283"/>
                    <a:pt x="80778" y="1016981"/>
                    <a:pt x="89943" y="1023028"/>
                  </a:cubicBezTo>
                  <a:lnTo>
                    <a:pt x="92795" y="1025500"/>
                  </a:lnTo>
                  <a:cubicBezTo>
                    <a:pt x="97796" y="1030368"/>
                    <a:pt x="101847" y="1036091"/>
                    <a:pt x="104775" y="1042423"/>
                  </a:cubicBezTo>
                  <a:cubicBezTo>
                    <a:pt x="107684" y="1048965"/>
                    <a:pt x="112286" y="1054612"/>
                    <a:pt x="118085" y="1058777"/>
                  </a:cubicBezTo>
                  <a:cubicBezTo>
                    <a:pt x="121509" y="1061059"/>
                    <a:pt x="125122" y="1062960"/>
                    <a:pt x="128544" y="1064862"/>
                  </a:cubicBezTo>
                  <a:cubicBezTo>
                    <a:pt x="142121" y="1070338"/>
                    <a:pt x="153093" y="1080815"/>
                    <a:pt x="159159" y="1094145"/>
                  </a:cubicBezTo>
                  <a:cubicBezTo>
                    <a:pt x="162353" y="1102911"/>
                    <a:pt x="164407" y="1112039"/>
                    <a:pt x="165244" y="1121337"/>
                  </a:cubicBezTo>
                  <a:cubicBezTo>
                    <a:pt x="166157" y="1130046"/>
                    <a:pt x="168134" y="1138603"/>
                    <a:pt x="171138" y="1146818"/>
                  </a:cubicBezTo>
                  <a:cubicBezTo>
                    <a:pt x="176330" y="1155013"/>
                    <a:pt x="183708" y="1161593"/>
                    <a:pt x="192436" y="1165833"/>
                  </a:cubicBezTo>
                  <a:cubicBezTo>
                    <a:pt x="203465" y="1172679"/>
                    <a:pt x="213923" y="1178954"/>
                    <a:pt x="215064" y="1189602"/>
                  </a:cubicBezTo>
                  <a:cubicBezTo>
                    <a:pt x="215083" y="1198540"/>
                    <a:pt x="210938" y="1206983"/>
                    <a:pt x="203845" y="1212421"/>
                  </a:cubicBezTo>
                  <a:lnTo>
                    <a:pt x="194908" y="1221358"/>
                  </a:lnTo>
                  <a:cubicBezTo>
                    <a:pt x="183689" y="1232387"/>
                    <a:pt x="172090" y="1243796"/>
                    <a:pt x="159919" y="1254825"/>
                  </a:cubicBezTo>
                  <a:lnTo>
                    <a:pt x="156306" y="1258248"/>
                  </a:lnTo>
                  <a:cubicBezTo>
                    <a:pt x="147750" y="1265664"/>
                    <a:pt x="136150" y="1275932"/>
                    <a:pt x="135580" y="1285630"/>
                  </a:cubicBezTo>
                  <a:cubicBezTo>
                    <a:pt x="135770" y="1288654"/>
                    <a:pt x="136683" y="1291582"/>
                    <a:pt x="138242" y="1294187"/>
                  </a:cubicBezTo>
                  <a:cubicBezTo>
                    <a:pt x="140391" y="1298028"/>
                    <a:pt x="141570" y="1302345"/>
                    <a:pt x="141665" y="1306737"/>
                  </a:cubicBezTo>
                  <a:cubicBezTo>
                    <a:pt x="141379" y="1313431"/>
                    <a:pt x="138109" y="1319649"/>
                    <a:pt x="132728" y="1323661"/>
                  </a:cubicBezTo>
                  <a:lnTo>
                    <a:pt x="130636" y="1325753"/>
                  </a:lnTo>
                  <a:cubicBezTo>
                    <a:pt x="119417" y="1337162"/>
                    <a:pt x="114663" y="1344768"/>
                    <a:pt x="120368" y="1354846"/>
                  </a:cubicBezTo>
                  <a:cubicBezTo>
                    <a:pt x="121698" y="1357128"/>
                    <a:pt x="123220" y="1359600"/>
                    <a:pt x="124931" y="1362072"/>
                  </a:cubicBezTo>
                  <a:cubicBezTo>
                    <a:pt x="131587" y="1372721"/>
                    <a:pt x="140904" y="1387172"/>
                    <a:pt x="128354" y="1401054"/>
                  </a:cubicBezTo>
                  <a:cubicBezTo>
                    <a:pt x="120691" y="1408413"/>
                    <a:pt x="109852" y="1411493"/>
                    <a:pt x="99451" y="1409230"/>
                  </a:cubicBezTo>
                  <a:cubicBezTo>
                    <a:pt x="94563" y="1408165"/>
                    <a:pt x="89505" y="1408165"/>
                    <a:pt x="84619" y="1409230"/>
                  </a:cubicBezTo>
                  <a:cubicBezTo>
                    <a:pt x="79484" y="1411132"/>
                    <a:pt x="78914" y="1413224"/>
                    <a:pt x="77393" y="1418167"/>
                  </a:cubicBezTo>
                  <a:cubicBezTo>
                    <a:pt x="76499" y="1421096"/>
                    <a:pt x="75415" y="1423948"/>
                    <a:pt x="74160" y="1426724"/>
                  </a:cubicBezTo>
                  <a:cubicBezTo>
                    <a:pt x="70908" y="1432182"/>
                    <a:pt x="66155" y="1436612"/>
                    <a:pt x="60469" y="1439465"/>
                  </a:cubicBezTo>
                  <a:lnTo>
                    <a:pt x="56285" y="1442127"/>
                  </a:lnTo>
                  <a:cubicBezTo>
                    <a:pt x="51722" y="1445378"/>
                    <a:pt x="47348" y="1448877"/>
                    <a:pt x="43165" y="1452585"/>
                  </a:cubicBezTo>
                  <a:cubicBezTo>
                    <a:pt x="35369" y="1460420"/>
                    <a:pt x="25956" y="1466448"/>
                    <a:pt x="15593" y="1470270"/>
                  </a:cubicBezTo>
                  <a:cubicBezTo>
                    <a:pt x="9812" y="1472551"/>
                    <a:pt x="4526" y="1475917"/>
                    <a:pt x="0" y="1480158"/>
                  </a:cubicBezTo>
                  <a:lnTo>
                    <a:pt x="8367" y="1487574"/>
                  </a:lnTo>
                  <a:cubicBezTo>
                    <a:pt x="18730" y="1495807"/>
                    <a:pt x="27991" y="1505334"/>
                    <a:pt x="35939" y="1515907"/>
                  </a:cubicBezTo>
                  <a:cubicBezTo>
                    <a:pt x="54632" y="1546084"/>
                    <a:pt x="67543" y="1579494"/>
                    <a:pt x="73970" y="1614406"/>
                  </a:cubicBezTo>
                  <a:lnTo>
                    <a:pt x="75491" y="1620872"/>
                  </a:lnTo>
                  <a:cubicBezTo>
                    <a:pt x="79807" y="1641085"/>
                    <a:pt x="82356" y="1661640"/>
                    <a:pt x="83097" y="1682291"/>
                  </a:cubicBezTo>
                  <a:lnTo>
                    <a:pt x="83097" y="1683622"/>
                  </a:lnTo>
                  <a:cubicBezTo>
                    <a:pt x="83915" y="1690088"/>
                    <a:pt x="85379" y="1696458"/>
                    <a:pt x="87471" y="1702637"/>
                  </a:cubicBezTo>
                  <a:cubicBezTo>
                    <a:pt x="91997" y="1713381"/>
                    <a:pt x="93518" y="1725152"/>
                    <a:pt x="91845" y="1736675"/>
                  </a:cubicBezTo>
                  <a:cubicBezTo>
                    <a:pt x="87870" y="1745650"/>
                    <a:pt x="81804" y="1753542"/>
                    <a:pt x="74160" y="1759684"/>
                  </a:cubicBezTo>
                  <a:cubicBezTo>
                    <a:pt x="65223" y="1768621"/>
                    <a:pt x="55145" y="1779840"/>
                    <a:pt x="55145" y="1787827"/>
                  </a:cubicBezTo>
                  <a:cubicBezTo>
                    <a:pt x="55905" y="1791306"/>
                    <a:pt x="58111" y="1794273"/>
                    <a:pt x="61230" y="1796003"/>
                  </a:cubicBezTo>
                  <a:cubicBezTo>
                    <a:pt x="64519" y="1798342"/>
                    <a:pt x="68094" y="1800263"/>
                    <a:pt x="71878" y="1801708"/>
                  </a:cubicBezTo>
                  <a:cubicBezTo>
                    <a:pt x="82203" y="1804959"/>
                    <a:pt x="90418" y="1812832"/>
                    <a:pt x="94126" y="1823005"/>
                  </a:cubicBezTo>
                  <a:cubicBezTo>
                    <a:pt x="96313" y="1832132"/>
                    <a:pt x="96313" y="1841640"/>
                    <a:pt x="94126" y="1850767"/>
                  </a:cubicBezTo>
                  <a:cubicBezTo>
                    <a:pt x="92909" y="1857366"/>
                    <a:pt x="92909" y="1864135"/>
                    <a:pt x="94126" y="1870734"/>
                  </a:cubicBezTo>
                  <a:cubicBezTo>
                    <a:pt x="95971" y="1877218"/>
                    <a:pt x="100002" y="1882846"/>
                    <a:pt x="105536" y="1886707"/>
                  </a:cubicBezTo>
                  <a:cubicBezTo>
                    <a:pt x="110670" y="1890871"/>
                    <a:pt x="114872" y="1896043"/>
                    <a:pt x="117896" y="1901919"/>
                  </a:cubicBezTo>
                  <a:cubicBezTo>
                    <a:pt x="120444" y="1907947"/>
                    <a:pt x="121813" y="1914393"/>
                    <a:pt x="121889" y="1920934"/>
                  </a:cubicBezTo>
                  <a:cubicBezTo>
                    <a:pt x="121680" y="1927019"/>
                    <a:pt x="123049" y="1933047"/>
                    <a:pt x="125882" y="1938428"/>
                  </a:cubicBezTo>
                  <a:cubicBezTo>
                    <a:pt x="128601" y="1941908"/>
                    <a:pt x="131720" y="1945027"/>
                    <a:pt x="135200" y="1947746"/>
                  </a:cubicBezTo>
                  <a:cubicBezTo>
                    <a:pt x="143376" y="1954591"/>
                    <a:pt x="154215" y="1964099"/>
                    <a:pt x="148130" y="1979882"/>
                  </a:cubicBezTo>
                  <a:cubicBezTo>
                    <a:pt x="146514" y="1983571"/>
                    <a:pt x="144346" y="1986956"/>
                    <a:pt x="141665" y="1989960"/>
                  </a:cubicBezTo>
                  <a:cubicBezTo>
                    <a:pt x="140143" y="1991766"/>
                    <a:pt x="138755" y="1993668"/>
                    <a:pt x="137481" y="1995665"/>
                  </a:cubicBezTo>
                  <a:cubicBezTo>
                    <a:pt x="135884" y="1998707"/>
                    <a:pt x="134534" y="2001902"/>
                    <a:pt x="133488" y="2005172"/>
                  </a:cubicBezTo>
                  <a:cubicBezTo>
                    <a:pt x="132100" y="2008861"/>
                    <a:pt x="130522" y="2012493"/>
                    <a:pt x="128735" y="2016011"/>
                  </a:cubicBezTo>
                  <a:lnTo>
                    <a:pt x="128735" y="2017152"/>
                  </a:lnTo>
                  <a:cubicBezTo>
                    <a:pt x="124741" y="2024378"/>
                    <a:pt x="123410" y="2026660"/>
                    <a:pt x="125692" y="2034076"/>
                  </a:cubicBezTo>
                  <a:lnTo>
                    <a:pt x="126833" y="2037879"/>
                  </a:lnTo>
                  <a:cubicBezTo>
                    <a:pt x="129134" y="2043945"/>
                    <a:pt x="129856" y="2050486"/>
                    <a:pt x="128924" y="2056894"/>
                  </a:cubicBezTo>
                  <a:cubicBezTo>
                    <a:pt x="128924" y="2059366"/>
                    <a:pt x="127974" y="2061838"/>
                    <a:pt x="127403" y="2064501"/>
                  </a:cubicBezTo>
                  <a:cubicBezTo>
                    <a:pt x="124741" y="2076670"/>
                    <a:pt x="123600" y="2084466"/>
                    <a:pt x="132347" y="2089220"/>
                  </a:cubicBezTo>
                  <a:cubicBezTo>
                    <a:pt x="140295" y="2092149"/>
                    <a:pt x="149119" y="2091464"/>
                    <a:pt x="156497" y="2087319"/>
                  </a:cubicBezTo>
                  <a:cubicBezTo>
                    <a:pt x="162544" y="2084714"/>
                    <a:pt x="168952" y="2083116"/>
                    <a:pt x="175512" y="2082565"/>
                  </a:cubicBezTo>
                  <a:cubicBezTo>
                    <a:pt x="184734" y="2083116"/>
                    <a:pt x="193729" y="2085588"/>
                    <a:pt x="201943" y="2089791"/>
                  </a:cubicBezTo>
                  <a:cubicBezTo>
                    <a:pt x="207591" y="2092624"/>
                    <a:pt x="213600" y="2094678"/>
                    <a:pt x="219818" y="2095876"/>
                  </a:cubicBezTo>
                  <a:cubicBezTo>
                    <a:pt x="228717" y="2097321"/>
                    <a:pt x="237826" y="2096655"/>
                    <a:pt x="246439" y="2093974"/>
                  </a:cubicBezTo>
                  <a:cubicBezTo>
                    <a:pt x="248417" y="2093252"/>
                    <a:pt x="250319" y="2092358"/>
                    <a:pt x="252144" y="2091312"/>
                  </a:cubicBezTo>
                  <a:cubicBezTo>
                    <a:pt x="255928" y="2088745"/>
                    <a:pt x="260188" y="2086996"/>
                    <a:pt x="264694" y="2086178"/>
                  </a:cubicBezTo>
                  <a:cubicBezTo>
                    <a:pt x="266387" y="2085798"/>
                    <a:pt x="268136" y="2085798"/>
                    <a:pt x="269828" y="2086178"/>
                  </a:cubicBezTo>
                  <a:cubicBezTo>
                    <a:pt x="271749" y="2086539"/>
                    <a:pt x="273574" y="2087319"/>
                    <a:pt x="275153" y="2088460"/>
                  </a:cubicBezTo>
                  <a:cubicBezTo>
                    <a:pt x="281199" y="2093499"/>
                    <a:pt x="285801" y="2100059"/>
                    <a:pt x="288464" y="2107475"/>
                  </a:cubicBezTo>
                  <a:cubicBezTo>
                    <a:pt x="289243" y="2109339"/>
                    <a:pt x="290213" y="2111107"/>
                    <a:pt x="291316" y="2112800"/>
                  </a:cubicBezTo>
                  <a:cubicBezTo>
                    <a:pt x="299816" y="2122668"/>
                    <a:pt x="298713" y="2137558"/>
                    <a:pt x="288844" y="2146057"/>
                  </a:cubicBezTo>
                  <a:cubicBezTo>
                    <a:pt x="288540" y="2146324"/>
                    <a:pt x="288216" y="2146590"/>
                    <a:pt x="287893" y="2146837"/>
                  </a:cubicBezTo>
                  <a:lnTo>
                    <a:pt x="281618" y="2154253"/>
                  </a:lnTo>
                  <a:cubicBezTo>
                    <a:pt x="278499" y="2157562"/>
                    <a:pt x="277282" y="2162220"/>
                    <a:pt x="278386" y="2166613"/>
                  </a:cubicBezTo>
                  <a:cubicBezTo>
                    <a:pt x="280097" y="2169846"/>
                    <a:pt x="284851" y="2170416"/>
                    <a:pt x="287513" y="2170416"/>
                  </a:cubicBezTo>
                  <a:lnTo>
                    <a:pt x="287513" y="2170416"/>
                  </a:lnTo>
                  <a:cubicBezTo>
                    <a:pt x="292210" y="2170245"/>
                    <a:pt x="296868" y="2169541"/>
                    <a:pt x="301394" y="2168324"/>
                  </a:cubicBezTo>
                  <a:cubicBezTo>
                    <a:pt x="310179" y="2165548"/>
                    <a:pt x="319611" y="2165548"/>
                    <a:pt x="328396" y="2168324"/>
                  </a:cubicBezTo>
                  <a:cubicBezTo>
                    <a:pt x="340451" y="2173801"/>
                    <a:pt x="350112" y="2183461"/>
                    <a:pt x="355588" y="2195517"/>
                  </a:cubicBezTo>
                  <a:cubicBezTo>
                    <a:pt x="358763" y="2201278"/>
                    <a:pt x="361559" y="2207249"/>
                    <a:pt x="363955" y="2213391"/>
                  </a:cubicBezTo>
                  <a:cubicBezTo>
                    <a:pt x="366807" y="2219476"/>
                    <a:pt x="369279" y="2225371"/>
                    <a:pt x="372511" y="2231075"/>
                  </a:cubicBezTo>
                  <a:cubicBezTo>
                    <a:pt x="373443" y="2232691"/>
                    <a:pt x="374527" y="2234232"/>
                    <a:pt x="375744" y="2235639"/>
                  </a:cubicBezTo>
                  <a:cubicBezTo>
                    <a:pt x="379338" y="2239841"/>
                    <a:pt x="381829" y="2244880"/>
                    <a:pt x="382970" y="2250281"/>
                  </a:cubicBezTo>
                  <a:cubicBezTo>
                    <a:pt x="383693" y="2255890"/>
                    <a:pt x="381886" y="2261538"/>
                    <a:pt x="378026" y="2265683"/>
                  </a:cubicBezTo>
                  <a:cubicBezTo>
                    <a:pt x="376980" y="2266881"/>
                    <a:pt x="376029" y="2268155"/>
                    <a:pt x="375174" y="2269486"/>
                  </a:cubicBezTo>
                  <a:cubicBezTo>
                    <a:pt x="370420" y="2277853"/>
                    <a:pt x="371181" y="2281086"/>
                    <a:pt x="371751" y="2282227"/>
                  </a:cubicBezTo>
                  <a:cubicBezTo>
                    <a:pt x="372322" y="2283368"/>
                    <a:pt x="381829" y="2286600"/>
                    <a:pt x="389245" y="2287741"/>
                  </a:cubicBezTo>
                  <a:cubicBezTo>
                    <a:pt x="397574" y="2288217"/>
                    <a:pt x="405693" y="2290555"/>
                    <a:pt x="413014" y="2294587"/>
                  </a:cubicBezTo>
                  <a:cubicBezTo>
                    <a:pt x="432030" y="2307707"/>
                    <a:pt x="425755" y="2325582"/>
                    <a:pt x="420430" y="2340033"/>
                  </a:cubicBezTo>
                  <a:cubicBezTo>
                    <a:pt x="415106" y="2354485"/>
                    <a:pt x="413014" y="2362852"/>
                    <a:pt x="420430" y="2370458"/>
                  </a:cubicBezTo>
                  <a:cubicBezTo>
                    <a:pt x="423283" y="2373881"/>
                    <a:pt x="426325" y="2376733"/>
                    <a:pt x="428987" y="2379395"/>
                  </a:cubicBezTo>
                  <a:cubicBezTo>
                    <a:pt x="437297" y="2386184"/>
                    <a:pt x="443325" y="2395330"/>
                    <a:pt x="446291" y="2405636"/>
                  </a:cubicBezTo>
                  <a:cubicBezTo>
                    <a:pt x="447641" y="2415524"/>
                    <a:pt x="455419" y="2423302"/>
                    <a:pt x="465306" y="2424652"/>
                  </a:cubicBezTo>
                  <a:cubicBezTo>
                    <a:pt x="468140" y="2425203"/>
                    <a:pt x="470992" y="2425584"/>
                    <a:pt x="473864" y="2425793"/>
                  </a:cubicBezTo>
                  <a:cubicBezTo>
                    <a:pt x="483029" y="2424842"/>
                    <a:pt x="492042" y="2428721"/>
                    <a:pt x="497633" y="2436061"/>
                  </a:cubicBezTo>
                  <a:cubicBezTo>
                    <a:pt x="501702" y="2448402"/>
                    <a:pt x="501702" y="2461751"/>
                    <a:pt x="497633" y="2474092"/>
                  </a:cubicBezTo>
                  <a:cubicBezTo>
                    <a:pt x="496682" y="2478846"/>
                    <a:pt x="495731" y="2483029"/>
                    <a:pt x="495351" y="2486452"/>
                  </a:cubicBezTo>
                  <a:cubicBezTo>
                    <a:pt x="494343" y="2495883"/>
                    <a:pt x="492632" y="2505220"/>
                    <a:pt x="490217" y="2514404"/>
                  </a:cubicBezTo>
                  <a:cubicBezTo>
                    <a:pt x="487308" y="2524578"/>
                    <a:pt x="485520" y="2535036"/>
                    <a:pt x="484892" y="2545590"/>
                  </a:cubicBezTo>
                  <a:cubicBezTo>
                    <a:pt x="484911" y="2552568"/>
                    <a:pt x="485672" y="2559509"/>
                    <a:pt x="487174" y="2566317"/>
                  </a:cubicBezTo>
                  <a:cubicBezTo>
                    <a:pt x="489798" y="2576566"/>
                    <a:pt x="490312" y="2587233"/>
                    <a:pt x="488696" y="2597692"/>
                  </a:cubicBezTo>
                  <a:cubicBezTo>
                    <a:pt x="486927" y="2608169"/>
                    <a:pt x="486280" y="2618818"/>
                    <a:pt x="486794" y="2629447"/>
                  </a:cubicBezTo>
                  <a:cubicBezTo>
                    <a:pt x="486794" y="2635342"/>
                    <a:pt x="486794" y="2641617"/>
                    <a:pt x="486794" y="2648463"/>
                  </a:cubicBezTo>
                  <a:cubicBezTo>
                    <a:pt x="486794" y="2663485"/>
                    <a:pt x="486794" y="2663485"/>
                    <a:pt x="499154" y="2671852"/>
                  </a:cubicBezTo>
                  <a:cubicBezTo>
                    <a:pt x="503756" y="2675313"/>
                    <a:pt x="507863" y="2679420"/>
                    <a:pt x="511324" y="2684022"/>
                  </a:cubicBezTo>
                  <a:cubicBezTo>
                    <a:pt x="514727" y="2689384"/>
                    <a:pt x="519709" y="2693568"/>
                    <a:pt x="525586" y="2696001"/>
                  </a:cubicBezTo>
                  <a:cubicBezTo>
                    <a:pt x="537889" y="2697047"/>
                    <a:pt x="549849" y="2691742"/>
                    <a:pt x="557341" y="2681930"/>
                  </a:cubicBezTo>
                  <a:cubicBezTo>
                    <a:pt x="558615" y="2679249"/>
                    <a:pt x="559338" y="2676339"/>
                    <a:pt x="559433" y="2673373"/>
                  </a:cubicBezTo>
                  <a:cubicBezTo>
                    <a:pt x="559661" y="2668505"/>
                    <a:pt x="561163" y="2663770"/>
                    <a:pt x="563806" y="2659682"/>
                  </a:cubicBezTo>
                  <a:cubicBezTo>
                    <a:pt x="568332" y="2654643"/>
                    <a:pt x="574721" y="2651619"/>
                    <a:pt x="581491" y="2651315"/>
                  </a:cubicBezTo>
                  <a:lnTo>
                    <a:pt x="586054" y="2651315"/>
                  </a:lnTo>
                  <a:cubicBezTo>
                    <a:pt x="602426" y="2648615"/>
                    <a:pt x="617924" y="2642093"/>
                    <a:pt x="631311" y="2632300"/>
                  </a:cubicBezTo>
                  <a:cubicBezTo>
                    <a:pt x="634068" y="2628725"/>
                    <a:pt x="636369" y="2624827"/>
                    <a:pt x="638156" y="2620701"/>
                  </a:cubicBezTo>
                  <a:cubicBezTo>
                    <a:pt x="643481" y="2609862"/>
                    <a:pt x="649756" y="2597502"/>
                    <a:pt x="660975" y="2598262"/>
                  </a:cubicBezTo>
                  <a:cubicBezTo>
                    <a:pt x="672194" y="2599023"/>
                    <a:pt x="679990" y="2610052"/>
                    <a:pt x="684744" y="2631349"/>
                  </a:cubicBezTo>
                  <a:lnTo>
                    <a:pt x="684744" y="2633251"/>
                  </a:lnTo>
                  <a:cubicBezTo>
                    <a:pt x="686075" y="2640476"/>
                    <a:pt x="687596" y="2642568"/>
                    <a:pt x="688547" y="2642378"/>
                  </a:cubicBezTo>
                  <a:cubicBezTo>
                    <a:pt x="689498" y="2642188"/>
                    <a:pt x="691209" y="2642378"/>
                    <a:pt x="692921" y="2638765"/>
                  </a:cubicBezTo>
                  <a:lnTo>
                    <a:pt x="691780" y="2635723"/>
                  </a:lnTo>
                  <a:cubicBezTo>
                    <a:pt x="696591" y="2629276"/>
                    <a:pt x="702524" y="2623743"/>
                    <a:pt x="709274" y="2619369"/>
                  </a:cubicBezTo>
                  <a:cubicBezTo>
                    <a:pt x="724106" y="2608911"/>
                    <a:pt x="728290" y="2605678"/>
                    <a:pt x="724866" y="2590086"/>
                  </a:cubicBezTo>
                  <a:cubicBezTo>
                    <a:pt x="722357" y="2572553"/>
                    <a:pt x="727719" y="2554812"/>
                    <a:pt x="739509" y="2541597"/>
                  </a:cubicBezTo>
                  <a:cubicBezTo>
                    <a:pt x="748921" y="2528704"/>
                    <a:pt x="755424" y="2513910"/>
                    <a:pt x="758524" y="2498241"/>
                  </a:cubicBezTo>
                  <a:cubicBezTo>
                    <a:pt x="761338" y="2482078"/>
                    <a:pt x="766054" y="2466315"/>
                    <a:pt x="772595" y="2451273"/>
                  </a:cubicBezTo>
                  <a:cubicBezTo>
                    <a:pt x="780164" y="2423359"/>
                    <a:pt x="804769" y="2403450"/>
                    <a:pt x="833634" y="2401833"/>
                  </a:cubicBezTo>
                  <a:cubicBezTo>
                    <a:pt x="864439" y="2397079"/>
                    <a:pt x="907034" y="2401833"/>
                    <a:pt x="925669" y="2433209"/>
                  </a:cubicBezTo>
                  <a:cubicBezTo>
                    <a:pt x="928845" y="2439237"/>
                    <a:pt x="931259" y="2445607"/>
                    <a:pt x="932895" y="2452224"/>
                  </a:cubicBezTo>
                  <a:cubicBezTo>
                    <a:pt x="934188" y="2460629"/>
                    <a:pt x="937877" y="2468501"/>
                    <a:pt x="943543" y="2474852"/>
                  </a:cubicBezTo>
                  <a:cubicBezTo>
                    <a:pt x="954592" y="2480044"/>
                    <a:pt x="967522" y="2479188"/>
                    <a:pt x="977771" y="2472571"/>
                  </a:cubicBezTo>
                  <a:cubicBezTo>
                    <a:pt x="982240" y="2470098"/>
                    <a:pt x="986385" y="2467113"/>
                    <a:pt x="990131" y="2463633"/>
                  </a:cubicBezTo>
                  <a:cubicBezTo>
                    <a:pt x="998403" y="2454221"/>
                    <a:pt x="1011257" y="2450247"/>
                    <a:pt x="1023408" y="2453365"/>
                  </a:cubicBezTo>
                  <a:cubicBezTo>
                    <a:pt x="1038525" y="2455343"/>
                    <a:pt x="1050771" y="2466600"/>
                    <a:pt x="1054023" y="2481508"/>
                  </a:cubicBezTo>
                  <a:lnTo>
                    <a:pt x="1054023" y="2483790"/>
                  </a:lnTo>
                  <a:cubicBezTo>
                    <a:pt x="1054289" y="2489970"/>
                    <a:pt x="1057123" y="2495750"/>
                    <a:pt x="1061819" y="2499763"/>
                  </a:cubicBezTo>
                  <a:lnTo>
                    <a:pt x="1065052" y="2502995"/>
                  </a:lnTo>
                  <a:cubicBezTo>
                    <a:pt x="1069596" y="2507160"/>
                    <a:pt x="1073343" y="2512123"/>
                    <a:pt x="1076081" y="2517637"/>
                  </a:cubicBezTo>
                  <a:cubicBezTo>
                    <a:pt x="1077412" y="2520299"/>
                    <a:pt x="1078743" y="2522771"/>
                    <a:pt x="1079884" y="2525243"/>
                  </a:cubicBezTo>
                  <a:cubicBezTo>
                    <a:pt x="1083611" y="2535930"/>
                    <a:pt x="1090171" y="2545400"/>
                    <a:pt x="1098899" y="2552625"/>
                  </a:cubicBezTo>
                  <a:cubicBezTo>
                    <a:pt x="1108179" y="2559490"/>
                    <a:pt x="1115690" y="2568484"/>
                    <a:pt x="1120767" y="2578866"/>
                  </a:cubicBezTo>
                  <a:lnTo>
                    <a:pt x="1125521" y="2588755"/>
                  </a:lnTo>
                  <a:cubicBezTo>
                    <a:pt x="1129514" y="2597692"/>
                    <a:pt x="1132556" y="2607770"/>
                    <a:pt x="1135599" y="2615947"/>
                  </a:cubicBezTo>
                  <a:cubicBezTo>
                    <a:pt x="1137691" y="2621461"/>
                    <a:pt x="1139402" y="2626785"/>
                    <a:pt x="1141494" y="2631920"/>
                  </a:cubicBezTo>
                  <a:cubicBezTo>
                    <a:pt x="1147008" y="2646371"/>
                    <a:pt x="1154234" y="2649224"/>
                    <a:pt x="1170017" y="2654168"/>
                  </a:cubicBezTo>
                  <a:cubicBezTo>
                    <a:pt x="1183308" y="2658921"/>
                    <a:pt x="1194471" y="2668220"/>
                    <a:pt x="1201582" y="2680409"/>
                  </a:cubicBezTo>
                  <a:cubicBezTo>
                    <a:pt x="1205328" y="2685524"/>
                    <a:pt x="1209531" y="2690297"/>
                    <a:pt x="1214132" y="2694670"/>
                  </a:cubicBezTo>
                  <a:cubicBezTo>
                    <a:pt x="1220313" y="2700356"/>
                    <a:pt x="1225789" y="2706726"/>
                    <a:pt x="1230485" y="2713686"/>
                  </a:cubicBezTo>
                  <a:cubicBezTo>
                    <a:pt x="1230485" y="2713686"/>
                    <a:pt x="1230485" y="2713686"/>
                    <a:pt x="1230485" y="2714827"/>
                  </a:cubicBezTo>
                  <a:cubicBezTo>
                    <a:pt x="1234441" y="2711499"/>
                    <a:pt x="1238130" y="2707886"/>
                    <a:pt x="1241515" y="2703988"/>
                  </a:cubicBezTo>
                  <a:cubicBezTo>
                    <a:pt x="1257050" y="2682653"/>
                    <a:pt x="1279830" y="2667725"/>
                    <a:pt x="1305596" y="2661964"/>
                  </a:cubicBezTo>
                  <a:cubicBezTo>
                    <a:pt x="1317272" y="2659549"/>
                    <a:pt x="1329442" y="2661660"/>
                    <a:pt x="1339634" y="2667859"/>
                  </a:cubicBezTo>
                  <a:cubicBezTo>
                    <a:pt x="1348590" y="2673829"/>
                    <a:pt x="1360038" y="2674552"/>
                    <a:pt x="1369678" y="2669760"/>
                  </a:cubicBezTo>
                  <a:cubicBezTo>
                    <a:pt x="1380935" y="2667079"/>
                    <a:pt x="1392725" y="2667611"/>
                    <a:pt x="1403716" y="2671281"/>
                  </a:cubicBezTo>
                  <a:cubicBezTo>
                    <a:pt x="1413680" y="2675199"/>
                    <a:pt x="1424747" y="2675199"/>
                    <a:pt x="1434711" y="2671281"/>
                  </a:cubicBezTo>
                  <a:cubicBezTo>
                    <a:pt x="1444770" y="2664702"/>
                    <a:pt x="1456522" y="2661127"/>
                    <a:pt x="1468558" y="2661013"/>
                  </a:cubicBezTo>
                  <a:cubicBezTo>
                    <a:pt x="1475080" y="2660633"/>
                    <a:pt x="1481489" y="2659225"/>
                    <a:pt x="1487574" y="2656830"/>
                  </a:cubicBezTo>
                  <a:cubicBezTo>
                    <a:pt x="1492404" y="2655118"/>
                    <a:pt x="1497366" y="2653787"/>
                    <a:pt x="1502406" y="2652836"/>
                  </a:cubicBezTo>
                  <a:cubicBezTo>
                    <a:pt x="1518151" y="2651657"/>
                    <a:pt x="1533648" y="2657267"/>
                    <a:pt x="1545000" y="2668239"/>
                  </a:cubicBezTo>
                  <a:cubicBezTo>
                    <a:pt x="1551979" y="2673887"/>
                    <a:pt x="1559889" y="2678279"/>
                    <a:pt x="1568389" y="2681169"/>
                  </a:cubicBezTo>
                  <a:cubicBezTo>
                    <a:pt x="1578999" y="2682862"/>
                    <a:pt x="1589857" y="2680713"/>
                    <a:pt x="1599004" y="2675085"/>
                  </a:cubicBezTo>
                  <a:cubicBezTo>
                    <a:pt x="1601723" y="2673449"/>
                    <a:pt x="1604214" y="2671472"/>
                    <a:pt x="1606420" y="2669190"/>
                  </a:cubicBezTo>
                  <a:cubicBezTo>
                    <a:pt x="1610261" y="2664911"/>
                    <a:pt x="1615186" y="2661755"/>
                    <a:pt x="1620681" y="2660062"/>
                  </a:cubicBezTo>
                  <a:cubicBezTo>
                    <a:pt x="1624694" y="2659682"/>
                    <a:pt x="1628706" y="2660481"/>
                    <a:pt x="1632281" y="2662344"/>
                  </a:cubicBezTo>
                  <a:cubicBezTo>
                    <a:pt x="1634030" y="2663314"/>
                    <a:pt x="1635989" y="2663827"/>
                    <a:pt x="1637986" y="2663865"/>
                  </a:cubicBezTo>
                  <a:cubicBezTo>
                    <a:pt x="1641028" y="2663618"/>
                    <a:pt x="1643956" y="2662629"/>
                    <a:pt x="1646542" y="2661013"/>
                  </a:cubicBezTo>
                  <a:lnTo>
                    <a:pt x="1652057" y="2657590"/>
                  </a:lnTo>
                  <a:cubicBezTo>
                    <a:pt x="1658084" y="2652133"/>
                    <a:pt x="1666375" y="2649946"/>
                    <a:pt x="1674305" y="2651695"/>
                  </a:cubicBezTo>
                  <a:cubicBezTo>
                    <a:pt x="1677937" y="2653084"/>
                    <a:pt x="1681245" y="2655213"/>
                    <a:pt x="1684002" y="2657971"/>
                  </a:cubicBezTo>
                  <a:cubicBezTo>
                    <a:pt x="1686665" y="2660252"/>
                    <a:pt x="1688376" y="2661774"/>
                    <a:pt x="1690658" y="2661964"/>
                  </a:cubicBezTo>
                  <a:cubicBezTo>
                    <a:pt x="1696362" y="2661964"/>
                    <a:pt x="1701687" y="2657400"/>
                    <a:pt x="1706821" y="2652456"/>
                  </a:cubicBezTo>
                  <a:cubicBezTo>
                    <a:pt x="1708114" y="2650973"/>
                    <a:pt x="1709521" y="2649566"/>
                    <a:pt x="1711005" y="2648273"/>
                  </a:cubicBezTo>
                  <a:cubicBezTo>
                    <a:pt x="1715283" y="2644508"/>
                    <a:pt x="1719942" y="2641199"/>
                    <a:pt x="1724885" y="2638385"/>
                  </a:cubicBezTo>
                  <a:cubicBezTo>
                    <a:pt x="1729582" y="2635761"/>
                    <a:pt x="1733994" y="2632642"/>
                    <a:pt x="1738006" y="2629067"/>
                  </a:cubicBezTo>
                  <a:lnTo>
                    <a:pt x="1740859" y="2625835"/>
                  </a:lnTo>
                  <a:cubicBezTo>
                    <a:pt x="1743350" y="2622374"/>
                    <a:pt x="1746678" y="2619617"/>
                    <a:pt x="1750556" y="2617848"/>
                  </a:cubicBezTo>
                  <a:cubicBezTo>
                    <a:pt x="1753466" y="2616650"/>
                    <a:pt x="1756546" y="2615947"/>
                    <a:pt x="1759684" y="2615756"/>
                  </a:cubicBezTo>
                  <a:cubicBezTo>
                    <a:pt x="1761452" y="2615966"/>
                    <a:pt x="1763239" y="2615966"/>
                    <a:pt x="1765008" y="2615756"/>
                  </a:cubicBezTo>
                  <a:cubicBezTo>
                    <a:pt x="1767518" y="2614635"/>
                    <a:pt x="1769648" y="2612771"/>
                    <a:pt x="1771093" y="2610432"/>
                  </a:cubicBezTo>
                  <a:cubicBezTo>
                    <a:pt x="1772671" y="2608245"/>
                    <a:pt x="1774516" y="2606249"/>
                    <a:pt x="1776607" y="2604537"/>
                  </a:cubicBezTo>
                  <a:cubicBezTo>
                    <a:pt x="1779859" y="2602027"/>
                    <a:pt x="1783624" y="2600259"/>
                    <a:pt x="1787637" y="2599403"/>
                  </a:cubicBezTo>
                  <a:lnTo>
                    <a:pt x="1792581" y="2597882"/>
                  </a:lnTo>
                  <a:cubicBezTo>
                    <a:pt x="1795623" y="2596380"/>
                    <a:pt x="1798532" y="2594668"/>
                    <a:pt x="1801328" y="2592748"/>
                  </a:cubicBezTo>
                  <a:cubicBezTo>
                    <a:pt x="1806576" y="2588565"/>
                    <a:pt x="1812794" y="2585750"/>
                    <a:pt x="1819392" y="2584571"/>
                  </a:cubicBezTo>
                  <a:cubicBezTo>
                    <a:pt x="1823575" y="2584571"/>
                    <a:pt x="1827949" y="2584571"/>
                    <a:pt x="1832323" y="2584571"/>
                  </a:cubicBezTo>
                  <a:cubicBezTo>
                    <a:pt x="1851338" y="2583620"/>
                    <a:pt x="1863128" y="2582099"/>
                    <a:pt x="1864269" y="2563464"/>
                  </a:cubicBezTo>
                  <a:cubicBezTo>
                    <a:pt x="1866170" y="2538364"/>
                    <a:pt x="1877389" y="2529807"/>
                    <a:pt x="1900207" y="2521250"/>
                  </a:cubicBezTo>
                  <a:cubicBezTo>
                    <a:pt x="1912510" y="2516192"/>
                    <a:pt x="1924053" y="2509403"/>
                    <a:pt x="1934435" y="2501094"/>
                  </a:cubicBezTo>
                  <a:cubicBezTo>
                    <a:pt x="1941471" y="2495693"/>
                    <a:pt x="1948830" y="2490749"/>
                    <a:pt x="1956493" y="2486262"/>
                  </a:cubicBezTo>
                  <a:lnTo>
                    <a:pt x="1961057" y="2483980"/>
                  </a:lnTo>
                  <a:lnTo>
                    <a:pt x="1955352" y="2473521"/>
                  </a:lnTo>
                  <a:cubicBezTo>
                    <a:pt x="1949419" y="2463881"/>
                    <a:pt x="1944570" y="2453612"/>
                    <a:pt x="1940900" y="2442907"/>
                  </a:cubicBezTo>
                  <a:lnTo>
                    <a:pt x="1937478" y="2433779"/>
                  </a:lnTo>
                  <a:cubicBezTo>
                    <a:pt x="1929929" y="2420164"/>
                    <a:pt x="1927894" y="2404172"/>
                    <a:pt x="1931773" y="2389093"/>
                  </a:cubicBezTo>
                  <a:cubicBezTo>
                    <a:pt x="1934397" y="2384035"/>
                    <a:pt x="1937934" y="2379509"/>
                    <a:pt x="1942232" y="2375782"/>
                  </a:cubicBezTo>
                  <a:cubicBezTo>
                    <a:pt x="1948697" y="2369317"/>
                    <a:pt x="1951549" y="2366465"/>
                    <a:pt x="1946795" y="2356767"/>
                  </a:cubicBezTo>
                  <a:cubicBezTo>
                    <a:pt x="1941737" y="2343760"/>
                    <a:pt x="1929548" y="2334899"/>
                    <a:pt x="1915610" y="2334139"/>
                  </a:cubicBezTo>
                  <a:lnTo>
                    <a:pt x="1912568" y="2334139"/>
                  </a:lnTo>
                  <a:cubicBezTo>
                    <a:pt x="1901348" y="2332617"/>
                    <a:pt x="1878150" y="2329765"/>
                    <a:pt x="1878530" y="2311130"/>
                  </a:cubicBezTo>
                  <a:cubicBezTo>
                    <a:pt x="1878644" y="2305444"/>
                    <a:pt x="1881857" y="2300272"/>
                    <a:pt x="1886897" y="2297629"/>
                  </a:cubicBezTo>
                  <a:cubicBezTo>
                    <a:pt x="1889179" y="2296108"/>
                    <a:pt x="1890319" y="2295347"/>
                    <a:pt x="1890700" y="2293446"/>
                  </a:cubicBezTo>
                  <a:cubicBezTo>
                    <a:pt x="1891080" y="2291544"/>
                    <a:pt x="1890700" y="2288311"/>
                    <a:pt x="1887847" y="2284508"/>
                  </a:cubicBezTo>
                  <a:cubicBezTo>
                    <a:pt x="1886041" y="2281580"/>
                    <a:pt x="1884767" y="2278366"/>
                    <a:pt x="1884045" y="2275001"/>
                  </a:cubicBezTo>
                  <a:cubicBezTo>
                    <a:pt x="1883493" y="2268384"/>
                    <a:pt x="1884957" y="2261766"/>
                    <a:pt x="1888228" y="2255985"/>
                  </a:cubicBezTo>
                  <a:cubicBezTo>
                    <a:pt x="1890129" y="2251422"/>
                    <a:pt x="1892221" y="2246288"/>
                    <a:pt x="1891270" y="2243816"/>
                  </a:cubicBezTo>
                  <a:cubicBezTo>
                    <a:pt x="1890319" y="2241343"/>
                    <a:pt x="1889749" y="2242104"/>
                    <a:pt x="1888038" y="2241343"/>
                  </a:cubicBezTo>
                  <a:cubicBezTo>
                    <a:pt x="1881762" y="2238872"/>
                    <a:pt x="1874537" y="2243055"/>
                    <a:pt x="1865029" y="2236400"/>
                  </a:cubicBezTo>
                  <a:cubicBezTo>
                    <a:pt x="1862538" y="2234555"/>
                    <a:pt x="1860237" y="2232463"/>
                    <a:pt x="1858183" y="2230124"/>
                  </a:cubicBezTo>
                  <a:cubicBezTo>
                    <a:pt x="1856092" y="2227595"/>
                    <a:pt x="1853506" y="2225523"/>
                    <a:pt x="1850577" y="2224040"/>
                  </a:cubicBezTo>
                  <a:cubicBezTo>
                    <a:pt x="1849380" y="2223431"/>
                    <a:pt x="1848105" y="2222975"/>
                    <a:pt x="1846774" y="2222708"/>
                  </a:cubicBezTo>
                  <a:cubicBezTo>
                    <a:pt x="1841450" y="2220997"/>
                    <a:pt x="1833273" y="2218525"/>
                    <a:pt x="1831752" y="2210539"/>
                  </a:cubicBezTo>
                  <a:cubicBezTo>
                    <a:pt x="1830877" y="2207230"/>
                    <a:pt x="1831429" y="2203712"/>
                    <a:pt x="1833273" y="2200841"/>
                  </a:cubicBezTo>
                  <a:cubicBezTo>
                    <a:pt x="1835346" y="2198388"/>
                    <a:pt x="1838446" y="2197057"/>
                    <a:pt x="1841640" y="2197228"/>
                  </a:cubicBezTo>
                  <a:lnTo>
                    <a:pt x="1844302" y="2197228"/>
                  </a:lnTo>
                  <a:cubicBezTo>
                    <a:pt x="1856662" y="2191143"/>
                    <a:pt x="1855141" y="2183156"/>
                    <a:pt x="1848866" y="2165092"/>
                  </a:cubicBezTo>
                  <a:cubicBezTo>
                    <a:pt x="1846185" y="2156288"/>
                    <a:pt x="1846185" y="2146894"/>
                    <a:pt x="1848866" y="2138090"/>
                  </a:cubicBezTo>
                  <a:cubicBezTo>
                    <a:pt x="1850577" y="2132499"/>
                    <a:pt x="1851091" y="2126605"/>
                    <a:pt x="1850387" y="2120786"/>
                  </a:cubicBezTo>
                  <a:cubicBezTo>
                    <a:pt x="1849532" y="2118238"/>
                    <a:pt x="1848238" y="2115861"/>
                    <a:pt x="1846584" y="2113750"/>
                  </a:cubicBezTo>
                  <a:cubicBezTo>
                    <a:pt x="1842971" y="2109415"/>
                    <a:pt x="1840955" y="2103976"/>
                    <a:pt x="1840879" y="2098348"/>
                  </a:cubicBezTo>
                  <a:cubicBezTo>
                    <a:pt x="1841260" y="2094412"/>
                    <a:pt x="1842857" y="2090685"/>
                    <a:pt x="1845443" y="2087699"/>
                  </a:cubicBezTo>
                  <a:cubicBezTo>
                    <a:pt x="1847364" y="2085646"/>
                    <a:pt x="1848391" y="2082907"/>
                    <a:pt x="1848296" y="2080093"/>
                  </a:cubicBezTo>
                  <a:cubicBezTo>
                    <a:pt x="1847858" y="2075586"/>
                    <a:pt x="1846565" y="2071194"/>
                    <a:pt x="1844492" y="2067163"/>
                  </a:cubicBezTo>
                  <a:cubicBezTo>
                    <a:pt x="1839891" y="2058948"/>
                    <a:pt x="1839891" y="2048946"/>
                    <a:pt x="1844492" y="2040731"/>
                  </a:cubicBezTo>
                  <a:lnTo>
                    <a:pt x="1846014" y="2037308"/>
                  </a:lnTo>
                  <a:cubicBezTo>
                    <a:pt x="1848448" y="2030140"/>
                    <a:pt x="1853030" y="2023902"/>
                    <a:pt x="1859135" y="2019434"/>
                  </a:cubicBezTo>
                  <a:cubicBezTo>
                    <a:pt x="1862082" y="2017799"/>
                    <a:pt x="1865314" y="2016696"/>
                    <a:pt x="1868642" y="2016201"/>
                  </a:cubicBezTo>
                  <a:cubicBezTo>
                    <a:pt x="1871019" y="2015878"/>
                    <a:pt x="1873282" y="2015041"/>
                    <a:pt x="1875297" y="2013729"/>
                  </a:cubicBezTo>
                  <a:cubicBezTo>
                    <a:pt x="1877047" y="2012322"/>
                    <a:pt x="1878587" y="2010649"/>
                    <a:pt x="1879861" y="2008785"/>
                  </a:cubicBezTo>
                  <a:cubicBezTo>
                    <a:pt x="1882846" y="2004450"/>
                    <a:pt x="1887106" y="2001141"/>
                    <a:pt x="1892031" y="1999278"/>
                  </a:cubicBezTo>
                  <a:cubicBezTo>
                    <a:pt x="1895644" y="1998403"/>
                    <a:pt x="1899352" y="1998080"/>
                    <a:pt x="1903060" y="1998327"/>
                  </a:cubicBezTo>
                  <a:cubicBezTo>
                    <a:pt x="1905741" y="1998974"/>
                    <a:pt x="1908556" y="1998974"/>
                    <a:pt x="1911237" y="1998327"/>
                  </a:cubicBezTo>
                  <a:cubicBezTo>
                    <a:pt x="1913442" y="1996749"/>
                    <a:pt x="1915325" y="1994733"/>
                    <a:pt x="1916751" y="1992432"/>
                  </a:cubicBezTo>
                  <a:cubicBezTo>
                    <a:pt x="1919603" y="1987298"/>
                    <a:pt x="1924300" y="1983438"/>
                    <a:pt x="1929871" y="1981593"/>
                  </a:cubicBezTo>
                  <a:cubicBezTo>
                    <a:pt x="1932610" y="1980833"/>
                    <a:pt x="1935405" y="1980319"/>
                    <a:pt x="1938238" y="1980072"/>
                  </a:cubicBezTo>
                  <a:cubicBezTo>
                    <a:pt x="1942022" y="1979977"/>
                    <a:pt x="1945654" y="1978551"/>
                    <a:pt x="1948507" y="1976079"/>
                  </a:cubicBezTo>
                  <a:cubicBezTo>
                    <a:pt x="1954972" y="1970374"/>
                    <a:pt x="1954021" y="1965050"/>
                    <a:pt x="1951549" y="1954972"/>
                  </a:cubicBezTo>
                  <a:cubicBezTo>
                    <a:pt x="1950199" y="1950199"/>
                    <a:pt x="1949381" y="1945293"/>
                    <a:pt x="1949077" y="1940330"/>
                  </a:cubicBezTo>
                  <a:cubicBezTo>
                    <a:pt x="1949077" y="1913518"/>
                    <a:pt x="1964670" y="1907433"/>
                    <a:pt x="1981783" y="1904771"/>
                  </a:cubicBezTo>
                  <a:cubicBezTo>
                    <a:pt x="1994923" y="1901805"/>
                    <a:pt x="2006979" y="1895207"/>
                    <a:pt x="2016582" y="1885756"/>
                  </a:cubicBezTo>
                  <a:cubicBezTo>
                    <a:pt x="2028181" y="1874499"/>
                    <a:pt x="2033753" y="1858412"/>
                    <a:pt x="2031604" y="1842401"/>
                  </a:cubicBezTo>
                  <a:lnTo>
                    <a:pt x="2031604" y="1836696"/>
                  </a:lnTo>
                  <a:cubicBezTo>
                    <a:pt x="2030843" y="1828520"/>
                    <a:pt x="2032364" y="1820305"/>
                    <a:pt x="2035977" y="1812927"/>
                  </a:cubicBezTo>
                  <a:cubicBezTo>
                    <a:pt x="2038487" y="1809219"/>
                    <a:pt x="2042062" y="1806366"/>
                    <a:pt x="2046246" y="1804750"/>
                  </a:cubicBezTo>
                  <a:cubicBezTo>
                    <a:pt x="2047957" y="1804104"/>
                    <a:pt x="2049554" y="1803191"/>
                    <a:pt x="2051000" y="1802088"/>
                  </a:cubicBezTo>
                  <a:cubicBezTo>
                    <a:pt x="2053338" y="1800567"/>
                    <a:pt x="2054841" y="1798038"/>
                    <a:pt x="2054993" y="1795243"/>
                  </a:cubicBezTo>
                  <a:cubicBezTo>
                    <a:pt x="2054993" y="1788017"/>
                    <a:pt x="2045105" y="1778699"/>
                    <a:pt x="2039020" y="1772995"/>
                  </a:cubicBezTo>
                  <a:cubicBezTo>
                    <a:pt x="2031338" y="1766073"/>
                    <a:pt x="2025690" y="1757212"/>
                    <a:pt x="2022666" y="1747324"/>
                  </a:cubicBezTo>
                  <a:cubicBezTo>
                    <a:pt x="2021107" y="1743178"/>
                    <a:pt x="2019339" y="1739109"/>
                    <a:pt x="2017342" y="1735154"/>
                  </a:cubicBezTo>
                  <a:lnTo>
                    <a:pt x="2013539" y="1728118"/>
                  </a:lnTo>
                  <a:cubicBezTo>
                    <a:pt x="2010516" y="1723345"/>
                    <a:pt x="2008025" y="1718230"/>
                    <a:pt x="2006123" y="1712906"/>
                  </a:cubicBezTo>
                  <a:cubicBezTo>
                    <a:pt x="2005077" y="1708647"/>
                    <a:pt x="2002225" y="1705034"/>
                    <a:pt x="1998327" y="1703018"/>
                  </a:cubicBezTo>
                  <a:cubicBezTo>
                    <a:pt x="1994676" y="1701116"/>
                    <a:pt x="1990854" y="1699595"/>
                    <a:pt x="1986917" y="1698454"/>
                  </a:cubicBezTo>
                  <a:cubicBezTo>
                    <a:pt x="1977657" y="1696705"/>
                    <a:pt x="1969443" y="1691380"/>
                    <a:pt x="1964099" y="1683622"/>
                  </a:cubicBezTo>
                  <a:cubicBezTo>
                    <a:pt x="1959745" y="1674514"/>
                    <a:pt x="1959193" y="1664036"/>
                    <a:pt x="1962578" y="1654529"/>
                  </a:cubicBezTo>
                  <a:lnTo>
                    <a:pt x="1962578" y="1652437"/>
                  </a:lnTo>
                  <a:cubicBezTo>
                    <a:pt x="1964290" y="1648558"/>
                    <a:pt x="1964290" y="1644146"/>
                    <a:pt x="1962578" y="1640267"/>
                  </a:cubicBezTo>
                  <a:lnTo>
                    <a:pt x="1962578" y="1638366"/>
                  </a:lnTo>
                  <a:cubicBezTo>
                    <a:pt x="1960391" y="1625188"/>
                    <a:pt x="1963091" y="1611668"/>
                    <a:pt x="1970184" y="1600335"/>
                  </a:cubicBezTo>
                  <a:cubicBezTo>
                    <a:pt x="1972352" y="1595961"/>
                    <a:pt x="1974273" y="1591455"/>
                    <a:pt x="1975889" y="1586834"/>
                  </a:cubicBezTo>
                  <a:cubicBezTo>
                    <a:pt x="1975889" y="1584742"/>
                    <a:pt x="1977410" y="1582650"/>
                    <a:pt x="1978170" y="1580559"/>
                  </a:cubicBezTo>
                  <a:cubicBezTo>
                    <a:pt x="1980795" y="1575520"/>
                    <a:pt x="1982107" y="1569891"/>
                    <a:pt x="1981974" y="1564205"/>
                  </a:cubicBezTo>
                  <a:cubicBezTo>
                    <a:pt x="1981460" y="1561753"/>
                    <a:pt x="1980623" y="1559395"/>
                    <a:pt x="1979502" y="1557170"/>
                  </a:cubicBezTo>
                  <a:cubicBezTo>
                    <a:pt x="1977886" y="1554127"/>
                    <a:pt x="1976726" y="1550857"/>
                    <a:pt x="1976079" y="1547472"/>
                  </a:cubicBezTo>
                  <a:cubicBezTo>
                    <a:pt x="1975794" y="1544563"/>
                    <a:pt x="1975794" y="1541634"/>
                    <a:pt x="1976079" y="1538725"/>
                  </a:cubicBezTo>
                  <a:cubicBezTo>
                    <a:pt x="1976478" y="1535207"/>
                    <a:pt x="1975889" y="1531651"/>
                    <a:pt x="1974368" y="1528457"/>
                  </a:cubicBezTo>
                  <a:cubicBezTo>
                    <a:pt x="1973455" y="1527107"/>
                    <a:pt x="1972447" y="1525833"/>
                    <a:pt x="1971325" y="1524654"/>
                  </a:cubicBezTo>
                  <a:cubicBezTo>
                    <a:pt x="1967807" y="1521269"/>
                    <a:pt x="1965583" y="1516762"/>
                    <a:pt x="1965050" y="1511913"/>
                  </a:cubicBezTo>
                  <a:cubicBezTo>
                    <a:pt x="1964575" y="1508053"/>
                    <a:pt x="1964575" y="1504174"/>
                    <a:pt x="1965050" y="1500314"/>
                  </a:cubicBezTo>
                  <a:cubicBezTo>
                    <a:pt x="1966001" y="1496568"/>
                    <a:pt x="1966001" y="1492651"/>
                    <a:pt x="1965050" y="1488905"/>
                  </a:cubicBezTo>
                  <a:cubicBezTo>
                    <a:pt x="1963395" y="1485121"/>
                    <a:pt x="1960942" y="1481736"/>
                    <a:pt x="1957824" y="1479017"/>
                  </a:cubicBezTo>
                  <a:cubicBezTo>
                    <a:pt x="1954972" y="1475898"/>
                    <a:pt x="1952424" y="1472532"/>
                    <a:pt x="1950218" y="1468939"/>
                  </a:cubicBezTo>
                  <a:cubicBezTo>
                    <a:pt x="1944837" y="1460914"/>
                    <a:pt x="1943696" y="1450760"/>
                    <a:pt x="1947175" y="1441747"/>
                  </a:cubicBezTo>
                  <a:cubicBezTo>
                    <a:pt x="1951568" y="1432733"/>
                    <a:pt x="1959954" y="1426306"/>
                    <a:pt x="1969804" y="1424443"/>
                  </a:cubicBezTo>
                  <a:cubicBezTo>
                    <a:pt x="1982811" y="1421381"/>
                    <a:pt x="1996349" y="1421381"/>
                    <a:pt x="2009356" y="1424443"/>
                  </a:cubicBezTo>
                  <a:cubicBezTo>
                    <a:pt x="2014490" y="1425393"/>
                    <a:pt x="2020005" y="1426344"/>
                    <a:pt x="2025519" y="1426914"/>
                  </a:cubicBezTo>
                  <a:lnTo>
                    <a:pt x="2033125" y="1428056"/>
                  </a:lnTo>
                  <a:cubicBezTo>
                    <a:pt x="2037442" y="1428968"/>
                    <a:pt x="2041929" y="1428968"/>
                    <a:pt x="2046246" y="1428056"/>
                  </a:cubicBezTo>
                  <a:cubicBezTo>
                    <a:pt x="2048318" y="1427067"/>
                    <a:pt x="2050087" y="1425564"/>
                    <a:pt x="2051380" y="1423682"/>
                  </a:cubicBezTo>
                  <a:cubicBezTo>
                    <a:pt x="2053319" y="1421229"/>
                    <a:pt x="2055715" y="1419156"/>
                    <a:pt x="2058415" y="1417597"/>
                  </a:cubicBezTo>
                  <a:cubicBezTo>
                    <a:pt x="2063569" y="1414878"/>
                    <a:pt x="2069178" y="1413128"/>
                    <a:pt x="2074959" y="1412463"/>
                  </a:cubicBezTo>
                  <a:cubicBezTo>
                    <a:pt x="2082394" y="1412064"/>
                    <a:pt x="2089296" y="1408546"/>
                    <a:pt x="2093974" y="1402765"/>
                  </a:cubicBezTo>
                  <a:cubicBezTo>
                    <a:pt x="2096960" y="1398296"/>
                    <a:pt x="2098975" y="1393238"/>
                    <a:pt x="2099869" y="1387933"/>
                  </a:cubicBezTo>
                  <a:cubicBezTo>
                    <a:pt x="2099869" y="1385461"/>
                    <a:pt x="2101200" y="1382799"/>
                    <a:pt x="2101961" y="1380327"/>
                  </a:cubicBezTo>
                  <a:cubicBezTo>
                    <a:pt x="2105383" y="1369868"/>
                    <a:pt x="2108616" y="1368157"/>
                    <a:pt x="2116983" y="1367396"/>
                  </a:cubicBezTo>
                  <a:lnTo>
                    <a:pt x="2122497" y="1367396"/>
                  </a:lnTo>
                  <a:cubicBezTo>
                    <a:pt x="2125673" y="1366636"/>
                    <a:pt x="2128697" y="1365343"/>
                    <a:pt x="2131434" y="1363593"/>
                  </a:cubicBezTo>
                  <a:cubicBezTo>
                    <a:pt x="2135770" y="1360779"/>
                    <a:pt x="2140733" y="1359087"/>
                    <a:pt x="2145886" y="1358649"/>
                  </a:cubicBezTo>
                  <a:lnTo>
                    <a:pt x="2145886" y="1358649"/>
                  </a:lnTo>
                  <a:cubicBezTo>
                    <a:pt x="2150260" y="1359068"/>
                    <a:pt x="2154329" y="1361102"/>
                    <a:pt x="2157296" y="1364354"/>
                  </a:cubicBezTo>
                  <a:cubicBezTo>
                    <a:pt x="2158569" y="1365514"/>
                    <a:pt x="2160053" y="1366426"/>
                    <a:pt x="2161669" y="1367016"/>
                  </a:cubicBezTo>
                  <a:cubicBezTo>
                    <a:pt x="2163704" y="1367111"/>
                    <a:pt x="2165663" y="1366274"/>
                    <a:pt x="2166993" y="1364734"/>
                  </a:cubicBezTo>
                  <a:cubicBezTo>
                    <a:pt x="2169960" y="1359619"/>
                    <a:pt x="2171044" y="1353629"/>
                    <a:pt x="2170036" y="1347811"/>
                  </a:cubicBezTo>
                  <a:cubicBezTo>
                    <a:pt x="2168515" y="1335641"/>
                    <a:pt x="2167564" y="1324041"/>
                    <a:pt x="2166803" y="1311871"/>
                  </a:cubicBezTo>
                  <a:cubicBezTo>
                    <a:pt x="2166613" y="1308259"/>
                    <a:pt x="2166613" y="1304646"/>
                    <a:pt x="2166803" y="1301033"/>
                  </a:cubicBezTo>
                  <a:cubicBezTo>
                    <a:pt x="2166803" y="1299131"/>
                    <a:pt x="2166803" y="1297230"/>
                    <a:pt x="2166803" y="1295328"/>
                  </a:cubicBezTo>
                  <a:cubicBezTo>
                    <a:pt x="2166803" y="1286201"/>
                    <a:pt x="2166803" y="1284489"/>
                    <a:pt x="2161669" y="1280306"/>
                  </a:cubicBezTo>
                  <a:cubicBezTo>
                    <a:pt x="2160376" y="1279203"/>
                    <a:pt x="2158988" y="1278252"/>
                    <a:pt x="2157485" y="1277454"/>
                  </a:cubicBezTo>
                  <a:cubicBezTo>
                    <a:pt x="2153017" y="1275533"/>
                    <a:pt x="2149651" y="1271692"/>
                    <a:pt x="2148358" y="1266995"/>
                  </a:cubicBezTo>
                  <a:cubicBezTo>
                    <a:pt x="2147084" y="1262869"/>
                    <a:pt x="2146685" y="1258533"/>
                    <a:pt x="2147218" y="1254255"/>
                  </a:cubicBezTo>
                  <a:cubicBezTo>
                    <a:pt x="2148054" y="1250908"/>
                    <a:pt x="2147579" y="1247371"/>
                    <a:pt x="2145886" y="1244367"/>
                  </a:cubicBezTo>
                  <a:cubicBezTo>
                    <a:pt x="2143529" y="1241572"/>
                    <a:pt x="2140619" y="1239309"/>
                    <a:pt x="2137329" y="1237712"/>
                  </a:cubicBezTo>
                  <a:lnTo>
                    <a:pt x="2132386" y="1234479"/>
                  </a:lnTo>
                  <a:cubicBezTo>
                    <a:pt x="2126947" y="1230391"/>
                    <a:pt x="2121737" y="1226017"/>
                    <a:pt x="2116793" y="1221358"/>
                  </a:cubicBezTo>
                  <a:cubicBezTo>
                    <a:pt x="2109985" y="1214475"/>
                    <a:pt x="2102227" y="1208599"/>
                    <a:pt x="2093784" y="1203864"/>
                  </a:cubicBezTo>
                  <a:cubicBezTo>
                    <a:pt x="2087452" y="1200974"/>
                    <a:pt x="2082565" y="1195611"/>
                    <a:pt x="2080283" y="1189032"/>
                  </a:cubicBezTo>
                  <a:cubicBezTo>
                    <a:pt x="2079617" y="1187245"/>
                    <a:pt x="2078800" y="1185533"/>
                    <a:pt x="2077811" y="1183898"/>
                  </a:cubicBezTo>
                  <a:cubicBezTo>
                    <a:pt x="2076651" y="1181939"/>
                    <a:pt x="2075092" y="1180266"/>
                    <a:pt x="2073247" y="1178954"/>
                  </a:cubicBezTo>
                  <a:cubicBezTo>
                    <a:pt x="2071346" y="1177509"/>
                    <a:pt x="2069634" y="1175854"/>
                    <a:pt x="2068113" y="1174010"/>
                  </a:cubicBezTo>
                  <a:cubicBezTo>
                    <a:pt x="2062713" y="1166499"/>
                    <a:pt x="2059614" y="1157581"/>
                    <a:pt x="2059176" y="1148339"/>
                  </a:cubicBezTo>
                  <a:cubicBezTo>
                    <a:pt x="2059309" y="1141151"/>
                    <a:pt x="2056419" y="1134249"/>
                    <a:pt x="2051189" y="1129324"/>
                  </a:cubicBezTo>
                  <a:lnTo>
                    <a:pt x="2049668" y="1127802"/>
                  </a:lnTo>
                  <a:cubicBezTo>
                    <a:pt x="2043774" y="1121147"/>
                    <a:pt x="2043583" y="1119246"/>
                    <a:pt x="2045675" y="1108787"/>
                  </a:cubicBezTo>
                  <a:cubicBezTo>
                    <a:pt x="2045675" y="1105935"/>
                    <a:pt x="2046816" y="1103653"/>
                    <a:pt x="2047387" y="1101371"/>
                  </a:cubicBezTo>
                  <a:cubicBezTo>
                    <a:pt x="2049440" y="1095248"/>
                    <a:pt x="2050144" y="1088764"/>
                    <a:pt x="2049478" y="1082356"/>
                  </a:cubicBezTo>
                  <a:cubicBezTo>
                    <a:pt x="2049060" y="1080093"/>
                    <a:pt x="2048489" y="1077868"/>
                    <a:pt x="2047767" y="1075700"/>
                  </a:cubicBezTo>
                  <a:cubicBezTo>
                    <a:pt x="2043983" y="1068703"/>
                    <a:pt x="2043983" y="1060260"/>
                    <a:pt x="2047767" y="1053262"/>
                  </a:cubicBezTo>
                  <a:cubicBezTo>
                    <a:pt x="2051741" y="1048584"/>
                    <a:pt x="2057427" y="1045713"/>
                    <a:pt x="2063550" y="1045276"/>
                  </a:cubicBezTo>
                  <a:cubicBezTo>
                    <a:pt x="2065756" y="1044895"/>
                    <a:pt x="2067904" y="1044325"/>
                    <a:pt x="2070015" y="1043564"/>
                  </a:cubicBezTo>
                  <a:cubicBezTo>
                    <a:pt x="2073438" y="1041853"/>
                    <a:pt x="2074008" y="1040142"/>
                    <a:pt x="2075149" y="1036719"/>
                  </a:cubicBezTo>
                  <a:cubicBezTo>
                    <a:pt x="2076024" y="1033277"/>
                    <a:pt x="2077583" y="1030044"/>
                    <a:pt x="2079713" y="1027211"/>
                  </a:cubicBezTo>
                  <a:cubicBezTo>
                    <a:pt x="2085075" y="1021240"/>
                    <a:pt x="2092814" y="1017970"/>
                    <a:pt x="2100820" y="1018274"/>
                  </a:cubicBezTo>
                  <a:cubicBezTo>
                    <a:pt x="2108046" y="1018274"/>
                    <a:pt x="2116032" y="1017133"/>
                    <a:pt x="2118504" y="1013710"/>
                  </a:cubicBezTo>
                  <a:cubicBezTo>
                    <a:pt x="2119835" y="1010554"/>
                    <a:pt x="2119835" y="1006979"/>
                    <a:pt x="2118504" y="1003822"/>
                  </a:cubicBezTo>
                  <a:cubicBezTo>
                    <a:pt x="2116603" y="996216"/>
                    <a:pt x="2110898" y="994124"/>
                    <a:pt x="2101771" y="991462"/>
                  </a:cubicBezTo>
                  <a:cubicBezTo>
                    <a:pt x="2092187" y="990226"/>
                    <a:pt x="2083858" y="984312"/>
                    <a:pt x="2079523" y="975679"/>
                  </a:cubicBezTo>
                  <a:cubicBezTo>
                    <a:pt x="2073058" y="959136"/>
                    <a:pt x="2089981" y="950769"/>
                    <a:pt x="2101200" y="945255"/>
                  </a:cubicBezTo>
                  <a:cubicBezTo>
                    <a:pt x="2105099" y="943581"/>
                    <a:pt x="2108806" y="941471"/>
                    <a:pt x="2112229" y="938980"/>
                  </a:cubicBezTo>
                  <a:cubicBezTo>
                    <a:pt x="2119170" y="933180"/>
                    <a:pt x="2124532" y="925726"/>
                    <a:pt x="2127822" y="917302"/>
                  </a:cubicBezTo>
                  <a:cubicBezTo>
                    <a:pt x="2127822" y="914830"/>
                    <a:pt x="2128962" y="912168"/>
                    <a:pt x="2129533" y="909696"/>
                  </a:cubicBezTo>
                  <a:cubicBezTo>
                    <a:pt x="2130066" y="903421"/>
                    <a:pt x="2132366" y="897412"/>
                    <a:pt x="2136188" y="892392"/>
                  </a:cubicBezTo>
                  <a:cubicBezTo>
                    <a:pt x="2139174" y="887999"/>
                    <a:pt x="2144004" y="885204"/>
                    <a:pt x="2149309" y="884786"/>
                  </a:cubicBezTo>
                  <a:lnTo>
                    <a:pt x="2149309" y="884786"/>
                  </a:lnTo>
                  <a:cubicBezTo>
                    <a:pt x="2155128" y="885565"/>
                    <a:pt x="2160338" y="888817"/>
                    <a:pt x="2163571" y="893723"/>
                  </a:cubicBezTo>
                  <a:cubicBezTo>
                    <a:pt x="2165434" y="896100"/>
                    <a:pt x="2167678" y="898173"/>
                    <a:pt x="2170226" y="899808"/>
                  </a:cubicBezTo>
                  <a:cubicBezTo>
                    <a:pt x="2177585" y="900854"/>
                    <a:pt x="2185096" y="900074"/>
                    <a:pt x="2192094" y="897526"/>
                  </a:cubicBezTo>
                  <a:cubicBezTo>
                    <a:pt x="2195326" y="895244"/>
                    <a:pt x="2195326" y="893913"/>
                    <a:pt x="2193615" y="887258"/>
                  </a:cubicBezTo>
                  <a:cubicBezTo>
                    <a:pt x="2193615" y="885927"/>
                    <a:pt x="2193615" y="884596"/>
                    <a:pt x="2193615" y="883265"/>
                  </a:cubicBezTo>
                  <a:cubicBezTo>
                    <a:pt x="2191942" y="874080"/>
                    <a:pt x="2193919" y="864592"/>
                    <a:pt x="2199129" y="856833"/>
                  </a:cubicBezTo>
                  <a:cubicBezTo>
                    <a:pt x="2201620" y="852688"/>
                    <a:pt x="2203465" y="848200"/>
                    <a:pt x="2204644" y="843523"/>
                  </a:cubicBezTo>
                  <a:cubicBezTo>
                    <a:pt x="2205214" y="841336"/>
                    <a:pt x="2205594" y="839111"/>
                    <a:pt x="2205785" y="836867"/>
                  </a:cubicBezTo>
                  <a:cubicBezTo>
                    <a:pt x="2206241" y="830535"/>
                    <a:pt x="2208200" y="824412"/>
                    <a:pt x="2211490" y="818993"/>
                  </a:cubicBezTo>
                  <a:cubicBezTo>
                    <a:pt x="2214056" y="815608"/>
                    <a:pt x="2217213" y="812718"/>
                    <a:pt x="2220807" y="810436"/>
                  </a:cubicBezTo>
                  <a:cubicBezTo>
                    <a:pt x="2223203" y="808915"/>
                    <a:pt x="2225390" y="807051"/>
                    <a:pt x="2227272" y="804921"/>
                  </a:cubicBezTo>
                  <a:cubicBezTo>
                    <a:pt x="2232216" y="794387"/>
                    <a:pt x="2232216" y="782185"/>
                    <a:pt x="2227272" y="771644"/>
                  </a:cubicBezTo>
                  <a:cubicBezTo>
                    <a:pt x="2224515" y="768619"/>
                    <a:pt x="2220712" y="766778"/>
                    <a:pt x="2216624" y="766510"/>
                  </a:cubicBezTo>
                  <a:cubicBezTo>
                    <a:pt x="2213828" y="766016"/>
                    <a:pt x="2211090" y="765253"/>
                    <a:pt x="2208447" y="764228"/>
                  </a:cubicBezTo>
                  <a:cubicBezTo>
                    <a:pt x="2202362" y="761385"/>
                    <a:pt x="2197019" y="757151"/>
                    <a:pt x="2192854" y="751868"/>
                  </a:cubicBezTo>
                  <a:lnTo>
                    <a:pt x="2190762" y="749396"/>
                  </a:lnTo>
                  <a:cubicBezTo>
                    <a:pt x="2176672" y="738466"/>
                    <a:pt x="2169428" y="720875"/>
                    <a:pt x="2171747" y="703189"/>
                  </a:cubicBezTo>
                  <a:cubicBezTo>
                    <a:pt x="2174980" y="682652"/>
                    <a:pt x="2175170" y="677899"/>
                    <a:pt x="2159958" y="667060"/>
                  </a:cubicBezTo>
                  <a:cubicBezTo>
                    <a:pt x="2136379" y="649946"/>
                    <a:pt x="2137900" y="633402"/>
                    <a:pt x="2143224" y="622374"/>
                  </a:cubicBezTo>
                  <a:cubicBezTo>
                    <a:pt x="2144974" y="618957"/>
                    <a:pt x="2146951" y="615654"/>
                    <a:pt x="2149119" y="612486"/>
                  </a:cubicBezTo>
                  <a:cubicBezTo>
                    <a:pt x="2150831" y="610272"/>
                    <a:pt x="2152123" y="607758"/>
                    <a:pt x="2152922" y="605070"/>
                  </a:cubicBezTo>
                  <a:cubicBezTo>
                    <a:pt x="2152922" y="605070"/>
                    <a:pt x="2152922" y="603168"/>
                    <a:pt x="2145506" y="599935"/>
                  </a:cubicBezTo>
                  <a:cubicBezTo>
                    <a:pt x="2138623" y="597574"/>
                    <a:pt x="2133222" y="592171"/>
                    <a:pt x="2130864" y="585294"/>
                  </a:cubicBezTo>
                  <a:cubicBezTo>
                    <a:pt x="2130294" y="575674"/>
                    <a:pt x="2133983" y="566292"/>
                    <a:pt x="2140942" y="559623"/>
                  </a:cubicBezTo>
                  <a:cubicBezTo>
                    <a:pt x="2152694" y="545143"/>
                    <a:pt x="2166385" y="532345"/>
                    <a:pt x="2181635" y="521592"/>
                  </a:cubicBezTo>
                  <a:lnTo>
                    <a:pt x="2186960" y="518169"/>
                  </a:lnTo>
                  <a:cubicBezTo>
                    <a:pt x="2190515" y="516420"/>
                    <a:pt x="2193653" y="513883"/>
                    <a:pt x="2196087" y="510753"/>
                  </a:cubicBezTo>
                  <a:cubicBezTo>
                    <a:pt x="2196828" y="508338"/>
                    <a:pt x="2196828" y="505752"/>
                    <a:pt x="2196087" y="503337"/>
                  </a:cubicBezTo>
                  <a:cubicBezTo>
                    <a:pt x="2195574" y="499217"/>
                    <a:pt x="2196106" y="495035"/>
                    <a:pt x="2197608" y="491167"/>
                  </a:cubicBezTo>
                  <a:cubicBezTo>
                    <a:pt x="2204073" y="477667"/>
                    <a:pt x="2216624" y="479948"/>
                    <a:pt x="2226322" y="481470"/>
                  </a:cubicBezTo>
                  <a:cubicBezTo>
                    <a:pt x="2236019" y="482991"/>
                    <a:pt x="2238111" y="483181"/>
                    <a:pt x="2240013" y="480329"/>
                  </a:cubicBezTo>
                  <a:cubicBezTo>
                    <a:pt x="2241914" y="477476"/>
                    <a:pt x="2240013" y="472913"/>
                    <a:pt x="2239062" y="468349"/>
                  </a:cubicBezTo>
                  <a:cubicBezTo>
                    <a:pt x="2237921" y="465035"/>
                    <a:pt x="2237217" y="461581"/>
                    <a:pt x="2236970" y="458081"/>
                  </a:cubicBezTo>
                  <a:cubicBezTo>
                    <a:pt x="2237065" y="452176"/>
                    <a:pt x="2238358" y="446354"/>
                    <a:pt x="2240773" y="440967"/>
                  </a:cubicBezTo>
                  <a:cubicBezTo>
                    <a:pt x="2241591" y="439174"/>
                    <a:pt x="2242275" y="437333"/>
                    <a:pt x="2242865" y="435452"/>
                  </a:cubicBezTo>
                  <a:cubicBezTo>
                    <a:pt x="2242865" y="433931"/>
                    <a:pt x="2244576" y="431079"/>
                    <a:pt x="2245907" y="427846"/>
                  </a:cubicBezTo>
                  <a:cubicBezTo>
                    <a:pt x="2247999" y="423501"/>
                    <a:pt x="2249710" y="418983"/>
                    <a:pt x="2251041" y="414345"/>
                  </a:cubicBezTo>
                  <a:cubicBezTo>
                    <a:pt x="2249273" y="412235"/>
                    <a:pt x="2247238" y="410379"/>
                    <a:pt x="2244956" y="408831"/>
                  </a:cubicBezTo>
                  <a:lnTo>
                    <a:pt x="2240963" y="405408"/>
                  </a:lnTo>
                  <a:lnTo>
                    <a:pt x="2238491" y="403126"/>
                  </a:lnTo>
                  <a:cubicBezTo>
                    <a:pt x="2235753" y="400696"/>
                    <a:pt x="2232901" y="398410"/>
                    <a:pt x="2229935" y="396281"/>
                  </a:cubicBezTo>
                  <a:lnTo>
                    <a:pt x="2228603" y="396281"/>
                  </a:lnTo>
                  <a:cubicBezTo>
                    <a:pt x="2220807" y="391184"/>
                    <a:pt x="2213980" y="384746"/>
                    <a:pt x="2208447" y="377265"/>
                  </a:cubicBezTo>
                  <a:cubicBezTo>
                    <a:pt x="2206184" y="373793"/>
                    <a:pt x="2204264" y="370096"/>
                    <a:pt x="2202742" y="366236"/>
                  </a:cubicBezTo>
                  <a:cubicBezTo>
                    <a:pt x="2201373" y="362933"/>
                    <a:pt x="2199719" y="359754"/>
                    <a:pt x="2197799" y="356729"/>
                  </a:cubicBezTo>
                  <a:cubicBezTo>
                    <a:pt x="2195098" y="352648"/>
                    <a:pt x="2190686" y="349995"/>
                    <a:pt x="2185819" y="349503"/>
                  </a:cubicBezTo>
                  <a:lnTo>
                    <a:pt x="2181255" y="348172"/>
                  </a:lnTo>
                  <a:cubicBezTo>
                    <a:pt x="2168971" y="344199"/>
                    <a:pt x="2155527" y="346017"/>
                    <a:pt x="2144745" y="353116"/>
                  </a:cubicBezTo>
                  <a:cubicBezTo>
                    <a:pt x="2126605" y="361519"/>
                    <a:pt x="2105288" y="359020"/>
                    <a:pt x="2089601" y="346651"/>
                  </a:cubicBezTo>
                  <a:cubicBezTo>
                    <a:pt x="2081310" y="341393"/>
                    <a:pt x="2075852" y="332646"/>
                    <a:pt x="2074769" y="322881"/>
                  </a:cubicBezTo>
                  <a:cubicBezTo>
                    <a:pt x="2075054" y="319377"/>
                    <a:pt x="2076157" y="315990"/>
                    <a:pt x="2078001" y="312993"/>
                  </a:cubicBezTo>
                  <a:lnTo>
                    <a:pt x="2083706" y="313944"/>
                  </a:lnTo>
                  <a:lnTo>
                    <a:pt x="2078762" y="311472"/>
                  </a:lnTo>
                  <a:cubicBezTo>
                    <a:pt x="2079237" y="310379"/>
                    <a:pt x="2079561" y="309228"/>
                    <a:pt x="2079713" y="308049"/>
                  </a:cubicBezTo>
                  <a:cubicBezTo>
                    <a:pt x="2079713" y="308049"/>
                    <a:pt x="2079713" y="308049"/>
                    <a:pt x="2078572" y="308049"/>
                  </a:cubicBezTo>
                  <a:cubicBezTo>
                    <a:pt x="2071878" y="306918"/>
                    <a:pt x="2065432" y="304600"/>
                    <a:pt x="2059556" y="301204"/>
                  </a:cubicBezTo>
                  <a:cubicBezTo>
                    <a:pt x="2051133" y="296376"/>
                    <a:pt x="2045656" y="287688"/>
                    <a:pt x="2044915" y="278005"/>
                  </a:cubicBezTo>
                  <a:cubicBezTo>
                    <a:pt x="2045238" y="271756"/>
                    <a:pt x="2046930" y="265654"/>
                    <a:pt x="2049859" y="260130"/>
                  </a:cubicBezTo>
                  <a:cubicBezTo>
                    <a:pt x="2050809" y="257468"/>
                    <a:pt x="2051950" y="254996"/>
                    <a:pt x="2052711" y="252714"/>
                  </a:cubicBezTo>
                  <a:cubicBezTo>
                    <a:pt x="2053471" y="250433"/>
                    <a:pt x="2054422" y="246249"/>
                    <a:pt x="2055183" y="243207"/>
                  </a:cubicBezTo>
                  <a:cubicBezTo>
                    <a:pt x="2056077" y="238422"/>
                    <a:pt x="2057351" y="233716"/>
                    <a:pt x="2058986" y="229135"/>
                  </a:cubicBezTo>
                  <a:cubicBezTo>
                    <a:pt x="2062447" y="220327"/>
                    <a:pt x="2067049" y="212016"/>
                    <a:pt x="2072677" y="204415"/>
                  </a:cubicBezTo>
                  <a:cubicBezTo>
                    <a:pt x="2077051" y="198475"/>
                    <a:pt x="2080816" y="192103"/>
                    <a:pt x="2083896" y="185400"/>
                  </a:cubicBezTo>
                  <a:cubicBezTo>
                    <a:pt x="2086311" y="178047"/>
                    <a:pt x="2087338" y="170311"/>
                    <a:pt x="2086938" y="162582"/>
                  </a:cubicBezTo>
                  <a:cubicBezTo>
                    <a:pt x="2086083" y="151638"/>
                    <a:pt x="2088384" y="140678"/>
                    <a:pt x="2093594" y="131016"/>
                  </a:cubicBezTo>
                  <a:cubicBezTo>
                    <a:pt x="2097606" y="125403"/>
                    <a:pt x="2102798" y="120731"/>
                    <a:pt x="2108806" y="117325"/>
                  </a:cubicBezTo>
                  <a:cubicBezTo>
                    <a:pt x="2117743" y="111050"/>
                    <a:pt x="2122688" y="107247"/>
                    <a:pt x="2121737" y="99450"/>
                  </a:cubicBezTo>
                  <a:cubicBezTo>
                    <a:pt x="2119892" y="87467"/>
                    <a:pt x="2111297" y="77619"/>
                    <a:pt x="2099679" y="74160"/>
                  </a:cubicBezTo>
                  <a:cubicBezTo>
                    <a:pt x="2093308" y="72726"/>
                    <a:pt x="2087699" y="69003"/>
                    <a:pt x="2083896" y="63702"/>
                  </a:cubicBezTo>
                  <a:cubicBezTo>
                    <a:pt x="2082889" y="62380"/>
                    <a:pt x="2081805" y="61112"/>
                    <a:pt x="2080664" y="59898"/>
                  </a:cubicBezTo>
                  <a:cubicBezTo>
                    <a:pt x="2076670" y="55335"/>
                    <a:pt x="2076100" y="54764"/>
                    <a:pt x="2070395" y="54194"/>
                  </a:cubicBezTo>
                  <a:lnTo>
                    <a:pt x="2064310" y="54194"/>
                  </a:lnTo>
                  <a:cubicBezTo>
                    <a:pt x="2058491" y="55238"/>
                    <a:pt x="2052483" y="54158"/>
                    <a:pt x="2047387" y="51151"/>
                  </a:cubicBezTo>
                  <a:cubicBezTo>
                    <a:pt x="2044078" y="48714"/>
                    <a:pt x="2041397" y="45519"/>
                    <a:pt x="2039590" y="41834"/>
                  </a:cubicBezTo>
                  <a:cubicBezTo>
                    <a:pt x="2038354" y="39398"/>
                    <a:pt x="2036605" y="37257"/>
                    <a:pt x="2034456" y="35559"/>
                  </a:cubicBezTo>
                  <a:cubicBezTo>
                    <a:pt x="2028543" y="32718"/>
                    <a:pt x="2022001" y="31410"/>
                    <a:pt x="2015440" y="31756"/>
                  </a:cubicBezTo>
                  <a:cubicBezTo>
                    <a:pt x="2004716" y="32408"/>
                    <a:pt x="1994125" y="29016"/>
                    <a:pt x="1985777" y="22248"/>
                  </a:cubicBezTo>
                  <a:cubicBezTo>
                    <a:pt x="1980034" y="15857"/>
                    <a:pt x="1975813" y="8253"/>
                    <a:pt x="1973417" y="0"/>
                  </a:cubicBezTo>
                  <a:cubicBezTo>
                    <a:pt x="1970850" y="9376"/>
                    <a:pt x="1969328" y="19004"/>
                    <a:pt x="1968853" y="28713"/>
                  </a:cubicBezTo>
                  <a:cubicBezTo>
                    <a:pt x="1968853" y="50391"/>
                    <a:pt x="1989009" y="56476"/>
                    <a:pt x="2003461" y="66744"/>
                  </a:cubicBezTo>
                  <a:cubicBezTo>
                    <a:pt x="2007074" y="69406"/>
                    <a:pt x="2015821" y="74921"/>
                    <a:pt x="2014490" y="80625"/>
                  </a:cubicBezTo>
                  <a:cubicBezTo>
                    <a:pt x="2012018" y="90703"/>
                    <a:pt x="1997376" y="84238"/>
                    <a:pt x="1992622" y="80625"/>
                  </a:cubicBezTo>
                  <a:cubicBezTo>
                    <a:pt x="1969994" y="67505"/>
                    <a:pt x="1952690" y="48679"/>
                    <a:pt x="1926449" y="67885"/>
                  </a:cubicBezTo>
                  <a:cubicBezTo>
                    <a:pt x="1918367" y="76128"/>
                    <a:pt x="1908650" y="82603"/>
                    <a:pt x="1897926" y="86900"/>
                  </a:cubicBezTo>
                  <a:cubicBezTo>
                    <a:pt x="1884615" y="89943"/>
                    <a:pt x="1882904" y="78343"/>
                    <a:pt x="1875868" y="69787"/>
                  </a:cubicBezTo>
                  <a:cubicBezTo>
                    <a:pt x="1860751" y="48193"/>
                    <a:pt x="1838084" y="33058"/>
                    <a:pt x="1812356" y="27382"/>
                  </a:cubicBezTo>
                  <a:cubicBezTo>
                    <a:pt x="1784404" y="22438"/>
                    <a:pt x="1753979" y="39932"/>
                    <a:pt x="1731922" y="55145"/>
                  </a:cubicBezTo>
                  <a:cubicBezTo>
                    <a:pt x="1708057" y="71429"/>
                    <a:pt x="1687425" y="91996"/>
                    <a:pt x="1671072" y="115804"/>
                  </a:cubicBezTo>
                  <a:cubicBezTo>
                    <a:pt x="1662705" y="128164"/>
                    <a:pt x="1661184" y="142425"/>
                    <a:pt x="1653578" y="155166"/>
                  </a:cubicBezTo>
                  <a:cubicBezTo>
                    <a:pt x="1646086" y="166468"/>
                    <a:pt x="1640191" y="178756"/>
                    <a:pt x="1636084" y="191675"/>
                  </a:cubicBezTo>
                  <a:cubicBezTo>
                    <a:pt x="1633859" y="205307"/>
                    <a:pt x="1629561" y="218517"/>
                    <a:pt x="1623343" y="230847"/>
                  </a:cubicBezTo>
                  <a:cubicBezTo>
                    <a:pt x="1616878" y="241149"/>
                    <a:pt x="1609082" y="250549"/>
                    <a:pt x="1600145" y="258799"/>
                  </a:cubicBezTo>
                  <a:cubicBezTo>
                    <a:pt x="1591588" y="266786"/>
                    <a:pt x="1582080" y="274962"/>
                    <a:pt x="1571621" y="265075"/>
                  </a:cubicBezTo>
                  <a:cubicBezTo>
                    <a:pt x="1566488" y="260130"/>
                    <a:pt x="1567628" y="257849"/>
                    <a:pt x="1559452" y="255947"/>
                  </a:cubicBezTo>
                  <a:cubicBezTo>
                    <a:pt x="1551275" y="254046"/>
                    <a:pt x="1546522" y="253665"/>
                    <a:pt x="1540437" y="251764"/>
                  </a:cubicBezTo>
                  <a:cubicBezTo>
                    <a:pt x="1517238" y="245298"/>
                    <a:pt x="1504117" y="270779"/>
                    <a:pt x="1500314" y="289794"/>
                  </a:cubicBezTo>
                  <a:cubicBezTo>
                    <a:pt x="1494800" y="316986"/>
                    <a:pt x="1482250" y="300063"/>
                    <a:pt x="1467798" y="287703"/>
                  </a:cubicBezTo>
                  <a:cubicBezTo>
                    <a:pt x="1456199" y="277625"/>
                    <a:pt x="1451064" y="278385"/>
                    <a:pt x="1439845" y="287703"/>
                  </a:cubicBezTo>
                  <a:cubicBezTo>
                    <a:pt x="1432049" y="294738"/>
                    <a:pt x="1425203" y="303295"/>
                    <a:pt x="1415505" y="297591"/>
                  </a:cubicBezTo>
                  <a:cubicBezTo>
                    <a:pt x="1396490" y="286372"/>
                    <a:pt x="1431288" y="274582"/>
                    <a:pt x="1435852" y="264504"/>
                  </a:cubicBezTo>
                  <a:cubicBezTo>
                    <a:pt x="1440415" y="254426"/>
                    <a:pt x="1429196" y="245489"/>
                    <a:pt x="1420830" y="242256"/>
                  </a:cubicBezTo>
                  <a:cubicBezTo>
                    <a:pt x="1408355" y="238293"/>
                    <a:pt x="1394874" y="238900"/>
                    <a:pt x="1382799" y="243967"/>
                  </a:cubicBezTo>
                  <a:cubicBezTo>
                    <a:pt x="1357661" y="252315"/>
                    <a:pt x="1335165" y="267138"/>
                    <a:pt x="1317576" y="286942"/>
                  </a:cubicBezTo>
                  <a:cubicBezTo>
                    <a:pt x="1298561" y="309761"/>
                    <a:pt x="1316625" y="336762"/>
                    <a:pt x="1323851" y="361102"/>
                  </a:cubicBezTo>
                  <a:cubicBezTo>
                    <a:pt x="1328282" y="372160"/>
                    <a:pt x="1329157" y="384328"/>
                    <a:pt x="1326323" y="395900"/>
                  </a:cubicBezTo>
                  <a:cubicBezTo>
                    <a:pt x="1323661" y="403697"/>
                    <a:pt x="1315104" y="422332"/>
                    <a:pt x="1305787" y="417768"/>
                  </a:cubicBezTo>
                  <a:cubicBezTo>
                    <a:pt x="1296469" y="413204"/>
                    <a:pt x="1296850" y="398753"/>
                    <a:pt x="1300652" y="391527"/>
                  </a:cubicBezTo>
                  <a:cubicBezTo>
                    <a:pt x="1304456" y="384301"/>
                    <a:pt x="1316815" y="371180"/>
                    <a:pt x="1313963" y="366427"/>
                  </a:cubicBezTo>
                  <a:cubicBezTo>
                    <a:pt x="1311111" y="361673"/>
                    <a:pt x="1309780" y="366427"/>
                    <a:pt x="1304265" y="367758"/>
                  </a:cubicBezTo>
                  <a:cubicBezTo>
                    <a:pt x="1298751" y="369089"/>
                    <a:pt x="1281637" y="363764"/>
                    <a:pt x="1288863" y="355778"/>
                  </a:cubicBezTo>
                  <a:cubicBezTo>
                    <a:pt x="1293617" y="350644"/>
                    <a:pt x="1292856" y="345890"/>
                    <a:pt x="1290574" y="345510"/>
                  </a:cubicBezTo>
                  <a:cubicBezTo>
                    <a:pt x="1279089" y="344576"/>
                    <a:pt x="1268022" y="349969"/>
                    <a:pt x="1261671" y="359581"/>
                  </a:cubicBezTo>
                  <a:cubicBezTo>
                    <a:pt x="1256917" y="366236"/>
                    <a:pt x="1241135" y="408641"/>
                    <a:pt x="1239233" y="380308"/>
                  </a:cubicBezTo>
                  <a:cubicBezTo>
                    <a:pt x="1239233" y="371751"/>
                    <a:pt x="1234098" y="361292"/>
                    <a:pt x="1239233" y="355207"/>
                  </a:cubicBezTo>
                  <a:cubicBezTo>
                    <a:pt x="1244367" y="349122"/>
                    <a:pt x="1261481" y="345319"/>
                    <a:pt x="1270228" y="339995"/>
                  </a:cubicBezTo>
                  <a:cubicBezTo>
                    <a:pt x="1274982" y="336953"/>
                    <a:pt x="1292666" y="322881"/>
                    <a:pt x="1287151" y="315085"/>
                  </a:cubicBezTo>
                  <a:cubicBezTo>
                    <a:pt x="1281637" y="307289"/>
                    <a:pt x="1263382" y="317367"/>
                    <a:pt x="1257488" y="320029"/>
                  </a:cubicBezTo>
                  <a:cubicBezTo>
                    <a:pt x="1228318" y="332343"/>
                    <a:pt x="1200860" y="348318"/>
                    <a:pt x="1175722" y="367567"/>
                  </a:cubicBezTo>
                  <a:cubicBezTo>
                    <a:pt x="1164122" y="376885"/>
                    <a:pt x="1153093" y="386583"/>
                    <a:pt x="1141494" y="396091"/>
                  </a:cubicBezTo>
                  <a:cubicBezTo>
                    <a:pt x="1128943" y="405393"/>
                    <a:pt x="1113922" y="410753"/>
                    <a:pt x="1098329" y="411493"/>
                  </a:cubicBezTo>
                  <a:cubicBezTo>
                    <a:pt x="1090342" y="412634"/>
                    <a:pt x="1075700" y="415486"/>
                    <a:pt x="1080264" y="426705"/>
                  </a:cubicBezTo>
                  <a:cubicBezTo>
                    <a:pt x="1084828" y="437924"/>
                    <a:pt x="1102512" y="433361"/>
                    <a:pt x="1108597" y="443249"/>
                  </a:cubicBezTo>
                  <a:cubicBezTo>
                    <a:pt x="1118865" y="460172"/>
                    <a:pt x="1093575" y="475765"/>
                    <a:pt x="1084067" y="486033"/>
                  </a:cubicBezTo>
                  <a:cubicBezTo>
                    <a:pt x="1077260" y="491816"/>
                    <a:pt x="1073647" y="500519"/>
                    <a:pt x="1074369" y="509422"/>
                  </a:cubicBezTo>
                  <a:cubicBezTo>
                    <a:pt x="1075320" y="517409"/>
                    <a:pt x="1084067" y="535283"/>
                    <a:pt x="1094716" y="532241"/>
                  </a:cubicBezTo>
                  <a:cubicBezTo>
                    <a:pt x="1100991" y="530529"/>
                    <a:pt x="1120767" y="480329"/>
                    <a:pt x="1117724" y="520071"/>
                  </a:cubicBezTo>
                  <a:cubicBezTo>
                    <a:pt x="1115633" y="547453"/>
                    <a:pt x="1144916" y="561144"/>
                    <a:pt x="1164883" y="575215"/>
                  </a:cubicBezTo>
                  <a:cubicBezTo>
                    <a:pt x="1176672" y="583392"/>
                    <a:pt x="1177623" y="585674"/>
                    <a:pt x="1167355" y="592900"/>
                  </a:cubicBezTo>
                  <a:cubicBezTo>
                    <a:pt x="1163475" y="596229"/>
                    <a:pt x="1159406" y="599340"/>
                    <a:pt x="1155185" y="602217"/>
                  </a:cubicBezTo>
                  <a:cubicBezTo>
                    <a:pt x="1146247" y="606401"/>
                    <a:pt x="1144346" y="602217"/>
                    <a:pt x="1136169" y="600316"/>
                  </a:cubicBezTo>
                  <a:cubicBezTo>
                    <a:pt x="1119626" y="597844"/>
                    <a:pt x="1094526" y="623895"/>
                    <a:pt x="1110498" y="638346"/>
                  </a:cubicBezTo>
                  <a:cubicBezTo>
                    <a:pt x="1116774" y="643861"/>
                    <a:pt x="1131606" y="646333"/>
                    <a:pt x="1134648" y="654890"/>
                  </a:cubicBezTo>
                  <a:cubicBezTo>
                    <a:pt x="1140162" y="671433"/>
                    <a:pt x="1124760" y="669532"/>
                    <a:pt x="1115633" y="665919"/>
                  </a:cubicBezTo>
                  <a:cubicBezTo>
                    <a:pt x="1092377" y="658879"/>
                    <a:pt x="1067581" y="658879"/>
                    <a:pt x="1044325" y="665919"/>
                  </a:cubicBezTo>
                  <a:cubicBezTo>
                    <a:pt x="1025310" y="672384"/>
                    <a:pt x="999259" y="703950"/>
                    <a:pt x="1007815" y="724296"/>
                  </a:cubicBezTo>
                  <a:cubicBezTo>
                    <a:pt x="1012569" y="735515"/>
                    <a:pt x="1013330" y="734564"/>
                    <a:pt x="1000400" y="739699"/>
                  </a:cubicBezTo>
                  <a:cubicBezTo>
                    <a:pt x="989028" y="745392"/>
                    <a:pt x="976402" y="748077"/>
                    <a:pt x="963700" y="747495"/>
                  </a:cubicBezTo>
                  <a:cubicBezTo>
                    <a:pt x="951968" y="746730"/>
                    <a:pt x="940634" y="742929"/>
                    <a:pt x="930803" y="736466"/>
                  </a:cubicBezTo>
                  <a:cubicBezTo>
                    <a:pt x="925479" y="732853"/>
                    <a:pt x="912929" y="722204"/>
                    <a:pt x="905513" y="723916"/>
                  </a:cubicBezTo>
                  <a:cubicBezTo>
                    <a:pt x="886497" y="728289"/>
                    <a:pt x="912168" y="775257"/>
                    <a:pt x="916351" y="784955"/>
                  </a:cubicBezTo>
                  <a:cubicBezTo>
                    <a:pt x="924833" y="806671"/>
                    <a:pt x="931183" y="829147"/>
                    <a:pt x="935367" y="852079"/>
                  </a:cubicBezTo>
                  <a:cubicBezTo>
                    <a:pt x="936888" y="859686"/>
                    <a:pt x="940311" y="873757"/>
                    <a:pt x="933846" y="880222"/>
                  </a:cubicBezTo>
                  <a:cubicBezTo>
                    <a:pt x="923387" y="890681"/>
                    <a:pt x="918063" y="876039"/>
                    <a:pt x="910077" y="874137"/>
                  </a:cubicBezTo>
                  <a:cubicBezTo>
                    <a:pt x="905513" y="872996"/>
                    <a:pt x="903040" y="877560"/>
                    <a:pt x="898858" y="878321"/>
                  </a:cubicBezTo>
                  <a:cubicBezTo>
                    <a:pt x="893248" y="878663"/>
                    <a:pt x="887619" y="877617"/>
                    <a:pt x="882504" y="875278"/>
                  </a:cubicBezTo>
                  <a:cubicBezTo>
                    <a:pt x="875449" y="874023"/>
                    <a:pt x="868338" y="873148"/>
                    <a:pt x="861207" y="872616"/>
                  </a:cubicBezTo>
                  <a:cubicBezTo>
                    <a:pt x="853791" y="871285"/>
                    <a:pt x="850558" y="866911"/>
                    <a:pt x="844664" y="862728"/>
                  </a:cubicBezTo>
                  <a:cubicBezTo>
                    <a:pt x="838788" y="859857"/>
                    <a:pt x="833083" y="856681"/>
                    <a:pt x="827550" y="853220"/>
                  </a:cubicBezTo>
                  <a:cubicBezTo>
                    <a:pt x="822986" y="849607"/>
                    <a:pt x="820704" y="845424"/>
                    <a:pt x="815000" y="843332"/>
                  </a:cubicBezTo>
                  <a:cubicBezTo>
                    <a:pt x="809295" y="841241"/>
                    <a:pt x="803210" y="843332"/>
                    <a:pt x="797885" y="840100"/>
                  </a:cubicBezTo>
                  <a:cubicBezTo>
                    <a:pt x="792561" y="836867"/>
                    <a:pt x="790470" y="831923"/>
                    <a:pt x="786286" y="826028"/>
                  </a:cubicBezTo>
                  <a:cubicBezTo>
                    <a:pt x="779631" y="816901"/>
                    <a:pt x="745213" y="810816"/>
                    <a:pt x="740839" y="797505"/>
                  </a:cubicBezTo>
                  <a:cubicBezTo>
                    <a:pt x="740554" y="796250"/>
                    <a:pt x="740554" y="794957"/>
                    <a:pt x="740839" y="793702"/>
                  </a:cubicBezTo>
                  <a:cubicBezTo>
                    <a:pt x="741391" y="790945"/>
                    <a:pt x="743445" y="788737"/>
                    <a:pt x="746164" y="787998"/>
                  </a:cubicBezTo>
                  <a:cubicBezTo>
                    <a:pt x="752001" y="786646"/>
                    <a:pt x="757668" y="784670"/>
                    <a:pt x="763087" y="782103"/>
                  </a:cubicBezTo>
                  <a:cubicBezTo>
                    <a:pt x="772823" y="774784"/>
                    <a:pt x="774782" y="760956"/>
                    <a:pt x="767461" y="751218"/>
                  </a:cubicBezTo>
                  <a:cubicBezTo>
                    <a:pt x="766985" y="750583"/>
                    <a:pt x="766472" y="749976"/>
                    <a:pt x="765940" y="749396"/>
                  </a:cubicBezTo>
                  <a:cubicBezTo>
                    <a:pt x="759455" y="740881"/>
                    <a:pt x="748674" y="736820"/>
                    <a:pt x="738177" y="738938"/>
                  </a:cubicBezTo>
                  <a:cubicBezTo>
                    <a:pt x="735991" y="739512"/>
                    <a:pt x="733899" y="740343"/>
                    <a:pt x="731902" y="741410"/>
                  </a:cubicBezTo>
                  <a:lnTo>
                    <a:pt x="731902" y="741410"/>
                  </a:lnTo>
                  <a:cubicBezTo>
                    <a:pt x="729867" y="742049"/>
                    <a:pt x="727643" y="741457"/>
                    <a:pt x="726198" y="739889"/>
                  </a:cubicBezTo>
                  <a:cubicBezTo>
                    <a:pt x="724524" y="738615"/>
                    <a:pt x="723478" y="736671"/>
                    <a:pt x="723345" y="734564"/>
                  </a:cubicBezTo>
                  <a:cubicBezTo>
                    <a:pt x="723269" y="730659"/>
                    <a:pt x="723973" y="726777"/>
                    <a:pt x="725437" y="723155"/>
                  </a:cubicBezTo>
                  <a:cubicBezTo>
                    <a:pt x="728099" y="714028"/>
                    <a:pt x="732663" y="710605"/>
                    <a:pt x="725437" y="704140"/>
                  </a:cubicBezTo>
                  <a:cubicBezTo>
                    <a:pt x="725437" y="704140"/>
                    <a:pt x="718021" y="701478"/>
                    <a:pt x="716880" y="700907"/>
                  </a:cubicBezTo>
                  <a:cubicBezTo>
                    <a:pt x="712507" y="698722"/>
                    <a:pt x="708380" y="696111"/>
                    <a:pt x="704520" y="693111"/>
                  </a:cubicBezTo>
                  <a:lnTo>
                    <a:pt x="704520" y="693111"/>
                  </a:lnTo>
                  <a:cubicBezTo>
                    <a:pt x="701782" y="690723"/>
                    <a:pt x="699633" y="687728"/>
                    <a:pt x="698245" y="684364"/>
                  </a:cubicBezTo>
                  <a:cubicBezTo>
                    <a:pt x="696438" y="678667"/>
                    <a:pt x="694005" y="673185"/>
                    <a:pt x="691019" y="668010"/>
                  </a:cubicBezTo>
                  <a:cubicBezTo>
                    <a:pt x="683603" y="657552"/>
                    <a:pt x="675617" y="659263"/>
                    <a:pt x="664588" y="660404"/>
                  </a:cubicBezTo>
                  <a:cubicBezTo>
                    <a:pt x="646523" y="662306"/>
                    <a:pt x="612866" y="635304"/>
                    <a:pt x="599745" y="662116"/>
                  </a:cubicBezTo>
                  <a:cubicBezTo>
                    <a:pt x="597844" y="666299"/>
                    <a:pt x="598794" y="674476"/>
                    <a:pt x="596513" y="679610"/>
                  </a:cubicBezTo>
                  <a:cubicBezTo>
                    <a:pt x="595866" y="681835"/>
                    <a:pt x="594022" y="683516"/>
                    <a:pt x="591759" y="683983"/>
                  </a:cubicBezTo>
                  <a:cubicBezTo>
                    <a:pt x="589971" y="684592"/>
                    <a:pt x="588032" y="684592"/>
                    <a:pt x="586245" y="683983"/>
                  </a:cubicBezTo>
                  <a:cubicBezTo>
                    <a:pt x="581491" y="682272"/>
                    <a:pt x="578828" y="677138"/>
                    <a:pt x="570271" y="682082"/>
                  </a:cubicBezTo>
                  <a:cubicBezTo>
                    <a:pt x="561715" y="687026"/>
                    <a:pt x="563426" y="688737"/>
                    <a:pt x="551256" y="686075"/>
                  </a:cubicBezTo>
                  <a:cubicBezTo>
                    <a:pt x="546883" y="686075"/>
                    <a:pt x="542509" y="684934"/>
                    <a:pt x="538136" y="683793"/>
                  </a:cubicBezTo>
                  <a:cubicBezTo>
                    <a:pt x="535949" y="683318"/>
                    <a:pt x="533838" y="682550"/>
                    <a:pt x="531860" y="681511"/>
                  </a:cubicBezTo>
                  <a:cubicBezTo>
                    <a:pt x="530016" y="680243"/>
                    <a:pt x="527962" y="679340"/>
                    <a:pt x="525775" y="678849"/>
                  </a:cubicBezTo>
                  <a:cubicBezTo>
                    <a:pt x="523113" y="678849"/>
                    <a:pt x="521021" y="682462"/>
                    <a:pt x="518550" y="683223"/>
                  </a:cubicBezTo>
                  <a:cubicBezTo>
                    <a:pt x="516952" y="684103"/>
                    <a:pt x="515013" y="684103"/>
                    <a:pt x="513415" y="683223"/>
                  </a:cubicBezTo>
                  <a:cubicBezTo>
                    <a:pt x="509841" y="680542"/>
                    <a:pt x="507178" y="676822"/>
                    <a:pt x="505809" y="672574"/>
                  </a:cubicBezTo>
                  <a:cubicBezTo>
                    <a:pt x="504459" y="669619"/>
                    <a:pt x="502805" y="666814"/>
                    <a:pt x="500865" y="664207"/>
                  </a:cubicBezTo>
                  <a:cubicBezTo>
                    <a:pt x="500257" y="663167"/>
                    <a:pt x="499325" y="662363"/>
                    <a:pt x="498203" y="661926"/>
                  </a:cubicBezTo>
                  <a:cubicBezTo>
                    <a:pt x="498203" y="661926"/>
                    <a:pt x="495351" y="661926"/>
                    <a:pt x="495351" y="661926"/>
                  </a:cubicBezTo>
                  <a:cubicBezTo>
                    <a:pt x="495351" y="668010"/>
                    <a:pt x="499915" y="672764"/>
                    <a:pt x="498774" y="679230"/>
                  </a:cubicBezTo>
                  <a:cubicBezTo>
                    <a:pt x="497195" y="683727"/>
                    <a:pt x="494951" y="687958"/>
                    <a:pt x="492118" y="691780"/>
                  </a:cubicBezTo>
                  <a:cubicBezTo>
                    <a:pt x="490597" y="694632"/>
                    <a:pt x="488885" y="702048"/>
                    <a:pt x="487745" y="703950"/>
                  </a:cubicBezTo>
                  <a:cubicBezTo>
                    <a:pt x="484322" y="709084"/>
                    <a:pt x="481850" y="706612"/>
                    <a:pt x="478237" y="709844"/>
                  </a:cubicBezTo>
                  <a:cubicBezTo>
                    <a:pt x="462834" y="723155"/>
                    <a:pt x="507901" y="758334"/>
                    <a:pt x="512084" y="773736"/>
                  </a:cubicBezTo>
                  <a:lnTo>
                    <a:pt x="512084" y="773736"/>
                  </a:lnTo>
                  <a:cubicBezTo>
                    <a:pt x="512940" y="777492"/>
                    <a:pt x="512940" y="781390"/>
                    <a:pt x="512084" y="785145"/>
                  </a:cubicBezTo>
                  <a:cubicBezTo>
                    <a:pt x="511134" y="789998"/>
                    <a:pt x="509042" y="794558"/>
                    <a:pt x="506000" y="798456"/>
                  </a:cubicBezTo>
                  <a:cubicBezTo>
                    <a:pt x="503452" y="801270"/>
                    <a:pt x="500257" y="803438"/>
                    <a:pt x="496682" y="804731"/>
                  </a:cubicBezTo>
                  <a:lnTo>
                    <a:pt x="495161" y="804731"/>
                  </a:lnTo>
                  <a:cubicBezTo>
                    <a:pt x="492004" y="806538"/>
                    <a:pt x="489076" y="808705"/>
                    <a:pt x="486414" y="811196"/>
                  </a:cubicBezTo>
                  <a:cubicBezTo>
                    <a:pt x="484132" y="813212"/>
                    <a:pt x="481489" y="814752"/>
                    <a:pt x="478617" y="815760"/>
                  </a:cubicBezTo>
                  <a:cubicBezTo>
                    <a:pt x="473293" y="817471"/>
                    <a:pt x="467969" y="814239"/>
                    <a:pt x="462645" y="815760"/>
                  </a:cubicBezTo>
                  <a:cubicBezTo>
                    <a:pt x="459279" y="817433"/>
                    <a:pt x="456141" y="819544"/>
                    <a:pt x="453327" y="822035"/>
                  </a:cubicBezTo>
                  <a:cubicBezTo>
                    <a:pt x="443534" y="830250"/>
                    <a:pt x="431934" y="836050"/>
                    <a:pt x="419479" y="838959"/>
                  </a:cubicBezTo>
                  <a:cubicBezTo>
                    <a:pt x="415049" y="839529"/>
                    <a:pt x="410561" y="838807"/>
                    <a:pt x="406549" y="836867"/>
                  </a:cubicBezTo>
                  <a:cubicBezTo>
                    <a:pt x="402936" y="834966"/>
                    <a:pt x="399323" y="826979"/>
                    <a:pt x="395900" y="826028"/>
                  </a:cubicBezTo>
                  <a:cubicBezTo>
                    <a:pt x="386393" y="822796"/>
                    <a:pt x="385062" y="841051"/>
                    <a:pt x="375935" y="845044"/>
                  </a:cubicBezTo>
                  <a:cubicBezTo>
                    <a:pt x="365780" y="847459"/>
                    <a:pt x="355283" y="847972"/>
                    <a:pt x="344939" y="846565"/>
                  </a:cubicBezTo>
                  <a:cubicBezTo>
                    <a:pt x="334937" y="844074"/>
                    <a:pt x="326703" y="837038"/>
                    <a:pt x="322691" y="827550"/>
                  </a:cubicBezTo>
                  <a:cubicBezTo>
                    <a:pt x="320485" y="823461"/>
                    <a:pt x="320485" y="818517"/>
                    <a:pt x="322691" y="814429"/>
                  </a:cubicBezTo>
                  <a:cubicBezTo>
                    <a:pt x="324022" y="810816"/>
                    <a:pt x="331819" y="805111"/>
                    <a:pt x="332008" y="801499"/>
                  </a:cubicBezTo>
                  <a:cubicBezTo>
                    <a:pt x="332008" y="782483"/>
                    <a:pt x="308430" y="794653"/>
                    <a:pt x="300633" y="798646"/>
                  </a:cubicBezTo>
                  <a:cubicBezTo>
                    <a:pt x="289642" y="804579"/>
                    <a:pt x="278195" y="809599"/>
                    <a:pt x="266406" y="813668"/>
                  </a:cubicBezTo>
                  <a:cubicBezTo>
                    <a:pt x="260302" y="815817"/>
                    <a:pt x="253741" y="816292"/>
                    <a:pt x="247390" y="814999"/>
                  </a:cubicBezTo>
                  <a:cubicBezTo>
                    <a:pt x="237559" y="813763"/>
                    <a:pt x="227576" y="815209"/>
                    <a:pt x="218487" y="819183"/>
                  </a:cubicBezTo>
                  <a:cubicBezTo>
                    <a:pt x="207648" y="821275"/>
                    <a:pt x="197437" y="825819"/>
                    <a:pt x="188633" y="832494"/>
                  </a:cubicBezTo>
                  <a:cubicBezTo>
                    <a:pt x="177490" y="841944"/>
                    <a:pt x="165871" y="850843"/>
                    <a:pt x="153834" y="859115"/>
                  </a:cubicBezTo>
                  <a:cubicBezTo>
                    <a:pt x="143186" y="866341"/>
                    <a:pt x="136530" y="870334"/>
                    <a:pt x="144517" y="881553"/>
                  </a:cubicBezTo>
                  <a:cubicBezTo>
                    <a:pt x="146419" y="884215"/>
                    <a:pt x="154215" y="889350"/>
                    <a:pt x="153834" y="893533"/>
                  </a:cubicBezTo>
                  <a:cubicBezTo>
                    <a:pt x="153454" y="897716"/>
                    <a:pt x="145468" y="893533"/>
                    <a:pt x="142615" y="891061"/>
                  </a:cubicBezTo>
                  <a:cubicBezTo>
                    <a:pt x="136189" y="882504"/>
                    <a:pt x="132366" y="872274"/>
                    <a:pt x="131587" y="861587"/>
                  </a:cubicBezTo>
                  <a:cubicBezTo>
                    <a:pt x="128411" y="849512"/>
                    <a:pt x="121813" y="838616"/>
                    <a:pt x="112571" y="830212"/>
                  </a:cubicBezTo>
                  <a:cubicBezTo>
                    <a:pt x="101162" y="820134"/>
                    <a:pt x="103444" y="833635"/>
                    <a:pt x="102303" y="843903"/>
                  </a:cubicBezTo>
                  <a:cubicBezTo>
                    <a:pt x="98690" y="862728"/>
                    <a:pt x="92225" y="867292"/>
                    <a:pt x="76252" y="86729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41" name="Полилиния: фигура 340">
              <a:extLst>
                <a:ext uri="{FF2B5EF4-FFF2-40B4-BE49-F238E27FC236}">
                  <a16:creationId xmlns:a16="http://schemas.microsoft.com/office/drawing/2014/main" id="{D6E56D42-86F3-D42B-058D-9C1B1C8920D8}"/>
                </a:ext>
              </a:extLst>
            </p:cNvPr>
            <p:cNvSpPr/>
            <p:nvPr/>
          </p:nvSpPr>
          <p:spPr>
            <a:xfrm>
              <a:off x="6830352" y="4394145"/>
              <a:ext cx="1142393" cy="765286"/>
            </a:xfrm>
            <a:custGeom>
              <a:avLst/>
              <a:gdLst>
                <a:gd name="connsiteX0" fmla="*/ 1190934 w 1194528"/>
                <a:gd name="connsiteY0" fmla="*/ 712783 h 797873"/>
                <a:gd name="connsiteX1" fmla="*/ 1193786 w 1194528"/>
                <a:gd name="connsiteY1" fmla="*/ 699852 h 797873"/>
                <a:gd name="connsiteX2" fmla="*/ 1193786 w 1194528"/>
                <a:gd name="connsiteY2" fmla="*/ 696810 h 797873"/>
                <a:gd name="connsiteX3" fmla="*/ 1181996 w 1194528"/>
                <a:gd name="connsiteY3" fmla="*/ 669428 h 797873"/>
                <a:gd name="connsiteX4" fmla="*/ 1162981 w 1194528"/>
                <a:gd name="connsiteY4" fmla="*/ 646609 h 797873"/>
                <a:gd name="connsiteX5" fmla="*/ 1150621 w 1194528"/>
                <a:gd name="connsiteY5" fmla="*/ 632348 h 797873"/>
                <a:gd name="connsiteX6" fmla="*/ 1141113 w 1194528"/>
                <a:gd name="connsiteY6" fmla="*/ 622650 h 797873"/>
                <a:gd name="connsiteX7" fmla="*/ 1136169 w 1194528"/>
                <a:gd name="connsiteY7" fmla="*/ 615994 h 797873"/>
                <a:gd name="connsiteX8" fmla="*/ 1123049 w 1194528"/>
                <a:gd name="connsiteY8" fmla="*/ 604395 h 797873"/>
                <a:gd name="connsiteX9" fmla="*/ 1107266 w 1194528"/>
                <a:gd name="connsiteY9" fmla="*/ 604395 h 797873"/>
                <a:gd name="connsiteX10" fmla="*/ 1089772 w 1194528"/>
                <a:gd name="connsiteY10" fmla="*/ 604395 h 797873"/>
                <a:gd name="connsiteX11" fmla="*/ 1078553 w 1194528"/>
                <a:gd name="connsiteY11" fmla="*/ 602303 h 797873"/>
                <a:gd name="connsiteX12" fmla="*/ 1059537 w 1194528"/>
                <a:gd name="connsiteY12" fmla="*/ 599071 h 797873"/>
                <a:gd name="connsiteX13" fmla="*/ 1044705 w 1194528"/>
                <a:gd name="connsiteY13" fmla="*/ 593366 h 797873"/>
                <a:gd name="connsiteX14" fmla="*/ 1042043 w 1194528"/>
                <a:gd name="connsiteY14" fmla="*/ 578154 h 797873"/>
                <a:gd name="connsiteX15" fmla="*/ 1042043 w 1194528"/>
                <a:gd name="connsiteY15" fmla="*/ 554194 h 797873"/>
                <a:gd name="connsiteX16" fmla="*/ 1040902 w 1194528"/>
                <a:gd name="connsiteY16" fmla="*/ 543546 h 797873"/>
                <a:gd name="connsiteX17" fmla="*/ 1040902 w 1194528"/>
                <a:gd name="connsiteY17" fmla="*/ 505515 h 797873"/>
                <a:gd name="connsiteX18" fmla="*/ 1046417 w 1194528"/>
                <a:gd name="connsiteY18" fmla="*/ 492394 h 797873"/>
                <a:gd name="connsiteX19" fmla="*/ 1050600 w 1194528"/>
                <a:gd name="connsiteY19" fmla="*/ 476231 h 797873"/>
                <a:gd name="connsiteX20" fmla="*/ 1047367 w 1194528"/>
                <a:gd name="connsiteY20" fmla="*/ 466534 h 797873"/>
                <a:gd name="connsiteX21" fmla="*/ 1047367 w 1194528"/>
                <a:gd name="connsiteY21" fmla="*/ 442954 h 797873"/>
                <a:gd name="connsiteX22" fmla="*/ 1065051 w 1194528"/>
                <a:gd name="connsiteY22" fmla="*/ 417474 h 797873"/>
                <a:gd name="connsiteX23" fmla="*/ 1084067 w 1194528"/>
                <a:gd name="connsiteY23" fmla="*/ 385338 h 797873"/>
                <a:gd name="connsiteX24" fmla="*/ 1084067 w 1194528"/>
                <a:gd name="connsiteY24" fmla="*/ 373358 h 797873"/>
                <a:gd name="connsiteX25" fmla="*/ 1087870 w 1194528"/>
                <a:gd name="connsiteY25" fmla="*/ 346737 h 797873"/>
                <a:gd name="connsiteX26" fmla="*/ 1101181 w 1194528"/>
                <a:gd name="connsiteY26" fmla="*/ 330193 h 797873"/>
                <a:gd name="connsiteX27" fmla="*/ 1106505 w 1194528"/>
                <a:gd name="connsiteY27" fmla="*/ 324679 h 797873"/>
                <a:gd name="connsiteX28" fmla="*/ 1115443 w 1194528"/>
                <a:gd name="connsiteY28" fmla="*/ 305663 h 797873"/>
                <a:gd name="connsiteX29" fmla="*/ 1104794 w 1194528"/>
                <a:gd name="connsiteY29" fmla="*/ 293303 h 797873"/>
                <a:gd name="connsiteX30" fmla="*/ 1102702 w 1194528"/>
                <a:gd name="connsiteY30" fmla="*/ 291972 h 797873"/>
                <a:gd name="connsiteX31" fmla="*/ 1087490 w 1194528"/>
                <a:gd name="connsiteY31" fmla="*/ 267062 h 797873"/>
                <a:gd name="connsiteX32" fmla="*/ 1110878 w 1194528"/>
                <a:gd name="connsiteY32" fmla="*/ 255843 h 797873"/>
                <a:gd name="connsiteX33" fmla="*/ 1117534 w 1194528"/>
                <a:gd name="connsiteY33" fmla="*/ 255843 h 797873"/>
                <a:gd name="connsiteX34" fmla="*/ 1134458 w 1194528"/>
                <a:gd name="connsiteY34" fmla="*/ 250138 h 797873"/>
                <a:gd name="connsiteX35" fmla="*/ 1149100 w 1194528"/>
                <a:gd name="connsiteY35" fmla="*/ 244814 h 797873"/>
                <a:gd name="connsiteX36" fmla="*/ 1153853 w 1194528"/>
                <a:gd name="connsiteY36" fmla="*/ 243483 h 797873"/>
                <a:gd name="connsiteX37" fmla="*/ 1176482 w 1194528"/>
                <a:gd name="connsiteY37" fmla="*/ 229412 h 797873"/>
                <a:gd name="connsiteX38" fmla="*/ 1168495 w 1194528"/>
                <a:gd name="connsiteY38" fmla="*/ 206783 h 797873"/>
                <a:gd name="connsiteX39" fmla="*/ 1149480 w 1194528"/>
                <a:gd name="connsiteY39" fmla="*/ 176929 h 797873"/>
                <a:gd name="connsiteX40" fmla="*/ 1114491 w 1194528"/>
                <a:gd name="connsiteY40" fmla="*/ 124447 h 797873"/>
                <a:gd name="connsiteX41" fmla="*/ 1089962 w 1194528"/>
                <a:gd name="connsiteY41" fmla="*/ 144793 h 797873"/>
                <a:gd name="connsiteX42" fmla="*/ 1075510 w 1194528"/>
                <a:gd name="connsiteY42" fmla="*/ 165900 h 797873"/>
                <a:gd name="connsiteX43" fmla="*/ 1056495 w 1194528"/>
                <a:gd name="connsiteY43" fmla="*/ 172936 h 797873"/>
                <a:gd name="connsiteX44" fmla="*/ 1045276 w 1194528"/>
                <a:gd name="connsiteY44" fmla="*/ 175598 h 797873"/>
                <a:gd name="connsiteX45" fmla="*/ 1037479 w 1194528"/>
                <a:gd name="connsiteY45" fmla="*/ 198226 h 797873"/>
                <a:gd name="connsiteX46" fmla="*/ 1037479 w 1194528"/>
                <a:gd name="connsiteY46" fmla="*/ 202980 h 797873"/>
                <a:gd name="connsiteX47" fmla="*/ 1008576 w 1194528"/>
                <a:gd name="connsiteY47" fmla="*/ 244434 h 797873"/>
                <a:gd name="connsiteX48" fmla="*/ 989561 w 1194528"/>
                <a:gd name="connsiteY48" fmla="*/ 258886 h 797873"/>
                <a:gd name="connsiteX49" fmla="*/ 984426 w 1194528"/>
                <a:gd name="connsiteY49" fmla="*/ 265541 h 797873"/>
                <a:gd name="connsiteX50" fmla="*/ 969785 w 1194528"/>
                <a:gd name="connsiteY50" fmla="*/ 279993 h 797873"/>
                <a:gd name="connsiteX51" fmla="*/ 930043 w 1194528"/>
                <a:gd name="connsiteY51" fmla="*/ 285317 h 797873"/>
                <a:gd name="connsiteX52" fmla="*/ 911027 w 1194528"/>
                <a:gd name="connsiteY52" fmla="*/ 262879 h 797873"/>
                <a:gd name="connsiteX53" fmla="*/ 892012 w 1194528"/>
                <a:gd name="connsiteY53" fmla="*/ 243863 h 797873"/>
                <a:gd name="connsiteX54" fmla="*/ 877750 w 1194528"/>
                <a:gd name="connsiteY54" fmla="*/ 249948 h 797873"/>
                <a:gd name="connsiteX55" fmla="*/ 871665 w 1194528"/>
                <a:gd name="connsiteY55" fmla="*/ 254322 h 797873"/>
                <a:gd name="connsiteX56" fmla="*/ 839719 w 1194528"/>
                <a:gd name="connsiteY56" fmla="*/ 260407 h 797873"/>
                <a:gd name="connsiteX57" fmla="*/ 814429 w 1194528"/>
                <a:gd name="connsiteY57" fmla="*/ 245004 h 797873"/>
                <a:gd name="connsiteX58" fmla="*/ 812908 w 1194528"/>
                <a:gd name="connsiteY58" fmla="*/ 212108 h 797873"/>
                <a:gd name="connsiteX59" fmla="*/ 821655 w 1194528"/>
                <a:gd name="connsiteY59" fmla="*/ 198987 h 797873"/>
                <a:gd name="connsiteX60" fmla="*/ 829451 w 1194528"/>
                <a:gd name="connsiteY60" fmla="*/ 186057 h 797873"/>
                <a:gd name="connsiteX61" fmla="*/ 825838 w 1194528"/>
                <a:gd name="connsiteY61" fmla="*/ 168753 h 797873"/>
                <a:gd name="connsiteX62" fmla="*/ 821275 w 1194528"/>
                <a:gd name="connsiteY62" fmla="*/ 155822 h 797873"/>
                <a:gd name="connsiteX63" fmla="*/ 832684 w 1194528"/>
                <a:gd name="connsiteY63" fmla="*/ 120263 h 797873"/>
                <a:gd name="connsiteX64" fmla="*/ 843142 w 1194528"/>
                <a:gd name="connsiteY64" fmla="*/ 96114 h 797873"/>
                <a:gd name="connsiteX65" fmla="*/ 843142 w 1194528"/>
                <a:gd name="connsiteY65" fmla="*/ 91550 h 797873"/>
                <a:gd name="connsiteX66" fmla="*/ 842001 w 1194528"/>
                <a:gd name="connsiteY66" fmla="*/ 80521 h 797873"/>
                <a:gd name="connsiteX67" fmla="*/ 848276 w 1194528"/>
                <a:gd name="connsiteY67" fmla="*/ 70633 h 797873"/>
                <a:gd name="connsiteX68" fmla="*/ 851699 w 1194528"/>
                <a:gd name="connsiteY68" fmla="*/ 66450 h 797873"/>
                <a:gd name="connsiteX69" fmla="*/ 852650 w 1194528"/>
                <a:gd name="connsiteY69" fmla="*/ 55991 h 797873"/>
                <a:gd name="connsiteX70" fmla="*/ 852650 w 1194528"/>
                <a:gd name="connsiteY70" fmla="*/ 43061 h 797873"/>
                <a:gd name="connsiteX71" fmla="*/ 854361 w 1194528"/>
                <a:gd name="connsiteY71" fmla="*/ 36786 h 797873"/>
                <a:gd name="connsiteX72" fmla="*/ 854361 w 1194528"/>
                <a:gd name="connsiteY72" fmla="*/ 15679 h 797873"/>
                <a:gd name="connsiteX73" fmla="*/ 825838 w 1194528"/>
                <a:gd name="connsiteY73" fmla="*/ 86 h 797873"/>
                <a:gd name="connsiteX74" fmla="*/ 809295 w 1194528"/>
                <a:gd name="connsiteY74" fmla="*/ 15108 h 797873"/>
                <a:gd name="connsiteX75" fmla="*/ 808344 w 1194528"/>
                <a:gd name="connsiteY75" fmla="*/ 16629 h 797873"/>
                <a:gd name="connsiteX76" fmla="*/ 787998 w 1194528"/>
                <a:gd name="connsiteY76" fmla="*/ 34124 h 797873"/>
                <a:gd name="connsiteX77" fmla="*/ 780011 w 1194528"/>
                <a:gd name="connsiteY77" fmla="*/ 38497 h 797873"/>
                <a:gd name="connsiteX78" fmla="*/ 772025 w 1194528"/>
                <a:gd name="connsiteY78" fmla="*/ 45153 h 797873"/>
                <a:gd name="connsiteX79" fmla="*/ 757383 w 1194528"/>
                <a:gd name="connsiteY79" fmla="*/ 55801 h 797873"/>
                <a:gd name="connsiteX80" fmla="*/ 743502 w 1194528"/>
                <a:gd name="connsiteY80" fmla="*/ 59984 h 797873"/>
                <a:gd name="connsiteX81" fmla="*/ 739128 w 1194528"/>
                <a:gd name="connsiteY81" fmla="*/ 61125 h 797873"/>
                <a:gd name="connsiteX82" fmla="*/ 728859 w 1194528"/>
                <a:gd name="connsiteY82" fmla="*/ 64548 h 797873"/>
                <a:gd name="connsiteX83" fmla="*/ 725057 w 1194528"/>
                <a:gd name="connsiteY83" fmla="*/ 66450 h 797873"/>
                <a:gd name="connsiteX84" fmla="*/ 703759 w 1194528"/>
                <a:gd name="connsiteY84" fmla="*/ 80711 h 797873"/>
                <a:gd name="connsiteX85" fmla="*/ 667059 w 1194528"/>
                <a:gd name="connsiteY85" fmla="*/ 102199 h 797873"/>
                <a:gd name="connsiteX86" fmla="*/ 638156 w 1194528"/>
                <a:gd name="connsiteY86" fmla="*/ 135095 h 797873"/>
                <a:gd name="connsiteX87" fmla="*/ 595942 w 1194528"/>
                <a:gd name="connsiteY87" fmla="*/ 166280 h 797873"/>
                <a:gd name="connsiteX88" fmla="*/ 583962 w 1194528"/>
                <a:gd name="connsiteY88" fmla="*/ 166280 h 797873"/>
                <a:gd name="connsiteX89" fmla="*/ 570271 w 1194528"/>
                <a:gd name="connsiteY89" fmla="*/ 172556 h 797873"/>
                <a:gd name="connsiteX90" fmla="*/ 559813 w 1194528"/>
                <a:gd name="connsiteY90" fmla="*/ 178641 h 797873"/>
                <a:gd name="connsiteX91" fmla="*/ 553538 w 1194528"/>
                <a:gd name="connsiteY91" fmla="*/ 180542 h 797873"/>
                <a:gd name="connsiteX92" fmla="*/ 546502 w 1194528"/>
                <a:gd name="connsiteY92" fmla="*/ 183775 h 797873"/>
                <a:gd name="connsiteX93" fmla="*/ 542699 w 1194528"/>
                <a:gd name="connsiteY93" fmla="*/ 187958 h 797873"/>
                <a:gd name="connsiteX94" fmla="*/ 531670 w 1194528"/>
                <a:gd name="connsiteY94" fmla="*/ 196705 h 797873"/>
                <a:gd name="connsiteX95" fmla="*/ 523684 w 1194528"/>
                <a:gd name="connsiteY95" fmla="*/ 198226 h 797873"/>
                <a:gd name="connsiteX96" fmla="*/ 512084 w 1194528"/>
                <a:gd name="connsiteY96" fmla="*/ 204311 h 797873"/>
                <a:gd name="connsiteX97" fmla="*/ 508662 w 1194528"/>
                <a:gd name="connsiteY97" fmla="*/ 208305 h 797873"/>
                <a:gd name="connsiteX98" fmla="*/ 493449 w 1194528"/>
                <a:gd name="connsiteY98" fmla="*/ 219334 h 797873"/>
                <a:gd name="connsiteX99" fmla="*/ 481279 w 1194528"/>
                <a:gd name="connsiteY99" fmla="*/ 227890 h 797873"/>
                <a:gd name="connsiteX100" fmla="*/ 477476 w 1194528"/>
                <a:gd name="connsiteY100" fmla="*/ 231693 h 797873"/>
                <a:gd name="connsiteX101" fmla="*/ 452376 w 1194528"/>
                <a:gd name="connsiteY101" fmla="*/ 244244 h 797873"/>
                <a:gd name="connsiteX102" fmla="*/ 439826 w 1194528"/>
                <a:gd name="connsiteY102" fmla="*/ 237588 h 797873"/>
                <a:gd name="connsiteX103" fmla="*/ 434311 w 1194528"/>
                <a:gd name="connsiteY103" fmla="*/ 233785 h 797873"/>
                <a:gd name="connsiteX104" fmla="*/ 421000 w 1194528"/>
                <a:gd name="connsiteY104" fmla="*/ 238159 h 797873"/>
                <a:gd name="connsiteX105" fmla="*/ 414535 w 1194528"/>
                <a:gd name="connsiteY105" fmla="*/ 242152 h 797873"/>
                <a:gd name="connsiteX106" fmla="*/ 401225 w 1194528"/>
                <a:gd name="connsiteY106" fmla="*/ 246335 h 797873"/>
                <a:gd name="connsiteX107" fmla="*/ 391147 w 1194528"/>
                <a:gd name="connsiteY107" fmla="*/ 243863 h 797873"/>
                <a:gd name="connsiteX108" fmla="*/ 385632 w 1194528"/>
                <a:gd name="connsiteY108" fmla="*/ 242342 h 797873"/>
                <a:gd name="connsiteX109" fmla="*/ 376695 w 1194528"/>
                <a:gd name="connsiteY109" fmla="*/ 248807 h 797873"/>
                <a:gd name="connsiteX110" fmla="*/ 366807 w 1194528"/>
                <a:gd name="connsiteY110" fmla="*/ 256413 h 797873"/>
                <a:gd name="connsiteX111" fmla="*/ 328776 w 1194528"/>
                <a:gd name="connsiteY111" fmla="*/ 263259 h 797873"/>
                <a:gd name="connsiteX112" fmla="*/ 301774 w 1194528"/>
                <a:gd name="connsiteY112" fmla="*/ 248617 h 797873"/>
                <a:gd name="connsiteX113" fmla="*/ 267356 w 1194528"/>
                <a:gd name="connsiteY113" fmla="*/ 235116 h 797873"/>
                <a:gd name="connsiteX114" fmla="*/ 254045 w 1194528"/>
                <a:gd name="connsiteY114" fmla="*/ 238729 h 797873"/>
                <a:gd name="connsiteX115" fmla="*/ 231607 w 1194528"/>
                <a:gd name="connsiteY115" fmla="*/ 243483 h 797873"/>
                <a:gd name="connsiteX116" fmla="*/ 202704 w 1194528"/>
                <a:gd name="connsiteY116" fmla="*/ 252420 h 797873"/>
                <a:gd name="connsiteX117" fmla="*/ 164673 w 1194528"/>
                <a:gd name="connsiteY117" fmla="*/ 253371 h 797873"/>
                <a:gd name="connsiteX118" fmla="*/ 136150 w 1194528"/>
                <a:gd name="connsiteY118" fmla="*/ 251660 h 797873"/>
                <a:gd name="connsiteX119" fmla="*/ 98119 w 1194528"/>
                <a:gd name="connsiteY119" fmla="*/ 248997 h 797873"/>
                <a:gd name="connsiteX120" fmla="*/ 71308 w 1194528"/>
                <a:gd name="connsiteY120" fmla="*/ 244244 h 797873"/>
                <a:gd name="connsiteX121" fmla="*/ 14262 w 1194528"/>
                <a:gd name="connsiteY121" fmla="*/ 282274 h 797873"/>
                <a:gd name="connsiteX122" fmla="*/ 0 w 1194528"/>
                <a:gd name="connsiteY122" fmla="*/ 295966 h 797873"/>
                <a:gd name="connsiteX123" fmla="*/ 0 w 1194528"/>
                <a:gd name="connsiteY123" fmla="*/ 297106 h 797873"/>
                <a:gd name="connsiteX124" fmla="*/ 12930 w 1194528"/>
                <a:gd name="connsiteY124" fmla="*/ 316122 h 797873"/>
                <a:gd name="connsiteX125" fmla="*/ 38601 w 1194528"/>
                <a:gd name="connsiteY125" fmla="*/ 323348 h 797873"/>
                <a:gd name="connsiteX126" fmla="*/ 70927 w 1194528"/>
                <a:gd name="connsiteY126" fmla="*/ 333996 h 797873"/>
                <a:gd name="connsiteX127" fmla="*/ 76442 w 1194528"/>
                <a:gd name="connsiteY127" fmla="*/ 346356 h 797873"/>
                <a:gd name="connsiteX128" fmla="*/ 65413 w 1194528"/>
                <a:gd name="connsiteY128" fmla="*/ 359287 h 797873"/>
                <a:gd name="connsiteX129" fmla="*/ 61419 w 1194528"/>
                <a:gd name="connsiteY129" fmla="*/ 362139 h 797873"/>
                <a:gd name="connsiteX130" fmla="*/ 58757 w 1194528"/>
                <a:gd name="connsiteY130" fmla="*/ 376781 h 797873"/>
                <a:gd name="connsiteX131" fmla="*/ 68075 w 1194528"/>
                <a:gd name="connsiteY131" fmla="*/ 384957 h 797873"/>
                <a:gd name="connsiteX132" fmla="*/ 68075 w 1194528"/>
                <a:gd name="connsiteY132" fmla="*/ 384957 h 797873"/>
                <a:gd name="connsiteX133" fmla="*/ 89182 w 1194528"/>
                <a:gd name="connsiteY133" fmla="*/ 365942 h 797873"/>
                <a:gd name="connsiteX134" fmla="*/ 135580 w 1194528"/>
                <a:gd name="connsiteY134" fmla="*/ 346927 h 797873"/>
                <a:gd name="connsiteX135" fmla="*/ 150792 w 1194528"/>
                <a:gd name="connsiteY135" fmla="*/ 371266 h 797873"/>
                <a:gd name="connsiteX136" fmla="*/ 156687 w 1194528"/>
                <a:gd name="connsiteY136" fmla="*/ 385148 h 797873"/>
                <a:gd name="connsiteX137" fmla="*/ 172850 w 1194528"/>
                <a:gd name="connsiteY137" fmla="*/ 386479 h 797873"/>
                <a:gd name="connsiteX138" fmla="*/ 179315 w 1194528"/>
                <a:gd name="connsiteY138" fmla="*/ 383436 h 797873"/>
                <a:gd name="connsiteX139" fmla="*/ 213923 w 1194528"/>
                <a:gd name="connsiteY139" fmla="*/ 405114 h 797873"/>
                <a:gd name="connsiteX140" fmla="*/ 216395 w 1194528"/>
                <a:gd name="connsiteY140" fmla="*/ 410628 h 797873"/>
                <a:gd name="connsiteX141" fmla="*/ 222670 w 1194528"/>
                <a:gd name="connsiteY141" fmla="*/ 419185 h 797873"/>
                <a:gd name="connsiteX142" fmla="*/ 229325 w 1194528"/>
                <a:gd name="connsiteY142" fmla="*/ 427932 h 797873"/>
                <a:gd name="connsiteX143" fmla="*/ 230466 w 1194528"/>
                <a:gd name="connsiteY143" fmla="*/ 445236 h 797873"/>
                <a:gd name="connsiteX144" fmla="*/ 229135 w 1194528"/>
                <a:gd name="connsiteY144" fmla="*/ 451321 h 797873"/>
                <a:gd name="connsiteX145" fmla="*/ 248151 w 1194528"/>
                <a:gd name="connsiteY145" fmla="*/ 471858 h 797873"/>
                <a:gd name="connsiteX146" fmla="*/ 267166 w 1194528"/>
                <a:gd name="connsiteY146" fmla="*/ 492585 h 797873"/>
                <a:gd name="connsiteX147" fmla="*/ 261271 w 1194528"/>
                <a:gd name="connsiteY147" fmla="*/ 506466 h 797873"/>
                <a:gd name="connsiteX148" fmla="*/ 255757 w 1194528"/>
                <a:gd name="connsiteY148" fmla="*/ 511029 h 797873"/>
                <a:gd name="connsiteX149" fmla="*/ 251383 w 1194528"/>
                <a:gd name="connsiteY149" fmla="*/ 516734 h 797873"/>
                <a:gd name="connsiteX150" fmla="*/ 254426 w 1194528"/>
                <a:gd name="connsiteY150" fmla="*/ 520918 h 797873"/>
                <a:gd name="connsiteX151" fmla="*/ 260701 w 1194528"/>
                <a:gd name="connsiteY151" fmla="*/ 538031 h 797873"/>
                <a:gd name="connsiteX152" fmla="*/ 260701 w 1194528"/>
                <a:gd name="connsiteY152" fmla="*/ 544116 h 797873"/>
                <a:gd name="connsiteX153" fmla="*/ 269448 w 1194528"/>
                <a:gd name="connsiteY153" fmla="*/ 550772 h 797873"/>
                <a:gd name="connsiteX154" fmla="*/ 273631 w 1194528"/>
                <a:gd name="connsiteY154" fmla="*/ 552673 h 797873"/>
                <a:gd name="connsiteX155" fmla="*/ 304246 w 1194528"/>
                <a:gd name="connsiteY155" fmla="*/ 585760 h 797873"/>
                <a:gd name="connsiteX156" fmla="*/ 306908 w 1194528"/>
                <a:gd name="connsiteY156" fmla="*/ 590324 h 797873"/>
                <a:gd name="connsiteX157" fmla="*/ 313183 w 1194528"/>
                <a:gd name="connsiteY157" fmla="*/ 599831 h 797873"/>
                <a:gd name="connsiteX158" fmla="*/ 400084 w 1194528"/>
                <a:gd name="connsiteY158" fmla="*/ 548299 h 797873"/>
                <a:gd name="connsiteX159" fmla="*/ 468729 w 1194528"/>
                <a:gd name="connsiteY159" fmla="*/ 538602 h 797873"/>
                <a:gd name="connsiteX160" fmla="*/ 487745 w 1194528"/>
                <a:gd name="connsiteY160" fmla="*/ 538602 h 797873"/>
                <a:gd name="connsiteX161" fmla="*/ 523684 w 1194528"/>
                <a:gd name="connsiteY161" fmla="*/ 529664 h 797873"/>
                <a:gd name="connsiteX162" fmla="*/ 568560 w 1194528"/>
                <a:gd name="connsiteY162" fmla="*/ 520537 h 797873"/>
                <a:gd name="connsiteX163" fmla="*/ 709274 w 1194528"/>
                <a:gd name="connsiteY163" fmla="*/ 602683 h 797873"/>
                <a:gd name="connsiteX164" fmla="*/ 747304 w 1194528"/>
                <a:gd name="connsiteY164" fmla="*/ 640714 h 797873"/>
                <a:gd name="connsiteX165" fmla="*/ 773166 w 1194528"/>
                <a:gd name="connsiteY165" fmla="*/ 666766 h 797873"/>
                <a:gd name="connsiteX166" fmla="*/ 805111 w 1194528"/>
                <a:gd name="connsiteY166" fmla="*/ 692056 h 797873"/>
                <a:gd name="connsiteX167" fmla="*/ 818993 w 1194528"/>
                <a:gd name="connsiteY167" fmla="*/ 697951 h 797873"/>
                <a:gd name="connsiteX168" fmla="*/ 837057 w 1194528"/>
                <a:gd name="connsiteY168" fmla="*/ 705937 h 797873"/>
                <a:gd name="connsiteX169" fmla="*/ 858164 w 1194528"/>
                <a:gd name="connsiteY169" fmla="*/ 726283 h 797873"/>
                <a:gd name="connsiteX170" fmla="*/ 864249 w 1194528"/>
                <a:gd name="connsiteY170" fmla="*/ 733890 h 797873"/>
                <a:gd name="connsiteX171" fmla="*/ 877180 w 1194528"/>
                <a:gd name="connsiteY171" fmla="*/ 746060 h 797873"/>
                <a:gd name="connsiteX172" fmla="*/ 894294 w 1194528"/>
                <a:gd name="connsiteY172" fmla="*/ 763364 h 797873"/>
                <a:gd name="connsiteX173" fmla="*/ 948677 w 1194528"/>
                <a:gd name="connsiteY173" fmla="*/ 797211 h 797873"/>
                <a:gd name="connsiteX174" fmla="*/ 974538 w 1194528"/>
                <a:gd name="connsiteY174" fmla="*/ 787893 h 797873"/>
                <a:gd name="connsiteX175" fmla="*/ 982525 w 1194528"/>
                <a:gd name="connsiteY175" fmla="*/ 784090 h 797873"/>
                <a:gd name="connsiteX176" fmla="*/ 1020555 w 1194528"/>
                <a:gd name="connsiteY176" fmla="*/ 775534 h 797873"/>
                <a:gd name="connsiteX177" fmla="*/ 1028352 w 1194528"/>
                <a:gd name="connsiteY177" fmla="*/ 775534 h 797873"/>
                <a:gd name="connsiteX178" fmla="*/ 1050980 w 1194528"/>
                <a:gd name="connsiteY178" fmla="*/ 768688 h 797873"/>
                <a:gd name="connsiteX179" fmla="*/ 1065622 w 1194528"/>
                <a:gd name="connsiteY179" fmla="*/ 763173 h 797873"/>
                <a:gd name="connsiteX180" fmla="*/ 1110118 w 1194528"/>
                <a:gd name="connsiteY180" fmla="*/ 768878 h 797873"/>
                <a:gd name="connsiteX181" fmla="*/ 1113351 w 1194528"/>
                <a:gd name="connsiteY181" fmla="*/ 770209 h 797873"/>
                <a:gd name="connsiteX182" fmla="*/ 1143775 w 1194528"/>
                <a:gd name="connsiteY182" fmla="*/ 777815 h 797873"/>
                <a:gd name="connsiteX183" fmla="*/ 1155374 w 1194528"/>
                <a:gd name="connsiteY183" fmla="*/ 769068 h 797873"/>
                <a:gd name="connsiteX184" fmla="*/ 1169446 w 1194528"/>
                <a:gd name="connsiteY184" fmla="*/ 758420 h 797873"/>
                <a:gd name="connsiteX185" fmla="*/ 1181236 w 1194528"/>
                <a:gd name="connsiteY185" fmla="*/ 758420 h 797873"/>
                <a:gd name="connsiteX186" fmla="*/ 1183137 w 1194528"/>
                <a:gd name="connsiteY186" fmla="*/ 752144 h 797873"/>
                <a:gd name="connsiteX187" fmla="*/ 1186940 w 1194528"/>
                <a:gd name="connsiteY187" fmla="*/ 737503 h 797873"/>
                <a:gd name="connsiteX188" fmla="*/ 1191123 w 1194528"/>
                <a:gd name="connsiteY188" fmla="*/ 713924 h 797873"/>
                <a:gd name="connsiteX189" fmla="*/ 1190934 w 1194528"/>
                <a:gd name="connsiteY189" fmla="*/ 712783 h 797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</a:cxnLst>
              <a:rect l="l" t="t" r="r" b="b"/>
              <a:pathLst>
                <a:path w="1194528" h="797873">
                  <a:moveTo>
                    <a:pt x="1190934" y="712783"/>
                  </a:moveTo>
                  <a:lnTo>
                    <a:pt x="1193786" y="699852"/>
                  </a:lnTo>
                  <a:lnTo>
                    <a:pt x="1193786" y="696810"/>
                  </a:lnTo>
                  <a:cubicBezTo>
                    <a:pt x="1196486" y="686066"/>
                    <a:pt x="1191656" y="674847"/>
                    <a:pt x="1181996" y="669428"/>
                  </a:cubicBezTo>
                  <a:cubicBezTo>
                    <a:pt x="1173706" y="663685"/>
                    <a:pt x="1167145" y="655793"/>
                    <a:pt x="1162981" y="646609"/>
                  </a:cubicBezTo>
                  <a:cubicBezTo>
                    <a:pt x="1159767" y="641152"/>
                    <a:pt x="1155565" y="636322"/>
                    <a:pt x="1150621" y="632348"/>
                  </a:cubicBezTo>
                  <a:cubicBezTo>
                    <a:pt x="1147217" y="629362"/>
                    <a:pt x="1144042" y="626111"/>
                    <a:pt x="1141113" y="622650"/>
                  </a:cubicBezTo>
                  <a:cubicBezTo>
                    <a:pt x="1139307" y="620558"/>
                    <a:pt x="1137653" y="618333"/>
                    <a:pt x="1136169" y="615994"/>
                  </a:cubicBezTo>
                  <a:cubicBezTo>
                    <a:pt x="1132176" y="610290"/>
                    <a:pt x="1129134" y="605916"/>
                    <a:pt x="1123049" y="604395"/>
                  </a:cubicBezTo>
                  <a:cubicBezTo>
                    <a:pt x="1117819" y="603539"/>
                    <a:pt x="1112495" y="603539"/>
                    <a:pt x="1107266" y="604395"/>
                  </a:cubicBezTo>
                  <a:cubicBezTo>
                    <a:pt x="1101466" y="605156"/>
                    <a:pt x="1095571" y="605156"/>
                    <a:pt x="1089772" y="604395"/>
                  </a:cubicBezTo>
                  <a:lnTo>
                    <a:pt x="1078553" y="602303"/>
                  </a:lnTo>
                  <a:cubicBezTo>
                    <a:pt x="1072277" y="600858"/>
                    <a:pt x="1065926" y="599774"/>
                    <a:pt x="1059537" y="599071"/>
                  </a:cubicBezTo>
                  <a:cubicBezTo>
                    <a:pt x="1054004" y="599432"/>
                    <a:pt x="1048584" y="597340"/>
                    <a:pt x="1044705" y="593366"/>
                  </a:cubicBezTo>
                  <a:cubicBezTo>
                    <a:pt x="1041834" y="588859"/>
                    <a:pt x="1040883" y="583383"/>
                    <a:pt x="1042043" y="578154"/>
                  </a:cubicBezTo>
                  <a:cubicBezTo>
                    <a:pt x="1042899" y="570186"/>
                    <a:pt x="1042899" y="562162"/>
                    <a:pt x="1042043" y="554194"/>
                  </a:cubicBezTo>
                  <a:lnTo>
                    <a:pt x="1040902" y="543546"/>
                  </a:lnTo>
                  <a:cubicBezTo>
                    <a:pt x="1039115" y="530939"/>
                    <a:pt x="1039115" y="518122"/>
                    <a:pt x="1040902" y="505515"/>
                  </a:cubicBezTo>
                  <a:cubicBezTo>
                    <a:pt x="1042119" y="500913"/>
                    <a:pt x="1043983" y="496483"/>
                    <a:pt x="1046417" y="492394"/>
                  </a:cubicBezTo>
                  <a:cubicBezTo>
                    <a:pt x="1049763" y="487717"/>
                    <a:pt x="1051266" y="481955"/>
                    <a:pt x="1050600" y="476231"/>
                  </a:cubicBezTo>
                  <a:cubicBezTo>
                    <a:pt x="1049839" y="472904"/>
                    <a:pt x="1048755" y="469652"/>
                    <a:pt x="1047367" y="466534"/>
                  </a:cubicBezTo>
                  <a:cubicBezTo>
                    <a:pt x="1043450" y="459156"/>
                    <a:pt x="1043450" y="450332"/>
                    <a:pt x="1047367" y="442954"/>
                  </a:cubicBezTo>
                  <a:cubicBezTo>
                    <a:pt x="1051988" y="433656"/>
                    <a:pt x="1057959" y="425061"/>
                    <a:pt x="1065051" y="417474"/>
                  </a:cubicBezTo>
                  <a:cubicBezTo>
                    <a:pt x="1074464" y="408898"/>
                    <a:pt x="1081082" y="397717"/>
                    <a:pt x="1084067" y="385338"/>
                  </a:cubicBezTo>
                  <a:cubicBezTo>
                    <a:pt x="1084352" y="381344"/>
                    <a:pt x="1084352" y="377351"/>
                    <a:pt x="1084067" y="373358"/>
                  </a:cubicBezTo>
                  <a:cubicBezTo>
                    <a:pt x="1082983" y="364307"/>
                    <a:pt x="1084295" y="355122"/>
                    <a:pt x="1087870" y="346737"/>
                  </a:cubicBezTo>
                  <a:cubicBezTo>
                    <a:pt x="1091331" y="340499"/>
                    <a:pt x="1095838" y="334909"/>
                    <a:pt x="1101181" y="330193"/>
                  </a:cubicBezTo>
                  <a:cubicBezTo>
                    <a:pt x="1103044" y="328444"/>
                    <a:pt x="1104832" y="326599"/>
                    <a:pt x="1106505" y="324679"/>
                  </a:cubicBezTo>
                  <a:cubicBezTo>
                    <a:pt x="1112077" y="319925"/>
                    <a:pt x="1115328" y="312984"/>
                    <a:pt x="1115443" y="305663"/>
                  </a:cubicBezTo>
                  <a:cubicBezTo>
                    <a:pt x="1113921" y="300149"/>
                    <a:pt x="1110023" y="295623"/>
                    <a:pt x="1104794" y="293303"/>
                  </a:cubicBezTo>
                  <a:lnTo>
                    <a:pt x="1102702" y="291972"/>
                  </a:lnTo>
                  <a:cubicBezTo>
                    <a:pt x="1096047" y="288359"/>
                    <a:pt x="1082166" y="280373"/>
                    <a:pt x="1087490" y="267062"/>
                  </a:cubicBezTo>
                  <a:cubicBezTo>
                    <a:pt x="1091103" y="257554"/>
                    <a:pt x="1102512" y="256604"/>
                    <a:pt x="1110878" y="255843"/>
                  </a:cubicBezTo>
                  <a:lnTo>
                    <a:pt x="1117534" y="255843"/>
                  </a:lnTo>
                  <a:cubicBezTo>
                    <a:pt x="1123277" y="254265"/>
                    <a:pt x="1128924" y="252344"/>
                    <a:pt x="1134458" y="250138"/>
                  </a:cubicBezTo>
                  <a:cubicBezTo>
                    <a:pt x="1139212" y="248237"/>
                    <a:pt x="1144155" y="246335"/>
                    <a:pt x="1149100" y="244814"/>
                  </a:cubicBezTo>
                  <a:lnTo>
                    <a:pt x="1153853" y="243483"/>
                  </a:lnTo>
                  <a:cubicBezTo>
                    <a:pt x="1163932" y="240821"/>
                    <a:pt x="1172869" y="238159"/>
                    <a:pt x="1176482" y="229412"/>
                  </a:cubicBezTo>
                  <a:cubicBezTo>
                    <a:pt x="1178840" y="220931"/>
                    <a:pt x="1175645" y="211898"/>
                    <a:pt x="1168495" y="206783"/>
                  </a:cubicBezTo>
                  <a:cubicBezTo>
                    <a:pt x="1157866" y="200318"/>
                    <a:pt x="1150849" y="189289"/>
                    <a:pt x="1149480" y="176929"/>
                  </a:cubicBezTo>
                  <a:cubicBezTo>
                    <a:pt x="1144346" y="145934"/>
                    <a:pt x="1132936" y="128820"/>
                    <a:pt x="1114491" y="124447"/>
                  </a:cubicBezTo>
                  <a:cubicBezTo>
                    <a:pt x="1102892" y="121784"/>
                    <a:pt x="1097568" y="130341"/>
                    <a:pt x="1089962" y="144793"/>
                  </a:cubicBezTo>
                  <a:cubicBezTo>
                    <a:pt x="1086539" y="152685"/>
                    <a:pt x="1081633" y="159853"/>
                    <a:pt x="1075510" y="165900"/>
                  </a:cubicBezTo>
                  <a:cubicBezTo>
                    <a:pt x="1070091" y="170217"/>
                    <a:pt x="1063416" y="172689"/>
                    <a:pt x="1056495" y="172936"/>
                  </a:cubicBezTo>
                  <a:cubicBezTo>
                    <a:pt x="1052635" y="173240"/>
                    <a:pt x="1048850" y="174153"/>
                    <a:pt x="1045276" y="175598"/>
                  </a:cubicBezTo>
                  <a:cubicBezTo>
                    <a:pt x="1038050" y="179211"/>
                    <a:pt x="1037479" y="186817"/>
                    <a:pt x="1037479" y="198226"/>
                  </a:cubicBezTo>
                  <a:lnTo>
                    <a:pt x="1037479" y="202980"/>
                  </a:lnTo>
                  <a:cubicBezTo>
                    <a:pt x="1036338" y="221102"/>
                    <a:pt x="1025195" y="237094"/>
                    <a:pt x="1008576" y="244434"/>
                  </a:cubicBezTo>
                  <a:cubicBezTo>
                    <a:pt x="1001673" y="248446"/>
                    <a:pt x="995284" y="253295"/>
                    <a:pt x="989561" y="258886"/>
                  </a:cubicBezTo>
                  <a:cubicBezTo>
                    <a:pt x="987640" y="260939"/>
                    <a:pt x="985929" y="263164"/>
                    <a:pt x="984426" y="265541"/>
                  </a:cubicBezTo>
                  <a:cubicBezTo>
                    <a:pt x="980852" y="271531"/>
                    <a:pt x="975812" y="276494"/>
                    <a:pt x="969785" y="279993"/>
                  </a:cubicBezTo>
                  <a:cubicBezTo>
                    <a:pt x="957158" y="284917"/>
                    <a:pt x="943524" y="286743"/>
                    <a:pt x="930043" y="285317"/>
                  </a:cubicBezTo>
                  <a:cubicBezTo>
                    <a:pt x="920953" y="280696"/>
                    <a:pt x="914107" y="272615"/>
                    <a:pt x="911027" y="262879"/>
                  </a:cubicBezTo>
                  <a:cubicBezTo>
                    <a:pt x="906083" y="251850"/>
                    <a:pt x="902660" y="245004"/>
                    <a:pt x="892012" y="243863"/>
                  </a:cubicBezTo>
                  <a:cubicBezTo>
                    <a:pt x="886611" y="243768"/>
                    <a:pt x="881420" y="245993"/>
                    <a:pt x="877750" y="249948"/>
                  </a:cubicBezTo>
                  <a:lnTo>
                    <a:pt x="871665" y="254322"/>
                  </a:lnTo>
                  <a:cubicBezTo>
                    <a:pt x="862138" y="260216"/>
                    <a:pt x="850748" y="262384"/>
                    <a:pt x="839719" y="260407"/>
                  </a:cubicBezTo>
                  <a:cubicBezTo>
                    <a:pt x="829280" y="259703"/>
                    <a:pt x="819848" y="253941"/>
                    <a:pt x="814429" y="245004"/>
                  </a:cubicBezTo>
                  <a:cubicBezTo>
                    <a:pt x="808686" y="234907"/>
                    <a:pt x="808135" y="222680"/>
                    <a:pt x="812908" y="212108"/>
                  </a:cubicBezTo>
                  <a:cubicBezTo>
                    <a:pt x="815209" y="207354"/>
                    <a:pt x="818137" y="202942"/>
                    <a:pt x="821655" y="198987"/>
                  </a:cubicBezTo>
                  <a:cubicBezTo>
                    <a:pt x="825248" y="195355"/>
                    <a:pt x="827930" y="190924"/>
                    <a:pt x="829451" y="186057"/>
                  </a:cubicBezTo>
                  <a:cubicBezTo>
                    <a:pt x="830136" y="180048"/>
                    <a:pt x="828861" y="173982"/>
                    <a:pt x="825838" y="168753"/>
                  </a:cubicBezTo>
                  <a:cubicBezTo>
                    <a:pt x="823784" y="164645"/>
                    <a:pt x="822244" y="160310"/>
                    <a:pt x="821275" y="155822"/>
                  </a:cubicBezTo>
                  <a:cubicBezTo>
                    <a:pt x="820228" y="142930"/>
                    <a:pt x="824317" y="130132"/>
                    <a:pt x="832684" y="120263"/>
                  </a:cubicBezTo>
                  <a:cubicBezTo>
                    <a:pt x="838198" y="113246"/>
                    <a:pt x="841811" y="104937"/>
                    <a:pt x="843142" y="96114"/>
                  </a:cubicBezTo>
                  <a:cubicBezTo>
                    <a:pt x="843446" y="94611"/>
                    <a:pt x="843446" y="93052"/>
                    <a:pt x="843142" y="91550"/>
                  </a:cubicBezTo>
                  <a:cubicBezTo>
                    <a:pt x="841773" y="88051"/>
                    <a:pt x="841373" y="84229"/>
                    <a:pt x="842001" y="80521"/>
                  </a:cubicBezTo>
                  <a:cubicBezTo>
                    <a:pt x="843142" y="76718"/>
                    <a:pt x="845310" y="73295"/>
                    <a:pt x="848276" y="70633"/>
                  </a:cubicBezTo>
                  <a:cubicBezTo>
                    <a:pt x="849646" y="69454"/>
                    <a:pt x="850805" y="68028"/>
                    <a:pt x="851699" y="66450"/>
                  </a:cubicBezTo>
                  <a:cubicBezTo>
                    <a:pt x="852821" y="63084"/>
                    <a:pt x="853144" y="59509"/>
                    <a:pt x="852650" y="55991"/>
                  </a:cubicBezTo>
                  <a:cubicBezTo>
                    <a:pt x="851813" y="51713"/>
                    <a:pt x="851813" y="47339"/>
                    <a:pt x="852650" y="43061"/>
                  </a:cubicBezTo>
                  <a:cubicBezTo>
                    <a:pt x="852650" y="40779"/>
                    <a:pt x="853220" y="38687"/>
                    <a:pt x="854361" y="36786"/>
                  </a:cubicBezTo>
                  <a:cubicBezTo>
                    <a:pt x="857879" y="30187"/>
                    <a:pt x="857879" y="22277"/>
                    <a:pt x="854361" y="15679"/>
                  </a:cubicBezTo>
                  <a:cubicBezTo>
                    <a:pt x="848770" y="5315"/>
                    <a:pt x="837590" y="-808"/>
                    <a:pt x="825838" y="86"/>
                  </a:cubicBezTo>
                  <a:cubicBezTo>
                    <a:pt x="817851" y="1417"/>
                    <a:pt x="814619" y="6171"/>
                    <a:pt x="809295" y="15108"/>
                  </a:cubicBezTo>
                  <a:lnTo>
                    <a:pt x="808344" y="16629"/>
                  </a:lnTo>
                  <a:cubicBezTo>
                    <a:pt x="803647" y="24521"/>
                    <a:pt x="796516" y="30682"/>
                    <a:pt x="787998" y="34124"/>
                  </a:cubicBezTo>
                  <a:cubicBezTo>
                    <a:pt x="785221" y="35360"/>
                    <a:pt x="782559" y="36824"/>
                    <a:pt x="780011" y="38497"/>
                  </a:cubicBezTo>
                  <a:cubicBezTo>
                    <a:pt x="777120" y="40437"/>
                    <a:pt x="774459" y="42662"/>
                    <a:pt x="772025" y="45153"/>
                  </a:cubicBezTo>
                  <a:cubicBezTo>
                    <a:pt x="767974" y="49735"/>
                    <a:pt x="762992" y="53367"/>
                    <a:pt x="757383" y="55801"/>
                  </a:cubicBezTo>
                  <a:cubicBezTo>
                    <a:pt x="752857" y="57512"/>
                    <a:pt x="748217" y="58920"/>
                    <a:pt x="743502" y="59984"/>
                  </a:cubicBezTo>
                  <a:lnTo>
                    <a:pt x="739128" y="61125"/>
                  </a:lnTo>
                  <a:cubicBezTo>
                    <a:pt x="735591" y="61867"/>
                    <a:pt x="732130" y="63008"/>
                    <a:pt x="728859" y="64548"/>
                  </a:cubicBezTo>
                  <a:lnTo>
                    <a:pt x="725057" y="66450"/>
                  </a:lnTo>
                  <a:cubicBezTo>
                    <a:pt x="717716" y="70823"/>
                    <a:pt x="710605" y="75596"/>
                    <a:pt x="703759" y="80711"/>
                  </a:cubicBezTo>
                  <a:cubicBezTo>
                    <a:pt x="692635" y="89610"/>
                    <a:pt x="680275" y="96855"/>
                    <a:pt x="667059" y="102199"/>
                  </a:cubicBezTo>
                  <a:cubicBezTo>
                    <a:pt x="646523" y="109995"/>
                    <a:pt x="639487" y="115699"/>
                    <a:pt x="638156" y="135095"/>
                  </a:cubicBezTo>
                  <a:cubicBezTo>
                    <a:pt x="636064" y="164189"/>
                    <a:pt x="613817" y="165330"/>
                    <a:pt x="595942" y="166280"/>
                  </a:cubicBezTo>
                  <a:cubicBezTo>
                    <a:pt x="591949" y="166280"/>
                    <a:pt x="587766" y="166280"/>
                    <a:pt x="583962" y="166280"/>
                  </a:cubicBezTo>
                  <a:cubicBezTo>
                    <a:pt x="578942" y="167212"/>
                    <a:pt x="574246" y="169361"/>
                    <a:pt x="570271" y="172556"/>
                  </a:cubicBezTo>
                  <a:cubicBezTo>
                    <a:pt x="566962" y="174894"/>
                    <a:pt x="563464" y="176929"/>
                    <a:pt x="559813" y="178641"/>
                  </a:cubicBezTo>
                  <a:lnTo>
                    <a:pt x="553538" y="180542"/>
                  </a:lnTo>
                  <a:cubicBezTo>
                    <a:pt x="550989" y="181132"/>
                    <a:pt x="548594" y="182234"/>
                    <a:pt x="546502" y="183775"/>
                  </a:cubicBezTo>
                  <a:cubicBezTo>
                    <a:pt x="545038" y="184973"/>
                    <a:pt x="543745" y="186380"/>
                    <a:pt x="542699" y="187958"/>
                  </a:cubicBezTo>
                  <a:cubicBezTo>
                    <a:pt x="539999" y="191932"/>
                    <a:pt x="536158" y="194994"/>
                    <a:pt x="531670" y="196705"/>
                  </a:cubicBezTo>
                  <a:cubicBezTo>
                    <a:pt x="529084" y="197561"/>
                    <a:pt x="526403" y="198074"/>
                    <a:pt x="523684" y="198226"/>
                  </a:cubicBezTo>
                  <a:cubicBezTo>
                    <a:pt x="519044" y="198150"/>
                    <a:pt x="514670" y="200451"/>
                    <a:pt x="512084" y="204311"/>
                  </a:cubicBezTo>
                  <a:cubicBezTo>
                    <a:pt x="511058" y="205737"/>
                    <a:pt x="509916" y="207069"/>
                    <a:pt x="508662" y="208305"/>
                  </a:cubicBezTo>
                  <a:cubicBezTo>
                    <a:pt x="503984" y="212507"/>
                    <a:pt x="498887" y="216196"/>
                    <a:pt x="493449" y="219334"/>
                  </a:cubicBezTo>
                  <a:cubicBezTo>
                    <a:pt x="489095" y="221748"/>
                    <a:pt x="485025" y="224620"/>
                    <a:pt x="481279" y="227890"/>
                  </a:cubicBezTo>
                  <a:lnTo>
                    <a:pt x="477476" y="231693"/>
                  </a:lnTo>
                  <a:cubicBezTo>
                    <a:pt x="471639" y="239699"/>
                    <a:pt x="462283" y="244358"/>
                    <a:pt x="452376" y="244244"/>
                  </a:cubicBezTo>
                  <a:cubicBezTo>
                    <a:pt x="447584" y="243426"/>
                    <a:pt x="443192" y="241087"/>
                    <a:pt x="439826" y="237588"/>
                  </a:cubicBezTo>
                  <a:cubicBezTo>
                    <a:pt x="438285" y="235953"/>
                    <a:pt x="436403" y="234641"/>
                    <a:pt x="434311" y="233785"/>
                  </a:cubicBezTo>
                  <a:cubicBezTo>
                    <a:pt x="429938" y="232454"/>
                    <a:pt x="426515" y="233785"/>
                    <a:pt x="421000" y="238159"/>
                  </a:cubicBezTo>
                  <a:cubicBezTo>
                    <a:pt x="418909" y="239604"/>
                    <a:pt x="416760" y="240935"/>
                    <a:pt x="414535" y="242152"/>
                  </a:cubicBezTo>
                  <a:cubicBezTo>
                    <a:pt x="410447" y="244491"/>
                    <a:pt x="405921" y="245936"/>
                    <a:pt x="401225" y="246335"/>
                  </a:cubicBezTo>
                  <a:cubicBezTo>
                    <a:pt x="397745" y="246164"/>
                    <a:pt x="394322" y="245327"/>
                    <a:pt x="391147" y="243863"/>
                  </a:cubicBezTo>
                  <a:cubicBezTo>
                    <a:pt x="389454" y="242932"/>
                    <a:pt x="387571" y="242399"/>
                    <a:pt x="385632" y="242342"/>
                  </a:cubicBezTo>
                  <a:cubicBezTo>
                    <a:pt x="382266" y="243901"/>
                    <a:pt x="379224" y="246088"/>
                    <a:pt x="376695" y="248807"/>
                  </a:cubicBezTo>
                  <a:cubicBezTo>
                    <a:pt x="373804" y="251831"/>
                    <a:pt x="370477" y="254398"/>
                    <a:pt x="366807" y="256413"/>
                  </a:cubicBezTo>
                  <a:cubicBezTo>
                    <a:pt x="355302" y="263050"/>
                    <a:pt x="341859" y="265465"/>
                    <a:pt x="328776" y="263259"/>
                  </a:cubicBezTo>
                  <a:cubicBezTo>
                    <a:pt x="318945" y="260102"/>
                    <a:pt x="309779" y="255139"/>
                    <a:pt x="301774" y="248617"/>
                  </a:cubicBezTo>
                  <a:cubicBezTo>
                    <a:pt x="292704" y="239490"/>
                    <a:pt x="280211" y="234584"/>
                    <a:pt x="267356" y="235116"/>
                  </a:cubicBezTo>
                  <a:cubicBezTo>
                    <a:pt x="262830" y="236010"/>
                    <a:pt x="258400" y="237208"/>
                    <a:pt x="254045" y="238729"/>
                  </a:cubicBezTo>
                  <a:cubicBezTo>
                    <a:pt x="246877" y="241543"/>
                    <a:pt x="239289" y="243141"/>
                    <a:pt x="231607" y="243483"/>
                  </a:cubicBezTo>
                  <a:cubicBezTo>
                    <a:pt x="221320" y="243597"/>
                    <a:pt x="211280" y="246716"/>
                    <a:pt x="202704" y="252420"/>
                  </a:cubicBezTo>
                  <a:cubicBezTo>
                    <a:pt x="190610" y="257592"/>
                    <a:pt x="176995" y="257935"/>
                    <a:pt x="164673" y="253371"/>
                  </a:cubicBezTo>
                  <a:cubicBezTo>
                    <a:pt x="155489" y="250252"/>
                    <a:pt x="145639" y="249663"/>
                    <a:pt x="136150" y="251660"/>
                  </a:cubicBezTo>
                  <a:cubicBezTo>
                    <a:pt x="123828" y="257193"/>
                    <a:pt x="109547" y="256204"/>
                    <a:pt x="98119" y="248997"/>
                  </a:cubicBezTo>
                  <a:cubicBezTo>
                    <a:pt x="90190" y="243863"/>
                    <a:pt x="80511" y="242152"/>
                    <a:pt x="71308" y="244244"/>
                  </a:cubicBezTo>
                  <a:cubicBezTo>
                    <a:pt x="48299" y="249568"/>
                    <a:pt x="28029" y="263088"/>
                    <a:pt x="14262" y="282274"/>
                  </a:cubicBezTo>
                  <a:cubicBezTo>
                    <a:pt x="9888" y="287218"/>
                    <a:pt x="5115" y="291801"/>
                    <a:pt x="0" y="295966"/>
                  </a:cubicBezTo>
                  <a:lnTo>
                    <a:pt x="0" y="297106"/>
                  </a:lnTo>
                  <a:cubicBezTo>
                    <a:pt x="2814" y="304351"/>
                    <a:pt x="7226" y="310854"/>
                    <a:pt x="12930" y="316122"/>
                  </a:cubicBezTo>
                  <a:cubicBezTo>
                    <a:pt x="20403" y="321408"/>
                    <a:pt x="29474" y="323975"/>
                    <a:pt x="38601" y="323348"/>
                  </a:cubicBezTo>
                  <a:cubicBezTo>
                    <a:pt x="50334" y="322758"/>
                    <a:pt x="61857" y="326542"/>
                    <a:pt x="70927" y="333996"/>
                  </a:cubicBezTo>
                  <a:cubicBezTo>
                    <a:pt x="74483" y="337115"/>
                    <a:pt x="76499" y="341621"/>
                    <a:pt x="76442" y="346356"/>
                  </a:cubicBezTo>
                  <a:cubicBezTo>
                    <a:pt x="76442" y="352631"/>
                    <a:pt x="70167" y="356244"/>
                    <a:pt x="65413" y="359287"/>
                  </a:cubicBezTo>
                  <a:lnTo>
                    <a:pt x="61419" y="362139"/>
                  </a:lnTo>
                  <a:cubicBezTo>
                    <a:pt x="57730" y="366075"/>
                    <a:pt x="56685" y="371799"/>
                    <a:pt x="58757" y="376781"/>
                  </a:cubicBezTo>
                  <a:cubicBezTo>
                    <a:pt x="59746" y="381250"/>
                    <a:pt x="63511" y="384558"/>
                    <a:pt x="68075" y="384957"/>
                  </a:cubicBezTo>
                  <a:lnTo>
                    <a:pt x="68075" y="384957"/>
                  </a:lnTo>
                  <a:cubicBezTo>
                    <a:pt x="75491" y="384957"/>
                    <a:pt x="82147" y="376210"/>
                    <a:pt x="89182" y="365942"/>
                  </a:cubicBezTo>
                  <a:cubicBezTo>
                    <a:pt x="99450" y="352251"/>
                    <a:pt x="113522" y="333426"/>
                    <a:pt x="135580" y="346927"/>
                  </a:cubicBezTo>
                  <a:cubicBezTo>
                    <a:pt x="143566" y="352802"/>
                    <a:pt x="149005" y="361511"/>
                    <a:pt x="150792" y="371266"/>
                  </a:cubicBezTo>
                  <a:cubicBezTo>
                    <a:pt x="152104" y="376134"/>
                    <a:pt x="154082" y="380812"/>
                    <a:pt x="156687" y="385148"/>
                  </a:cubicBezTo>
                  <a:cubicBezTo>
                    <a:pt x="161631" y="391803"/>
                    <a:pt x="163913" y="391042"/>
                    <a:pt x="172850" y="386479"/>
                  </a:cubicBezTo>
                  <a:lnTo>
                    <a:pt x="179315" y="383436"/>
                  </a:lnTo>
                  <a:cubicBezTo>
                    <a:pt x="200612" y="374499"/>
                    <a:pt x="208599" y="392944"/>
                    <a:pt x="213923" y="405114"/>
                  </a:cubicBezTo>
                  <a:cubicBezTo>
                    <a:pt x="214874" y="407015"/>
                    <a:pt x="215634" y="408917"/>
                    <a:pt x="216395" y="410628"/>
                  </a:cubicBezTo>
                  <a:cubicBezTo>
                    <a:pt x="218030" y="413785"/>
                    <a:pt x="220141" y="416675"/>
                    <a:pt x="222670" y="419185"/>
                  </a:cubicBezTo>
                  <a:cubicBezTo>
                    <a:pt x="225123" y="421904"/>
                    <a:pt x="227348" y="424833"/>
                    <a:pt x="229325" y="427932"/>
                  </a:cubicBezTo>
                  <a:cubicBezTo>
                    <a:pt x="232197" y="433257"/>
                    <a:pt x="232615" y="439570"/>
                    <a:pt x="230466" y="445236"/>
                  </a:cubicBezTo>
                  <a:cubicBezTo>
                    <a:pt x="229839" y="447214"/>
                    <a:pt x="229402" y="449248"/>
                    <a:pt x="229135" y="451321"/>
                  </a:cubicBezTo>
                  <a:cubicBezTo>
                    <a:pt x="229135" y="459308"/>
                    <a:pt x="238453" y="465773"/>
                    <a:pt x="248151" y="471858"/>
                  </a:cubicBezTo>
                  <a:cubicBezTo>
                    <a:pt x="257849" y="477943"/>
                    <a:pt x="266025" y="483837"/>
                    <a:pt x="267166" y="492585"/>
                  </a:cubicBezTo>
                  <a:cubicBezTo>
                    <a:pt x="267375" y="497852"/>
                    <a:pt x="265207" y="502948"/>
                    <a:pt x="261271" y="506466"/>
                  </a:cubicBezTo>
                  <a:cubicBezTo>
                    <a:pt x="259617" y="508196"/>
                    <a:pt x="257773" y="509736"/>
                    <a:pt x="255757" y="511029"/>
                  </a:cubicBezTo>
                  <a:cubicBezTo>
                    <a:pt x="252144" y="513692"/>
                    <a:pt x="251193" y="514452"/>
                    <a:pt x="251383" y="516734"/>
                  </a:cubicBezTo>
                  <a:cubicBezTo>
                    <a:pt x="251573" y="519016"/>
                    <a:pt x="253475" y="519776"/>
                    <a:pt x="254426" y="520918"/>
                  </a:cubicBezTo>
                  <a:cubicBezTo>
                    <a:pt x="259294" y="525177"/>
                    <a:pt x="261651" y="531623"/>
                    <a:pt x="260701" y="538031"/>
                  </a:cubicBezTo>
                  <a:cubicBezTo>
                    <a:pt x="260378" y="540047"/>
                    <a:pt x="260378" y="542101"/>
                    <a:pt x="260701" y="544116"/>
                  </a:cubicBezTo>
                  <a:cubicBezTo>
                    <a:pt x="262222" y="547539"/>
                    <a:pt x="264884" y="548680"/>
                    <a:pt x="269448" y="550772"/>
                  </a:cubicBezTo>
                  <a:lnTo>
                    <a:pt x="273631" y="552673"/>
                  </a:lnTo>
                  <a:cubicBezTo>
                    <a:pt x="286942" y="560355"/>
                    <a:pt x="297610" y="571898"/>
                    <a:pt x="304246" y="585760"/>
                  </a:cubicBezTo>
                  <a:lnTo>
                    <a:pt x="306908" y="590324"/>
                  </a:lnTo>
                  <a:cubicBezTo>
                    <a:pt x="308810" y="593556"/>
                    <a:pt x="310902" y="596599"/>
                    <a:pt x="313183" y="599831"/>
                  </a:cubicBezTo>
                  <a:cubicBezTo>
                    <a:pt x="339881" y="579105"/>
                    <a:pt x="369089" y="561782"/>
                    <a:pt x="400084" y="548299"/>
                  </a:cubicBezTo>
                  <a:cubicBezTo>
                    <a:pt x="422047" y="540351"/>
                    <a:pt x="445416" y="537042"/>
                    <a:pt x="468729" y="538602"/>
                  </a:cubicBezTo>
                  <a:lnTo>
                    <a:pt x="487745" y="538602"/>
                  </a:lnTo>
                  <a:cubicBezTo>
                    <a:pt x="500124" y="537537"/>
                    <a:pt x="512255" y="534532"/>
                    <a:pt x="523684" y="529664"/>
                  </a:cubicBezTo>
                  <a:cubicBezTo>
                    <a:pt x="537793" y="523351"/>
                    <a:pt x="553119" y="520233"/>
                    <a:pt x="568560" y="520537"/>
                  </a:cubicBezTo>
                  <a:cubicBezTo>
                    <a:pt x="625606" y="524721"/>
                    <a:pt x="673905" y="569787"/>
                    <a:pt x="709274" y="602683"/>
                  </a:cubicBezTo>
                  <a:cubicBezTo>
                    <a:pt x="722204" y="614853"/>
                    <a:pt x="734754" y="627594"/>
                    <a:pt x="747304" y="640714"/>
                  </a:cubicBezTo>
                  <a:cubicBezTo>
                    <a:pt x="755862" y="649461"/>
                    <a:pt x="764418" y="658209"/>
                    <a:pt x="773166" y="666766"/>
                  </a:cubicBezTo>
                  <a:cubicBezTo>
                    <a:pt x="782445" y="676806"/>
                    <a:pt x="793227" y="685324"/>
                    <a:pt x="805111" y="692056"/>
                  </a:cubicBezTo>
                  <a:cubicBezTo>
                    <a:pt x="809599" y="694338"/>
                    <a:pt x="814239" y="696296"/>
                    <a:pt x="818993" y="697951"/>
                  </a:cubicBezTo>
                  <a:cubicBezTo>
                    <a:pt x="825172" y="700252"/>
                    <a:pt x="831201" y="702933"/>
                    <a:pt x="837057" y="705937"/>
                  </a:cubicBezTo>
                  <a:cubicBezTo>
                    <a:pt x="845443" y="711147"/>
                    <a:pt x="852650" y="718088"/>
                    <a:pt x="858164" y="726283"/>
                  </a:cubicBezTo>
                  <a:cubicBezTo>
                    <a:pt x="860065" y="728756"/>
                    <a:pt x="861967" y="731418"/>
                    <a:pt x="864249" y="733890"/>
                  </a:cubicBezTo>
                  <a:cubicBezTo>
                    <a:pt x="868185" y="738320"/>
                    <a:pt x="872521" y="742409"/>
                    <a:pt x="877180" y="746060"/>
                  </a:cubicBezTo>
                  <a:cubicBezTo>
                    <a:pt x="883531" y="751156"/>
                    <a:pt x="889273" y="756955"/>
                    <a:pt x="894294" y="763364"/>
                  </a:cubicBezTo>
                  <a:cubicBezTo>
                    <a:pt x="909886" y="785231"/>
                    <a:pt x="921105" y="801394"/>
                    <a:pt x="948677" y="797211"/>
                  </a:cubicBezTo>
                  <a:cubicBezTo>
                    <a:pt x="957748" y="795538"/>
                    <a:pt x="966476" y="792381"/>
                    <a:pt x="974538" y="787893"/>
                  </a:cubicBezTo>
                  <a:lnTo>
                    <a:pt x="982525" y="784090"/>
                  </a:lnTo>
                  <a:cubicBezTo>
                    <a:pt x="994695" y="779299"/>
                    <a:pt x="1007511" y="776408"/>
                    <a:pt x="1020555" y="775534"/>
                  </a:cubicBezTo>
                  <a:lnTo>
                    <a:pt x="1028352" y="775534"/>
                  </a:lnTo>
                  <a:cubicBezTo>
                    <a:pt x="1036167" y="774278"/>
                    <a:pt x="1043773" y="771977"/>
                    <a:pt x="1050980" y="768688"/>
                  </a:cubicBezTo>
                  <a:cubicBezTo>
                    <a:pt x="1055734" y="766786"/>
                    <a:pt x="1060488" y="764695"/>
                    <a:pt x="1065622" y="763173"/>
                  </a:cubicBezTo>
                  <a:cubicBezTo>
                    <a:pt x="1080663" y="759713"/>
                    <a:pt x="1096446" y="761728"/>
                    <a:pt x="1110118" y="768878"/>
                  </a:cubicBezTo>
                  <a:lnTo>
                    <a:pt x="1113351" y="770209"/>
                  </a:lnTo>
                  <a:cubicBezTo>
                    <a:pt x="1122535" y="775648"/>
                    <a:pt x="1133108" y="778291"/>
                    <a:pt x="1143775" y="777815"/>
                  </a:cubicBezTo>
                  <a:cubicBezTo>
                    <a:pt x="1148358" y="775990"/>
                    <a:pt x="1152351" y="772966"/>
                    <a:pt x="1155374" y="769068"/>
                  </a:cubicBezTo>
                  <a:cubicBezTo>
                    <a:pt x="1159083" y="764391"/>
                    <a:pt x="1163932" y="760720"/>
                    <a:pt x="1169446" y="758420"/>
                  </a:cubicBezTo>
                  <a:cubicBezTo>
                    <a:pt x="1173230" y="756917"/>
                    <a:pt x="1177451" y="756917"/>
                    <a:pt x="1181236" y="758420"/>
                  </a:cubicBezTo>
                  <a:cubicBezTo>
                    <a:pt x="1181236" y="756328"/>
                    <a:pt x="1182567" y="754236"/>
                    <a:pt x="1183137" y="752144"/>
                  </a:cubicBezTo>
                  <a:cubicBezTo>
                    <a:pt x="1184944" y="747410"/>
                    <a:pt x="1186218" y="742504"/>
                    <a:pt x="1186940" y="737503"/>
                  </a:cubicBezTo>
                  <a:cubicBezTo>
                    <a:pt x="1187796" y="729554"/>
                    <a:pt x="1189184" y="721682"/>
                    <a:pt x="1191123" y="713924"/>
                  </a:cubicBezTo>
                  <a:cubicBezTo>
                    <a:pt x="1191123" y="713924"/>
                    <a:pt x="1190743" y="713163"/>
                    <a:pt x="1190934" y="71278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42" name="Полилиния: фигура 341">
              <a:extLst>
                <a:ext uri="{FF2B5EF4-FFF2-40B4-BE49-F238E27FC236}">
                  <a16:creationId xmlns:a16="http://schemas.microsoft.com/office/drawing/2014/main" id="{3246ABD8-A010-CE4E-531F-4BE67A777A4C}"/>
                </a:ext>
              </a:extLst>
            </p:cNvPr>
            <p:cNvSpPr/>
            <p:nvPr/>
          </p:nvSpPr>
          <p:spPr>
            <a:xfrm>
              <a:off x="7968217" y="4977752"/>
              <a:ext cx="294786" cy="239207"/>
            </a:xfrm>
            <a:custGeom>
              <a:avLst/>
              <a:gdLst>
                <a:gd name="connsiteX0" fmla="*/ 308239 w 308239"/>
                <a:gd name="connsiteY0" fmla="*/ 30543 h 249393"/>
                <a:gd name="connsiteX1" fmla="*/ 304436 w 308239"/>
                <a:gd name="connsiteY1" fmla="*/ 10387 h 249393"/>
                <a:gd name="connsiteX2" fmla="*/ 296830 w 308239"/>
                <a:gd name="connsiteY2" fmla="*/ 499 h 249393"/>
                <a:gd name="connsiteX3" fmla="*/ 292076 w 308239"/>
                <a:gd name="connsiteY3" fmla="*/ 499 h 249393"/>
                <a:gd name="connsiteX4" fmla="*/ 286752 w 308239"/>
                <a:gd name="connsiteY4" fmla="*/ 6774 h 249393"/>
                <a:gd name="connsiteX5" fmla="*/ 277244 w 308239"/>
                <a:gd name="connsiteY5" fmla="*/ 16852 h 249393"/>
                <a:gd name="connsiteX6" fmla="*/ 260130 w 308239"/>
                <a:gd name="connsiteY6" fmla="*/ 18564 h 249393"/>
                <a:gd name="connsiteX7" fmla="*/ 249291 w 308239"/>
                <a:gd name="connsiteY7" fmla="*/ 18564 h 249393"/>
                <a:gd name="connsiteX8" fmla="*/ 239593 w 308239"/>
                <a:gd name="connsiteY8" fmla="*/ 29402 h 249393"/>
                <a:gd name="connsiteX9" fmla="*/ 228565 w 308239"/>
                <a:gd name="connsiteY9" fmla="*/ 42523 h 249393"/>
                <a:gd name="connsiteX10" fmla="*/ 162961 w 308239"/>
                <a:gd name="connsiteY10" fmla="*/ 48798 h 249393"/>
                <a:gd name="connsiteX11" fmla="*/ 150982 w 308239"/>
                <a:gd name="connsiteY11" fmla="*/ 38150 h 249393"/>
                <a:gd name="connsiteX12" fmla="*/ 130065 w 308239"/>
                <a:gd name="connsiteY12" fmla="*/ 29783 h 249393"/>
                <a:gd name="connsiteX13" fmla="*/ 112380 w 308239"/>
                <a:gd name="connsiteY13" fmla="*/ 37199 h 249393"/>
                <a:gd name="connsiteX14" fmla="*/ 97548 w 308239"/>
                <a:gd name="connsiteY14" fmla="*/ 43854 h 249393"/>
                <a:gd name="connsiteX15" fmla="*/ 75491 w 308239"/>
                <a:gd name="connsiteY15" fmla="*/ 46136 h 249393"/>
                <a:gd name="connsiteX16" fmla="*/ 59898 w 308239"/>
                <a:gd name="connsiteY16" fmla="*/ 46136 h 249393"/>
                <a:gd name="connsiteX17" fmla="*/ 48299 w 308239"/>
                <a:gd name="connsiteY17" fmla="*/ 57355 h 249393"/>
                <a:gd name="connsiteX18" fmla="*/ 45827 w 308239"/>
                <a:gd name="connsiteY18" fmla="*/ 63250 h 249393"/>
                <a:gd name="connsiteX19" fmla="*/ 23769 w 308239"/>
                <a:gd name="connsiteY19" fmla="*/ 89491 h 249393"/>
                <a:gd name="connsiteX20" fmla="*/ 13691 w 308239"/>
                <a:gd name="connsiteY20" fmla="*/ 96527 h 249393"/>
                <a:gd name="connsiteX21" fmla="*/ 11599 w 308239"/>
                <a:gd name="connsiteY21" fmla="*/ 105084 h 249393"/>
                <a:gd name="connsiteX22" fmla="*/ 7225 w 308239"/>
                <a:gd name="connsiteY22" fmla="*/ 128853 h 249393"/>
                <a:gd name="connsiteX23" fmla="*/ 3042 w 308239"/>
                <a:gd name="connsiteY23" fmla="*/ 145777 h 249393"/>
                <a:gd name="connsiteX24" fmla="*/ 0 w 308239"/>
                <a:gd name="connsiteY24" fmla="*/ 156615 h 249393"/>
                <a:gd name="connsiteX25" fmla="*/ 3232 w 308239"/>
                <a:gd name="connsiteY25" fmla="*/ 164221 h 249393"/>
                <a:gd name="connsiteX26" fmla="*/ 19586 w 308239"/>
                <a:gd name="connsiteY26" fmla="*/ 186089 h 249393"/>
                <a:gd name="connsiteX27" fmla="*/ 23008 w 308239"/>
                <a:gd name="connsiteY27" fmla="*/ 188181 h 249393"/>
                <a:gd name="connsiteX28" fmla="*/ 46017 w 308239"/>
                <a:gd name="connsiteY28" fmla="*/ 209478 h 249393"/>
                <a:gd name="connsiteX29" fmla="*/ 51341 w 308239"/>
                <a:gd name="connsiteY29" fmla="*/ 222028 h 249393"/>
                <a:gd name="connsiteX30" fmla="*/ 63131 w 308239"/>
                <a:gd name="connsiteY30" fmla="*/ 241995 h 249393"/>
                <a:gd name="connsiteX31" fmla="*/ 130065 w 308239"/>
                <a:gd name="connsiteY31" fmla="*/ 232867 h 249393"/>
                <a:gd name="connsiteX32" fmla="*/ 146228 w 308239"/>
                <a:gd name="connsiteY32" fmla="*/ 224120 h 249393"/>
                <a:gd name="connsiteX33" fmla="*/ 192245 w 308239"/>
                <a:gd name="connsiteY33" fmla="*/ 187991 h 249393"/>
                <a:gd name="connsiteX34" fmla="*/ 196429 w 308239"/>
                <a:gd name="connsiteY34" fmla="*/ 165933 h 249393"/>
                <a:gd name="connsiteX35" fmla="*/ 197570 w 308239"/>
                <a:gd name="connsiteY35" fmla="*/ 153953 h 249393"/>
                <a:gd name="connsiteX36" fmla="*/ 218106 w 308239"/>
                <a:gd name="connsiteY36" fmla="*/ 118204 h 249393"/>
                <a:gd name="connsiteX37" fmla="*/ 243967 w 308239"/>
                <a:gd name="connsiteY37" fmla="*/ 80174 h 249393"/>
                <a:gd name="connsiteX38" fmla="*/ 260701 w 308239"/>
                <a:gd name="connsiteY38" fmla="*/ 51460 h 249393"/>
                <a:gd name="connsiteX39" fmla="*/ 298732 w 308239"/>
                <a:gd name="connsiteY39" fmla="*/ 26550 h 249393"/>
                <a:gd name="connsiteX40" fmla="*/ 308239 w 308239"/>
                <a:gd name="connsiteY40" fmla="*/ 30543 h 2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08239" h="249393">
                  <a:moveTo>
                    <a:pt x="308239" y="30543"/>
                  </a:moveTo>
                  <a:cubicBezTo>
                    <a:pt x="308201" y="23641"/>
                    <a:pt x="306908" y="16814"/>
                    <a:pt x="304436" y="10387"/>
                  </a:cubicBezTo>
                  <a:cubicBezTo>
                    <a:pt x="303276" y="6242"/>
                    <a:pt x="300538" y="2686"/>
                    <a:pt x="296830" y="499"/>
                  </a:cubicBezTo>
                  <a:cubicBezTo>
                    <a:pt x="295309" y="-166"/>
                    <a:pt x="293597" y="-166"/>
                    <a:pt x="292076" y="499"/>
                  </a:cubicBezTo>
                  <a:cubicBezTo>
                    <a:pt x="289985" y="1450"/>
                    <a:pt x="288653" y="3542"/>
                    <a:pt x="286752" y="6774"/>
                  </a:cubicBezTo>
                  <a:cubicBezTo>
                    <a:pt x="284641" y="10996"/>
                    <a:pt x="281332" y="14494"/>
                    <a:pt x="277244" y="16852"/>
                  </a:cubicBezTo>
                  <a:cubicBezTo>
                    <a:pt x="271844" y="19172"/>
                    <a:pt x="265873" y="19762"/>
                    <a:pt x="260130" y="18564"/>
                  </a:cubicBezTo>
                  <a:cubicBezTo>
                    <a:pt x="256593" y="17575"/>
                    <a:pt x="252828" y="17575"/>
                    <a:pt x="249291" y="18564"/>
                  </a:cubicBezTo>
                  <a:cubicBezTo>
                    <a:pt x="245051" y="21131"/>
                    <a:pt x="241685" y="24896"/>
                    <a:pt x="239593" y="29402"/>
                  </a:cubicBezTo>
                  <a:cubicBezTo>
                    <a:pt x="236856" y="34480"/>
                    <a:pt x="233091" y="38948"/>
                    <a:pt x="228565" y="42523"/>
                  </a:cubicBezTo>
                  <a:cubicBezTo>
                    <a:pt x="209378" y="56176"/>
                    <a:pt x="184392" y="58553"/>
                    <a:pt x="162961" y="48798"/>
                  </a:cubicBezTo>
                  <a:cubicBezTo>
                    <a:pt x="158474" y="45851"/>
                    <a:pt x="154443" y="42257"/>
                    <a:pt x="150982" y="38150"/>
                  </a:cubicBezTo>
                  <a:cubicBezTo>
                    <a:pt x="144516" y="31494"/>
                    <a:pt x="140523" y="27311"/>
                    <a:pt x="130065" y="29783"/>
                  </a:cubicBezTo>
                  <a:cubicBezTo>
                    <a:pt x="123866" y="31437"/>
                    <a:pt x="117914" y="33928"/>
                    <a:pt x="112380" y="37199"/>
                  </a:cubicBezTo>
                  <a:cubicBezTo>
                    <a:pt x="107627" y="39842"/>
                    <a:pt x="102683" y="42067"/>
                    <a:pt x="97548" y="43854"/>
                  </a:cubicBezTo>
                  <a:cubicBezTo>
                    <a:pt x="90399" y="45984"/>
                    <a:pt x="82926" y="46763"/>
                    <a:pt x="75491" y="46136"/>
                  </a:cubicBezTo>
                  <a:cubicBezTo>
                    <a:pt x="70319" y="45356"/>
                    <a:pt x="65071" y="45356"/>
                    <a:pt x="59898" y="46136"/>
                  </a:cubicBezTo>
                  <a:cubicBezTo>
                    <a:pt x="52482" y="48037"/>
                    <a:pt x="51341" y="50510"/>
                    <a:pt x="48299" y="57355"/>
                  </a:cubicBezTo>
                  <a:lnTo>
                    <a:pt x="45827" y="63250"/>
                  </a:lnTo>
                  <a:cubicBezTo>
                    <a:pt x="40636" y="73613"/>
                    <a:pt x="33087" y="82588"/>
                    <a:pt x="23769" y="89491"/>
                  </a:cubicBezTo>
                  <a:cubicBezTo>
                    <a:pt x="20536" y="92001"/>
                    <a:pt x="17171" y="94359"/>
                    <a:pt x="13691" y="96527"/>
                  </a:cubicBezTo>
                  <a:cubicBezTo>
                    <a:pt x="13691" y="99379"/>
                    <a:pt x="12360" y="102231"/>
                    <a:pt x="11599" y="105084"/>
                  </a:cubicBezTo>
                  <a:cubicBezTo>
                    <a:pt x="9641" y="112899"/>
                    <a:pt x="8196" y="120848"/>
                    <a:pt x="7225" y="128853"/>
                  </a:cubicBezTo>
                  <a:cubicBezTo>
                    <a:pt x="6465" y="134634"/>
                    <a:pt x="5058" y="140300"/>
                    <a:pt x="3042" y="145777"/>
                  </a:cubicBezTo>
                  <a:cubicBezTo>
                    <a:pt x="1901" y="149389"/>
                    <a:pt x="760" y="153002"/>
                    <a:pt x="0" y="156615"/>
                  </a:cubicBezTo>
                  <a:cubicBezTo>
                    <a:pt x="1350" y="159030"/>
                    <a:pt x="2434" y="161578"/>
                    <a:pt x="3232" y="164221"/>
                  </a:cubicBezTo>
                  <a:cubicBezTo>
                    <a:pt x="5267" y="173539"/>
                    <a:pt x="11219" y="181507"/>
                    <a:pt x="19586" y="186089"/>
                  </a:cubicBezTo>
                  <a:lnTo>
                    <a:pt x="23008" y="188181"/>
                  </a:lnTo>
                  <a:cubicBezTo>
                    <a:pt x="32668" y="192764"/>
                    <a:pt x="40693" y="200199"/>
                    <a:pt x="46017" y="209478"/>
                  </a:cubicBezTo>
                  <a:cubicBezTo>
                    <a:pt x="48109" y="213510"/>
                    <a:pt x="49896" y="217712"/>
                    <a:pt x="51341" y="222028"/>
                  </a:cubicBezTo>
                  <a:cubicBezTo>
                    <a:pt x="53224" y="229692"/>
                    <a:pt x="57331" y="236651"/>
                    <a:pt x="63131" y="241995"/>
                  </a:cubicBezTo>
                  <a:cubicBezTo>
                    <a:pt x="82146" y="257397"/>
                    <a:pt x="107817" y="245988"/>
                    <a:pt x="130065" y="232867"/>
                  </a:cubicBezTo>
                  <a:lnTo>
                    <a:pt x="146228" y="224120"/>
                  </a:lnTo>
                  <a:cubicBezTo>
                    <a:pt x="164882" y="217027"/>
                    <a:pt x="180931" y="204439"/>
                    <a:pt x="192245" y="187991"/>
                  </a:cubicBezTo>
                  <a:cubicBezTo>
                    <a:pt x="195041" y="180974"/>
                    <a:pt x="196448" y="173482"/>
                    <a:pt x="196429" y="165933"/>
                  </a:cubicBezTo>
                  <a:cubicBezTo>
                    <a:pt x="196429" y="161883"/>
                    <a:pt x="196809" y="157889"/>
                    <a:pt x="197570" y="153953"/>
                  </a:cubicBezTo>
                  <a:cubicBezTo>
                    <a:pt x="199814" y="139939"/>
                    <a:pt x="207134" y="127218"/>
                    <a:pt x="218106" y="118204"/>
                  </a:cubicBezTo>
                  <a:cubicBezTo>
                    <a:pt x="228793" y="107061"/>
                    <a:pt x="237521" y="94207"/>
                    <a:pt x="243967" y="80174"/>
                  </a:cubicBezTo>
                  <a:cubicBezTo>
                    <a:pt x="248835" y="70209"/>
                    <a:pt x="254425" y="60607"/>
                    <a:pt x="260701" y="51460"/>
                  </a:cubicBezTo>
                  <a:cubicBezTo>
                    <a:pt x="268992" y="37864"/>
                    <a:pt x="282968" y="28718"/>
                    <a:pt x="298732" y="26550"/>
                  </a:cubicBezTo>
                  <a:cubicBezTo>
                    <a:pt x="302211" y="26988"/>
                    <a:pt x="305501" y="28357"/>
                    <a:pt x="308239" y="3054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43" name="Полилиния: фигура 342">
              <a:extLst>
                <a:ext uri="{FF2B5EF4-FFF2-40B4-BE49-F238E27FC236}">
                  <a16:creationId xmlns:a16="http://schemas.microsoft.com/office/drawing/2014/main" id="{A5A678CD-92CA-00B9-B3E3-37821BAE390E}"/>
                </a:ext>
              </a:extLst>
            </p:cNvPr>
            <p:cNvSpPr/>
            <p:nvPr/>
          </p:nvSpPr>
          <p:spPr>
            <a:xfrm>
              <a:off x="7610690" y="2363889"/>
              <a:ext cx="793774" cy="1080645"/>
            </a:xfrm>
            <a:custGeom>
              <a:avLst/>
              <a:gdLst>
                <a:gd name="connsiteX0" fmla="*/ 828500 w 829999"/>
                <a:gd name="connsiteY0" fmla="*/ 334861 h 1126661"/>
                <a:gd name="connsiteX1" fmla="*/ 821275 w 829999"/>
                <a:gd name="connsiteY1" fmla="*/ 315846 h 1126661"/>
                <a:gd name="connsiteX2" fmla="*/ 808914 w 829999"/>
                <a:gd name="connsiteY2" fmla="*/ 262983 h 1126661"/>
                <a:gd name="connsiteX3" fmla="*/ 803780 w 829999"/>
                <a:gd name="connsiteY3" fmla="*/ 237883 h 1126661"/>
                <a:gd name="connsiteX4" fmla="*/ 793322 w 829999"/>
                <a:gd name="connsiteY4" fmla="*/ 218867 h 1126661"/>
                <a:gd name="connsiteX5" fmla="*/ 791420 w 829999"/>
                <a:gd name="connsiteY5" fmla="*/ 212972 h 1126661"/>
                <a:gd name="connsiteX6" fmla="*/ 766129 w 829999"/>
                <a:gd name="connsiteY6" fmla="*/ 200042 h 1126661"/>
                <a:gd name="connsiteX7" fmla="*/ 754340 w 829999"/>
                <a:gd name="connsiteY7" fmla="*/ 197760 h 1126661"/>
                <a:gd name="connsiteX8" fmla="*/ 751678 w 829999"/>
                <a:gd name="connsiteY8" fmla="*/ 199281 h 1126661"/>
                <a:gd name="connsiteX9" fmla="*/ 737797 w 829999"/>
                <a:gd name="connsiteY9" fmla="*/ 201563 h 1126661"/>
                <a:gd name="connsiteX10" fmla="*/ 730761 w 829999"/>
                <a:gd name="connsiteY10" fmla="*/ 174561 h 1126661"/>
                <a:gd name="connsiteX11" fmla="*/ 731902 w 829999"/>
                <a:gd name="connsiteY11" fmla="*/ 164863 h 1126661"/>
                <a:gd name="connsiteX12" fmla="*/ 701477 w 829999"/>
                <a:gd name="connsiteY12" fmla="*/ 144327 h 1126661"/>
                <a:gd name="connsiteX13" fmla="*/ 674285 w 829999"/>
                <a:gd name="connsiteY13" fmla="*/ 146419 h 1126661"/>
                <a:gd name="connsiteX14" fmla="*/ 668200 w 829999"/>
                <a:gd name="connsiteY14" fmla="*/ 148130 h 1126661"/>
                <a:gd name="connsiteX15" fmla="*/ 641123 w 829999"/>
                <a:gd name="connsiteY15" fmla="*/ 134954 h 1126661"/>
                <a:gd name="connsiteX16" fmla="*/ 640438 w 829999"/>
                <a:gd name="connsiteY16" fmla="*/ 132537 h 1126661"/>
                <a:gd name="connsiteX17" fmla="*/ 637396 w 829999"/>
                <a:gd name="connsiteY17" fmla="*/ 119227 h 1126661"/>
                <a:gd name="connsiteX18" fmla="*/ 629980 w 829999"/>
                <a:gd name="connsiteY18" fmla="*/ 104394 h 1126661"/>
                <a:gd name="connsiteX19" fmla="*/ 626747 w 829999"/>
                <a:gd name="connsiteY19" fmla="*/ 102493 h 1126661"/>
                <a:gd name="connsiteX20" fmla="*/ 616098 w 829999"/>
                <a:gd name="connsiteY20" fmla="*/ 92035 h 1126661"/>
                <a:gd name="connsiteX21" fmla="*/ 613246 w 829999"/>
                <a:gd name="connsiteY21" fmla="*/ 84428 h 1126661"/>
                <a:gd name="connsiteX22" fmla="*/ 608872 w 829999"/>
                <a:gd name="connsiteY22" fmla="*/ 77773 h 1126661"/>
                <a:gd name="connsiteX23" fmla="*/ 598034 w 829999"/>
                <a:gd name="connsiteY23" fmla="*/ 76632 h 1126661"/>
                <a:gd name="connsiteX24" fmla="*/ 586434 w 829999"/>
                <a:gd name="connsiteY24" fmla="*/ 76632 h 1126661"/>
                <a:gd name="connsiteX25" fmla="*/ 573504 w 829999"/>
                <a:gd name="connsiteY25" fmla="*/ 68075 h 1126661"/>
                <a:gd name="connsiteX26" fmla="*/ 571032 w 829999"/>
                <a:gd name="connsiteY26" fmla="*/ 65603 h 1126661"/>
                <a:gd name="connsiteX27" fmla="*/ 559243 w 829999"/>
                <a:gd name="connsiteY27" fmla="*/ 58758 h 1126661"/>
                <a:gd name="connsiteX28" fmla="*/ 540227 w 829999"/>
                <a:gd name="connsiteY28" fmla="*/ 45067 h 1126661"/>
                <a:gd name="connsiteX29" fmla="*/ 540227 w 829999"/>
                <a:gd name="connsiteY29" fmla="*/ 30235 h 1126661"/>
                <a:gd name="connsiteX30" fmla="*/ 541558 w 829999"/>
                <a:gd name="connsiteY30" fmla="*/ 23959 h 1126661"/>
                <a:gd name="connsiteX31" fmla="*/ 539466 w 829999"/>
                <a:gd name="connsiteY31" fmla="*/ 21297 h 1126661"/>
                <a:gd name="connsiteX32" fmla="*/ 536044 w 829999"/>
                <a:gd name="connsiteY32" fmla="*/ 17494 h 1126661"/>
                <a:gd name="connsiteX33" fmla="*/ 532431 w 829999"/>
                <a:gd name="connsiteY33" fmla="*/ 11980 h 1126661"/>
                <a:gd name="connsiteX34" fmla="*/ 517599 w 829999"/>
                <a:gd name="connsiteY34" fmla="*/ 1141 h 1126661"/>
                <a:gd name="connsiteX35" fmla="*/ 514746 w 829999"/>
                <a:gd name="connsiteY35" fmla="*/ 1141 h 1126661"/>
                <a:gd name="connsiteX36" fmla="*/ 495731 w 829999"/>
                <a:gd name="connsiteY36" fmla="*/ 0 h 1126661"/>
                <a:gd name="connsiteX37" fmla="*/ 462074 w 829999"/>
                <a:gd name="connsiteY37" fmla="*/ 38031 h 1126661"/>
                <a:gd name="connsiteX38" fmla="*/ 447812 w 829999"/>
                <a:gd name="connsiteY38" fmla="*/ 44686 h 1126661"/>
                <a:gd name="connsiteX39" fmla="*/ 428797 w 829999"/>
                <a:gd name="connsiteY39" fmla="*/ 46968 h 1126661"/>
                <a:gd name="connsiteX40" fmla="*/ 422902 w 829999"/>
                <a:gd name="connsiteY40" fmla="*/ 46968 h 1126661"/>
                <a:gd name="connsiteX41" fmla="*/ 384871 w 829999"/>
                <a:gd name="connsiteY41" fmla="*/ 65033 h 1126661"/>
                <a:gd name="connsiteX42" fmla="*/ 382209 w 829999"/>
                <a:gd name="connsiteY42" fmla="*/ 69026 h 1126661"/>
                <a:gd name="connsiteX43" fmla="*/ 372891 w 829999"/>
                <a:gd name="connsiteY43" fmla="*/ 80055 h 1126661"/>
                <a:gd name="connsiteX44" fmla="*/ 346270 w 829999"/>
                <a:gd name="connsiteY44" fmla="*/ 83858 h 1126661"/>
                <a:gd name="connsiteX45" fmla="*/ 316416 w 829999"/>
                <a:gd name="connsiteY45" fmla="*/ 83858 h 1126661"/>
                <a:gd name="connsiteX46" fmla="*/ 297400 w 829999"/>
                <a:gd name="connsiteY46" fmla="*/ 95077 h 1126661"/>
                <a:gd name="connsiteX47" fmla="*/ 285801 w 829999"/>
                <a:gd name="connsiteY47" fmla="*/ 102493 h 1126661"/>
                <a:gd name="connsiteX48" fmla="*/ 244538 w 829999"/>
                <a:gd name="connsiteY48" fmla="*/ 102493 h 1126661"/>
                <a:gd name="connsiteX49" fmla="*/ 236171 w 829999"/>
                <a:gd name="connsiteY49" fmla="*/ 91654 h 1126661"/>
                <a:gd name="connsiteX50" fmla="*/ 231417 w 829999"/>
                <a:gd name="connsiteY50" fmla="*/ 84809 h 1126661"/>
                <a:gd name="connsiteX51" fmla="*/ 200422 w 829999"/>
                <a:gd name="connsiteY51" fmla="*/ 80245 h 1126661"/>
                <a:gd name="connsiteX52" fmla="*/ 193386 w 829999"/>
                <a:gd name="connsiteY52" fmla="*/ 83858 h 1126661"/>
                <a:gd name="connsiteX53" fmla="*/ 194527 w 829999"/>
                <a:gd name="connsiteY53" fmla="*/ 83858 h 1126661"/>
                <a:gd name="connsiteX54" fmla="*/ 197570 w 829999"/>
                <a:gd name="connsiteY54" fmla="*/ 86330 h 1126661"/>
                <a:gd name="connsiteX55" fmla="*/ 207648 w 829999"/>
                <a:gd name="connsiteY55" fmla="*/ 99831 h 1126661"/>
                <a:gd name="connsiteX56" fmla="*/ 201753 w 829999"/>
                <a:gd name="connsiteY56" fmla="*/ 118846 h 1126661"/>
                <a:gd name="connsiteX57" fmla="*/ 199091 w 829999"/>
                <a:gd name="connsiteY57" fmla="*/ 125502 h 1126661"/>
                <a:gd name="connsiteX58" fmla="*/ 196809 w 829999"/>
                <a:gd name="connsiteY58" fmla="*/ 131777 h 1126661"/>
                <a:gd name="connsiteX59" fmla="*/ 193767 w 829999"/>
                <a:gd name="connsiteY59" fmla="*/ 144707 h 1126661"/>
                <a:gd name="connsiteX60" fmla="*/ 195288 w 829999"/>
                <a:gd name="connsiteY60" fmla="*/ 152123 h 1126661"/>
                <a:gd name="connsiteX61" fmla="*/ 195288 w 829999"/>
                <a:gd name="connsiteY61" fmla="*/ 173230 h 1126661"/>
                <a:gd name="connsiteX62" fmla="*/ 170758 w 829999"/>
                <a:gd name="connsiteY62" fmla="*/ 178935 h 1126661"/>
                <a:gd name="connsiteX63" fmla="*/ 153644 w 829999"/>
                <a:gd name="connsiteY63" fmla="*/ 182738 h 1126661"/>
                <a:gd name="connsiteX64" fmla="*/ 153644 w 829999"/>
                <a:gd name="connsiteY64" fmla="*/ 189393 h 1126661"/>
                <a:gd name="connsiteX65" fmla="*/ 151553 w 829999"/>
                <a:gd name="connsiteY65" fmla="*/ 202894 h 1126661"/>
                <a:gd name="connsiteX66" fmla="*/ 138432 w 829999"/>
                <a:gd name="connsiteY66" fmla="*/ 214303 h 1126661"/>
                <a:gd name="connsiteX67" fmla="*/ 133868 w 829999"/>
                <a:gd name="connsiteY67" fmla="*/ 217156 h 1126661"/>
                <a:gd name="connsiteX68" fmla="*/ 95837 w 829999"/>
                <a:gd name="connsiteY68" fmla="*/ 253665 h 1126661"/>
                <a:gd name="connsiteX69" fmla="*/ 87851 w 829999"/>
                <a:gd name="connsiteY69" fmla="*/ 270209 h 1126661"/>
                <a:gd name="connsiteX70" fmla="*/ 96598 w 829999"/>
                <a:gd name="connsiteY70" fmla="*/ 277625 h 1126661"/>
                <a:gd name="connsiteX71" fmla="*/ 109719 w 829999"/>
                <a:gd name="connsiteY71" fmla="*/ 289414 h 1126661"/>
                <a:gd name="connsiteX72" fmla="*/ 104774 w 829999"/>
                <a:gd name="connsiteY72" fmla="*/ 305767 h 1126661"/>
                <a:gd name="connsiteX73" fmla="*/ 99450 w 829999"/>
                <a:gd name="connsiteY73" fmla="*/ 314514 h 1126661"/>
                <a:gd name="connsiteX74" fmla="*/ 112761 w 829999"/>
                <a:gd name="connsiteY74" fmla="*/ 345700 h 1126661"/>
                <a:gd name="connsiteX75" fmla="*/ 128924 w 829999"/>
                <a:gd name="connsiteY75" fmla="*/ 392097 h 1126661"/>
                <a:gd name="connsiteX76" fmla="*/ 145087 w 829999"/>
                <a:gd name="connsiteY76" fmla="*/ 430128 h 1126661"/>
                <a:gd name="connsiteX77" fmla="*/ 147179 w 829999"/>
                <a:gd name="connsiteY77" fmla="*/ 432600 h 1126661"/>
                <a:gd name="connsiteX78" fmla="*/ 158778 w 829999"/>
                <a:gd name="connsiteY78" fmla="*/ 442108 h 1126661"/>
                <a:gd name="connsiteX79" fmla="*/ 165244 w 829999"/>
                <a:gd name="connsiteY79" fmla="*/ 444009 h 1126661"/>
                <a:gd name="connsiteX80" fmla="*/ 182167 w 829999"/>
                <a:gd name="connsiteY80" fmla="*/ 453327 h 1126661"/>
                <a:gd name="connsiteX81" fmla="*/ 182167 w 829999"/>
                <a:gd name="connsiteY81" fmla="*/ 499154 h 1126661"/>
                <a:gd name="connsiteX82" fmla="*/ 173420 w 829999"/>
                <a:gd name="connsiteY82" fmla="*/ 507140 h 1126661"/>
                <a:gd name="connsiteX83" fmla="*/ 166765 w 829999"/>
                <a:gd name="connsiteY83" fmla="*/ 513035 h 1126661"/>
                <a:gd name="connsiteX84" fmla="*/ 162772 w 829999"/>
                <a:gd name="connsiteY84" fmla="*/ 526346 h 1126661"/>
                <a:gd name="connsiteX85" fmla="*/ 161631 w 829999"/>
                <a:gd name="connsiteY85" fmla="*/ 533952 h 1126661"/>
                <a:gd name="connsiteX86" fmla="*/ 154975 w 829999"/>
                <a:gd name="connsiteY86" fmla="*/ 549925 h 1126661"/>
                <a:gd name="connsiteX87" fmla="*/ 150602 w 829999"/>
                <a:gd name="connsiteY87" fmla="*/ 568940 h 1126661"/>
                <a:gd name="connsiteX88" fmla="*/ 150602 w 829999"/>
                <a:gd name="connsiteY88" fmla="*/ 572363 h 1126661"/>
                <a:gd name="connsiteX89" fmla="*/ 144516 w 829999"/>
                <a:gd name="connsiteY89" fmla="*/ 594041 h 1126661"/>
                <a:gd name="connsiteX90" fmla="*/ 112381 w 829999"/>
                <a:gd name="connsiteY90" fmla="*/ 597273 h 1126661"/>
                <a:gd name="connsiteX91" fmla="*/ 101732 w 829999"/>
                <a:gd name="connsiteY91" fmla="*/ 588526 h 1126661"/>
                <a:gd name="connsiteX92" fmla="*/ 95647 w 829999"/>
                <a:gd name="connsiteY92" fmla="*/ 583012 h 1126661"/>
                <a:gd name="connsiteX93" fmla="*/ 95647 w 829999"/>
                <a:gd name="connsiteY93" fmla="*/ 583012 h 1126661"/>
                <a:gd name="connsiteX94" fmla="*/ 90703 w 829999"/>
                <a:gd name="connsiteY94" fmla="*/ 587005 h 1126661"/>
                <a:gd name="connsiteX95" fmla="*/ 86520 w 829999"/>
                <a:gd name="connsiteY95" fmla="*/ 599175 h 1126661"/>
                <a:gd name="connsiteX96" fmla="*/ 65603 w 829999"/>
                <a:gd name="connsiteY96" fmla="*/ 634734 h 1126661"/>
                <a:gd name="connsiteX97" fmla="*/ 52292 w 829999"/>
                <a:gd name="connsiteY97" fmla="*/ 642530 h 1126661"/>
                <a:gd name="connsiteX98" fmla="*/ 35939 w 829999"/>
                <a:gd name="connsiteY98" fmla="*/ 659263 h 1126661"/>
                <a:gd name="connsiteX99" fmla="*/ 51151 w 829999"/>
                <a:gd name="connsiteY99" fmla="*/ 668771 h 1126661"/>
                <a:gd name="connsiteX100" fmla="*/ 75301 w 829999"/>
                <a:gd name="connsiteY100" fmla="*/ 687786 h 1126661"/>
                <a:gd name="connsiteX101" fmla="*/ 73399 w 829999"/>
                <a:gd name="connsiteY101" fmla="*/ 706802 h 1126661"/>
                <a:gd name="connsiteX102" fmla="*/ 47728 w 829999"/>
                <a:gd name="connsiteY102" fmla="*/ 715739 h 1126661"/>
                <a:gd name="connsiteX103" fmla="*/ 34227 w 829999"/>
                <a:gd name="connsiteY103" fmla="*/ 720873 h 1126661"/>
                <a:gd name="connsiteX104" fmla="*/ 31566 w 829999"/>
                <a:gd name="connsiteY104" fmla="*/ 726768 h 1126661"/>
                <a:gd name="connsiteX105" fmla="*/ 20916 w 829999"/>
                <a:gd name="connsiteY105" fmla="*/ 739889 h 1126661"/>
                <a:gd name="connsiteX106" fmla="*/ 11789 w 829999"/>
                <a:gd name="connsiteY106" fmla="*/ 742741 h 1126661"/>
                <a:gd name="connsiteX107" fmla="*/ 2662 w 829999"/>
                <a:gd name="connsiteY107" fmla="*/ 746354 h 1126661"/>
                <a:gd name="connsiteX108" fmla="*/ 2662 w 829999"/>
                <a:gd name="connsiteY108" fmla="*/ 759284 h 1126661"/>
                <a:gd name="connsiteX109" fmla="*/ 4754 w 829999"/>
                <a:gd name="connsiteY109" fmla="*/ 767841 h 1126661"/>
                <a:gd name="connsiteX110" fmla="*/ 2472 w 829999"/>
                <a:gd name="connsiteY110" fmla="*/ 790660 h 1126661"/>
                <a:gd name="connsiteX111" fmla="*/ 951 w 829999"/>
                <a:gd name="connsiteY111" fmla="*/ 797315 h 1126661"/>
                <a:gd name="connsiteX112" fmla="*/ 0 w 829999"/>
                <a:gd name="connsiteY112" fmla="*/ 803400 h 1126661"/>
                <a:gd name="connsiteX113" fmla="*/ 2472 w 829999"/>
                <a:gd name="connsiteY113" fmla="*/ 806633 h 1126661"/>
                <a:gd name="connsiteX114" fmla="*/ 3803 w 829999"/>
                <a:gd name="connsiteY114" fmla="*/ 808154 h 1126661"/>
                <a:gd name="connsiteX115" fmla="*/ 14451 w 829999"/>
                <a:gd name="connsiteY115" fmla="*/ 832874 h 1126661"/>
                <a:gd name="connsiteX116" fmla="*/ 20916 w 829999"/>
                <a:gd name="connsiteY116" fmla="*/ 853411 h 1126661"/>
                <a:gd name="connsiteX117" fmla="*/ 24529 w 829999"/>
                <a:gd name="connsiteY117" fmla="*/ 856833 h 1126661"/>
                <a:gd name="connsiteX118" fmla="*/ 31946 w 829999"/>
                <a:gd name="connsiteY118" fmla="*/ 865010 h 1126661"/>
                <a:gd name="connsiteX119" fmla="*/ 34798 w 829999"/>
                <a:gd name="connsiteY119" fmla="*/ 870905 h 1126661"/>
                <a:gd name="connsiteX120" fmla="*/ 43355 w 829999"/>
                <a:gd name="connsiteY120" fmla="*/ 880602 h 1126661"/>
                <a:gd name="connsiteX121" fmla="*/ 68645 w 829999"/>
                <a:gd name="connsiteY121" fmla="*/ 899618 h 1126661"/>
                <a:gd name="connsiteX122" fmla="*/ 83477 w 829999"/>
                <a:gd name="connsiteY122" fmla="*/ 911978 h 1126661"/>
                <a:gd name="connsiteX123" fmla="*/ 87661 w 829999"/>
                <a:gd name="connsiteY123" fmla="*/ 914830 h 1126661"/>
                <a:gd name="connsiteX124" fmla="*/ 99450 w 829999"/>
                <a:gd name="connsiteY124" fmla="*/ 924528 h 1126661"/>
                <a:gd name="connsiteX125" fmla="*/ 102683 w 829999"/>
                <a:gd name="connsiteY125" fmla="*/ 941262 h 1126661"/>
                <a:gd name="connsiteX126" fmla="*/ 102683 w 829999"/>
                <a:gd name="connsiteY126" fmla="*/ 949628 h 1126661"/>
                <a:gd name="connsiteX127" fmla="*/ 106866 w 829999"/>
                <a:gd name="connsiteY127" fmla="*/ 954382 h 1126661"/>
                <a:gd name="connsiteX128" fmla="*/ 112951 w 829999"/>
                <a:gd name="connsiteY128" fmla="*/ 958375 h 1126661"/>
                <a:gd name="connsiteX129" fmla="*/ 121889 w 829999"/>
                <a:gd name="connsiteY129" fmla="*/ 979863 h 1126661"/>
                <a:gd name="connsiteX130" fmla="*/ 121889 w 829999"/>
                <a:gd name="connsiteY130" fmla="*/ 986708 h 1126661"/>
                <a:gd name="connsiteX131" fmla="*/ 138051 w 829999"/>
                <a:gd name="connsiteY131" fmla="*/ 982525 h 1126661"/>
                <a:gd name="connsiteX132" fmla="*/ 148129 w 829999"/>
                <a:gd name="connsiteY132" fmla="*/ 974538 h 1126661"/>
                <a:gd name="connsiteX133" fmla="*/ 151742 w 829999"/>
                <a:gd name="connsiteY133" fmla="*/ 969594 h 1126661"/>
                <a:gd name="connsiteX134" fmla="*/ 160680 w 829999"/>
                <a:gd name="connsiteY134" fmla="*/ 959326 h 1126661"/>
                <a:gd name="connsiteX135" fmla="*/ 191675 w 829999"/>
                <a:gd name="connsiteY135" fmla="*/ 952671 h 1126661"/>
                <a:gd name="connsiteX136" fmla="*/ 226283 w 829999"/>
                <a:gd name="connsiteY136" fmla="*/ 957805 h 1126661"/>
                <a:gd name="connsiteX137" fmla="*/ 248341 w 829999"/>
                <a:gd name="connsiteY137" fmla="*/ 969024 h 1126661"/>
                <a:gd name="connsiteX138" fmla="*/ 290555 w 829999"/>
                <a:gd name="connsiteY138" fmla="*/ 999829 h 1126661"/>
                <a:gd name="connsiteX139" fmla="*/ 299492 w 829999"/>
                <a:gd name="connsiteY139" fmla="*/ 1016753 h 1126661"/>
                <a:gd name="connsiteX140" fmla="*/ 298351 w 829999"/>
                <a:gd name="connsiteY140" fmla="*/ 1021316 h 1126661"/>
                <a:gd name="connsiteX141" fmla="*/ 298351 w 829999"/>
                <a:gd name="connsiteY141" fmla="*/ 1023788 h 1126661"/>
                <a:gd name="connsiteX142" fmla="*/ 303295 w 829999"/>
                <a:gd name="connsiteY142" fmla="*/ 1031585 h 1126661"/>
                <a:gd name="connsiteX143" fmla="*/ 306889 w 829999"/>
                <a:gd name="connsiteY143" fmla="*/ 1060945 h 1126661"/>
                <a:gd name="connsiteX144" fmla="*/ 302345 w 829999"/>
                <a:gd name="connsiteY144" fmla="*/ 1065242 h 1126661"/>
                <a:gd name="connsiteX145" fmla="*/ 300823 w 829999"/>
                <a:gd name="connsiteY145" fmla="*/ 1066953 h 1126661"/>
                <a:gd name="connsiteX146" fmla="*/ 292646 w 829999"/>
                <a:gd name="connsiteY146" fmla="*/ 1102512 h 1126661"/>
                <a:gd name="connsiteX147" fmla="*/ 306528 w 829999"/>
                <a:gd name="connsiteY147" fmla="*/ 1115823 h 1126661"/>
                <a:gd name="connsiteX148" fmla="*/ 320789 w 829999"/>
                <a:gd name="connsiteY148" fmla="*/ 1115823 h 1126661"/>
                <a:gd name="connsiteX149" fmla="*/ 331058 w 829999"/>
                <a:gd name="connsiteY149" fmla="*/ 1105745 h 1126661"/>
                <a:gd name="connsiteX150" fmla="*/ 343418 w 829999"/>
                <a:gd name="connsiteY150" fmla="*/ 1093765 h 1126661"/>
                <a:gd name="connsiteX151" fmla="*/ 369089 w 829999"/>
                <a:gd name="connsiteY151" fmla="*/ 1091863 h 1126661"/>
                <a:gd name="connsiteX152" fmla="*/ 374983 w 829999"/>
                <a:gd name="connsiteY152" fmla="*/ 1094716 h 1126661"/>
                <a:gd name="connsiteX153" fmla="*/ 388922 w 829999"/>
                <a:gd name="connsiteY153" fmla="*/ 1095800 h 1126661"/>
                <a:gd name="connsiteX154" fmla="*/ 390005 w 829999"/>
                <a:gd name="connsiteY154" fmla="*/ 1094716 h 1126661"/>
                <a:gd name="connsiteX155" fmla="*/ 395520 w 829999"/>
                <a:gd name="connsiteY155" fmla="*/ 1090913 h 1126661"/>
                <a:gd name="connsiteX156" fmla="*/ 421951 w 829999"/>
                <a:gd name="connsiteY156" fmla="*/ 1092814 h 1126661"/>
                <a:gd name="connsiteX157" fmla="*/ 439065 w 829999"/>
                <a:gd name="connsiteY157" fmla="*/ 1109738 h 1126661"/>
                <a:gd name="connsiteX158" fmla="*/ 450475 w 829999"/>
                <a:gd name="connsiteY158" fmla="*/ 1126662 h 1126661"/>
                <a:gd name="connsiteX159" fmla="*/ 453897 w 829999"/>
                <a:gd name="connsiteY159" fmla="*/ 1124380 h 1126661"/>
                <a:gd name="connsiteX160" fmla="*/ 477096 w 829999"/>
                <a:gd name="connsiteY160" fmla="*/ 1110498 h 1126661"/>
                <a:gd name="connsiteX161" fmla="*/ 482991 w 829999"/>
                <a:gd name="connsiteY161" fmla="*/ 1089962 h 1126661"/>
                <a:gd name="connsiteX162" fmla="*/ 536424 w 829999"/>
                <a:gd name="connsiteY162" fmla="*/ 1049840 h 1126661"/>
                <a:gd name="connsiteX163" fmla="*/ 528247 w 829999"/>
                <a:gd name="connsiteY163" fmla="*/ 1043374 h 1126661"/>
                <a:gd name="connsiteX164" fmla="*/ 514556 w 829999"/>
                <a:gd name="connsiteY164" fmla="*/ 1040142 h 1126661"/>
                <a:gd name="connsiteX165" fmla="*/ 514556 w 829999"/>
                <a:gd name="connsiteY165" fmla="*/ 1024549 h 1126661"/>
                <a:gd name="connsiteX166" fmla="*/ 514556 w 829999"/>
                <a:gd name="connsiteY166" fmla="*/ 1002491 h 1126661"/>
                <a:gd name="connsiteX167" fmla="*/ 586244 w 829999"/>
                <a:gd name="connsiteY167" fmla="*/ 936698 h 1126661"/>
                <a:gd name="connsiteX168" fmla="*/ 607351 w 829999"/>
                <a:gd name="connsiteY168" fmla="*/ 904942 h 1126661"/>
                <a:gd name="connsiteX169" fmla="*/ 647283 w 829999"/>
                <a:gd name="connsiteY169" fmla="*/ 908555 h 1126661"/>
                <a:gd name="connsiteX170" fmla="*/ 678089 w 829999"/>
                <a:gd name="connsiteY170" fmla="*/ 894864 h 1126661"/>
                <a:gd name="connsiteX171" fmla="*/ 652988 w 829999"/>
                <a:gd name="connsiteY171" fmla="*/ 926810 h 1126661"/>
                <a:gd name="connsiteX172" fmla="*/ 648995 w 829999"/>
                <a:gd name="connsiteY172" fmla="*/ 959516 h 1126661"/>
                <a:gd name="connsiteX173" fmla="*/ 687026 w 829999"/>
                <a:gd name="connsiteY173" fmla="*/ 947346 h 1126661"/>
                <a:gd name="connsiteX174" fmla="*/ 702238 w 829999"/>
                <a:gd name="connsiteY174" fmla="*/ 928331 h 1126661"/>
                <a:gd name="connsiteX175" fmla="*/ 702238 w 829999"/>
                <a:gd name="connsiteY175" fmla="*/ 907224 h 1126661"/>
                <a:gd name="connsiteX176" fmla="*/ 728289 w 829999"/>
                <a:gd name="connsiteY176" fmla="*/ 883835 h 1126661"/>
                <a:gd name="connsiteX177" fmla="*/ 728289 w 829999"/>
                <a:gd name="connsiteY177" fmla="*/ 867292 h 1126661"/>
                <a:gd name="connsiteX178" fmla="*/ 726198 w 829999"/>
                <a:gd name="connsiteY178" fmla="*/ 860827 h 1126661"/>
                <a:gd name="connsiteX179" fmla="*/ 730381 w 829999"/>
                <a:gd name="connsiteY179" fmla="*/ 848847 h 1126661"/>
                <a:gd name="connsiteX180" fmla="*/ 741790 w 829999"/>
                <a:gd name="connsiteY180" fmla="*/ 815760 h 1126661"/>
                <a:gd name="connsiteX181" fmla="*/ 769553 w 829999"/>
                <a:gd name="connsiteY181" fmla="*/ 802069 h 1126661"/>
                <a:gd name="connsiteX182" fmla="*/ 766700 w 829999"/>
                <a:gd name="connsiteY182" fmla="*/ 785906 h 1126661"/>
                <a:gd name="connsiteX183" fmla="*/ 780772 w 829999"/>
                <a:gd name="connsiteY183" fmla="*/ 768412 h 1126661"/>
                <a:gd name="connsiteX184" fmla="*/ 749396 w 829999"/>
                <a:gd name="connsiteY184" fmla="*/ 739699 h 1126661"/>
                <a:gd name="connsiteX185" fmla="*/ 739128 w 829999"/>
                <a:gd name="connsiteY185" fmla="*/ 750918 h 1126661"/>
                <a:gd name="connsiteX186" fmla="*/ 742551 w 829999"/>
                <a:gd name="connsiteY186" fmla="*/ 765750 h 1126661"/>
                <a:gd name="connsiteX187" fmla="*/ 724866 w 829999"/>
                <a:gd name="connsiteY187" fmla="*/ 776588 h 1126661"/>
                <a:gd name="connsiteX188" fmla="*/ 714408 w 829999"/>
                <a:gd name="connsiteY188" fmla="*/ 762517 h 1126661"/>
                <a:gd name="connsiteX189" fmla="*/ 699386 w 829999"/>
                <a:gd name="connsiteY189" fmla="*/ 745023 h 1126661"/>
                <a:gd name="connsiteX190" fmla="*/ 697104 w 829999"/>
                <a:gd name="connsiteY190" fmla="*/ 734945 h 1126661"/>
                <a:gd name="connsiteX191" fmla="*/ 692540 w 829999"/>
                <a:gd name="connsiteY191" fmla="*/ 713838 h 1126661"/>
                <a:gd name="connsiteX192" fmla="*/ 674665 w 829999"/>
                <a:gd name="connsiteY192" fmla="*/ 661165 h 1126661"/>
                <a:gd name="connsiteX193" fmla="*/ 670863 w 829999"/>
                <a:gd name="connsiteY193" fmla="*/ 600886 h 1126661"/>
                <a:gd name="connsiteX194" fmla="*/ 645572 w 829999"/>
                <a:gd name="connsiteY194" fmla="*/ 555630 h 1126661"/>
                <a:gd name="connsiteX195" fmla="*/ 631881 w 829999"/>
                <a:gd name="connsiteY195" fmla="*/ 511324 h 1126661"/>
                <a:gd name="connsiteX196" fmla="*/ 623134 w 829999"/>
                <a:gd name="connsiteY196" fmla="*/ 486414 h 1126661"/>
                <a:gd name="connsiteX197" fmla="*/ 615718 w 829999"/>
                <a:gd name="connsiteY197" fmla="*/ 467398 h 1126661"/>
                <a:gd name="connsiteX198" fmla="*/ 618570 w 829999"/>
                <a:gd name="connsiteY198" fmla="*/ 446862 h 1126661"/>
                <a:gd name="connsiteX199" fmla="*/ 627508 w 829999"/>
                <a:gd name="connsiteY199" fmla="*/ 424423 h 1126661"/>
                <a:gd name="connsiteX200" fmla="*/ 641389 w 829999"/>
                <a:gd name="connsiteY200" fmla="*/ 409401 h 1126661"/>
                <a:gd name="connsiteX201" fmla="*/ 649566 w 829999"/>
                <a:gd name="connsiteY201" fmla="*/ 389055 h 1126661"/>
                <a:gd name="connsiteX202" fmla="*/ 657742 w 829999"/>
                <a:gd name="connsiteY202" fmla="*/ 370039 h 1126661"/>
                <a:gd name="connsiteX203" fmla="*/ 663446 w 829999"/>
                <a:gd name="connsiteY203" fmla="*/ 346460 h 1126661"/>
                <a:gd name="connsiteX204" fmla="*/ 694062 w 829999"/>
                <a:gd name="connsiteY204" fmla="*/ 343608 h 1126661"/>
                <a:gd name="connsiteX205" fmla="*/ 704520 w 829999"/>
                <a:gd name="connsiteY205" fmla="*/ 329917 h 1126661"/>
                <a:gd name="connsiteX206" fmla="*/ 695012 w 829999"/>
                <a:gd name="connsiteY206" fmla="*/ 310902 h 1126661"/>
                <a:gd name="connsiteX207" fmla="*/ 714027 w 829999"/>
                <a:gd name="connsiteY207" fmla="*/ 300823 h 1126661"/>
                <a:gd name="connsiteX208" fmla="*/ 722204 w 829999"/>
                <a:gd name="connsiteY208" fmla="*/ 314514 h 1126661"/>
                <a:gd name="connsiteX209" fmla="*/ 735135 w 829999"/>
                <a:gd name="connsiteY209" fmla="*/ 331628 h 1126661"/>
                <a:gd name="connsiteX210" fmla="*/ 764038 w 829999"/>
                <a:gd name="connsiteY210" fmla="*/ 365856 h 1126661"/>
                <a:gd name="connsiteX211" fmla="*/ 779631 w 829999"/>
                <a:gd name="connsiteY211" fmla="*/ 373082 h 1126661"/>
                <a:gd name="connsiteX212" fmla="*/ 787237 w 829999"/>
                <a:gd name="connsiteY212" fmla="*/ 359581 h 1126661"/>
                <a:gd name="connsiteX213" fmla="*/ 817471 w 829999"/>
                <a:gd name="connsiteY213" fmla="*/ 376124 h 1126661"/>
                <a:gd name="connsiteX214" fmla="*/ 826789 w 829999"/>
                <a:gd name="connsiteY214" fmla="*/ 361673 h 1126661"/>
                <a:gd name="connsiteX215" fmla="*/ 828500 w 829999"/>
                <a:gd name="connsiteY215" fmla="*/ 334861 h 1126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</a:cxnLst>
              <a:rect l="l" t="t" r="r" b="b"/>
              <a:pathLst>
                <a:path w="829999" h="1126661">
                  <a:moveTo>
                    <a:pt x="828500" y="334861"/>
                  </a:moveTo>
                  <a:cubicBezTo>
                    <a:pt x="825248" y="328875"/>
                    <a:pt x="822815" y="322478"/>
                    <a:pt x="821275" y="315846"/>
                  </a:cubicBezTo>
                  <a:cubicBezTo>
                    <a:pt x="819582" y="297745"/>
                    <a:pt x="815418" y="279960"/>
                    <a:pt x="808914" y="262983"/>
                  </a:cubicBezTo>
                  <a:cubicBezTo>
                    <a:pt x="805834" y="254958"/>
                    <a:pt x="804084" y="246475"/>
                    <a:pt x="803780" y="237883"/>
                  </a:cubicBezTo>
                  <a:cubicBezTo>
                    <a:pt x="802639" y="229325"/>
                    <a:pt x="796935" y="225332"/>
                    <a:pt x="793322" y="218867"/>
                  </a:cubicBezTo>
                  <a:cubicBezTo>
                    <a:pt x="792409" y="217006"/>
                    <a:pt x="791763" y="215020"/>
                    <a:pt x="791420" y="212972"/>
                  </a:cubicBezTo>
                  <a:cubicBezTo>
                    <a:pt x="782141" y="210567"/>
                    <a:pt x="773507" y="206153"/>
                    <a:pt x="766129" y="200042"/>
                  </a:cubicBezTo>
                  <a:cubicBezTo>
                    <a:pt x="760615" y="196239"/>
                    <a:pt x="759664" y="196049"/>
                    <a:pt x="754340" y="197760"/>
                  </a:cubicBezTo>
                  <a:cubicBezTo>
                    <a:pt x="753389" y="198163"/>
                    <a:pt x="752496" y="198673"/>
                    <a:pt x="751678" y="199281"/>
                  </a:cubicBezTo>
                  <a:cubicBezTo>
                    <a:pt x="747932" y="202759"/>
                    <a:pt x="742455" y="203657"/>
                    <a:pt x="737797" y="201563"/>
                  </a:cubicBezTo>
                  <a:cubicBezTo>
                    <a:pt x="726387" y="196239"/>
                    <a:pt x="729050" y="182548"/>
                    <a:pt x="730761" y="174561"/>
                  </a:cubicBezTo>
                  <a:cubicBezTo>
                    <a:pt x="731616" y="171401"/>
                    <a:pt x="731997" y="168134"/>
                    <a:pt x="731902" y="164863"/>
                  </a:cubicBezTo>
                  <a:cubicBezTo>
                    <a:pt x="730000" y="157257"/>
                    <a:pt x="712887" y="147179"/>
                    <a:pt x="701477" y="144327"/>
                  </a:cubicBezTo>
                  <a:cubicBezTo>
                    <a:pt x="692426" y="142039"/>
                    <a:pt x="682880" y="142773"/>
                    <a:pt x="674285" y="146419"/>
                  </a:cubicBezTo>
                  <a:lnTo>
                    <a:pt x="668200" y="148130"/>
                  </a:lnTo>
                  <a:cubicBezTo>
                    <a:pt x="657076" y="151971"/>
                    <a:pt x="644964" y="146072"/>
                    <a:pt x="641123" y="134954"/>
                  </a:cubicBezTo>
                  <a:cubicBezTo>
                    <a:pt x="640837" y="134163"/>
                    <a:pt x="640609" y="133355"/>
                    <a:pt x="640438" y="132537"/>
                  </a:cubicBezTo>
                  <a:cubicBezTo>
                    <a:pt x="638879" y="128244"/>
                    <a:pt x="637852" y="123773"/>
                    <a:pt x="637396" y="119227"/>
                  </a:cubicBezTo>
                  <a:cubicBezTo>
                    <a:pt x="637396" y="112381"/>
                    <a:pt x="635875" y="108198"/>
                    <a:pt x="629980" y="104394"/>
                  </a:cubicBezTo>
                  <a:lnTo>
                    <a:pt x="626747" y="102493"/>
                  </a:lnTo>
                  <a:cubicBezTo>
                    <a:pt x="622183" y="100219"/>
                    <a:pt x="618456" y="96558"/>
                    <a:pt x="616098" y="92035"/>
                  </a:cubicBezTo>
                  <a:cubicBezTo>
                    <a:pt x="614862" y="89618"/>
                    <a:pt x="613893" y="87066"/>
                    <a:pt x="613246" y="84428"/>
                  </a:cubicBezTo>
                  <a:cubicBezTo>
                    <a:pt x="612295" y="81006"/>
                    <a:pt x="611915" y="79484"/>
                    <a:pt x="608872" y="77773"/>
                  </a:cubicBezTo>
                  <a:cubicBezTo>
                    <a:pt x="605411" y="76467"/>
                    <a:pt x="601685" y="76075"/>
                    <a:pt x="598034" y="76632"/>
                  </a:cubicBezTo>
                  <a:cubicBezTo>
                    <a:pt x="594173" y="77104"/>
                    <a:pt x="590295" y="77104"/>
                    <a:pt x="586434" y="76632"/>
                  </a:cubicBezTo>
                  <a:cubicBezTo>
                    <a:pt x="581338" y="75193"/>
                    <a:pt x="576812" y="72202"/>
                    <a:pt x="573504" y="68075"/>
                  </a:cubicBezTo>
                  <a:lnTo>
                    <a:pt x="571032" y="65603"/>
                  </a:lnTo>
                  <a:cubicBezTo>
                    <a:pt x="567476" y="62718"/>
                    <a:pt x="563502" y="60410"/>
                    <a:pt x="559243" y="58758"/>
                  </a:cubicBezTo>
                  <a:cubicBezTo>
                    <a:pt x="551484" y="56588"/>
                    <a:pt x="544752" y="51737"/>
                    <a:pt x="540227" y="45067"/>
                  </a:cubicBezTo>
                  <a:cubicBezTo>
                    <a:pt x="538211" y="40326"/>
                    <a:pt x="538211" y="34975"/>
                    <a:pt x="540227" y="30235"/>
                  </a:cubicBezTo>
                  <a:cubicBezTo>
                    <a:pt x="541215" y="28297"/>
                    <a:pt x="541672" y="26131"/>
                    <a:pt x="541558" y="23959"/>
                  </a:cubicBezTo>
                  <a:cubicBezTo>
                    <a:pt x="541558" y="22819"/>
                    <a:pt x="541558" y="22438"/>
                    <a:pt x="539466" y="21297"/>
                  </a:cubicBezTo>
                  <a:cubicBezTo>
                    <a:pt x="538192" y="20158"/>
                    <a:pt x="537051" y="18882"/>
                    <a:pt x="536044" y="17494"/>
                  </a:cubicBezTo>
                  <a:lnTo>
                    <a:pt x="532431" y="11980"/>
                  </a:lnTo>
                  <a:cubicBezTo>
                    <a:pt x="527487" y="4374"/>
                    <a:pt x="525205" y="1141"/>
                    <a:pt x="517599" y="1141"/>
                  </a:cubicBezTo>
                  <a:lnTo>
                    <a:pt x="514746" y="1141"/>
                  </a:lnTo>
                  <a:cubicBezTo>
                    <a:pt x="508395" y="1708"/>
                    <a:pt x="501968" y="1324"/>
                    <a:pt x="495731" y="0"/>
                  </a:cubicBezTo>
                  <a:cubicBezTo>
                    <a:pt x="488315" y="15594"/>
                    <a:pt x="476658" y="28778"/>
                    <a:pt x="462074" y="38031"/>
                  </a:cubicBezTo>
                  <a:cubicBezTo>
                    <a:pt x="457719" y="41024"/>
                    <a:pt x="452908" y="43271"/>
                    <a:pt x="447812" y="44686"/>
                  </a:cubicBezTo>
                  <a:cubicBezTo>
                    <a:pt x="441594" y="46259"/>
                    <a:pt x="435205" y="47027"/>
                    <a:pt x="428797" y="46968"/>
                  </a:cubicBezTo>
                  <a:lnTo>
                    <a:pt x="422902" y="46968"/>
                  </a:lnTo>
                  <a:cubicBezTo>
                    <a:pt x="408165" y="46995"/>
                    <a:pt x="394208" y="53623"/>
                    <a:pt x="384871" y="65033"/>
                  </a:cubicBezTo>
                  <a:lnTo>
                    <a:pt x="382209" y="69026"/>
                  </a:lnTo>
                  <a:cubicBezTo>
                    <a:pt x="379870" y="73291"/>
                    <a:pt x="376714" y="77043"/>
                    <a:pt x="372891" y="80055"/>
                  </a:cubicBezTo>
                  <a:cubicBezTo>
                    <a:pt x="364772" y="84521"/>
                    <a:pt x="355302" y="85875"/>
                    <a:pt x="346270" y="83858"/>
                  </a:cubicBezTo>
                  <a:cubicBezTo>
                    <a:pt x="336420" y="81840"/>
                    <a:pt x="326266" y="81840"/>
                    <a:pt x="316416" y="83858"/>
                  </a:cubicBezTo>
                  <a:cubicBezTo>
                    <a:pt x="309589" y="86685"/>
                    <a:pt x="303181" y="90462"/>
                    <a:pt x="297400" y="95077"/>
                  </a:cubicBezTo>
                  <a:cubicBezTo>
                    <a:pt x="293598" y="97739"/>
                    <a:pt x="289794" y="100211"/>
                    <a:pt x="285801" y="102493"/>
                  </a:cubicBezTo>
                  <a:cubicBezTo>
                    <a:pt x="273346" y="110957"/>
                    <a:pt x="256993" y="110957"/>
                    <a:pt x="244538" y="102493"/>
                  </a:cubicBezTo>
                  <a:cubicBezTo>
                    <a:pt x="241210" y="99329"/>
                    <a:pt x="238396" y="95674"/>
                    <a:pt x="236171" y="91654"/>
                  </a:cubicBezTo>
                  <a:cubicBezTo>
                    <a:pt x="234802" y="89226"/>
                    <a:pt x="233223" y="86935"/>
                    <a:pt x="231417" y="84809"/>
                  </a:cubicBezTo>
                  <a:cubicBezTo>
                    <a:pt x="222879" y="77334"/>
                    <a:pt x="210747" y="75550"/>
                    <a:pt x="200422" y="80245"/>
                  </a:cubicBezTo>
                  <a:cubicBezTo>
                    <a:pt x="197950" y="81181"/>
                    <a:pt x="195592" y="82394"/>
                    <a:pt x="193386" y="83858"/>
                  </a:cubicBezTo>
                  <a:lnTo>
                    <a:pt x="194527" y="83858"/>
                  </a:lnTo>
                  <a:lnTo>
                    <a:pt x="197570" y="86330"/>
                  </a:lnTo>
                  <a:cubicBezTo>
                    <a:pt x="201943" y="89753"/>
                    <a:pt x="207268" y="93936"/>
                    <a:pt x="207648" y="99831"/>
                  </a:cubicBezTo>
                  <a:cubicBezTo>
                    <a:pt x="207077" y="106518"/>
                    <a:pt x="205062" y="113005"/>
                    <a:pt x="201753" y="118846"/>
                  </a:cubicBezTo>
                  <a:cubicBezTo>
                    <a:pt x="200612" y="121698"/>
                    <a:pt x="199471" y="124170"/>
                    <a:pt x="199091" y="125502"/>
                  </a:cubicBezTo>
                  <a:lnTo>
                    <a:pt x="196809" y="131777"/>
                  </a:lnTo>
                  <a:cubicBezTo>
                    <a:pt x="194889" y="135819"/>
                    <a:pt x="193843" y="140229"/>
                    <a:pt x="193767" y="144707"/>
                  </a:cubicBezTo>
                  <a:cubicBezTo>
                    <a:pt x="193995" y="147229"/>
                    <a:pt x="194508" y="149716"/>
                    <a:pt x="195288" y="152123"/>
                  </a:cubicBezTo>
                  <a:cubicBezTo>
                    <a:pt x="198521" y="158786"/>
                    <a:pt x="198521" y="166567"/>
                    <a:pt x="195288" y="173230"/>
                  </a:cubicBezTo>
                  <a:cubicBezTo>
                    <a:pt x="189393" y="181977"/>
                    <a:pt x="179125" y="180266"/>
                    <a:pt x="170758" y="178935"/>
                  </a:cubicBezTo>
                  <a:cubicBezTo>
                    <a:pt x="162391" y="177604"/>
                    <a:pt x="156306" y="177033"/>
                    <a:pt x="153644" y="182738"/>
                  </a:cubicBezTo>
                  <a:cubicBezTo>
                    <a:pt x="153130" y="184929"/>
                    <a:pt x="153130" y="187203"/>
                    <a:pt x="153644" y="189393"/>
                  </a:cubicBezTo>
                  <a:cubicBezTo>
                    <a:pt x="154214" y="194001"/>
                    <a:pt x="153492" y="198675"/>
                    <a:pt x="151553" y="202894"/>
                  </a:cubicBezTo>
                  <a:cubicBezTo>
                    <a:pt x="148225" y="207764"/>
                    <a:pt x="143718" y="211693"/>
                    <a:pt x="138432" y="214303"/>
                  </a:cubicBezTo>
                  <a:cubicBezTo>
                    <a:pt x="136834" y="215142"/>
                    <a:pt x="135313" y="216095"/>
                    <a:pt x="133868" y="217156"/>
                  </a:cubicBezTo>
                  <a:cubicBezTo>
                    <a:pt x="119626" y="227576"/>
                    <a:pt x="106828" y="239854"/>
                    <a:pt x="95837" y="253665"/>
                  </a:cubicBezTo>
                  <a:cubicBezTo>
                    <a:pt x="92034" y="258799"/>
                    <a:pt x="86900" y="266025"/>
                    <a:pt x="87851" y="270209"/>
                  </a:cubicBezTo>
                  <a:cubicBezTo>
                    <a:pt x="88802" y="274392"/>
                    <a:pt x="91464" y="275153"/>
                    <a:pt x="96598" y="277625"/>
                  </a:cubicBezTo>
                  <a:cubicBezTo>
                    <a:pt x="104585" y="281428"/>
                    <a:pt x="108387" y="284851"/>
                    <a:pt x="109719" y="289414"/>
                  </a:cubicBezTo>
                  <a:cubicBezTo>
                    <a:pt x="110555" y="295326"/>
                    <a:pt x="108749" y="301306"/>
                    <a:pt x="104774" y="305767"/>
                  </a:cubicBezTo>
                  <a:cubicBezTo>
                    <a:pt x="102797" y="308549"/>
                    <a:pt x="101009" y="311474"/>
                    <a:pt x="99450" y="314514"/>
                  </a:cubicBezTo>
                  <a:cubicBezTo>
                    <a:pt x="96218" y="321360"/>
                    <a:pt x="93936" y="332009"/>
                    <a:pt x="112761" y="345700"/>
                  </a:cubicBezTo>
                  <a:cubicBezTo>
                    <a:pt x="131586" y="359391"/>
                    <a:pt x="131776" y="370420"/>
                    <a:pt x="128924" y="392097"/>
                  </a:cubicBezTo>
                  <a:cubicBezTo>
                    <a:pt x="126452" y="408451"/>
                    <a:pt x="132727" y="416057"/>
                    <a:pt x="145087" y="430128"/>
                  </a:cubicBezTo>
                  <a:lnTo>
                    <a:pt x="147179" y="432600"/>
                  </a:lnTo>
                  <a:cubicBezTo>
                    <a:pt x="150241" y="436639"/>
                    <a:pt x="154214" y="439898"/>
                    <a:pt x="158778" y="442108"/>
                  </a:cubicBezTo>
                  <a:cubicBezTo>
                    <a:pt x="160870" y="442916"/>
                    <a:pt x="163038" y="443551"/>
                    <a:pt x="165244" y="444009"/>
                  </a:cubicBezTo>
                  <a:cubicBezTo>
                    <a:pt x="171937" y="444625"/>
                    <a:pt x="178060" y="448001"/>
                    <a:pt x="182167" y="453327"/>
                  </a:cubicBezTo>
                  <a:cubicBezTo>
                    <a:pt x="190154" y="467556"/>
                    <a:pt x="190154" y="484930"/>
                    <a:pt x="182167" y="499154"/>
                  </a:cubicBezTo>
                  <a:cubicBezTo>
                    <a:pt x="179733" y="502310"/>
                    <a:pt x="176786" y="505011"/>
                    <a:pt x="173420" y="507140"/>
                  </a:cubicBezTo>
                  <a:cubicBezTo>
                    <a:pt x="170872" y="508700"/>
                    <a:pt x="168628" y="510696"/>
                    <a:pt x="166765" y="513035"/>
                  </a:cubicBezTo>
                  <a:cubicBezTo>
                    <a:pt x="164407" y="517085"/>
                    <a:pt x="163038" y="521649"/>
                    <a:pt x="162772" y="526346"/>
                  </a:cubicBezTo>
                  <a:cubicBezTo>
                    <a:pt x="162772" y="528818"/>
                    <a:pt x="162772" y="531290"/>
                    <a:pt x="161631" y="533952"/>
                  </a:cubicBezTo>
                  <a:cubicBezTo>
                    <a:pt x="160148" y="539562"/>
                    <a:pt x="157923" y="544924"/>
                    <a:pt x="154975" y="549925"/>
                  </a:cubicBezTo>
                  <a:cubicBezTo>
                    <a:pt x="151020" y="555420"/>
                    <a:pt x="149441" y="562266"/>
                    <a:pt x="150602" y="568940"/>
                  </a:cubicBezTo>
                  <a:cubicBezTo>
                    <a:pt x="150506" y="570081"/>
                    <a:pt x="150506" y="571222"/>
                    <a:pt x="150602" y="572363"/>
                  </a:cubicBezTo>
                  <a:cubicBezTo>
                    <a:pt x="153948" y="580121"/>
                    <a:pt x="151419" y="589154"/>
                    <a:pt x="144516" y="594041"/>
                  </a:cubicBezTo>
                  <a:cubicBezTo>
                    <a:pt x="134438" y="598566"/>
                    <a:pt x="123162" y="599688"/>
                    <a:pt x="112381" y="597273"/>
                  </a:cubicBezTo>
                  <a:cubicBezTo>
                    <a:pt x="108274" y="595105"/>
                    <a:pt x="104661" y="592139"/>
                    <a:pt x="101732" y="588526"/>
                  </a:cubicBezTo>
                  <a:cubicBezTo>
                    <a:pt x="99831" y="586244"/>
                    <a:pt x="96978" y="583012"/>
                    <a:pt x="95647" y="583012"/>
                  </a:cubicBezTo>
                  <a:lnTo>
                    <a:pt x="95647" y="583012"/>
                  </a:lnTo>
                  <a:cubicBezTo>
                    <a:pt x="95647" y="583012"/>
                    <a:pt x="93746" y="583012"/>
                    <a:pt x="90703" y="587005"/>
                  </a:cubicBezTo>
                  <a:cubicBezTo>
                    <a:pt x="88307" y="590637"/>
                    <a:pt x="86862" y="594820"/>
                    <a:pt x="86520" y="599175"/>
                  </a:cubicBezTo>
                  <a:cubicBezTo>
                    <a:pt x="84219" y="613227"/>
                    <a:pt x="76765" y="625910"/>
                    <a:pt x="65603" y="634734"/>
                  </a:cubicBezTo>
                  <a:cubicBezTo>
                    <a:pt x="61458" y="637795"/>
                    <a:pt x="56989" y="640419"/>
                    <a:pt x="52292" y="642530"/>
                  </a:cubicBezTo>
                  <a:cubicBezTo>
                    <a:pt x="38601" y="649185"/>
                    <a:pt x="33277" y="652988"/>
                    <a:pt x="35939" y="659263"/>
                  </a:cubicBezTo>
                  <a:cubicBezTo>
                    <a:pt x="38601" y="665538"/>
                    <a:pt x="42974" y="666299"/>
                    <a:pt x="51151" y="668771"/>
                  </a:cubicBezTo>
                  <a:cubicBezTo>
                    <a:pt x="62180" y="669950"/>
                    <a:pt x="71573" y="677347"/>
                    <a:pt x="75301" y="687786"/>
                  </a:cubicBezTo>
                  <a:cubicBezTo>
                    <a:pt x="77678" y="694081"/>
                    <a:pt x="76974" y="701116"/>
                    <a:pt x="73399" y="706802"/>
                  </a:cubicBezTo>
                  <a:cubicBezTo>
                    <a:pt x="68075" y="714218"/>
                    <a:pt x="57236" y="714978"/>
                    <a:pt x="47728" y="715739"/>
                  </a:cubicBezTo>
                  <a:cubicBezTo>
                    <a:pt x="42727" y="715606"/>
                    <a:pt x="37879" y="717451"/>
                    <a:pt x="34227" y="720873"/>
                  </a:cubicBezTo>
                  <a:cubicBezTo>
                    <a:pt x="32859" y="722585"/>
                    <a:pt x="31946" y="724600"/>
                    <a:pt x="31566" y="726768"/>
                  </a:cubicBezTo>
                  <a:cubicBezTo>
                    <a:pt x="30254" y="732568"/>
                    <a:pt x="26317" y="737417"/>
                    <a:pt x="20916" y="739889"/>
                  </a:cubicBezTo>
                  <a:cubicBezTo>
                    <a:pt x="18027" y="741277"/>
                    <a:pt x="14946" y="742228"/>
                    <a:pt x="11789" y="742741"/>
                  </a:cubicBezTo>
                  <a:cubicBezTo>
                    <a:pt x="8405" y="742817"/>
                    <a:pt x="5172" y="744091"/>
                    <a:pt x="2662" y="746354"/>
                  </a:cubicBezTo>
                  <a:cubicBezTo>
                    <a:pt x="570" y="749396"/>
                    <a:pt x="1521" y="753199"/>
                    <a:pt x="2662" y="759284"/>
                  </a:cubicBezTo>
                  <a:cubicBezTo>
                    <a:pt x="3613" y="762080"/>
                    <a:pt x="4297" y="764932"/>
                    <a:pt x="4754" y="767841"/>
                  </a:cubicBezTo>
                  <a:cubicBezTo>
                    <a:pt x="5590" y="775524"/>
                    <a:pt x="4811" y="783301"/>
                    <a:pt x="2472" y="790660"/>
                  </a:cubicBezTo>
                  <a:cubicBezTo>
                    <a:pt x="2472" y="792751"/>
                    <a:pt x="1521" y="794843"/>
                    <a:pt x="951" y="797315"/>
                  </a:cubicBezTo>
                  <a:cubicBezTo>
                    <a:pt x="418" y="799312"/>
                    <a:pt x="95" y="801346"/>
                    <a:pt x="0" y="803400"/>
                  </a:cubicBezTo>
                  <a:cubicBezTo>
                    <a:pt x="684" y="804579"/>
                    <a:pt x="1502" y="805663"/>
                    <a:pt x="2472" y="806633"/>
                  </a:cubicBezTo>
                  <a:lnTo>
                    <a:pt x="3803" y="808154"/>
                  </a:lnTo>
                  <a:cubicBezTo>
                    <a:pt x="10515" y="814638"/>
                    <a:pt x="14338" y="823537"/>
                    <a:pt x="14451" y="832874"/>
                  </a:cubicBezTo>
                  <a:cubicBezTo>
                    <a:pt x="14775" y="840176"/>
                    <a:pt x="16999" y="847250"/>
                    <a:pt x="20916" y="853411"/>
                  </a:cubicBezTo>
                  <a:cubicBezTo>
                    <a:pt x="22020" y="854646"/>
                    <a:pt x="23237" y="855788"/>
                    <a:pt x="24529" y="856833"/>
                  </a:cubicBezTo>
                  <a:cubicBezTo>
                    <a:pt x="27591" y="858944"/>
                    <a:pt x="30139" y="861739"/>
                    <a:pt x="31946" y="865010"/>
                  </a:cubicBezTo>
                  <a:cubicBezTo>
                    <a:pt x="33087" y="867292"/>
                    <a:pt x="34037" y="869003"/>
                    <a:pt x="34798" y="870905"/>
                  </a:cubicBezTo>
                  <a:cubicBezTo>
                    <a:pt x="36091" y="875240"/>
                    <a:pt x="39209" y="878777"/>
                    <a:pt x="43355" y="880602"/>
                  </a:cubicBezTo>
                  <a:cubicBezTo>
                    <a:pt x="52635" y="885718"/>
                    <a:pt x="61154" y="892126"/>
                    <a:pt x="68645" y="899618"/>
                  </a:cubicBezTo>
                  <a:cubicBezTo>
                    <a:pt x="73342" y="904029"/>
                    <a:pt x="78286" y="908156"/>
                    <a:pt x="83477" y="911978"/>
                  </a:cubicBezTo>
                  <a:lnTo>
                    <a:pt x="87661" y="914830"/>
                  </a:lnTo>
                  <a:cubicBezTo>
                    <a:pt x="92243" y="917169"/>
                    <a:pt x="96256" y="920478"/>
                    <a:pt x="99450" y="924528"/>
                  </a:cubicBezTo>
                  <a:cubicBezTo>
                    <a:pt x="102512" y="929529"/>
                    <a:pt x="103653" y="935481"/>
                    <a:pt x="102683" y="941262"/>
                  </a:cubicBezTo>
                  <a:cubicBezTo>
                    <a:pt x="101998" y="944019"/>
                    <a:pt x="101998" y="946871"/>
                    <a:pt x="102683" y="949628"/>
                  </a:cubicBezTo>
                  <a:cubicBezTo>
                    <a:pt x="103329" y="951739"/>
                    <a:pt x="104850" y="953488"/>
                    <a:pt x="106866" y="954382"/>
                  </a:cubicBezTo>
                  <a:cubicBezTo>
                    <a:pt x="109072" y="955428"/>
                    <a:pt x="111107" y="956778"/>
                    <a:pt x="112951" y="958375"/>
                  </a:cubicBezTo>
                  <a:cubicBezTo>
                    <a:pt x="119378" y="963567"/>
                    <a:pt x="122744" y="971648"/>
                    <a:pt x="121889" y="979863"/>
                  </a:cubicBezTo>
                  <a:cubicBezTo>
                    <a:pt x="121889" y="982145"/>
                    <a:pt x="121889" y="984427"/>
                    <a:pt x="121889" y="986708"/>
                  </a:cubicBezTo>
                  <a:cubicBezTo>
                    <a:pt x="127498" y="986404"/>
                    <a:pt x="132993" y="984978"/>
                    <a:pt x="138051" y="982525"/>
                  </a:cubicBezTo>
                  <a:cubicBezTo>
                    <a:pt x="141835" y="980452"/>
                    <a:pt x="145240" y="977752"/>
                    <a:pt x="148129" y="974538"/>
                  </a:cubicBezTo>
                  <a:lnTo>
                    <a:pt x="151742" y="969594"/>
                  </a:lnTo>
                  <a:cubicBezTo>
                    <a:pt x="154177" y="965734"/>
                    <a:pt x="157200" y="962274"/>
                    <a:pt x="160680" y="959326"/>
                  </a:cubicBezTo>
                  <a:cubicBezTo>
                    <a:pt x="169883" y="953450"/>
                    <a:pt x="180874" y="951092"/>
                    <a:pt x="191675" y="952671"/>
                  </a:cubicBezTo>
                  <a:cubicBezTo>
                    <a:pt x="203407" y="952671"/>
                    <a:pt x="215064" y="954401"/>
                    <a:pt x="226283" y="957805"/>
                  </a:cubicBezTo>
                  <a:cubicBezTo>
                    <a:pt x="233984" y="960809"/>
                    <a:pt x="241381" y="964574"/>
                    <a:pt x="248341" y="969024"/>
                  </a:cubicBezTo>
                  <a:cubicBezTo>
                    <a:pt x="263268" y="978056"/>
                    <a:pt x="277396" y="988363"/>
                    <a:pt x="290555" y="999829"/>
                  </a:cubicBezTo>
                  <a:cubicBezTo>
                    <a:pt x="295936" y="1003841"/>
                    <a:pt x="299207" y="1010059"/>
                    <a:pt x="299492" y="1016753"/>
                  </a:cubicBezTo>
                  <a:cubicBezTo>
                    <a:pt x="299340" y="1018331"/>
                    <a:pt x="298960" y="1019852"/>
                    <a:pt x="298351" y="1021316"/>
                  </a:cubicBezTo>
                  <a:cubicBezTo>
                    <a:pt x="298389" y="1022134"/>
                    <a:pt x="298389" y="1022971"/>
                    <a:pt x="298351" y="1023788"/>
                  </a:cubicBezTo>
                  <a:cubicBezTo>
                    <a:pt x="298351" y="1026070"/>
                    <a:pt x="300063" y="1028162"/>
                    <a:pt x="303295" y="1031585"/>
                  </a:cubicBezTo>
                  <a:cubicBezTo>
                    <a:pt x="312403" y="1038697"/>
                    <a:pt x="314001" y="1051855"/>
                    <a:pt x="306889" y="1060945"/>
                  </a:cubicBezTo>
                  <a:cubicBezTo>
                    <a:pt x="305596" y="1062599"/>
                    <a:pt x="304075" y="1064044"/>
                    <a:pt x="302345" y="1065242"/>
                  </a:cubicBezTo>
                  <a:lnTo>
                    <a:pt x="300823" y="1066953"/>
                  </a:lnTo>
                  <a:cubicBezTo>
                    <a:pt x="291981" y="1076518"/>
                    <a:pt x="288862" y="1090057"/>
                    <a:pt x="292646" y="1102512"/>
                  </a:cubicBezTo>
                  <a:cubicBezTo>
                    <a:pt x="295214" y="1108692"/>
                    <a:pt x="300253" y="1113522"/>
                    <a:pt x="306528" y="1115823"/>
                  </a:cubicBezTo>
                  <a:cubicBezTo>
                    <a:pt x="311035" y="1117953"/>
                    <a:pt x="316283" y="1117953"/>
                    <a:pt x="320789" y="1115823"/>
                  </a:cubicBezTo>
                  <a:cubicBezTo>
                    <a:pt x="324763" y="1113066"/>
                    <a:pt x="328224" y="1109662"/>
                    <a:pt x="331058" y="1105745"/>
                  </a:cubicBezTo>
                  <a:cubicBezTo>
                    <a:pt x="334557" y="1101143"/>
                    <a:pt x="338721" y="1097112"/>
                    <a:pt x="343418" y="1093765"/>
                  </a:cubicBezTo>
                  <a:cubicBezTo>
                    <a:pt x="351214" y="1089182"/>
                    <a:pt x="360703" y="1088479"/>
                    <a:pt x="369089" y="1091863"/>
                  </a:cubicBezTo>
                  <a:cubicBezTo>
                    <a:pt x="371104" y="1092700"/>
                    <a:pt x="373082" y="1093651"/>
                    <a:pt x="374983" y="1094716"/>
                  </a:cubicBezTo>
                  <a:cubicBezTo>
                    <a:pt x="378539" y="1098861"/>
                    <a:pt x="384776" y="1099355"/>
                    <a:pt x="388922" y="1095800"/>
                  </a:cubicBezTo>
                  <a:cubicBezTo>
                    <a:pt x="389321" y="1095458"/>
                    <a:pt x="389682" y="1095096"/>
                    <a:pt x="390005" y="1094716"/>
                  </a:cubicBezTo>
                  <a:lnTo>
                    <a:pt x="395520" y="1090913"/>
                  </a:lnTo>
                  <a:cubicBezTo>
                    <a:pt x="404077" y="1086996"/>
                    <a:pt x="414041" y="1087718"/>
                    <a:pt x="421951" y="1092814"/>
                  </a:cubicBezTo>
                  <a:cubicBezTo>
                    <a:pt x="428682" y="1097302"/>
                    <a:pt x="434501" y="1103044"/>
                    <a:pt x="439065" y="1109738"/>
                  </a:cubicBezTo>
                  <a:cubicBezTo>
                    <a:pt x="443058" y="1115252"/>
                    <a:pt x="446862" y="1120767"/>
                    <a:pt x="450475" y="1126662"/>
                  </a:cubicBezTo>
                  <a:lnTo>
                    <a:pt x="453897" y="1124380"/>
                  </a:lnTo>
                  <a:cubicBezTo>
                    <a:pt x="461883" y="1120196"/>
                    <a:pt x="469623" y="1115557"/>
                    <a:pt x="477096" y="1110498"/>
                  </a:cubicBezTo>
                  <a:cubicBezTo>
                    <a:pt x="487935" y="1102322"/>
                    <a:pt x="484512" y="1100991"/>
                    <a:pt x="482991" y="1089962"/>
                  </a:cubicBezTo>
                  <a:cubicBezTo>
                    <a:pt x="478427" y="1051931"/>
                    <a:pt x="529198" y="1078363"/>
                    <a:pt x="536424" y="1049840"/>
                  </a:cubicBezTo>
                  <a:cubicBezTo>
                    <a:pt x="538706" y="1040712"/>
                    <a:pt x="533761" y="1043564"/>
                    <a:pt x="528247" y="1043374"/>
                  </a:cubicBezTo>
                  <a:cubicBezTo>
                    <a:pt x="522733" y="1043184"/>
                    <a:pt x="520641" y="1049079"/>
                    <a:pt x="514556" y="1040142"/>
                  </a:cubicBezTo>
                  <a:cubicBezTo>
                    <a:pt x="508471" y="1031204"/>
                    <a:pt x="512845" y="1030824"/>
                    <a:pt x="514556" y="1024549"/>
                  </a:cubicBezTo>
                  <a:cubicBezTo>
                    <a:pt x="518740" y="1013330"/>
                    <a:pt x="517028" y="1014471"/>
                    <a:pt x="514556" y="1002491"/>
                  </a:cubicBezTo>
                  <a:cubicBezTo>
                    <a:pt x="503337" y="959707"/>
                    <a:pt x="566468" y="958185"/>
                    <a:pt x="586244" y="936698"/>
                  </a:cubicBezTo>
                  <a:cubicBezTo>
                    <a:pt x="594801" y="927190"/>
                    <a:pt x="596322" y="912168"/>
                    <a:pt x="607351" y="904942"/>
                  </a:cubicBezTo>
                  <a:cubicBezTo>
                    <a:pt x="622564" y="894864"/>
                    <a:pt x="632451" y="911598"/>
                    <a:pt x="647283" y="908555"/>
                  </a:cubicBezTo>
                  <a:cubicBezTo>
                    <a:pt x="655270" y="906844"/>
                    <a:pt x="669722" y="882884"/>
                    <a:pt x="678089" y="894864"/>
                  </a:cubicBezTo>
                  <a:cubicBezTo>
                    <a:pt x="686455" y="906844"/>
                    <a:pt x="659073" y="920345"/>
                    <a:pt x="652988" y="926810"/>
                  </a:cubicBezTo>
                  <a:cubicBezTo>
                    <a:pt x="646903" y="933275"/>
                    <a:pt x="638156" y="950389"/>
                    <a:pt x="648995" y="959516"/>
                  </a:cubicBezTo>
                  <a:cubicBezTo>
                    <a:pt x="662876" y="971116"/>
                    <a:pt x="678849" y="957805"/>
                    <a:pt x="687026" y="947346"/>
                  </a:cubicBezTo>
                  <a:cubicBezTo>
                    <a:pt x="692845" y="941642"/>
                    <a:pt x="697940" y="935253"/>
                    <a:pt x="702238" y="928331"/>
                  </a:cubicBezTo>
                  <a:cubicBezTo>
                    <a:pt x="705851" y="920345"/>
                    <a:pt x="701097" y="915211"/>
                    <a:pt x="702238" y="907224"/>
                  </a:cubicBezTo>
                  <a:cubicBezTo>
                    <a:pt x="704710" y="891822"/>
                    <a:pt x="721253" y="894864"/>
                    <a:pt x="728289" y="883835"/>
                  </a:cubicBezTo>
                  <a:cubicBezTo>
                    <a:pt x="731902" y="877750"/>
                    <a:pt x="728289" y="873377"/>
                    <a:pt x="728289" y="867292"/>
                  </a:cubicBezTo>
                  <a:cubicBezTo>
                    <a:pt x="728289" y="865200"/>
                    <a:pt x="726198" y="863299"/>
                    <a:pt x="726198" y="860827"/>
                  </a:cubicBezTo>
                  <a:cubicBezTo>
                    <a:pt x="726198" y="858354"/>
                    <a:pt x="730191" y="853411"/>
                    <a:pt x="730381" y="848847"/>
                  </a:cubicBezTo>
                  <a:cubicBezTo>
                    <a:pt x="730381" y="834205"/>
                    <a:pt x="719732" y="818993"/>
                    <a:pt x="741790" y="815760"/>
                  </a:cubicBezTo>
                  <a:cubicBezTo>
                    <a:pt x="753389" y="814049"/>
                    <a:pt x="767081" y="818042"/>
                    <a:pt x="769553" y="802069"/>
                  </a:cubicBezTo>
                  <a:cubicBezTo>
                    <a:pt x="769553" y="796364"/>
                    <a:pt x="765940" y="791040"/>
                    <a:pt x="766700" y="785906"/>
                  </a:cubicBezTo>
                  <a:cubicBezTo>
                    <a:pt x="767461" y="780772"/>
                    <a:pt x="776208" y="773546"/>
                    <a:pt x="780772" y="768412"/>
                  </a:cubicBezTo>
                  <a:cubicBezTo>
                    <a:pt x="806823" y="740269"/>
                    <a:pt x="775447" y="716690"/>
                    <a:pt x="749396" y="739699"/>
                  </a:cubicBezTo>
                  <a:cubicBezTo>
                    <a:pt x="746544" y="742170"/>
                    <a:pt x="739889" y="746734"/>
                    <a:pt x="739128" y="750918"/>
                  </a:cubicBezTo>
                  <a:cubicBezTo>
                    <a:pt x="738367" y="755101"/>
                    <a:pt x="744262" y="760235"/>
                    <a:pt x="742551" y="765750"/>
                  </a:cubicBezTo>
                  <a:cubicBezTo>
                    <a:pt x="739812" y="772975"/>
                    <a:pt x="732548" y="777425"/>
                    <a:pt x="724866" y="776588"/>
                  </a:cubicBezTo>
                  <a:cubicBezTo>
                    <a:pt x="720493" y="774687"/>
                    <a:pt x="717070" y="766510"/>
                    <a:pt x="714408" y="762517"/>
                  </a:cubicBezTo>
                  <a:cubicBezTo>
                    <a:pt x="711746" y="758524"/>
                    <a:pt x="703379" y="751108"/>
                    <a:pt x="699386" y="745023"/>
                  </a:cubicBezTo>
                  <a:cubicBezTo>
                    <a:pt x="695392" y="738938"/>
                    <a:pt x="697294" y="740649"/>
                    <a:pt x="697104" y="734945"/>
                  </a:cubicBezTo>
                  <a:cubicBezTo>
                    <a:pt x="697522" y="727624"/>
                    <a:pt x="695944" y="720322"/>
                    <a:pt x="692540" y="713838"/>
                  </a:cubicBezTo>
                  <a:cubicBezTo>
                    <a:pt x="683394" y="697522"/>
                    <a:pt x="677328" y="679667"/>
                    <a:pt x="674665" y="661165"/>
                  </a:cubicBezTo>
                  <a:cubicBezTo>
                    <a:pt x="674647" y="641009"/>
                    <a:pt x="673392" y="620871"/>
                    <a:pt x="670863" y="600886"/>
                  </a:cubicBezTo>
                  <a:cubicBezTo>
                    <a:pt x="665728" y="581871"/>
                    <a:pt x="647664" y="576737"/>
                    <a:pt x="645572" y="555630"/>
                  </a:cubicBezTo>
                  <a:cubicBezTo>
                    <a:pt x="643481" y="534523"/>
                    <a:pt x="646903" y="525395"/>
                    <a:pt x="631881" y="511324"/>
                  </a:cubicBezTo>
                  <a:cubicBezTo>
                    <a:pt x="622564" y="502767"/>
                    <a:pt x="624465" y="497633"/>
                    <a:pt x="623134" y="486414"/>
                  </a:cubicBezTo>
                  <a:cubicBezTo>
                    <a:pt x="623134" y="478427"/>
                    <a:pt x="617049" y="473863"/>
                    <a:pt x="615718" y="467398"/>
                  </a:cubicBezTo>
                  <a:cubicBezTo>
                    <a:pt x="615642" y="460448"/>
                    <a:pt x="616593" y="453526"/>
                    <a:pt x="618570" y="446862"/>
                  </a:cubicBezTo>
                  <a:cubicBezTo>
                    <a:pt x="618247" y="438457"/>
                    <a:pt x="621499" y="430311"/>
                    <a:pt x="627508" y="424423"/>
                  </a:cubicBezTo>
                  <a:cubicBezTo>
                    <a:pt x="633022" y="418909"/>
                    <a:pt x="637776" y="416817"/>
                    <a:pt x="641389" y="409401"/>
                  </a:cubicBezTo>
                  <a:cubicBezTo>
                    <a:pt x="643747" y="402480"/>
                    <a:pt x="646485" y="395687"/>
                    <a:pt x="649566" y="389055"/>
                  </a:cubicBezTo>
                  <a:cubicBezTo>
                    <a:pt x="653996" y="383594"/>
                    <a:pt x="656829" y="377012"/>
                    <a:pt x="657742" y="370039"/>
                  </a:cubicBezTo>
                  <a:cubicBezTo>
                    <a:pt x="657742" y="361673"/>
                    <a:pt x="656221" y="352926"/>
                    <a:pt x="663446" y="346460"/>
                  </a:cubicBezTo>
                  <a:cubicBezTo>
                    <a:pt x="675236" y="336002"/>
                    <a:pt x="682462" y="352735"/>
                    <a:pt x="694062" y="343608"/>
                  </a:cubicBezTo>
                  <a:cubicBezTo>
                    <a:pt x="697675" y="340946"/>
                    <a:pt x="704140" y="335051"/>
                    <a:pt x="704520" y="329917"/>
                  </a:cubicBezTo>
                  <a:cubicBezTo>
                    <a:pt x="704900" y="324783"/>
                    <a:pt x="696534" y="318318"/>
                    <a:pt x="695012" y="310902"/>
                  </a:cubicBezTo>
                  <a:cubicBezTo>
                    <a:pt x="692350" y="297591"/>
                    <a:pt x="703949" y="294168"/>
                    <a:pt x="714027" y="300823"/>
                  </a:cubicBezTo>
                  <a:cubicBezTo>
                    <a:pt x="720493" y="305387"/>
                    <a:pt x="718401" y="309000"/>
                    <a:pt x="722204" y="314514"/>
                  </a:cubicBezTo>
                  <a:cubicBezTo>
                    <a:pt x="727015" y="319818"/>
                    <a:pt x="731351" y="325545"/>
                    <a:pt x="735135" y="331628"/>
                  </a:cubicBezTo>
                  <a:cubicBezTo>
                    <a:pt x="741048" y="345725"/>
                    <a:pt x="751126" y="357672"/>
                    <a:pt x="764038" y="365856"/>
                  </a:cubicBezTo>
                  <a:cubicBezTo>
                    <a:pt x="766700" y="367377"/>
                    <a:pt x="776018" y="374033"/>
                    <a:pt x="779631" y="373082"/>
                  </a:cubicBezTo>
                  <a:cubicBezTo>
                    <a:pt x="783244" y="372131"/>
                    <a:pt x="784194" y="363004"/>
                    <a:pt x="787237" y="359581"/>
                  </a:cubicBezTo>
                  <a:cubicBezTo>
                    <a:pt x="798456" y="345700"/>
                    <a:pt x="809295" y="368708"/>
                    <a:pt x="817471" y="376124"/>
                  </a:cubicBezTo>
                  <a:cubicBezTo>
                    <a:pt x="834205" y="391146"/>
                    <a:pt x="826789" y="373462"/>
                    <a:pt x="826789" y="361673"/>
                  </a:cubicBezTo>
                  <a:cubicBezTo>
                    <a:pt x="826789" y="349883"/>
                    <a:pt x="832683" y="346460"/>
                    <a:pt x="828500" y="334861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44" name="Полилиния: фигура 343">
              <a:extLst>
                <a:ext uri="{FF2B5EF4-FFF2-40B4-BE49-F238E27FC236}">
                  <a16:creationId xmlns:a16="http://schemas.microsoft.com/office/drawing/2014/main" id="{CE48267E-E4DD-9C05-581B-7F1F81689349}"/>
                </a:ext>
              </a:extLst>
            </p:cNvPr>
            <p:cNvSpPr/>
            <p:nvPr/>
          </p:nvSpPr>
          <p:spPr>
            <a:xfrm>
              <a:off x="7407741" y="3286698"/>
              <a:ext cx="1190193" cy="1913317"/>
            </a:xfrm>
            <a:custGeom>
              <a:avLst/>
              <a:gdLst>
                <a:gd name="connsiteX0" fmla="*/ 920345 w 1244509"/>
                <a:gd name="connsiteY0" fmla="*/ 988685 h 1994789"/>
                <a:gd name="connsiteX1" fmla="*/ 905893 w 1244509"/>
                <a:gd name="connsiteY1" fmla="*/ 969670 h 1994789"/>
                <a:gd name="connsiteX2" fmla="*/ 893533 w 1244509"/>
                <a:gd name="connsiteY2" fmla="*/ 977847 h 1994789"/>
                <a:gd name="connsiteX3" fmla="*/ 869573 w 1244509"/>
                <a:gd name="connsiteY3" fmla="*/ 977847 h 1994789"/>
                <a:gd name="connsiteX4" fmla="*/ 819563 w 1244509"/>
                <a:gd name="connsiteY4" fmla="*/ 979558 h 1994789"/>
                <a:gd name="connsiteX5" fmla="*/ 781532 w 1244509"/>
                <a:gd name="connsiteY5" fmla="*/ 960542 h 1994789"/>
                <a:gd name="connsiteX6" fmla="*/ 731712 w 1244509"/>
                <a:gd name="connsiteY6" fmla="*/ 969860 h 1994789"/>
                <a:gd name="connsiteX7" fmla="*/ 717640 w 1244509"/>
                <a:gd name="connsiteY7" fmla="*/ 985453 h 1994789"/>
                <a:gd name="connsiteX8" fmla="*/ 696153 w 1244509"/>
                <a:gd name="connsiteY8" fmla="*/ 998193 h 1994789"/>
                <a:gd name="connsiteX9" fmla="*/ 694632 w 1244509"/>
                <a:gd name="connsiteY9" fmla="*/ 1025765 h 1994789"/>
                <a:gd name="connsiteX10" fmla="*/ 717640 w 1244509"/>
                <a:gd name="connsiteY10" fmla="*/ 1068740 h 1994789"/>
                <a:gd name="connsiteX11" fmla="*/ 714218 w 1244509"/>
                <a:gd name="connsiteY11" fmla="*/ 1096693 h 1994789"/>
                <a:gd name="connsiteX12" fmla="*/ 704520 w 1244509"/>
                <a:gd name="connsiteY12" fmla="*/ 1076346 h 1994789"/>
                <a:gd name="connsiteX13" fmla="*/ 692921 w 1244509"/>
                <a:gd name="connsiteY13" fmla="*/ 1090418 h 1994789"/>
                <a:gd name="connsiteX14" fmla="*/ 650326 w 1244509"/>
                <a:gd name="connsiteY14" fmla="*/ 1144992 h 1994789"/>
                <a:gd name="connsiteX15" fmla="*/ 650326 w 1244509"/>
                <a:gd name="connsiteY15" fmla="*/ 1084333 h 1994789"/>
                <a:gd name="connsiteX16" fmla="*/ 622183 w 1244509"/>
                <a:gd name="connsiteY16" fmla="*/ 1097644 h 1994789"/>
                <a:gd name="connsiteX17" fmla="*/ 621232 w 1244509"/>
                <a:gd name="connsiteY17" fmla="*/ 1120272 h 1994789"/>
                <a:gd name="connsiteX18" fmla="*/ 602217 w 1244509"/>
                <a:gd name="connsiteY18" fmla="*/ 1142520 h 1994789"/>
                <a:gd name="connsiteX19" fmla="*/ 585294 w 1244509"/>
                <a:gd name="connsiteY19" fmla="*/ 1116849 h 1994789"/>
                <a:gd name="connsiteX20" fmla="*/ 575786 w 1244509"/>
                <a:gd name="connsiteY20" fmla="*/ 1102397 h 1994789"/>
                <a:gd name="connsiteX21" fmla="*/ 556770 w 1244509"/>
                <a:gd name="connsiteY21" fmla="*/ 1072733 h 1994789"/>
                <a:gd name="connsiteX22" fmla="*/ 526346 w 1244509"/>
                <a:gd name="connsiteY22" fmla="*/ 1074254 h 1994789"/>
                <a:gd name="connsiteX23" fmla="*/ 489646 w 1244509"/>
                <a:gd name="connsiteY23" fmla="*/ 1110003 h 1994789"/>
                <a:gd name="connsiteX24" fmla="*/ 465877 w 1244509"/>
                <a:gd name="connsiteY24" fmla="*/ 1114187 h 1994789"/>
                <a:gd name="connsiteX25" fmla="*/ 445150 w 1244509"/>
                <a:gd name="connsiteY25" fmla="*/ 1118560 h 1994789"/>
                <a:gd name="connsiteX26" fmla="*/ 429557 w 1244509"/>
                <a:gd name="connsiteY26" fmla="*/ 1086995 h 1994789"/>
                <a:gd name="connsiteX27" fmla="*/ 434311 w 1244509"/>
                <a:gd name="connsiteY27" fmla="*/ 1062845 h 1994789"/>
                <a:gd name="connsiteX28" fmla="*/ 441157 w 1244509"/>
                <a:gd name="connsiteY28" fmla="*/ 1054479 h 1994789"/>
                <a:gd name="connsiteX29" fmla="*/ 442678 w 1244509"/>
                <a:gd name="connsiteY29" fmla="*/ 1043069 h 1994789"/>
                <a:gd name="connsiteX30" fmla="*/ 452186 w 1244509"/>
                <a:gd name="connsiteY30" fmla="*/ 1023103 h 1994789"/>
                <a:gd name="connsiteX31" fmla="*/ 449904 w 1244509"/>
                <a:gd name="connsiteY31" fmla="*/ 991728 h 1994789"/>
                <a:gd name="connsiteX32" fmla="*/ 456940 w 1244509"/>
                <a:gd name="connsiteY32" fmla="*/ 966057 h 1994789"/>
                <a:gd name="connsiteX33" fmla="*/ 463595 w 1244509"/>
                <a:gd name="connsiteY33" fmla="*/ 939435 h 1994789"/>
                <a:gd name="connsiteX34" fmla="*/ 473863 w 1244509"/>
                <a:gd name="connsiteY34" fmla="*/ 878016 h 1994789"/>
                <a:gd name="connsiteX35" fmla="*/ 462834 w 1244509"/>
                <a:gd name="connsiteY35" fmla="*/ 760691 h 1994789"/>
                <a:gd name="connsiteX36" fmla="*/ 468159 w 1244509"/>
                <a:gd name="connsiteY36" fmla="*/ 703645 h 1994789"/>
                <a:gd name="connsiteX37" fmla="*/ 474814 w 1244509"/>
                <a:gd name="connsiteY37" fmla="*/ 684629 h 1994789"/>
                <a:gd name="connsiteX38" fmla="*/ 472532 w 1244509"/>
                <a:gd name="connsiteY38" fmla="*/ 660099 h 1994789"/>
                <a:gd name="connsiteX39" fmla="*/ 476145 w 1244509"/>
                <a:gd name="connsiteY39" fmla="*/ 634238 h 1994789"/>
                <a:gd name="connsiteX40" fmla="*/ 479187 w 1244509"/>
                <a:gd name="connsiteY40" fmla="*/ 617315 h 1994789"/>
                <a:gd name="connsiteX41" fmla="*/ 485843 w 1244509"/>
                <a:gd name="connsiteY41" fmla="*/ 595257 h 1994789"/>
                <a:gd name="connsiteX42" fmla="*/ 472152 w 1244509"/>
                <a:gd name="connsiteY42" fmla="*/ 569206 h 1994789"/>
                <a:gd name="connsiteX43" fmla="*/ 470250 w 1244509"/>
                <a:gd name="connsiteY43" fmla="*/ 557036 h 1994789"/>
                <a:gd name="connsiteX44" fmla="*/ 465496 w 1244509"/>
                <a:gd name="connsiteY44" fmla="*/ 550571 h 1994789"/>
                <a:gd name="connsiteX45" fmla="*/ 461313 w 1244509"/>
                <a:gd name="connsiteY45" fmla="*/ 527372 h 1994789"/>
                <a:gd name="connsiteX46" fmla="*/ 474814 w 1244509"/>
                <a:gd name="connsiteY46" fmla="*/ 479644 h 1994789"/>
                <a:gd name="connsiteX47" fmla="*/ 462644 w 1244509"/>
                <a:gd name="connsiteY47" fmla="*/ 422597 h 1994789"/>
                <a:gd name="connsiteX48" fmla="*/ 473293 w 1244509"/>
                <a:gd name="connsiteY48" fmla="*/ 369544 h 1994789"/>
                <a:gd name="connsiteX49" fmla="*/ 479758 w 1244509"/>
                <a:gd name="connsiteY49" fmla="*/ 347296 h 1994789"/>
                <a:gd name="connsiteX50" fmla="*/ 498773 w 1244509"/>
                <a:gd name="connsiteY50" fmla="*/ 328281 h 1994789"/>
                <a:gd name="connsiteX51" fmla="*/ 510373 w 1244509"/>
                <a:gd name="connsiteY51" fmla="*/ 309266 h 1994789"/>
                <a:gd name="connsiteX52" fmla="*/ 535093 w 1244509"/>
                <a:gd name="connsiteY52" fmla="*/ 284545 h 1994789"/>
                <a:gd name="connsiteX53" fmla="*/ 577117 w 1244509"/>
                <a:gd name="connsiteY53" fmla="*/ 241761 h 1994789"/>
                <a:gd name="connsiteX54" fmla="*/ 605450 w 1244509"/>
                <a:gd name="connsiteY54" fmla="*/ 219513 h 1994789"/>
                <a:gd name="connsiteX55" fmla="*/ 622183 w 1244509"/>
                <a:gd name="connsiteY55" fmla="*/ 226548 h 1994789"/>
                <a:gd name="connsiteX56" fmla="*/ 638917 w 1244509"/>
                <a:gd name="connsiteY56" fmla="*/ 213808 h 1994789"/>
                <a:gd name="connsiteX57" fmla="*/ 627508 w 1244509"/>
                <a:gd name="connsiteY57" fmla="*/ 179961 h 1994789"/>
                <a:gd name="connsiteX58" fmla="*/ 644241 w 1244509"/>
                <a:gd name="connsiteY58" fmla="*/ 174637 h 1994789"/>
                <a:gd name="connsiteX59" fmla="*/ 653749 w 1244509"/>
                <a:gd name="connsiteY59" fmla="*/ 169122 h 1994789"/>
                <a:gd name="connsiteX60" fmla="*/ 642149 w 1244509"/>
                <a:gd name="connsiteY60" fmla="*/ 152008 h 1994789"/>
                <a:gd name="connsiteX61" fmla="*/ 628268 w 1244509"/>
                <a:gd name="connsiteY61" fmla="*/ 137747 h 1994789"/>
                <a:gd name="connsiteX62" fmla="*/ 612485 w 1244509"/>
                <a:gd name="connsiteY62" fmla="*/ 136225 h 1994789"/>
                <a:gd name="connsiteX63" fmla="*/ 608302 w 1244509"/>
                <a:gd name="connsiteY63" fmla="*/ 139078 h 1994789"/>
                <a:gd name="connsiteX64" fmla="*/ 597653 w 1244509"/>
                <a:gd name="connsiteY64" fmla="*/ 144592 h 1994789"/>
                <a:gd name="connsiteX65" fmla="*/ 581681 w 1244509"/>
                <a:gd name="connsiteY65" fmla="*/ 140219 h 1994789"/>
                <a:gd name="connsiteX66" fmla="*/ 576927 w 1244509"/>
                <a:gd name="connsiteY66" fmla="*/ 137747 h 1994789"/>
                <a:gd name="connsiteX67" fmla="*/ 560954 w 1244509"/>
                <a:gd name="connsiteY67" fmla="*/ 139078 h 1994789"/>
                <a:gd name="connsiteX68" fmla="*/ 551256 w 1244509"/>
                <a:gd name="connsiteY68" fmla="*/ 148586 h 1994789"/>
                <a:gd name="connsiteX69" fmla="*/ 537755 w 1244509"/>
                <a:gd name="connsiteY69" fmla="*/ 161136 h 1994789"/>
                <a:gd name="connsiteX70" fmla="*/ 514747 w 1244509"/>
                <a:gd name="connsiteY70" fmla="*/ 162467 h 1994789"/>
                <a:gd name="connsiteX71" fmla="*/ 494400 w 1244509"/>
                <a:gd name="connsiteY71" fmla="*/ 143451 h 1994789"/>
                <a:gd name="connsiteX72" fmla="*/ 504478 w 1244509"/>
                <a:gd name="connsiteY72" fmla="*/ 96864 h 1994789"/>
                <a:gd name="connsiteX73" fmla="*/ 505809 w 1244509"/>
                <a:gd name="connsiteY73" fmla="*/ 95152 h 1994789"/>
                <a:gd name="connsiteX74" fmla="*/ 512275 w 1244509"/>
                <a:gd name="connsiteY74" fmla="*/ 83363 h 1994789"/>
                <a:gd name="connsiteX75" fmla="*/ 507140 w 1244509"/>
                <a:gd name="connsiteY75" fmla="*/ 75757 h 1994789"/>
                <a:gd name="connsiteX76" fmla="*/ 499534 w 1244509"/>
                <a:gd name="connsiteY76" fmla="*/ 59974 h 1994789"/>
                <a:gd name="connsiteX77" fmla="*/ 500485 w 1244509"/>
                <a:gd name="connsiteY77" fmla="*/ 55220 h 1994789"/>
                <a:gd name="connsiteX78" fmla="*/ 500485 w 1244509"/>
                <a:gd name="connsiteY78" fmla="*/ 52748 h 1994789"/>
                <a:gd name="connsiteX79" fmla="*/ 495161 w 1244509"/>
                <a:gd name="connsiteY79" fmla="*/ 44762 h 1994789"/>
                <a:gd name="connsiteX80" fmla="*/ 454468 w 1244509"/>
                <a:gd name="connsiteY80" fmla="*/ 15097 h 1994789"/>
                <a:gd name="connsiteX81" fmla="*/ 435452 w 1244509"/>
                <a:gd name="connsiteY81" fmla="*/ 5019 h 1994789"/>
                <a:gd name="connsiteX82" fmla="*/ 403887 w 1244509"/>
                <a:gd name="connsiteY82" fmla="*/ 456 h 1994789"/>
                <a:gd name="connsiteX83" fmla="*/ 379927 w 1244509"/>
                <a:gd name="connsiteY83" fmla="*/ 4829 h 1994789"/>
                <a:gd name="connsiteX84" fmla="*/ 373082 w 1244509"/>
                <a:gd name="connsiteY84" fmla="*/ 12816 h 1994789"/>
                <a:gd name="connsiteX85" fmla="*/ 368898 w 1244509"/>
                <a:gd name="connsiteY85" fmla="*/ 18330 h 1994789"/>
                <a:gd name="connsiteX86" fmla="*/ 355587 w 1244509"/>
                <a:gd name="connsiteY86" fmla="*/ 28979 h 1994789"/>
                <a:gd name="connsiteX87" fmla="*/ 335051 w 1244509"/>
                <a:gd name="connsiteY87" fmla="*/ 34683 h 1994789"/>
                <a:gd name="connsiteX88" fmla="*/ 338284 w 1244509"/>
                <a:gd name="connsiteY88" fmla="*/ 69672 h 1994789"/>
                <a:gd name="connsiteX89" fmla="*/ 332769 w 1244509"/>
                <a:gd name="connsiteY89" fmla="*/ 94962 h 1994789"/>
                <a:gd name="connsiteX90" fmla="*/ 319649 w 1244509"/>
                <a:gd name="connsiteY90" fmla="*/ 101047 h 1994789"/>
                <a:gd name="connsiteX91" fmla="*/ 307669 w 1244509"/>
                <a:gd name="connsiteY91" fmla="*/ 95532 h 1994789"/>
                <a:gd name="connsiteX92" fmla="*/ 303105 w 1244509"/>
                <a:gd name="connsiteY92" fmla="*/ 92680 h 1994789"/>
                <a:gd name="connsiteX93" fmla="*/ 303105 w 1244509"/>
                <a:gd name="connsiteY93" fmla="*/ 92680 h 1994789"/>
                <a:gd name="connsiteX94" fmla="*/ 293787 w 1244509"/>
                <a:gd name="connsiteY94" fmla="*/ 96293 h 1994789"/>
                <a:gd name="connsiteX95" fmla="*/ 281238 w 1244509"/>
                <a:gd name="connsiteY95" fmla="*/ 101237 h 1994789"/>
                <a:gd name="connsiteX96" fmla="*/ 275153 w 1244509"/>
                <a:gd name="connsiteY96" fmla="*/ 101237 h 1994789"/>
                <a:gd name="connsiteX97" fmla="*/ 271730 w 1244509"/>
                <a:gd name="connsiteY97" fmla="*/ 101237 h 1994789"/>
                <a:gd name="connsiteX98" fmla="*/ 269448 w 1244509"/>
                <a:gd name="connsiteY98" fmla="*/ 106371 h 1994789"/>
                <a:gd name="connsiteX99" fmla="*/ 267547 w 1244509"/>
                <a:gd name="connsiteY99" fmla="*/ 113217 h 1994789"/>
                <a:gd name="connsiteX100" fmla="*/ 259750 w 1244509"/>
                <a:gd name="connsiteY100" fmla="*/ 132232 h 1994789"/>
                <a:gd name="connsiteX101" fmla="*/ 234459 w 1244509"/>
                <a:gd name="connsiteY101" fmla="*/ 145923 h 1994789"/>
                <a:gd name="connsiteX102" fmla="*/ 220959 w 1244509"/>
                <a:gd name="connsiteY102" fmla="*/ 149917 h 1994789"/>
                <a:gd name="connsiteX103" fmla="*/ 216775 w 1244509"/>
                <a:gd name="connsiteY103" fmla="*/ 153910 h 1994789"/>
                <a:gd name="connsiteX104" fmla="*/ 206887 w 1244509"/>
                <a:gd name="connsiteY104" fmla="*/ 161326 h 1994789"/>
                <a:gd name="connsiteX105" fmla="*/ 187872 w 1244509"/>
                <a:gd name="connsiteY105" fmla="*/ 161326 h 1994789"/>
                <a:gd name="connsiteX106" fmla="*/ 181407 w 1244509"/>
                <a:gd name="connsiteY106" fmla="*/ 160185 h 1994789"/>
                <a:gd name="connsiteX107" fmla="*/ 164293 w 1244509"/>
                <a:gd name="connsiteY107" fmla="*/ 157713 h 1994789"/>
                <a:gd name="connsiteX108" fmla="*/ 129304 w 1244509"/>
                <a:gd name="connsiteY108" fmla="*/ 157713 h 1994789"/>
                <a:gd name="connsiteX109" fmla="*/ 112552 w 1244509"/>
                <a:gd name="connsiteY109" fmla="*/ 176291 h 1994789"/>
                <a:gd name="connsiteX110" fmla="*/ 116564 w 1244509"/>
                <a:gd name="connsiteY110" fmla="*/ 186616 h 1994789"/>
                <a:gd name="connsiteX111" fmla="*/ 122649 w 1244509"/>
                <a:gd name="connsiteY111" fmla="*/ 194413 h 1994789"/>
                <a:gd name="connsiteX112" fmla="*/ 132157 w 1244509"/>
                <a:gd name="connsiteY112" fmla="*/ 207913 h 1994789"/>
                <a:gd name="connsiteX113" fmla="*/ 132157 w 1244509"/>
                <a:gd name="connsiteY113" fmla="*/ 224647 h 1994789"/>
                <a:gd name="connsiteX114" fmla="*/ 132157 w 1244509"/>
                <a:gd name="connsiteY114" fmla="*/ 233394 h 1994789"/>
                <a:gd name="connsiteX115" fmla="*/ 135770 w 1244509"/>
                <a:gd name="connsiteY115" fmla="*/ 240240 h 1994789"/>
                <a:gd name="connsiteX116" fmla="*/ 140143 w 1244509"/>
                <a:gd name="connsiteY116" fmla="*/ 246135 h 1994789"/>
                <a:gd name="connsiteX117" fmla="*/ 143376 w 1244509"/>
                <a:gd name="connsiteY117" fmla="*/ 261727 h 1994789"/>
                <a:gd name="connsiteX118" fmla="*/ 143376 w 1244509"/>
                <a:gd name="connsiteY118" fmla="*/ 268573 h 1994789"/>
                <a:gd name="connsiteX119" fmla="*/ 145848 w 1244509"/>
                <a:gd name="connsiteY119" fmla="*/ 275418 h 1994789"/>
                <a:gd name="connsiteX120" fmla="*/ 149271 w 1244509"/>
                <a:gd name="connsiteY120" fmla="*/ 285306 h 1994789"/>
                <a:gd name="connsiteX121" fmla="*/ 144897 w 1244509"/>
                <a:gd name="connsiteY121" fmla="*/ 307554 h 1994789"/>
                <a:gd name="connsiteX122" fmla="*/ 142615 w 1244509"/>
                <a:gd name="connsiteY122" fmla="*/ 313069 h 1994789"/>
                <a:gd name="connsiteX123" fmla="*/ 136530 w 1244509"/>
                <a:gd name="connsiteY123" fmla="*/ 327710 h 1994789"/>
                <a:gd name="connsiteX124" fmla="*/ 129685 w 1244509"/>
                <a:gd name="connsiteY124" fmla="*/ 358896 h 1994789"/>
                <a:gd name="connsiteX125" fmla="*/ 129685 w 1244509"/>
                <a:gd name="connsiteY125" fmla="*/ 360987 h 1994789"/>
                <a:gd name="connsiteX126" fmla="*/ 129685 w 1244509"/>
                <a:gd name="connsiteY126" fmla="*/ 378672 h 1994789"/>
                <a:gd name="connsiteX127" fmla="*/ 129685 w 1244509"/>
                <a:gd name="connsiteY127" fmla="*/ 380763 h 1994789"/>
                <a:gd name="connsiteX128" fmla="*/ 129685 w 1244509"/>
                <a:gd name="connsiteY128" fmla="*/ 401680 h 1994789"/>
                <a:gd name="connsiteX129" fmla="*/ 146418 w 1244509"/>
                <a:gd name="connsiteY129" fmla="*/ 411758 h 1994789"/>
                <a:gd name="connsiteX130" fmla="*/ 160109 w 1244509"/>
                <a:gd name="connsiteY130" fmla="*/ 417463 h 1994789"/>
                <a:gd name="connsiteX131" fmla="*/ 172470 w 1244509"/>
                <a:gd name="connsiteY131" fmla="*/ 432866 h 1994789"/>
                <a:gd name="connsiteX132" fmla="*/ 179125 w 1244509"/>
                <a:gd name="connsiteY132" fmla="*/ 446176 h 1994789"/>
                <a:gd name="connsiteX133" fmla="*/ 183308 w 1244509"/>
                <a:gd name="connsiteY133" fmla="*/ 453783 h 1994789"/>
                <a:gd name="connsiteX134" fmla="*/ 189013 w 1244509"/>
                <a:gd name="connsiteY134" fmla="*/ 467093 h 1994789"/>
                <a:gd name="connsiteX135" fmla="*/ 201563 w 1244509"/>
                <a:gd name="connsiteY135" fmla="*/ 487820 h 1994789"/>
                <a:gd name="connsiteX136" fmla="*/ 222100 w 1244509"/>
                <a:gd name="connsiteY136" fmla="*/ 519195 h 1994789"/>
                <a:gd name="connsiteX137" fmla="*/ 214113 w 1244509"/>
                <a:gd name="connsiteY137" fmla="*/ 534028 h 1994789"/>
                <a:gd name="connsiteX138" fmla="*/ 206887 w 1244509"/>
                <a:gd name="connsiteY138" fmla="*/ 538211 h 1994789"/>
                <a:gd name="connsiteX139" fmla="*/ 201183 w 1244509"/>
                <a:gd name="connsiteY139" fmla="*/ 542204 h 1994789"/>
                <a:gd name="connsiteX140" fmla="*/ 198710 w 1244509"/>
                <a:gd name="connsiteY140" fmla="*/ 560269 h 1994789"/>
                <a:gd name="connsiteX141" fmla="*/ 198710 w 1244509"/>
                <a:gd name="connsiteY141" fmla="*/ 566163 h 1994789"/>
                <a:gd name="connsiteX142" fmla="*/ 179695 w 1244509"/>
                <a:gd name="connsiteY142" fmla="*/ 617315 h 1994789"/>
                <a:gd name="connsiteX143" fmla="*/ 140714 w 1244509"/>
                <a:gd name="connsiteY143" fmla="*/ 639373 h 1994789"/>
                <a:gd name="connsiteX144" fmla="*/ 117135 w 1244509"/>
                <a:gd name="connsiteY144" fmla="*/ 664283 h 1994789"/>
                <a:gd name="connsiteX145" fmla="*/ 119226 w 1244509"/>
                <a:gd name="connsiteY145" fmla="*/ 676453 h 1994789"/>
                <a:gd name="connsiteX146" fmla="*/ 112951 w 1244509"/>
                <a:gd name="connsiteY146" fmla="*/ 708018 h 1994789"/>
                <a:gd name="connsiteX147" fmla="*/ 96788 w 1244509"/>
                <a:gd name="connsiteY147" fmla="*/ 714674 h 1994789"/>
                <a:gd name="connsiteX148" fmla="*/ 90323 w 1244509"/>
                <a:gd name="connsiteY148" fmla="*/ 715815 h 1994789"/>
                <a:gd name="connsiteX149" fmla="*/ 82717 w 1244509"/>
                <a:gd name="connsiteY149" fmla="*/ 722470 h 1994789"/>
                <a:gd name="connsiteX150" fmla="*/ 73970 w 1244509"/>
                <a:gd name="connsiteY150" fmla="*/ 731597 h 1994789"/>
                <a:gd name="connsiteX151" fmla="*/ 59898 w 1244509"/>
                <a:gd name="connsiteY151" fmla="*/ 734069 h 1994789"/>
                <a:gd name="connsiteX152" fmla="*/ 52672 w 1244509"/>
                <a:gd name="connsiteY152" fmla="*/ 734069 h 1994789"/>
                <a:gd name="connsiteX153" fmla="*/ 45637 w 1244509"/>
                <a:gd name="connsiteY153" fmla="*/ 740154 h 1994789"/>
                <a:gd name="connsiteX154" fmla="*/ 38981 w 1244509"/>
                <a:gd name="connsiteY154" fmla="*/ 746809 h 1994789"/>
                <a:gd name="connsiteX155" fmla="*/ 28142 w 1244509"/>
                <a:gd name="connsiteY155" fmla="*/ 751183 h 1994789"/>
                <a:gd name="connsiteX156" fmla="*/ 22058 w 1244509"/>
                <a:gd name="connsiteY156" fmla="*/ 753085 h 1994789"/>
                <a:gd name="connsiteX157" fmla="*/ 13121 w 1244509"/>
                <a:gd name="connsiteY157" fmla="*/ 766205 h 1994789"/>
                <a:gd name="connsiteX158" fmla="*/ 11409 w 1244509"/>
                <a:gd name="connsiteY158" fmla="*/ 769818 h 1994789"/>
                <a:gd name="connsiteX159" fmla="*/ 11409 w 1244509"/>
                <a:gd name="connsiteY159" fmla="*/ 787312 h 1994789"/>
                <a:gd name="connsiteX160" fmla="*/ 15973 w 1244509"/>
                <a:gd name="connsiteY160" fmla="*/ 803856 h 1994789"/>
                <a:gd name="connsiteX161" fmla="*/ 11219 w 1244509"/>
                <a:gd name="connsiteY161" fmla="*/ 818498 h 1994789"/>
                <a:gd name="connsiteX162" fmla="*/ 8557 w 1244509"/>
                <a:gd name="connsiteY162" fmla="*/ 823822 h 1994789"/>
                <a:gd name="connsiteX163" fmla="*/ 12550 w 1244509"/>
                <a:gd name="connsiteY163" fmla="*/ 832189 h 1994789"/>
                <a:gd name="connsiteX164" fmla="*/ 18064 w 1244509"/>
                <a:gd name="connsiteY164" fmla="*/ 843218 h 1994789"/>
                <a:gd name="connsiteX165" fmla="*/ 16543 w 1244509"/>
                <a:gd name="connsiteY165" fmla="*/ 864895 h 1994789"/>
                <a:gd name="connsiteX166" fmla="*/ 16543 w 1244509"/>
                <a:gd name="connsiteY166" fmla="*/ 886002 h 1994789"/>
                <a:gd name="connsiteX167" fmla="*/ 6656 w 1244509"/>
                <a:gd name="connsiteY167" fmla="*/ 931449 h 1994789"/>
                <a:gd name="connsiteX168" fmla="*/ 0 w 1244509"/>
                <a:gd name="connsiteY168" fmla="*/ 932780 h 1994789"/>
                <a:gd name="connsiteX169" fmla="*/ 0 w 1244509"/>
                <a:gd name="connsiteY169" fmla="*/ 932780 h 1994789"/>
                <a:gd name="connsiteX170" fmla="*/ 7606 w 1244509"/>
                <a:gd name="connsiteY170" fmla="*/ 936583 h 1994789"/>
                <a:gd name="connsiteX171" fmla="*/ 13121 w 1244509"/>
                <a:gd name="connsiteY171" fmla="*/ 938485 h 1994789"/>
                <a:gd name="connsiteX172" fmla="*/ 23579 w 1244509"/>
                <a:gd name="connsiteY172" fmla="*/ 946851 h 1994789"/>
                <a:gd name="connsiteX173" fmla="*/ 28903 w 1244509"/>
                <a:gd name="connsiteY173" fmla="*/ 951605 h 1994789"/>
                <a:gd name="connsiteX174" fmla="*/ 49630 w 1244509"/>
                <a:gd name="connsiteY174" fmla="*/ 955599 h 1994789"/>
                <a:gd name="connsiteX175" fmla="*/ 58757 w 1244509"/>
                <a:gd name="connsiteY175" fmla="*/ 963775 h 1994789"/>
                <a:gd name="connsiteX176" fmla="*/ 55715 w 1244509"/>
                <a:gd name="connsiteY176" fmla="*/ 984312 h 1994789"/>
                <a:gd name="connsiteX177" fmla="*/ 52292 w 1244509"/>
                <a:gd name="connsiteY177" fmla="*/ 997052 h 1994789"/>
                <a:gd name="connsiteX178" fmla="*/ 54954 w 1244509"/>
                <a:gd name="connsiteY178" fmla="*/ 1003327 h 1994789"/>
                <a:gd name="connsiteX179" fmla="*/ 58757 w 1244509"/>
                <a:gd name="connsiteY179" fmla="*/ 1019870 h 1994789"/>
                <a:gd name="connsiteX180" fmla="*/ 50391 w 1244509"/>
                <a:gd name="connsiteY180" fmla="*/ 1030709 h 1994789"/>
                <a:gd name="connsiteX181" fmla="*/ 46968 w 1244509"/>
                <a:gd name="connsiteY181" fmla="*/ 1035463 h 1994789"/>
                <a:gd name="connsiteX182" fmla="*/ 71497 w 1244509"/>
                <a:gd name="connsiteY182" fmla="*/ 1047443 h 1994789"/>
                <a:gd name="connsiteX183" fmla="*/ 74730 w 1244509"/>
                <a:gd name="connsiteY183" fmla="*/ 1047443 h 1994789"/>
                <a:gd name="connsiteX184" fmla="*/ 114092 w 1244509"/>
                <a:gd name="connsiteY184" fmla="*/ 1076156 h 1994789"/>
                <a:gd name="connsiteX185" fmla="*/ 107437 w 1244509"/>
                <a:gd name="connsiteY185" fmla="*/ 1107912 h 1994789"/>
                <a:gd name="connsiteX186" fmla="*/ 98880 w 1244509"/>
                <a:gd name="connsiteY186" fmla="*/ 1118560 h 1994789"/>
                <a:gd name="connsiteX187" fmla="*/ 105155 w 1244509"/>
                <a:gd name="connsiteY187" fmla="*/ 1154499 h 1994789"/>
                <a:gd name="connsiteX188" fmla="*/ 108768 w 1244509"/>
                <a:gd name="connsiteY188" fmla="*/ 1164197 h 1994789"/>
                <a:gd name="connsiteX189" fmla="*/ 122269 w 1244509"/>
                <a:gd name="connsiteY189" fmla="*/ 1192720 h 1994789"/>
                <a:gd name="connsiteX190" fmla="*/ 128924 w 1244509"/>
                <a:gd name="connsiteY190" fmla="*/ 1204890 h 1994789"/>
                <a:gd name="connsiteX191" fmla="*/ 135389 w 1244509"/>
                <a:gd name="connsiteY191" fmla="*/ 1203179 h 1994789"/>
                <a:gd name="connsiteX192" fmla="*/ 147940 w 1244509"/>
                <a:gd name="connsiteY192" fmla="*/ 1199376 h 1994789"/>
                <a:gd name="connsiteX193" fmla="*/ 158968 w 1244509"/>
                <a:gd name="connsiteY193" fmla="*/ 1191199 h 1994789"/>
                <a:gd name="connsiteX194" fmla="*/ 169046 w 1244509"/>
                <a:gd name="connsiteY194" fmla="*/ 1182832 h 1994789"/>
                <a:gd name="connsiteX195" fmla="*/ 177794 w 1244509"/>
                <a:gd name="connsiteY195" fmla="*/ 1178079 h 1994789"/>
                <a:gd name="connsiteX196" fmla="*/ 193576 w 1244509"/>
                <a:gd name="connsiteY196" fmla="*/ 1164768 h 1994789"/>
                <a:gd name="connsiteX197" fmla="*/ 194527 w 1244509"/>
                <a:gd name="connsiteY197" fmla="*/ 1163247 h 1994789"/>
                <a:gd name="connsiteX198" fmla="*/ 218677 w 1244509"/>
                <a:gd name="connsiteY198" fmla="*/ 1143090 h 1994789"/>
                <a:gd name="connsiteX199" fmla="*/ 258229 w 1244509"/>
                <a:gd name="connsiteY199" fmla="*/ 1163817 h 1994789"/>
                <a:gd name="connsiteX200" fmla="*/ 259940 w 1244509"/>
                <a:gd name="connsiteY200" fmla="*/ 1193481 h 1994789"/>
                <a:gd name="connsiteX201" fmla="*/ 258419 w 1244509"/>
                <a:gd name="connsiteY201" fmla="*/ 1199376 h 1994789"/>
                <a:gd name="connsiteX202" fmla="*/ 258419 w 1244509"/>
                <a:gd name="connsiteY202" fmla="*/ 1208883 h 1994789"/>
                <a:gd name="connsiteX203" fmla="*/ 256708 w 1244509"/>
                <a:gd name="connsiteY203" fmla="*/ 1224666 h 1994789"/>
                <a:gd name="connsiteX204" fmla="*/ 251193 w 1244509"/>
                <a:gd name="connsiteY204" fmla="*/ 1231892 h 1994789"/>
                <a:gd name="connsiteX205" fmla="*/ 247580 w 1244509"/>
                <a:gd name="connsiteY205" fmla="*/ 1236646 h 1994789"/>
                <a:gd name="connsiteX206" fmla="*/ 248531 w 1244509"/>
                <a:gd name="connsiteY206" fmla="*/ 1241780 h 1994789"/>
                <a:gd name="connsiteX207" fmla="*/ 250052 w 1244509"/>
                <a:gd name="connsiteY207" fmla="*/ 1250337 h 1994789"/>
                <a:gd name="connsiteX208" fmla="*/ 237882 w 1244509"/>
                <a:gd name="connsiteY208" fmla="*/ 1279621 h 1994789"/>
                <a:gd name="connsiteX209" fmla="*/ 227994 w 1244509"/>
                <a:gd name="connsiteY209" fmla="*/ 1307383 h 1994789"/>
                <a:gd name="connsiteX210" fmla="*/ 231798 w 1244509"/>
                <a:gd name="connsiteY210" fmla="*/ 1318222 h 1994789"/>
                <a:gd name="connsiteX211" fmla="*/ 235791 w 1244509"/>
                <a:gd name="connsiteY211" fmla="*/ 1342942 h 1994789"/>
                <a:gd name="connsiteX212" fmla="*/ 225713 w 1244509"/>
                <a:gd name="connsiteY212" fmla="*/ 1360246 h 1994789"/>
                <a:gd name="connsiteX213" fmla="*/ 218677 w 1244509"/>
                <a:gd name="connsiteY213" fmla="*/ 1370704 h 1994789"/>
                <a:gd name="connsiteX214" fmla="*/ 218677 w 1244509"/>
                <a:gd name="connsiteY214" fmla="*/ 1393903 h 1994789"/>
                <a:gd name="connsiteX215" fmla="*/ 235600 w 1244509"/>
                <a:gd name="connsiteY215" fmla="*/ 1404171 h 1994789"/>
                <a:gd name="connsiteX216" fmla="*/ 260701 w 1244509"/>
                <a:gd name="connsiteY216" fmla="*/ 1399798 h 1994789"/>
                <a:gd name="connsiteX217" fmla="*/ 265835 w 1244509"/>
                <a:gd name="connsiteY217" fmla="*/ 1395995 h 1994789"/>
                <a:gd name="connsiteX218" fmla="*/ 287893 w 1244509"/>
                <a:gd name="connsiteY218" fmla="*/ 1387628 h 1994789"/>
                <a:gd name="connsiteX219" fmla="*/ 315275 w 1244509"/>
                <a:gd name="connsiteY219" fmla="*/ 1412728 h 1994789"/>
                <a:gd name="connsiteX220" fmla="*/ 328015 w 1244509"/>
                <a:gd name="connsiteY220" fmla="*/ 1429652 h 1994789"/>
                <a:gd name="connsiteX221" fmla="*/ 359011 w 1244509"/>
                <a:gd name="connsiteY221" fmla="*/ 1424518 h 1994789"/>
                <a:gd name="connsiteX222" fmla="*/ 369469 w 1244509"/>
                <a:gd name="connsiteY222" fmla="*/ 1413489 h 1994789"/>
                <a:gd name="connsiteX223" fmla="*/ 375744 w 1244509"/>
                <a:gd name="connsiteY223" fmla="*/ 1405693 h 1994789"/>
                <a:gd name="connsiteX224" fmla="*/ 396090 w 1244509"/>
                <a:gd name="connsiteY224" fmla="*/ 1389720 h 1994789"/>
                <a:gd name="connsiteX225" fmla="*/ 420050 w 1244509"/>
                <a:gd name="connsiteY225" fmla="*/ 1357013 h 1994789"/>
                <a:gd name="connsiteX226" fmla="*/ 420050 w 1244509"/>
                <a:gd name="connsiteY226" fmla="*/ 1352260 h 1994789"/>
                <a:gd name="connsiteX227" fmla="*/ 433931 w 1244509"/>
                <a:gd name="connsiteY227" fmla="*/ 1320123 h 1994789"/>
                <a:gd name="connsiteX228" fmla="*/ 448953 w 1244509"/>
                <a:gd name="connsiteY228" fmla="*/ 1316511 h 1994789"/>
                <a:gd name="connsiteX229" fmla="*/ 462834 w 1244509"/>
                <a:gd name="connsiteY229" fmla="*/ 1311947 h 1994789"/>
                <a:gd name="connsiteX230" fmla="*/ 474814 w 1244509"/>
                <a:gd name="connsiteY230" fmla="*/ 1294072 h 1994789"/>
                <a:gd name="connsiteX231" fmla="*/ 511323 w 1244509"/>
                <a:gd name="connsiteY231" fmla="*/ 1268212 h 1994789"/>
                <a:gd name="connsiteX232" fmla="*/ 554489 w 1244509"/>
                <a:gd name="connsiteY232" fmla="*/ 1329251 h 1994789"/>
                <a:gd name="connsiteX233" fmla="*/ 569130 w 1244509"/>
                <a:gd name="connsiteY233" fmla="*/ 1352640 h 1994789"/>
                <a:gd name="connsiteX234" fmla="*/ 580349 w 1244509"/>
                <a:gd name="connsiteY234" fmla="*/ 1387248 h 1994789"/>
                <a:gd name="connsiteX235" fmla="*/ 550305 w 1244509"/>
                <a:gd name="connsiteY235" fmla="*/ 1408165 h 1994789"/>
                <a:gd name="connsiteX236" fmla="*/ 545932 w 1244509"/>
                <a:gd name="connsiteY236" fmla="*/ 1409306 h 1994789"/>
                <a:gd name="connsiteX237" fmla="*/ 532240 w 1244509"/>
                <a:gd name="connsiteY237" fmla="*/ 1414250 h 1994789"/>
                <a:gd name="connsiteX238" fmla="*/ 513225 w 1244509"/>
                <a:gd name="connsiteY238" fmla="*/ 1420525 h 1994789"/>
                <a:gd name="connsiteX239" fmla="*/ 504858 w 1244509"/>
                <a:gd name="connsiteY239" fmla="*/ 1421666 h 1994789"/>
                <a:gd name="connsiteX240" fmla="*/ 490787 w 1244509"/>
                <a:gd name="connsiteY240" fmla="*/ 1425849 h 1994789"/>
                <a:gd name="connsiteX241" fmla="*/ 501245 w 1244509"/>
                <a:gd name="connsiteY241" fmla="*/ 1437638 h 1994789"/>
                <a:gd name="connsiteX242" fmla="*/ 503527 w 1244509"/>
                <a:gd name="connsiteY242" fmla="*/ 1438970 h 1994789"/>
                <a:gd name="connsiteX243" fmla="*/ 519310 w 1244509"/>
                <a:gd name="connsiteY243" fmla="*/ 1457985 h 1994789"/>
                <a:gd name="connsiteX244" fmla="*/ 507710 w 1244509"/>
                <a:gd name="connsiteY244" fmla="*/ 1485557 h 1994789"/>
                <a:gd name="connsiteX245" fmla="*/ 502006 w 1244509"/>
                <a:gd name="connsiteY245" fmla="*/ 1491452 h 1994789"/>
                <a:gd name="connsiteX246" fmla="*/ 490787 w 1244509"/>
                <a:gd name="connsiteY246" fmla="*/ 1505143 h 1994789"/>
                <a:gd name="connsiteX247" fmla="*/ 488125 w 1244509"/>
                <a:gd name="connsiteY247" fmla="*/ 1526821 h 1994789"/>
                <a:gd name="connsiteX248" fmla="*/ 488125 w 1244509"/>
                <a:gd name="connsiteY248" fmla="*/ 1540131 h 1994789"/>
                <a:gd name="connsiteX249" fmla="*/ 467208 w 1244509"/>
                <a:gd name="connsiteY249" fmla="*/ 1578162 h 1994789"/>
                <a:gd name="connsiteX250" fmla="*/ 451045 w 1244509"/>
                <a:gd name="connsiteY250" fmla="*/ 1601171 h 1994789"/>
                <a:gd name="connsiteX251" fmla="*/ 451995 w 1244509"/>
                <a:gd name="connsiteY251" fmla="*/ 1616003 h 1994789"/>
                <a:gd name="connsiteX252" fmla="*/ 455989 w 1244509"/>
                <a:gd name="connsiteY252" fmla="*/ 1627983 h 1994789"/>
                <a:gd name="connsiteX253" fmla="*/ 450664 w 1244509"/>
                <a:gd name="connsiteY253" fmla="*/ 1651181 h 1994789"/>
                <a:gd name="connsiteX254" fmla="*/ 446101 w 1244509"/>
                <a:gd name="connsiteY254" fmla="*/ 1661830 h 1994789"/>
                <a:gd name="connsiteX255" fmla="*/ 446101 w 1244509"/>
                <a:gd name="connsiteY255" fmla="*/ 1695677 h 1994789"/>
                <a:gd name="connsiteX256" fmla="*/ 447051 w 1244509"/>
                <a:gd name="connsiteY256" fmla="*/ 1706326 h 1994789"/>
                <a:gd name="connsiteX257" fmla="*/ 447051 w 1244509"/>
                <a:gd name="connsiteY257" fmla="*/ 1732567 h 1994789"/>
                <a:gd name="connsiteX258" fmla="*/ 447051 w 1244509"/>
                <a:gd name="connsiteY258" fmla="*/ 1739603 h 1994789"/>
                <a:gd name="connsiteX259" fmla="*/ 454468 w 1244509"/>
                <a:gd name="connsiteY259" fmla="*/ 1741504 h 1994789"/>
                <a:gd name="connsiteX260" fmla="*/ 475194 w 1244509"/>
                <a:gd name="connsiteY260" fmla="*/ 1744737 h 1994789"/>
                <a:gd name="connsiteX261" fmla="*/ 486033 w 1244509"/>
                <a:gd name="connsiteY261" fmla="*/ 1746829 h 1994789"/>
                <a:gd name="connsiteX262" fmla="*/ 500675 w 1244509"/>
                <a:gd name="connsiteY262" fmla="*/ 1746829 h 1994789"/>
                <a:gd name="connsiteX263" fmla="*/ 519690 w 1244509"/>
                <a:gd name="connsiteY263" fmla="*/ 1746829 h 1994789"/>
                <a:gd name="connsiteX264" fmla="*/ 538706 w 1244509"/>
                <a:gd name="connsiteY264" fmla="*/ 1762612 h 1994789"/>
                <a:gd name="connsiteX265" fmla="*/ 543270 w 1244509"/>
                <a:gd name="connsiteY265" fmla="*/ 1768696 h 1994789"/>
                <a:gd name="connsiteX266" fmla="*/ 551826 w 1244509"/>
                <a:gd name="connsiteY266" fmla="*/ 1777253 h 1994789"/>
                <a:gd name="connsiteX267" fmla="*/ 566278 w 1244509"/>
                <a:gd name="connsiteY267" fmla="*/ 1794367 h 1994789"/>
                <a:gd name="connsiteX268" fmla="*/ 582251 w 1244509"/>
                <a:gd name="connsiteY268" fmla="*/ 1813383 h 1994789"/>
                <a:gd name="connsiteX269" fmla="*/ 599174 w 1244509"/>
                <a:gd name="connsiteY269" fmla="*/ 1844568 h 1994789"/>
                <a:gd name="connsiteX270" fmla="*/ 600316 w 1244509"/>
                <a:gd name="connsiteY270" fmla="*/ 1844568 h 1994789"/>
                <a:gd name="connsiteX271" fmla="*/ 619331 w 1244509"/>
                <a:gd name="connsiteY271" fmla="*/ 1822130 h 1994789"/>
                <a:gd name="connsiteX272" fmla="*/ 621613 w 1244509"/>
                <a:gd name="connsiteY272" fmla="*/ 1816805 h 1994789"/>
                <a:gd name="connsiteX273" fmla="*/ 640628 w 1244509"/>
                <a:gd name="connsiteY273" fmla="*/ 1799311 h 1994789"/>
                <a:gd name="connsiteX274" fmla="*/ 659644 w 1244509"/>
                <a:gd name="connsiteY274" fmla="*/ 1797980 h 1994789"/>
                <a:gd name="connsiteX275" fmla="*/ 677708 w 1244509"/>
                <a:gd name="connsiteY275" fmla="*/ 1796459 h 1994789"/>
                <a:gd name="connsiteX276" fmla="*/ 691209 w 1244509"/>
                <a:gd name="connsiteY276" fmla="*/ 1790184 h 1994789"/>
                <a:gd name="connsiteX277" fmla="*/ 711555 w 1244509"/>
                <a:gd name="connsiteY277" fmla="*/ 1781817 h 1994789"/>
                <a:gd name="connsiteX278" fmla="*/ 742551 w 1244509"/>
                <a:gd name="connsiteY278" fmla="*/ 1793606 h 1994789"/>
                <a:gd name="connsiteX279" fmla="*/ 752629 w 1244509"/>
                <a:gd name="connsiteY279" fmla="*/ 1802544 h 1994789"/>
                <a:gd name="connsiteX280" fmla="*/ 806252 w 1244509"/>
                <a:gd name="connsiteY280" fmla="*/ 1796459 h 1994789"/>
                <a:gd name="connsiteX281" fmla="*/ 814239 w 1244509"/>
                <a:gd name="connsiteY281" fmla="*/ 1786190 h 1994789"/>
                <a:gd name="connsiteX282" fmla="*/ 828500 w 1244509"/>
                <a:gd name="connsiteY282" fmla="*/ 1771358 h 1994789"/>
                <a:gd name="connsiteX283" fmla="*/ 845234 w 1244509"/>
                <a:gd name="connsiteY283" fmla="*/ 1770028 h 1994789"/>
                <a:gd name="connsiteX284" fmla="*/ 856263 w 1244509"/>
                <a:gd name="connsiteY284" fmla="*/ 1770028 h 1994789"/>
                <a:gd name="connsiteX285" fmla="*/ 861207 w 1244509"/>
                <a:gd name="connsiteY285" fmla="*/ 1764133 h 1994789"/>
                <a:gd name="connsiteX286" fmla="*/ 871475 w 1244509"/>
                <a:gd name="connsiteY286" fmla="*/ 1753674 h 1994789"/>
                <a:gd name="connsiteX287" fmla="*/ 884595 w 1244509"/>
                <a:gd name="connsiteY287" fmla="*/ 1753674 h 1994789"/>
                <a:gd name="connsiteX288" fmla="*/ 898287 w 1244509"/>
                <a:gd name="connsiteY288" fmla="*/ 1769457 h 1994789"/>
                <a:gd name="connsiteX289" fmla="*/ 902090 w 1244509"/>
                <a:gd name="connsiteY289" fmla="*/ 1807488 h 1994789"/>
                <a:gd name="connsiteX290" fmla="*/ 902090 w 1244509"/>
                <a:gd name="connsiteY290" fmla="*/ 1807488 h 1994789"/>
                <a:gd name="connsiteX291" fmla="*/ 905322 w 1244509"/>
                <a:gd name="connsiteY291" fmla="*/ 1816045 h 1994789"/>
                <a:gd name="connsiteX292" fmla="*/ 911407 w 1244509"/>
                <a:gd name="connsiteY292" fmla="*/ 1828975 h 1994789"/>
                <a:gd name="connsiteX293" fmla="*/ 922436 w 1244509"/>
                <a:gd name="connsiteY293" fmla="*/ 1837532 h 1994789"/>
                <a:gd name="connsiteX294" fmla="*/ 941451 w 1244509"/>
                <a:gd name="connsiteY294" fmla="*/ 1856547 h 1994789"/>
                <a:gd name="connsiteX295" fmla="*/ 939740 w 1244509"/>
                <a:gd name="connsiteY295" fmla="*/ 1889444 h 1994789"/>
                <a:gd name="connsiteX296" fmla="*/ 938409 w 1244509"/>
                <a:gd name="connsiteY296" fmla="*/ 1893628 h 1994789"/>
                <a:gd name="connsiteX297" fmla="*/ 941071 w 1244509"/>
                <a:gd name="connsiteY297" fmla="*/ 1929567 h 1994789"/>
                <a:gd name="connsiteX298" fmla="*/ 968263 w 1244509"/>
                <a:gd name="connsiteY298" fmla="*/ 1994789 h 1994789"/>
                <a:gd name="connsiteX299" fmla="*/ 973207 w 1244509"/>
                <a:gd name="connsiteY299" fmla="*/ 1990416 h 1994789"/>
                <a:gd name="connsiteX300" fmla="*/ 974348 w 1244509"/>
                <a:gd name="connsiteY300" fmla="*/ 1964935 h 1994789"/>
                <a:gd name="connsiteX301" fmla="*/ 970735 w 1244509"/>
                <a:gd name="connsiteY301" fmla="*/ 1956568 h 1994789"/>
                <a:gd name="connsiteX302" fmla="*/ 984617 w 1244509"/>
                <a:gd name="connsiteY302" fmla="*/ 1904847 h 1994789"/>
                <a:gd name="connsiteX303" fmla="*/ 1006675 w 1244509"/>
                <a:gd name="connsiteY303" fmla="*/ 1887543 h 1994789"/>
                <a:gd name="connsiteX304" fmla="*/ 1026831 w 1244509"/>
                <a:gd name="connsiteY304" fmla="*/ 1887543 h 1994789"/>
                <a:gd name="connsiteX305" fmla="*/ 1035768 w 1244509"/>
                <a:gd name="connsiteY305" fmla="*/ 1889444 h 1994789"/>
                <a:gd name="connsiteX306" fmla="*/ 1045846 w 1244509"/>
                <a:gd name="connsiteY306" fmla="*/ 1886592 h 1994789"/>
                <a:gd name="connsiteX307" fmla="*/ 1055734 w 1244509"/>
                <a:gd name="connsiteY307" fmla="*/ 1882408 h 1994789"/>
                <a:gd name="connsiteX308" fmla="*/ 1069805 w 1244509"/>
                <a:gd name="connsiteY308" fmla="*/ 1882408 h 1994789"/>
                <a:gd name="connsiteX309" fmla="*/ 1080454 w 1244509"/>
                <a:gd name="connsiteY309" fmla="*/ 1882408 h 1994789"/>
                <a:gd name="connsiteX310" fmla="*/ 1121337 w 1244509"/>
                <a:gd name="connsiteY310" fmla="*/ 1858259 h 1994789"/>
                <a:gd name="connsiteX311" fmla="*/ 1128753 w 1244509"/>
                <a:gd name="connsiteY311" fmla="*/ 1825552 h 1994789"/>
                <a:gd name="connsiteX312" fmla="*/ 1128753 w 1244509"/>
                <a:gd name="connsiteY312" fmla="*/ 1817946 h 1994789"/>
                <a:gd name="connsiteX313" fmla="*/ 1125710 w 1244509"/>
                <a:gd name="connsiteY313" fmla="*/ 1801403 h 1994789"/>
                <a:gd name="connsiteX314" fmla="*/ 1122669 w 1244509"/>
                <a:gd name="connsiteY314" fmla="*/ 1796839 h 1994789"/>
                <a:gd name="connsiteX315" fmla="*/ 1117534 w 1244509"/>
                <a:gd name="connsiteY315" fmla="*/ 1780676 h 1994789"/>
                <a:gd name="connsiteX316" fmla="*/ 1138261 w 1244509"/>
                <a:gd name="connsiteY316" fmla="*/ 1766224 h 1994789"/>
                <a:gd name="connsiteX317" fmla="*/ 1148149 w 1244509"/>
                <a:gd name="connsiteY317" fmla="*/ 1763182 h 1994789"/>
                <a:gd name="connsiteX318" fmla="*/ 1165833 w 1244509"/>
                <a:gd name="connsiteY318" fmla="*/ 1728003 h 1994789"/>
                <a:gd name="connsiteX319" fmla="*/ 1162981 w 1244509"/>
                <a:gd name="connsiteY319" fmla="*/ 1697389 h 1994789"/>
                <a:gd name="connsiteX320" fmla="*/ 1146818 w 1244509"/>
                <a:gd name="connsiteY320" fmla="*/ 1699670 h 1994789"/>
                <a:gd name="connsiteX321" fmla="*/ 1139782 w 1244509"/>
                <a:gd name="connsiteY321" fmla="*/ 1704805 h 1994789"/>
                <a:gd name="connsiteX322" fmla="*/ 1112590 w 1244509"/>
                <a:gd name="connsiteY322" fmla="*/ 1701952 h 1994789"/>
                <a:gd name="connsiteX323" fmla="*/ 1104794 w 1244509"/>
                <a:gd name="connsiteY323" fmla="*/ 1695107 h 1994789"/>
                <a:gd name="connsiteX324" fmla="*/ 1095096 w 1244509"/>
                <a:gd name="connsiteY324" fmla="*/ 1693015 h 1994789"/>
                <a:gd name="connsiteX325" fmla="*/ 1074369 w 1244509"/>
                <a:gd name="connsiteY325" fmla="*/ 1683317 h 1994789"/>
                <a:gd name="connsiteX326" fmla="*/ 1089201 w 1244509"/>
                <a:gd name="connsiteY326" fmla="*/ 1650231 h 1994789"/>
                <a:gd name="connsiteX327" fmla="*/ 1098519 w 1244509"/>
                <a:gd name="connsiteY327" fmla="*/ 1640533 h 1994789"/>
                <a:gd name="connsiteX328" fmla="*/ 1104033 w 1244509"/>
                <a:gd name="connsiteY328" fmla="*/ 1626841 h 1994789"/>
                <a:gd name="connsiteX329" fmla="*/ 1113921 w 1244509"/>
                <a:gd name="connsiteY329" fmla="*/ 1605735 h 1994789"/>
                <a:gd name="connsiteX330" fmla="*/ 1129704 w 1244509"/>
                <a:gd name="connsiteY330" fmla="*/ 1595466 h 1994789"/>
                <a:gd name="connsiteX331" fmla="*/ 1160889 w 1244509"/>
                <a:gd name="connsiteY331" fmla="*/ 1608397 h 1994789"/>
                <a:gd name="connsiteX332" fmla="*/ 1164502 w 1244509"/>
                <a:gd name="connsiteY332" fmla="*/ 1611439 h 1994789"/>
                <a:gd name="connsiteX333" fmla="*/ 1174010 w 1244509"/>
                <a:gd name="connsiteY333" fmla="*/ 1618285 h 1994789"/>
                <a:gd name="connsiteX334" fmla="*/ 1181045 w 1244509"/>
                <a:gd name="connsiteY334" fmla="*/ 1620186 h 1994789"/>
                <a:gd name="connsiteX335" fmla="*/ 1192835 w 1244509"/>
                <a:gd name="connsiteY335" fmla="*/ 1624370 h 1994789"/>
                <a:gd name="connsiteX336" fmla="*/ 1203103 w 1244509"/>
                <a:gd name="connsiteY336" fmla="*/ 1648709 h 1994789"/>
                <a:gd name="connsiteX337" fmla="*/ 1209759 w 1244509"/>
                <a:gd name="connsiteY337" fmla="*/ 1667725 h 1994789"/>
                <a:gd name="connsiteX338" fmla="*/ 1244367 w 1244509"/>
                <a:gd name="connsiteY338" fmla="*/ 1670197 h 1994789"/>
                <a:gd name="connsiteX339" fmla="*/ 1244367 w 1244509"/>
                <a:gd name="connsiteY339" fmla="*/ 1670197 h 1994789"/>
                <a:gd name="connsiteX340" fmla="*/ 1244367 w 1244509"/>
                <a:gd name="connsiteY340" fmla="*/ 1662781 h 1994789"/>
                <a:gd name="connsiteX341" fmla="*/ 1237141 w 1244509"/>
                <a:gd name="connsiteY341" fmla="*/ 1629504 h 1994789"/>
                <a:gd name="connsiteX342" fmla="*/ 1237141 w 1244509"/>
                <a:gd name="connsiteY342" fmla="*/ 1518644 h 1994789"/>
                <a:gd name="connsiteX343" fmla="*/ 1226872 w 1244509"/>
                <a:gd name="connsiteY343" fmla="*/ 1477190 h 1994789"/>
                <a:gd name="connsiteX344" fmla="*/ 1199490 w 1244509"/>
                <a:gd name="connsiteY344" fmla="*/ 1434216 h 1994789"/>
                <a:gd name="connsiteX345" fmla="*/ 1174390 w 1244509"/>
                <a:gd name="connsiteY345" fmla="*/ 1394664 h 1994789"/>
                <a:gd name="connsiteX346" fmla="*/ 1147579 w 1244509"/>
                <a:gd name="connsiteY346" fmla="*/ 1341231 h 1994789"/>
                <a:gd name="connsiteX347" fmla="*/ 1073038 w 1244509"/>
                <a:gd name="connsiteY347" fmla="*/ 1274486 h 1994789"/>
                <a:gd name="connsiteX348" fmla="*/ 1049078 w 1244509"/>
                <a:gd name="connsiteY348" fmla="*/ 1229800 h 1994789"/>
                <a:gd name="connsiteX349" fmla="*/ 1026260 w 1244509"/>
                <a:gd name="connsiteY349" fmla="*/ 1179600 h 1994789"/>
                <a:gd name="connsiteX350" fmla="*/ 1016372 w 1244509"/>
                <a:gd name="connsiteY350" fmla="*/ 1129019 h 1994789"/>
                <a:gd name="connsiteX351" fmla="*/ 1010477 w 1244509"/>
                <a:gd name="connsiteY351" fmla="*/ 1102968 h 1994789"/>
                <a:gd name="connsiteX352" fmla="*/ 1003822 w 1244509"/>
                <a:gd name="connsiteY352" fmla="*/ 1091368 h 1994789"/>
                <a:gd name="connsiteX353" fmla="*/ 1001730 w 1244509"/>
                <a:gd name="connsiteY353" fmla="*/ 1076346 h 1994789"/>
                <a:gd name="connsiteX354" fmla="*/ 967693 w 1244509"/>
                <a:gd name="connsiteY354" fmla="*/ 1064937 h 1994789"/>
                <a:gd name="connsiteX355" fmla="*/ 943734 w 1244509"/>
                <a:gd name="connsiteY355" fmla="*/ 1030709 h 1994789"/>
                <a:gd name="connsiteX356" fmla="*/ 913689 w 1244509"/>
                <a:gd name="connsiteY356" fmla="*/ 1008841 h 1994789"/>
                <a:gd name="connsiteX357" fmla="*/ 920345 w 1244509"/>
                <a:gd name="connsiteY357" fmla="*/ 988685 h 199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</a:cxnLst>
              <a:rect l="l" t="t" r="r" b="b"/>
              <a:pathLst>
                <a:path w="1244509" h="1994789">
                  <a:moveTo>
                    <a:pt x="920345" y="988685"/>
                  </a:moveTo>
                  <a:cubicBezTo>
                    <a:pt x="919204" y="982220"/>
                    <a:pt x="914070" y="969670"/>
                    <a:pt x="905893" y="969670"/>
                  </a:cubicBezTo>
                  <a:cubicBezTo>
                    <a:pt x="897716" y="969670"/>
                    <a:pt x="898287" y="975945"/>
                    <a:pt x="893533" y="977847"/>
                  </a:cubicBezTo>
                  <a:cubicBezTo>
                    <a:pt x="885699" y="980033"/>
                    <a:pt x="877408" y="980033"/>
                    <a:pt x="869573" y="977847"/>
                  </a:cubicBezTo>
                  <a:cubicBezTo>
                    <a:pt x="852840" y="975945"/>
                    <a:pt x="836296" y="980889"/>
                    <a:pt x="819563" y="979558"/>
                  </a:cubicBezTo>
                  <a:cubicBezTo>
                    <a:pt x="802830" y="978227"/>
                    <a:pt x="799026" y="961874"/>
                    <a:pt x="781532" y="960542"/>
                  </a:cubicBezTo>
                  <a:cubicBezTo>
                    <a:pt x="764342" y="957861"/>
                    <a:pt x="746772" y="961151"/>
                    <a:pt x="731712" y="969860"/>
                  </a:cubicBezTo>
                  <a:cubicBezTo>
                    <a:pt x="726007" y="974234"/>
                    <a:pt x="722774" y="980699"/>
                    <a:pt x="717640" y="985453"/>
                  </a:cubicBezTo>
                  <a:cubicBezTo>
                    <a:pt x="711099" y="990682"/>
                    <a:pt x="703873" y="994960"/>
                    <a:pt x="696153" y="998193"/>
                  </a:cubicBezTo>
                  <a:cubicBezTo>
                    <a:pt x="675426" y="1008081"/>
                    <a:pt x="684554" y="1011314"/>
                    <a:pt x="694632" y="1025765"/>
                  </a:cubicBezTo>
                  <a:cubicBezTo>
                    <a:pt x="704710" y="1040217"/>
                    <a:pt x="707753" y="1055239"/>
                    <a:pt x="717640" y="1068740"/>
                  </a:cubicBezTo>
                  <a:cubicBezTo>
                    <a:pt x="721063" y="1073494"/>
                    <a:pt x="728859" y="1098594"/>
                    <a:pt x="714218" y="1096693"/>
                  </a:cubicBezTo>
                  <a:cubicBezTo>
                    <a:pt x="708323" y="1096693"/>
                    <a:pt x="707942" y="1080149"/>
                    <a:pt x="704520" y="1076346"/>
                  </a:cubicBezTo>
                  <a:cubicBezTo>
                    <a:pt x="692540" y="1063035"/>
                    <a:pt x="693301" y="1081670"/>
                    <a:pt x="692921" y="1090418"/>
                  </a:cubicBezTo>
                  <a:cubicBezTo>
                    <a:pt x="692540" y="1099165"/>
                    <a:pt x="662876" y="1159634"/>
                    <a:pt x="650326" y="1144992"/>
                  </a:cubicBezTo>
                  <a:cubicBezTo>
                    <a:pt x="640818" y="1133963"/>
                    <a:pt x="667059" y="1091749"/>
                    <a:pt x="650326" y="1084333"/>
                  </a:cubicBezTo>
                  <a:cubicBezTo>
                    <a:pt x="645953" y="1082241"/>
                    <a:pt x="625036" y="1093270"/>
                    <a:pt x="622183" y="1097644"/>
                  </a:cubicBezTo>
                  <a:cubicBezTo>
                    <a:pt x="619331" y="1102017"/>
                    <a:pt x="622183" y="1113046"/>
                    <a:pt x="621232" y="1120272"/>
                  </a:cubicBezTo>
                  <a:cubicBezTo>
                    <a:pt x="617182" y="1129361"/>
                    <a:pt x="610565" y="1137100"/>
                    <a:pt x="602217" y="1142520"/>
                  </a:cubicBezTo>
                  <a:cubicBezTo>
                    <a:pt x="584913" y="1156021"/>
                    <a:pt x="588146" y="1126547"/>
                    <a:pt x="585294" y="1116849"/>
                  </a:cubicBezTo>
                  <a:cubicBezTo>
                    <a:pt x="583145" y="1111430"/>
                    <a:pt x="579912" y="1106505"/>
                    <a:pt x="575786" y="1102397"/>
                  </a:cubicBezTo>
                  <a:cubicBezTo>
                    <a:pt x="567989" y="1093080"/>
                    <a:pt x="563806" y="1083382"/>
                    <a:pt x="556770" y="1072733"/>
                  </a:cubicBezTo>
                  <a:cubicBezTo>
                    <a:pt x="545361" y="1057331"/>
                    <a:pt x="537755" y="1062085"/>
                    <a:pt x="526346" y="1074254"/>
                  </a:cubicBezTo>
                  <a:cubicBezTo>
                    <a:pt x="515906" y="1087889"/>
                    <a:pt x="503546" y="1099925"/>
                    <a:pt x="489646" y="1110003"/>
                  </a:cubicBezTo>
                  <a:cubicBezTo>
                    <a:pt x="482230" y="1113464"/>
                    <a:pt x="474034" y="1114909"/>
                    <a:pt x="465877" y="1114187"/>
                  </a:cubicBezTo>
                  <a:cubicBezTo>
                    <a:pt x="459602" y="1114187"/>
                    <a:pt x="451235" y="1119511"/>
                    <a:pt x="445150" y="1118560"/>
                  </a:cubicBezTo>
                  <a:cubicBezTo>
                    <a:pt x="432410" y="1116849"/>
                    <a:pt x="429938" y="1097073"/>
                    <a:pt x="429557" y="1086995"/>
                  </a:cubicBezTo>
                  <a:cubicBezTo>
                    <a:pt x="428740" y="1078647"/>
                    <a:pt x="430394" y="1070261"/>
                    <a:pt x="434311" y="1062845"/>
                  </a:cubicBezTo>
                  <a:cubicBezTo>
                    <a:pt x="436213" y="1059422"/>
                    <a:pt x="439445" y="1058282"/>
                    <a:pt x="441157" y="1054479"/>
                  </a:cubicBezTo>
                  <a:cubicBezTo>
                    <a:pt x="442868" y="1050676"/>
                    <a:pt x="441157" y="1046872"/>
                    <a:pt x="442678" y="1043069"/>
                  </a:cubicBezTo>
                  <a:cubicBezTo>
                    <a:pt x="445150" y="1035844"/>
                    <a:pt x="450664" y="1030709"/>
                    <a:pt x="452186" y="1023103"/>
                  </a:cubicBezTo>
                  <a:cubicBezTo>
                    <a:pt x="453232" y="1012588"/>
                    <a:pt x="452471" y="1001977"/>
                    <a:pt x="449904" y="991728"/>
                  </a:cubicBezTo>
                  <a:cubicBezTo>
                    <a:pt x="448193" y="979558"/>
                    <a:pt x="452566" y="975945"/>
                    <a:pt x="456940" y="966057"/>
                  </a:cubicBezTo>
                  <a:cubicBezTo>
                    <a:pt x="459735" y="957329"/>
                    <a:pt x="461960" y="948449"/>
                    <a:pt x="463595" y="939435"/>
                  </a:cubicBezTo>
                  <a:cubicBezTo>
                    <a:pt x="469204" y="919393"/>
                    <a:pt x="472646" y="898800"/>
                    <a:pt x="473863" y="878016"/>
                  </a:cubicBezTo>
                  <a:cubicBezTo>
                    <a:pt x="477286" y="838083"/>
                    <a:pt x="460172" y="800623"/>
                    <a:pt x="462834" y="760691"/>
                  </a:cubicBezTo>
                  <a:cubicBezTo>
                    <a:pt x="462720" y="741542"/>
                    <a:pt x="464508" y="722432"/>
                    <a:pt x="468159" y="703645"/>
                  </a:cubicBezTo>
                  <a:cubicBezTo>
                    <a:pt x="470897" y="697503"/>
                    <a:pt x="473121" y="691133"/>
                    <a:pt x="474814" y="684629"/>
                  </a:cubicBezTo>
                  <a:cubicBezTo>
                    <a:pt x="475765" y="676072"/>
                    <a:pt x="471772" y="668656"/>
                    <a:pt x="472532" y="660099"/>
                  </a:cubicBezTo>
                  <a:cubicBezTo>
                    <a:pt x="473293" y="651542"/>
                    <a:pt x="476145" y="643366"/>
                    <a:pt x="476145" y="634238"/>
                  </a:cubicBezTo>
                  <a:cubicBezTo>
                    <a:pt x="475993" y="628458"/>
                    <a:pt x="477020" y="622696"/>
                    <a:pt x="479187" y="617315"/>
                  </a:cubicBezTo>
                  <a:cubicBezTo>
                    <a:pt x="483238" y="610640"/>
                    <a:pt x="485539" y="603053"/>
                    <a:pt x="485843" y="595257"/>
                  </a:cubicBezTo>
                  <a:cubicBezTo>
                    <a:pt x="484702" y="585179"/>
                    <a:pt x="475004" y="578523"/>
                    <a:pt x="472152" y="569206"/>
                  </a:cubicBezTo>
                  <a:cubicBezTo>
                    <a:pt x="470821" y="565213"/>
                    <a:pt x="472152" y="561409"/>
                    <a:pt x="470250" y="557036"/>
                  </a:cubicBezTo>
                  <a:cubicBezTo>
                    <a:pt x="468349" y="552663"/>
                    <a:pt x="466447" y="552663"/>
                    <a:pt x="465496" y="550571"/>
                  </a:cubicBezTo>
                  <a:cubicBezTo>
                    <a:pt x="462416" y="543250"/>
                    <a:pt x="460990" y="535320"/>
                    <a:pt x="461313" y="527372"/>
                  </a:cubicBezTo>
                  <a:cubicBezTo>
                    <a:pt x="461313" y="509688"/>
                    <a:pt x="472913" y="496757"/>
                    <a:pt x="474814" y="479644"/>
                  </a:cubicBezTo>
                  <a:cubicBezTo>
                    <a:pt x="474320" y="460039"/>
                    <a:pt x="470193" y="440700"/>
                    <a:pt x="462644" y="422597"/>
                  </a:cubicBezTo>
                  <a:cubicBezTo>
                    <a:pt x="458081" y="403582"/>
                    <a:pt x="468159" y="387038"/>
                    <a:pt x="473293" y="369544"/>
                  </a:cubicBezTo>
                  <a:cubicBezTo>
                    <a:pt x="474548" y="361900"/>
                    <a:pt x="476716" y="354427"/>
                    <a:pt x="479758" y="347296"/>
                  </a:cubicBezTo>
                  <a:cubicBezTo>
                    <a:pt x="484512" y="339500"/>
                    <a:pt x="493069" y="335887"/>
                    <a:pt x="498773" y="328281"/>
                  </a:cubicBezTo>
                  <a:cubicBezTo>
                    <a:pt x="504478" y="320675"/>
                    <a:pt x="505999" y="315731"/>
                    <a:pt x="510373" y="309266"/>
                  </a:cubicBezTo>
                  <a:cubicBezTo>
                    <a:pt x="518074" y="300518"/>
                    <a:pt x="526346" y="292247"/>
                    <a:pt x="535093" y="284545"/>
                  </a:cubicBezTo>
                  <a:cubicBezTo>
                    <a:pt x="548974" y="270094"/>
                    <a:pt x="563996" y="256783"/>
                    <a:pt x="577117" y="241761"/>
                  </a:cubicBezTo>
                  <a:cubicBezTo>
                    <a:pt x="584723" y="233014"/>
                    <a:pt x="592900" y="213618"/>
                    <a:pt x="605450" y="219513"/>
                  </a:cubicBezTo>
                  <a:cubicBezTo>
                    <a:pt x="611915" y="222555"/>
                    <a:pt x="613817" y="227499"/>
                    <a:pt x="622183" y="226548"/>
                  </a:cubicBezTo>
                  <a:cubicBezTo>
                    <a:pt x="629713" y="225788"/>
                    <a:pt x="636179" y="220863"/>
                    <a:pt x="638917" y="213808"/>
                  </a:cubicBezTo>
                  <a:cubicBezTo>
                    <a:pt x="643671" y="199167"/>
                    <a:pt x="619902" y="191751"/>
                    <a:pt x="627508" y="179961"/>
                  </a:cubicBezTo>
                  <a:cubicBezTo>
                    <a:pt x="631501" y="173876"/>
                    <a:pt x="638347" y="176728"/>
                    <a:pt x="644241" y="174637"/>
                  </a:cubicBezTo>
                  <a:cubicBezTo>
                    <a:pt x="647683" y="173325"/>
                    <a:pt x="650896" y="171461"/>
                    <a:pt x="653749" y="169122"/>
                  </a:cubicBezTo>
                  <a:cubicBezTo>
                    <a:pt x="650136" y="163228"/>
                    <a:pt x="646333" y="157523"/>
                    <a:pt x="642149" y="152008"/>
                  </a:cubicBezTo>
                  <a:cubicBezTo>
                    <a:pt x="638480" y="146418"/>
                    <a:pt x="633763" y="141569"/>
                    <a:pt x="628268" y="137747"/>
                  </a:cubicBezTo>
                  <a:cubicBezTo>
                    <a:pt x="623572" y="134685"/>
                    <a:pt x="617677" y="134115"/>
                    <a:pt x="612485" y="136225"/>
                  </a:cubicBezTo>
                  <a:cubicBezTo>
                    <a:pt x="611021" y="137062"/>
                    <a:pt x="609614" y="138013"/>
                    <a:pt x="608302" y="139078"/>
                  </a:cubicBezTo>
                  <a:cubicBezTo>
                    <a:pt x="605317" y="141835"/>
                    <a:pt x="601628" y="143737"/>
                    <a:pt x="597653" y="144592"/>
                  </a:cubicBezTo>
                  <a:cubicBezTo>
                    <a:pt x="591987" y="145087"/>
                    <a:pt x="586320" y="143527"/>
                    <a:pt x="581681" y="140219"/>
                  </a:cubicBezTo>
                  <a:lnTo>
                    <a:pt x="576927" y="137747"/>
                  </a:lnTo>
                  <a:cubicBezTo>
                    <a:pt x="571659" y="135807"/>
                    <a:pt x="565821" y="136302"/>
                    <a:pt x="560954" y="139078"/>
                  </a:cubicBezTo>
                  <a:cubicBezTo>
                    <a:pt x="557170" y="141645"/>
                    <a:pt x="553899" y="144859"/>
                    <a:pt x="551256" y="148586"/>
                  </a:cubicBezTo>
                  <a:cubicBezTo>
                    <a:pt x="547681" y="153663"/>
                    <a:pt x="543079" y="157941"/>
                    <a:pt x="537755" y="161136"/>
                  </a:cubicBezTo>
                  <a:cubicBezTo>
                    <a:pt x="530681" y="165015"/>
                    <a:pt x="522219" y="165509"/>
                    <a:pt x="514747" y="162467"/>
                  </a:cubicBezTo>
                  <a:cubicBezTo>
                    <a:pt x="505619" y="159234"/>
                    <a:pt x="498241" y="152351"/>
                    <a:pt x="494400" y="143451"/>
                  </a:cubicBezTo>
                  <a:cubicBezTo>
                    <a:pt x="489209" y="127231"/>
                    <a:pt x="493050" y="109490"/>
                    <a:pt x="504478" y="96864"/>
                  </a:cubicBezTo>
                  <a:lnTo>
                    <a:pt x="505809" y="95152"/>
                  </a:lnTo>
                  <a:cubicBezTo>
                    <a:pt x="509232" y="91159"/>
                    <a:pt x="512845" y="86976"/>
                    <a:pt x="512275" y="83363"/>
                  </a:cubicBezTo>
                  <a:cubicBezTo>
                    <a:pt x="511286" y="80415"/>
                    <a:pt x="509498" y="77791"/>
                    <a:pt x="507140" y="75757"/>
                  </a:cubicBezTo>
                  <a:cubicBezTo>
                    <a:pt x="502444" y="71840"/>
                    <a:pt x="499667" y="66097"/>
                    <a:pt x="499534" y="59974"/>
                  </a:cubicBezTo>
                  <a:cubicBezTo>
                    <a:pt x="499705" y="58358"/>
                    <a:pt x="500028" y="56779"/>
                    <a:pt x="500485" y="55220"/>
                  </a:cubicBezTo>
                  <a:cubicBezTo>
                    <a:pt x="500637" y="54402"/>
                    <a:pt x="500637" y="53566"/>
                    <a:pt x="500485" y="52748"/>
                  </a:cubicBezTo>
                  <a:cubicBezTo>
                    <a:pt x="500485" y="50086"/>
                    <a:pt x="497632" y="47043"/>
                    <a:pt x="495161" y="44762"/>
                  </a:cubicBezTo>
                  <a:cubicBezTo>
                    <a:pt x="482458" y="33752"/>
                    <a:pt x="468843" y="23826"/>
                    <a:pt x="454468" y="15097"/>
                  </a:cubicBezTo>
                  <a:cubicBezTo>
                    <a:pt x="448459" y="11142"/>
                    <a:pt x="442089" y="7777"/>
                    <a:pt x="435452" y="5019"/>
                  </a:cubicBezTo>
                  <a:cubicBezTo>
                    <a:pt x="425241" y="1863"/>
                    <a:pt x="414573" y="323"/>
                    <a:pt x="403887" y="456"/>
                  </a:cubicBezTo>
                  <a:cubicBezTo>
                    <a:pt x="395634" y="-856"/>
                    <a:pt x="387191" y="684"/>
                    <a:pt x="379927" y="4829"/>
                  </a:cubicBezTo>
                  <a:cubicBezTo>
                    <a:pt x="377322" y="7187"/>
                    <a:pt x="375021" y="9868"/>
                    <a:pt x="373082" y="12816"/>
                  </a:cubicBezTo>
                  <a:cubicBezTo>
                    <a:pt x="371789" y="14736"/>
                    <a:pt x="370401" y="16581"/>
                    <a:pt x="368898" y="18330"/>
                  </a:cubicBezTo>
                  <a:cubicBezTo>
                    <a:pt x="365229" y="22742"/>
                    <a:pt x="360703" y="26355"/>
                    <a:pt x="355587" y="28979"/>
                  </a:cubicBezTo>
                  <a:cubicBezTo>
                    <a:pt x="349160" y="32154"/>
                    <a:pt x="342201" y="34094"/>
                    <a:pt x="335051" y="34683"/>
                  </a:cubicBezTo>
                  <a:cubicBezTo>
                    <a:pt x="335051" y="46853"/>
                    <a:pt x="336953" y="58072"/>
                    <a:pt x="338284" y="69672"/>
                  </a:cubicBezTo>
                  <a:cubicBezTo>
                    <a:pt x="339615" y="78495"/>
                    <a:pt x="337656" y="87489"/>
                    <a:pt x="332769" y="94962"/>
                  </a:cubicBezTo>
                  <a:cubicBezTo>
                    <a:pt x="329480" y="98784"/>
                    <a:pt x="324687" y="101009"/>
                    <a:pt x="319649" y="101047"/>
                  </a:cubicBezTo>
                  <a:cubicBezTo>
                    <a:pt x="315066" y="100971"/>
                    <a:pt x="310711" y="98974"/>
                    <a:pt x="307669" y="95532"/>
                  </a:cubicBezTo>
                  <a:cubicBezTo>
                    <a:pt x="305767" y="93821"/>
                    <a:pt x="304436" y="92680"/>
                    <a:pt x="303105" y="92680"/>
                  </a:cubicBezTo>
                  <a:lnTo>
                    <a:pt x="303105" y="92680"/>
                  </a:lnTo>
                  <a:cubicBezTo>
                    <a:pt x="299796" y="93289"/>
                    <a:pt x="296640" y="94506"/>
                    <a:pt x="293787" y="96293"/>
                  </a:cubicBezTo>
                  <a:cubicBezTo>
                    <a:pt x="289927" y="98670"/>
                    <a:pt x="285687" y="100344"/>
                    <a:pt x="281238" y="101237"/>
                  </a:cubicBezTo>
                  <a:lnTo>
                    <a:pt x="275153" y="101237"/>
                  </a:lnTo>
                  <a:lnTo>
                    <a:pt x="271730" y="101237"/>
                  </a:lnTo>
                  <a:cubicBezTo>
                    <a:pt x="270608" y="102758"/>
                    <a:pt x="269828" y="104508"/>
                    <a:pt x="269448" y="106371"/>
                  </a:cubicBezTo>
                  <a:cubicBezTo>
                    <a:pt x="269448" y="108653"/>
                    <a:pt x="268117" y="110935"/>
                    <a:pt x="267547" y="113217"/>
                  </a:cubicBezTo>
                  <a:cubicBezTo>
                    <a:pt x="266367" y="120043"/>
                    <a:pt x="263705" y="126528"/>
                    <a:pt x="259750" y="132232"/>
                  </a:cubicBezTo>
                  <a:cubicBezTo>
                    <a:pt x="253627" y="140162"/>
                    <a:pt x="244442" y="145125"/>
                    <a:pt x="234459" y="145923"/>
                  </a:cubicBezTo>
                  <a:cubicBezTo>
                    <a:pt x="229782" y="146589"/>
                    <a:pt x="225237" y="147920"/>
                    <a:pt x="220959" y="149917"/>
                  </a:cubicBezTo>
                  <a:cubicBezTo>
                    <a:pt x="219361" y="151019"/>
                    <a:pt x="217954" y="152370"/>
                    <a:pt x="216775" y="153910"/>
                  </a:cubicBezTo>
                  <a:cubicBezTo>
                    <a:pt x="214227" y="157256"/>
                    <a:pt x="210805" y="159824"/>
                    <a:pt x="206887" y="161326"/>
                  </a:cubicBezTo>
                  <a:cubicBezTo>
                    <a:pt x="200650" y="162942"/>
                    <a:pt x="194109" y="162942"/>
                    <a:pt x="187872" y="161326"/>
                  </a:cubicBezTo>
                  <a:cubicBezTo>
                    <a:pt x="185761" y="160755"/>
                    <a:pt x="183594" y="160375"/>
                    <a:pt x="181407" y="160185"/>
                  </a:cubicBezTo>
                  <a:cubicBezTo>
                    <a:pt x="175512" y="160185"/>
                    <a:pt x="169807" y="158664"/>
                    <a:pt x="164293" y="157713"/>
                  </a:cubicBezTo>
                  <a:cubicBezTo>
                    <a:pt x="152789" y="155051"/>
                    <a:pt x="140809" y="155051"/>
                    <a:pt x="129304" y="157713"/>
                  </a:cubicBezTo>
                  <a:cubicBezTo>
                    <a:pt x="119549" y="158207"/>
                    <a:pt x="112058" y="166536"/>
                    <a:pt x="112552" y="176291"/>
                  </a:cubicBezTo>
                  <a:cubicBezTo>
                    <a:pt x="112742" y="180075"/>
                    <a:pt x="114149" y="183688"/>
                    <a:pt x="116564" y="186616"/>
                  </a:cubicBezTo>
                  <a:cubicBezTo>
                    <a:pt x="118218" y="189488"/>
                    <a:pt x="120272" y="192112"/>
                    <a:pt x="122649" y="194413"/>
                  </a:cubicBezTo>
                  <a:cubicBezTo>
                    <a:pt x="126680" y="198254"/>
                    <a:pt x="129894" y="202836"/>
                    <a:pt x="132157" y="207913"/>
                  </a:cubicBezTo>
                  <a:cubicBezTo>
                    <a:pt x="133564" y="213409"/>
                    <a:pt x="133564" y="219152"/>
                    <a:pt x="132157" y="224647"/>
                  </a:cubicBezTo>
                  <a:cubicBezTo>
                    <a:pt x="131891" y="227556"/>
                    <a:pt x="131891" y="230485"/>
                    <a:pt x="132157" y="233394"/>
                  </a:cubicBezTo>
                  <a:cubicBezTo>
                    <a:pt x="132499" y="236037"/>
                    <a:pt x="133773" y="238471"/>
                    <a:pt x="135770" y="240240"/>
                  </a:cubicBezTo>
                  <a:cubicBezTo>
                    <a:pt x="137424" y="242046"/>
                    <a:pt x="138888" y="244024"/>
                    <a:pt x="140143" y="246135"/>
                  </a:cubicBezTo>
                  <a:cubicBezTo>
                    <a:pt x="142653" y="250926"/>
                    <a:pt x="143775" y="256327"/>
                    <a:pt x="143376" y="261727"/>
                  </a:cubicBezTo>
                  <a:cubicBezTo>
                    <a:pt x="143110" y="264009"/>
                    <a:pt x="143110" y="266291"/>
                    <a:pt x="143376" y="268573"/>
                  </a:cubicBezTo>
                  <a:cubicBezTo>
                    <a:pt x="143851" y="270969"/>
                    <a:pt x="144688" y="273269"/>
                    <a:pt x="145848" y="275418"/>
                  </a:cubicBezTo>
                  <a:cubicBezTo>
                    <a:pt x="147464" y="278537"/>
                    <a:pt x="148624" y="281864"/>
                    <a:pt x="149271" y="285306"/>
                  </a:cubicBezTo>
                  <a:cubicBezTo>
                    <a:pt x="149822" y="292988"/>
                    <a:pt x="148301" y="300652"/>
                    <a:pt x="144897" y="307554"/>
                  </a:cubicBezTo>
                  <a:lnTo>
                    <a:pt x="142615" y="313069"/>
                  </a:lnTo>
                  <a:cubicBezTo>
                    <a:pt x="140923" y="318070"/>
                    <a:pt x="138888" y="322975"/>
                    <a:pt x="136530" y="327710"/>
                  </a:cubicBezTo>
                  <a:cubicBezTo>
                    <a:pt x="130692" y="336990"/>
                    <a:pt x="128278" y="348019"/>
                    <a:pt x="129685" y="358896"/>
                  </a:cubicBezTo>
                  <a:lnTo>
                    <a:pt x="129685" y="360987"/>
                  </a:lnTo>
                  <a:cubicBezTo>
                    <a:pt x="131967" y="366654"/>
                    <a:pt x="131967" y="373005"/>
                    <a:pt x="129685" y="378672"/>
                  </a:cubicBezTo>
                  <a:lnTo>
                    <a:pt x="129685" y="380763"/>
                  </a:lnTo>
                  <a:cubicBezTo>
                    <a:pt x="127023" y="387476"/>
                    <a:pt x="127023" y="394968"/>
                    <a:pt x="129685" y="401680"/>
                  </a:cubicBezTo>
                  <a:cubicBezTo>
                    <a:pt x="133697" y="407138"/>
                    <a:pt x="139725" y="410751"/>
                    <a:pt x="146418" y="411758"/>
                  </a:cubicBezTo>
                  <a:cubicBezTo>
                    <a:pt x="151191" y="413128"/>
                    <a:pt x="155774" y="415048"/>
                    <a:pt x="160109" y="417463"/>
                  </a:cubicBezTo>
                  <a:cubicBezTo>
                    <a:pt x="166157" y="420696"/>
                    <a:pt x="170625" y="426267"/>
                    <a:pt x="172470" y="432866"/>
                  </a:cubicBezTo>
                  <a:cubicBezTo>
                    <a:pt x="174219" y="437524"/>
                    <a:pt x="176463" y="441974"/>
                    <a:pt x="179125" y="446176"/>
                  </a:cubicBezTo>
                  <a:lnTo>
                    <a:pt x="183308" y="453783"/>
                  </a:lnTo>
                  <a:cubicBezTo>
                    <a:pt x="185780" y="458726"/>
                    <a:pt x="187302" y="463100"/>
                    <a:pt x="189013" y="467093"/>
                  </a:cubicBezTo>
                  <a:cubicBezTo>
                    <a:pt x="191238" y="475023"/>
                    <a:pt x="195573" y="482172"/>
                    <a:pt x="201563" y="487820"/>
                  </a:cubicBezTo>
                  <a:cubicBezTo>
                    <a:pt x="210881" y="496377"/>
                    <a:pt x="222290" y="506835"/>
                    <a:pt x="222100" y="519195"/>
                  </a:cubicBezTo>
                  <a:cubicBezTo>
                    <a:pt x="221738" y="525071"/>
                    <a:pt x="218810" y="530491"/>
                    <a:pt x="214113" y="534028"/>
                  </a:cubicBezTo>
                  <a:cubicBezTo>
                    <a:pt x="211945" y="535796"/>
                    <a:pt x="209512" y="537222"/>
                    <a:pt x="206887" y="538211"/>
                  </a:cubicBezTo>
                  <a:cubicBezTo>
                    <a:pt x="204643" y="538952"/>
                    <a:pt x="202647" y="540341"/>
                    <a:pt x="201183" y="542204"/>
                  </a:cubicBezTo>
                  <a:cubicBezTo>
                    <a:pt x="198901" y="547928"/>
                    <a:pt x="198064" y="554127"/>
                    <a:pt x="198710" y="560269"/>
                  </a:cubicBezTo>
                  <a:cubicBezTo>
                    <a:pt x="198806" y="562227"/>
                    <a:pt x="198806" y="564205"/>
                    <a:pt x="198710" y="566163"/>
                  </a:cubicBezTo>
                  <a:cubicBezTo>
                    <a:pt x="200746" y="585255"/>
                    <a:pt x="193709" y="604194"/>
                    <a:pt x="179695" y="617315"/>
                  </a:cubicBezTo>
                  <a:cubicBezTo>
                    <a:pt x="169066" y="628230"/>
                    <a:pt x="155546" y="635893"/>
                    <a:pt x="140714" y="639373"/>
                  </a:cubicBezTo>
                  <a:cubicBezTo>
                    <a:pt x="121698" y="642225"/>
                    <a:pt x="116945" y="647930"/>
                    <a:pt x="117135" y="664283"/>
                  </a:cubicBezTo>
                  <a:cubicBezTo>
                    <a:pt x="117287" y="668409"/>
                    <a:pt x="117990" y="672498"/>
                    <a:pt x="119226" y="676453"/>
                  </a:cubicBezTo>
                  <a:cubicBezTo>
                    <a:pt x="124018" y="687253"/>
                    <a:pt x="121489" y="699880"/>
                    <a:pt x="112951" y="708018"/>
                  </a:cubicBezTo>
                  <a:cubicBezTo>
                    <a:pt x="108445" y="711954"/>
                    <a:pt x="102759" y="714293"/>
                    <a:pt x="96788" y="714674"/>
                  </a:cubicBezTo>
                  <a:lnTo>
                    <a:pt x="90323" y="715815"/>
                  </a:lnTo>
                  <a:cubicBezTo>
                    <a:pt x="87109" y="717107"/>
                    <a:pt x="84428" y="719446"/>
                    <a:pt x="82717" y="722470"/>
                  </a:cubicBezTo>
                  <a:cubicBezTo>
                    <a:pt x="80530" y="726140"/>
                    <a:pt x="77545" y="729258"/>
                    <a:pt x="73970" y="731597"/>
                  </a:cubicBezTo>
                  <a:cubicBezTo>
                    <a:pt x="69596" y="733670"/>
                    <a:pt x="64728" y="734526"/>
                    <a:pt x="59898" y="734069"/>
                  </a:cubicBezTo>
                  <a:cubicBezTo>
                    <a:pt x="57502" y="733670"/>
                    <a:pt x="55068" y="733670"/>
                    <a:pt x="52672" y="734069"/>
                  </a:cubicBezTo>
                  <a:cubicBezTo>
                    <a:pt x="49763" y="735324"/>
                    <a:pt x="47291" y="737454"/>
                    <a:pt x="45637" y="740154"/>
                  </a:cubicBezTo>
                  <a:cubicBezTo>
                    <a:pt x="43716" y="742645"/>
                    <a:pt x="41473" y="744889"/>
                    <a:pt x="38981" y="746809"/>
                  </a:cubicBezTo>
                  <a:cubicBezTo>
                    <a:pt x="35768" y="749110"/>
                    <a:pt x="32060" y="750613"/>
                    <a:pt x="28142" y="751183"/>
                  </a:cubicBezTo>
                  <a:cubicBezTo>
                    <a:pt x="26032" y="751506"/>
                    <a:pt x="23978" y="752153"/>
                    <a:pt x="22058" y="753085"/>
                  </a:cubicBezTo>
                  <a:cubicBezTo>
                    <a:pt x="17875" y="756507"/>
                    <a:pt x="14775" y="761052"/>
                    <a:pt x="13121" y="766205"/>
                  </a:cubicBezTo>
                  <a:lnTo>
                    <a:pt x="11409" y="769818"/>
                  </a:lnTo>
                  <a:cubicBezTo>
                    <a:pt x="8157" y="775200"/>
                    <a:pt x="8157" y="781931"/>
                    <a:pt x="11409" y="787312"/>
                  </a:cubicBezTo>
                  <a:cubicBezTo>
                    <a:pt x="14033" y="792465"/>
                    <a:pt x="15574" y="798094"/>
                    <a:pt x="15973" y="803856"/>
                  </a:cubicBezTo>
                  <a:cubicBezTo>
                    <a:pt x="16410" y="809180"/>
                    <a:pt x="14699" y="814447"/>
                    <a:pt x="11219" y="818498"/>
                  </a:cubicBezTo>
                  <a:cubicBezTo>
                    <a:pt x="9850" y="819981"/>
                    <a:pt x="8937" y="821825"/>
                    <a:pt x="8557" y="823822"/>
                  </a:cubicBezTo>
                  <a:cubicBezTo>
                    <a:pt x="9184" y="826902"/>
                    <a:pt x="10553" y="829774"/>
                    <a:pt x="12550" y="832189"/>
                  </a:cubicBezTo>
                  <a:cubicBezTo>
                    <a:pt x="15022" y="835516"/>
                    <a:pt x="16886" y="839243"/>
                    <a:pt x="18064" y="843218"/>
                  </a:cubicBezTo>
                  <a:cubicBezTo>
                    <a:pt x="19111" y="850462"/>
                    <a:pt x="18597" y="857860"/>
                    <a:pt x="16543" y="864895"/>
                  </a:cubicBezTo>
                  <a:cubicBezTo>
                    <a:pt x="14451" y="871779"/>
                    <a:pt x="14451" y="879119"/>
                    <a:pt x="16543" y="886002"/>
                  </a:cubicBezTo>
                  <a:cubicBezTo>
                    <a:pt x="22058" y="901405"/>
                    <a:pt x="28903" y="920420"/>
                    <a:pt x="6656" y="931449"/>
                  </a:cubicBezTo>
                  <a:cubicBezTo>
                    <a:pt x="4564" y="932362"/>
                    <a:pt x="2282" y="932818"/>
                    <a:pt x="0" y="932780"/>
                  </a:cubicBezTo>
                  <a:lnTo>
                    <a:pt x="0" y="932780"/>
                  </a:lnTo>
                  <a:cubicBezTo>
                    <a:pt x="0" y="934301"/>
                    <a:pt x="4754" y="935632"/>
                    <a:pt x="7606" y="936583"/>
                  </a:cubicBezTo>
                  <a:cubicBezTo>
                    <a:pt x="9508" y="937040"/>
                    <a:pt x="11352" y="937686"/>
                    <a:pt x="13121" y="938485"/>
                  </a:cubicBezTo>
                  <a:cubicBezTo>
                    <a:pt x="17038" y="940690"/>
                    <a:pt x="20575" y="943505"/>
                    <a:pt x="23579" y="946851"/>
                  </a:cubicBezTo>
                  <a:cubicBezTo>
                    <a:pt x="25119" y="948677"/>
                    <a:pt x="26907" y="950274"/>
                    <a:pt x="28903" y="951605"/>
                  </a:cubicBezTo>
                  <a:cubicBezTo>
                    <a:pt x="34608" y="955599"/>
                    <a:pt x="40693" y="951605"/>
                    <a:pt x="49630" y="955599"/>
                  </a:cubicBezTo>
                  <a:cubicBezTo>
                    <a:pt x="53680" y="956930"/>
                    <a:pt x="56989" y="959896"/>
                    <a:pt x="58757" y="963775"/>
                  </a:cubicBezTo>
                  <a:cubicBezTo>
                    <a:pt x="60564" y="970754"/>
                    <a:pt x="59461" y="978151"/>
                    <a:pt x="55715" y="984312"/>
                  </a:cubicBezTo>
                  <a:cubicBezTo>
                    <a:pt x="53452" y="988172"/>
                    <a:pt x="52273" y="992583"/>
                    <a:pt x="52292" y="997052"/>
                  </a:cubicBezTo>
                  <a:cubicBezTo>
                    <a:pt x="52787" y="999296"/>
                    <a:pt x="53700" y="1001407"/>
                    <a:pt x="54954" y="1003327"/>
                  </a:cubicBezTo>
                  <a:cubicBezTo>
                    <a:pt x="58320" y="1008138"/>
                    <a:pt x="59689" y="1014071"/>
                    <a:pt x="58757" y="1019870"/>
                  </a:cubicBezTo>
                  <a:cubicBezTo>
                    <a:pt x="57712" y="1024548"/>
                    <a:pt x="54650" y="1028522"/>
                    <a:pt x="50391" y="1030709"/>
                  </a:cubicBezTo>
                  <a:cubicBezTo>
                    <a:pt x="47538" y="1032611"/>
                    <a:pt x="46968" y="1033181"/>
                    <a:pt x="46968" y="1035463"/>
                  </a:cubicBezTo>
                  <a:cubicBezTo>
                    <a:pt x="46968" y="1043640"/>
                    <a:pt x="59518" y="1046112"/>
                    <a:pt x="71497" y="1047443"/>
                  </a:cubicBezTo>
                  <a:lnTo>
                    <a:pt x="74730" y="1047443"/>
                  </a:lnTo>
                  <a:cubicBezTo>
                    <a:pt x="92282" y="1048622"/>
                    <a:pt x="107608" y="1059803"/>
                    <a:pt x="114092" y="1076156"/>
                  </a:cubicBezTo>
                  <a:cubicBezTo>
                    <a:pt x="120557" y="1086843"/>
                    <a:pt x="117667" y="1100724"/>
                    <a:pt x="107437" y="1107912"/>
                  </a:cubicBezTo>
                  <a:cubicBezTo>
                    <a:pt x="104052" y="1110992"/>
                    <a:pt x="101162" y="1114586"/>
                    <a:pt x="98880" y="1118560"/>
                  </a:cubicBezTo>
                  <a:cubicBezTo>
                    <a:pt x="94696" y="1126737"/>
                    <a:pt x="100781" y="1142710"/>
                    <a:pt x="105155" y="1154499"/>
                  </a:cubicBezTo>
                  <a:cubicBezTo>
                    <a:pt x="106676" y="1158112"/>
                    <a:pt x="107817" y="1161345"/>
                    <a:pt x="108768" y="1164197"/>
                  </a:cubicBezTo>
                  <a:cubicBezTo>
                    <a:pt x="112172" y="1174180"/>
                    <a:pt x="116716" y="1183745"/>
                    <a:pt x="122269" y="1192720"/>
                  </a:cubicBezTo>
                  <a:cubicBezTo>
                    <a:pt x="124551" y="1196714"/>
                    <a:pt x="126832" y="1200707"/>
                    <a:pt x="128924" y="1204890"/>
                  </a:cubicBezTo>
                  <a:lnTo>
                    <a:pt x="135389" y="1203179"/>
                  </a:lnTo>
                  <a:cubicBezTo>
                    <a:pt x="139649" y="1202171"/>
                    <a:pt x="143832" y="1200897"/>
                    <a:pt x="147940" y="1199376"/>
                  </a:cubicBezTo>
                  <a:cubicBezTo>
                    <a:pt x="152218" y="1197569"/>
                    <a:pt x="156002" y="1194774"/>
                    <a:pt x="158968" y="1191199"/>
                  </a:cubicBezTo>
                  <a:cubicBezTo>
                    <a:pt x="162030" y="1188081"/>
                    <a:pt x="165415" y="1185266"/>
                    <a:pt x="169046" y="1182832"/>
                  </a:cubicBezTo>
                  <a:lnTo>
                    <a:pt x="177794" y="1178079"/>
                  </a:lnTo>
                  <a:cubicBezTo>
                    <a:pt x="184449" y="1175626"/>
                    <a:pt x="190020" y="1170910"/>
                    <a:pt x="193576" y="1164768"/>
                  </a:cubicBezTo>
                  <a:lnTo>
                    <a:pt x="194527" y="1163247"/>
                  </a:lnTo>
                  <a:cubicBezTo>
                    <a:pt x="198692" y="1152902"/>
                    <a:pt x="207762" y="1145334"/>
                    <a:pt x="218677" y="1143090"/>
                  </a:cubicBezTo>
                  <a:cubicBezTo>
                    <a:pt x="234821" y="1141455"/>
                    <a:pt x="250395" y="1149612"/>
                    <a:pt x="258229" y="1163817"/>
                  </a:cubicBezTo>
                  <a:cubicBezTo>
                    <a:pt x="263458" y="1172887"/>
                    <a:pt x="264086" y="1183878"/>
                    <a:pt x="259940" y="1193481"/>
                  </a:cubicBezTo>
                  <a:cubicBezTo>
                    <a:pt x="259294" y="1195401"/>
                    <a:pt x="258781" y="1197379"/>
                    <a:pt x="258419" y="1199376"/>
                  </a:cubicBezTo>
                  <a:cubicBezTo>
                    <a:pt x="257925" y="1202532"/>
                    <a:pt x="257925" y="1205727"/>
                    <a:pt x="258419" y="1208883"/>
                  </a:cubicBezTo>
                  <a:cubicBezTo>
                    <a:pt x="259237" y="1214208"/>
                    <a:pt x="258647" y="1219646"/>
                    <a:pt x="256708" y="1224666"/>
                  </a:cubicBezTo>
                  <a:cubicBezTo>
                    <a:pt x="255224" y="1227328"/>
                    <a:pt x="253380" y="1229762"/>
                    <a:pt x="251193" y="1231892"/>
                  </a:cubicBezTo>
                  <a:cubicBezTo>
                    <a:pt x="249615" y="1233166"/>
                    <a:pt x="248379" y="1234801"/>
                    <a:pt x="247580" y="1236646"/>
                  </a:cubicBezTo>
                  <a:cubicBezTo>
                    <a:pt x="247485" y="1238414"/>
                    <a:pt x="247808" y="1240164"/>
                    <a:pt x="248531" y="1241780"/>
                  </a:cubicBezTo>
                  <a:cubicBezTo>
                    <a:pt x="249539" y="1244518"/>
                    <a:pt x="250052" y="1247409"/>
                    <a:pt x="250052" y="1250337"/>
                  </a:cubicBezTo>
                  <a:cubicBezTo>
                    <a:pt x="248626" y="1261005"/>
                    <a:pt x="244424" y="1271102"/>
                    <a:pt x="237882" y="1279621"/>
                  </a:cubicBezTo>
                  <a:cubicBezTo>
                    <a:pt x="231170" y="1287284"/>
                    <a:pt x="227633" y="1297210"/>
                    <a:pt x="227994" y="1307383"/>
                  </a:cubicBezTo>
                  <a:cubicBezTo>
                    <a:pt x="228774" y="1311148"/>
                    <a:pt x="230048" y="1314799"/>
                    <a:pt x="231798" y="1318222"/>
                  </a:cubicBezTo>
                  <a:cubicBezTo>
                    <a:pt x="235962" y="1325752"/>
                    <a:pt x="237388" y="1334480"/>
                    <a:pt x="235791" y="1342942"/>
                  </a:cubicBezTo>
                  <a:cubicBezTo>
                    <a:pt x="233851" y="1349426"/>
                    <a:pt x="230410" y="1355359"/>
                    <a:pt x="225713" y="1360246"/>
                  </a:cubicBezTo>
                  <a:cubicBezTo>
                    <a:pt x="222917" y="1363403"/>
                    <a:pt x="220559" y="1366920"/>
                    <a:pt x="218677" y="1370704"/>
                  </a:cubicBezTo>
                  <a:cubicBezTo>
                    <a:pt x="214950" y="1377987"/>
                    <a:pt x="214950" y="1386620"/>
                    <a:pt x="218677" y="1393903"/>
                  </a:cubicBezTo>
                  <a:cubicBezTo>
                    <a:pt x="222308" y="1399874"/>
                    <a:pt x="228622" y="1403715"/>
                    <a:pt x="235600" y="1404171"/>
                  </a:cubicBezTo>
                  <a:cubicBezTo>
                    <a:pt x="244214" y="1405902"/>
                    <a:pt x="253171" y="1404343"/>
                    <a:pt x="260701" y="1399798"/>
                  </a:cubicBezTo>
                  <a:cubicBezTo>
                    <a:pt x="262470" y="1398619"/>
                    <a:pt x="264199" y="1397345"/>
                    <a:pt x="265835" y="1395995"/>
                  </a:cubicBezTo>
                  <a:cubicBezTo>
                    <a:pt x="271653" y="1390176"/>
                    <a:pt x="279678" y="1387134"/>
                    <a:pt x="287893" y="1387628"/>
                  </a:cubicBezTo>
                  <a:cubicBezTo>
                    <a:pt x="304817" y="1388959"/>
                    <a:pt x="310711" y="1402080"/>
                    <a:pt x="315275" y="1412728"/>
                  </a:cubicBezTo>
                  <a:cubicBezTo>
                    <a:pt x="318697" y="1420335"/>
                    <a:pt x="321740" y="1426990"/>
                    <a:pt x="328015" y="1429652"/>
                  </a:cubicBezTo>
                  <a:cubicBezTo>
                    <a:pt x="338569" y="1429899"/>
                    <a:pt x="349084" y="1428150"/>
                    <a:pt x="359011" y="1424518"/>
                  </a:cubicBezTo>
                  <a:cubicBezTo>
                    <a:pt x="363327" y="1421723"/>
                    <a:pt x="366902" y="1417939"/>
                    <a:pt x="369469" y="1413489"/>
                  </a:cubicBezTo>
                  <a:cubicBezTo>
                    <a:pt x="371408" y="1410770"/>
                    <a:pt x="373500" y="1408165"/>
                    <a:pt x="375744" y="1405693"/>
                  </a:cubicBezTo>
                  <a:cubicBezTo>
                    <a:pt x="381848" y="1399551"/>
                    <a:pt x="388675" y="1394189"/>
                    <a:pt x="396090" y="1389720"/>
                  </a:cubicBezTo>
                  <a:cubicBezTo>
                    <a:pt x="409211" y="1381163"/>
                    <a:pt x="419479" y="1374317"/>
                    <a:pt x="420050" y="1357013"/>
                  </a:cubicBezTo>
                  <a:lnTo>
                    <a:pt x="420050" y="1352260"/>
                  </a:lnTo>
                  <a:cubicBezTo>
                    <a:pt x="420050" y="1341611"/>
                    <a:pt x="420050" y="1326969"/>
                    <a:pt x="433931" y="1320123"/>
                  </a:cubicBezTo>
                  <a:cubicBezTo>
                    <a:pt x="438647" y="1317937"/>
                    <a:pt x="443762" y="1316701"/>
                    <a:pt x="448953" y="1316511"/>
                  </a:cubicBezTo>
                  <a:cubicBezTo>
                    <a:pt x="453954" y="1316587"/>
                    <a:pt x="458841" y="1314970"/>
                    <a:pt x="462834" y="1311947"/>
                  </a:cubicBezTo>
                  <a:cubicBezTo>
                    <a:pt x="467855" y="1306736"/>
                    <a:pt x="471905" y="1300690"/>
                    <a:pt x="474814" y="1294072"/>
                  </a:cubicBezTo>
                  <a:cubicBezTo>
                    <a:pt x="482040" y="1280381"/>
                    <a:pt x="490977" y="1263458"/>
                    <a:pt x="511323" y="1268212"/>
                  </a:cubicBezTo>
                  <a:cubicBezTo>
                    <a:pt x="531670" y="1272965"/>
                    <a:pt x="549354" y="1294072"/>
                    <a:pt x="554489" y="1329251"/>
                  </a:cubicBezTo>
                  <a:cubicBezTo>
                    <a:pt x="555097" y="1339025"/>
                    <a:pt x="560611" y="1347829"/>
                    <a:pt x="569130" y="1352640"/>
                  </a:cubicBezTo>
                  <a:cubicBezTo>
                    <a:pt x="580007" y="1360493"/>
                    <a:pt x="584552" y="1374508"/>
                    <a:pt x="580349" y="1387248"/>
                  </a:cubicBezTo>
                  <a:cubicBezTo>
                    <a:pt x="574569" y="1398904"/>
                    <a:pt x="563236" y="1406796"/>
                    <a:pt x="550305" y="1408165"/>
                  </a:cubicBezTo>
                  <a:lnTo>
                    <a:pt x="545932" y="1409306"/>
                  </a:lnTo>
                  <a:cubicBezTo>
                    <a:pt x="541178" y="1410827"/>
                    <a:pt x="536614" y="1412538"/>
                    <a:pt x="532240" y="1414250"/>
                  </a:cubicBezTo>
                  <a:cubicBezTo>
                    <a:pt x="526061" y="1416798"/>
                    <a:pt x="519709" y="1418889"/>
                    <a:pt x="513225" y="1420525"/>
                  </a:cubicBezTo>
                  <a:cubicBezTo>
                    <a:pt x="510468" y="1421057"/>
                    <a:pt x="507673" y="1421438"/>
                    <a:pt x="504858" y="1421666"/>
                  </a:cubicBezTo>
                  <a:cubicBezTo>
                    <a:pt x="499534" y="1421666"/>
                    <a:pt x="491928" y="1421666"/>
                    <a:pt x="490787" y="1425849"/>
                  </a:cubicBezTo>
                  <a:cubicBezTo>
                    <a:pt x="489646" y="1430032"/>
                    <a:pt x="493069" y="1433075"/>
                    <a:pt x="501245" y="1437638"/>
                  </a:cubicBezTo>
                  <a:lnTo>
                    <a:pt x="503527" y="1438970"/>
                  </a:lnTo>
                  <a:cubicBezTo>
                    <a:pt x="511399" y="1442583"/>
                    <a:pt x="517218" y="1449580"/>
                    <a:pt x="519310" y="1457985"/>
                  </a:cubicBezTo>
                  <a:cubicBezTo>
                    <a:pt x="519937" y="1468482"/>
                    <a:pt x="515640" y="1478674"/>
                    <a:pt x="507710" y="1485557"/>
                  </a:cubicBezTo>
                  <a:cubicBezTo>
                    <a:pt x="505999" y="1487649"/>
                    <a:pt x="503908" y="1489551"/>
                    <a:pt x="502006" y="1491452"/>
                  </a:cubicBezTo>
                  <a:cubicBezTo>
                    <a:pt x="497575" y="1495407"/>
                    <a:pt x="493791" y="1500028"/>
                    <a:pt x="490787" y="1505143"/>
                  </a:cubicBezTo>
                  <a:cubicBezTo>
                    <a:pt x="488049" y="1512008"/>
                    <a:pt x="487117" y="1519481"/>
                    <a:pt x="488125" y="1526821"/>
                  </a:cubicBezTo>
                  <a:cubicBezTo>
                    <a:pt x="488125" y="1531194"/>
                    <a:pt x="488125" y="1535758"/>
                    <a:pt x="488125" y="1540131"/>
                  </a:cubicBezTo>
                  <a:cubicBezTo>
                    <a:pt x="485216" y="1554659"/>
                    <a:pt x="477914" y="1567932"/>
                    <a:pt x="467208" y="1578162"/>
                  </a:cubicBezTo>
                  <a:cubicBezTo>
                    <a:pt x="460838" y="1585103"/>
                    <a:pt x="455400" y="1592823"/>
                    <a:pt x="451045" y="1601171"/>
                  </a:cubicBezTo>
                  <a:cubicBezTo>
                    <a:pt x="448649" y="1605925"/>
                    <a:pt x="449010" y="1611591"/>
                    <a:pt x="451995" y="1616003"/>
                  </a:cubicBezTo>
                  <a:cubicBezTo>
                    <a:pt x="453726" y="1619844"/>
                    <a:pt x="455057" y="1623856"/>
                    <a:pt x="455989" y="1627983"/>
                  </a:cubicBezTo>
                  <a:cubicBezTo>
                    <a:pt x="457092" y="1636102"/>
                    <a:pt x="455209" y="1644355"/>
                    <a:pt x="450664" y="1651181"/>
                  </a:cubicBezTo>
                  <a:cubicBezTo>
                    <a:pt x="448706" y="1654528"/>
                    <a:pt x="447185" y="1658103"/>
                    <a:pt x="446101" y="1661830"/>
                  </a:cubicBezTo>
                  <a:cubicBezTo>
                    <a:pt x="444598" y="1673068"/>
                    <a:pt x="444598" y="1684439"/>
                    <a:pt x="446101" y="1695677"/>
                  </a:cubicBezTo>
                  <a:lnTo>
                    <a:pt x="447051" y="1706326"/>
                  </a:lnTo>
                  <a:cubicBezTo>
                    <a:pt x="448002" y="1715054"/>
                    <a:pt x="448002" y="1723839"/>
                    <a:pt x="447051" y="1732567"/>
                  </a:cubicBezTo>
                  <a:cubicBezTo>
                    <a:pt x="447051" y="1737892"/>
                    <a:pt x="447051" y="1739222"/>
                    <a:pt x="447051" y="1739603"/>
                  </a:cubicBezTo>
                  <a:cubicBezTo>
                    <a:pt x="447051" y="1739983"/>
                    <a:pt x="449143" y="1740934"/>
                    <a:pt x="454468" y="1741504"/>
                  </a:cubicBezTo>
                  <a:cubicBezTo>
                    <a:pt x="461427" y="1742170"/>
                    <a:pt x="468349" y="1743254"/>
                    <a:pt x="475194" y="1744737"/>
                  </a:cubicBezTo>
                  <a:lnTo>
                    <a:pt x="486033" y="1746829"/>
                  </a:lnTo>
                  <a:cubicBezTo>
                    <a:pt x="490882" y="1747494"/>
                    <a:pt x="495826" y="1747494"/>
                    <a:pt x="500675" y="1746829"/>
                  </a:cubicBezTo>
                  <a:cubicBezTo>
                    <a:pt x="506969" y="1745802"/>
                    <a:pt x="513396" y="1745802"/>
                    <a:pt x="519690" y="1746829"/>
                  </a:cubicBezTo>
                  <a:cubicBezTo>
                    <a:pt x="527867" y="1749358"/>
                    <a:pt x="534713" y="1755043"/>
                    <a:pt x="538706" y="1762612"/>
                  </a:cubicBezTo>
                  <a:cubicBezTo>
                    <a:pt x="540113" y="1764722"/>
                    <a:pt x="541634" y="1766757"/>
                    <a:pt x="543270" y="1768696"/>
                  </a:cubicBezTo>
                  <a:cubicBezTo>
                    <a:pt x="545932" y="1771739"/>
                    <a:pt x="548784" y="1774591"/>
                    <a:pt x="551826" y="1777253"/>
                  </a:cubicBezTo>
                  <a:cubicBezTo>
                    <a:pt x="557588" y="1782083"/>
                    <a:pt x="562494" y="1787864"/>
                    <a:pt x="566278" y="1794367"/>
                  </a:cubicBezTo>
                  <a:cubicBezTo>
                    <a:pt x="569720" y="1802068"/>
                    <a:pt x="575253" y="1808667"/>
                    <a:pt x="582251" y="1813383"/>
                  </a:cubicBezTo>
                  <a:cubicBezTo>
                    <a:pt x="593052" y="1820019"/>
                    <a:pt x="599498" y="1831904"/>
                    <a:pt x="599174" y="1844568"/>
                  </a:cubicBezTo>
                  <a:lnTo>
                    <a:pt x="600316" y="1844568"/>
                  </a:lnTo>
                  <a:cubicBezTo>
                    <a:pt x="608359" y="1838711"/>
                    <a:pt x="614881" y="1831010"/>
                    <a:pt x="619331" y="1822130"/>
                  </a:cubicBezTo>
                  <a:cubicBezTo>
                    <a:pt x="620225" y="1820418"/>
                    <a:pt x="620985" y="1818631"/>
                    <a:pt x="621613" y="1816805"/>
                  </a:cubicBezTo>
                  <a:cubicBezTo>
                    <a:pt x="624123" y="1807830"/>
                    <a:pt x="631482" y="1801060"/>
                    <a:pt x="640628" y="1799311"/>
                  </a:cubicBezTo>
                  <a:cubicBezTo>
                    <a:pt x="646865" y="1797904"/>
                    <a:pt x="653273" y="1797447"/>
                    <a:pt x="659644" y="1797980"/>
                  </a:cubicBezTo>
                  <a:cubicBezTo>
                    <a:pt x="665710" y="1798646"/>
                    <a:pt x="671832" y="1798113"/>
                    <a:pt x="677708" y="1796459"/>
                  </a:cubicBezTo>
                  <a:cubicBezTo>
                    <a:pt x="682386" y="1794766"/>
                    <a:pt x="686892" y="1792656"/>
                    <a:pt x="691209" y="1790184"/>
                  </a:cubicBezTo>
                  <a:cubicBezTo>
                    <a:pt x="697617" y="1786552"/>
                    <a:pt x="704444" y="1783738"/>
                    <a:pt x="711555" y="1781817"/>
                  </a:cubicBezTo>
                  <a:cubicBezTo>
                    <a:pt x="723326" y="1778946"/>
                    <a:pt x="735648" y="1783642"/>
                    <a:pt x="742551" y="1793606"/>
                  </a:cubicBezTo>
                  <a:cubicBezTo>
                    <a:pt x="745555" y="1796972"/>
                    <a:pt x="748940" y="1799958"/>
                    <a:pt x="752629" y="1802544"/>
                  </a:cubicBezTo>
                  <a:cubicBezTo>
                    <a:pt x="770389" y="1809636"/>
                    <a:pt x="790527" y="1807355"/>
                    <a:pt x="806252" y="1796459"/>
                  </a:cubicBezTo>
                  <a:cubicBezTo>
                    <a:pt x="809542" y="1793568"/>
                    <a:pt x="812242" y="1790089"/>
                    <a:pt x="814239" y="1786190"/>
                  </a:cubicBezTo>
                  <a:cubicBezTo>
                    <a:pt x="817490" y="1779991"/>
                    <a:pt x="822435" y="1774838"/>
                    <a:pt x="828500" y="1771358"/>
                  </a:cubicBezTo>
                  <a:cubicBezTo>
                    <a:pt x="833843" y="1769343"/>
                    <a:pt x="839643" y="1768886"/>
                    <a:pt x="845234" y="1770028"/>
                  </a:cubicBezTo>
                  <a:cubicBezTo>
                    <a:pt x="848828" y="1771111"/>
                    <a:pt x="852669" y="1771111"/>
                    <a:pt x="856263" y="1770028"/>
                  </a:cubicBezTo>
                  <a:cubicBezTo>
                    <a:pt x="858468" y="1768601"/>
                    <a:pt x="860199" y="1766547"/>
                    <a:pt x="861207" y="1764133"/>
                  </a:cubicBezTo>
                  <a:cubicBezTo>
                    <a:pt x="863431" y="1759645"/>
                    <a:pt x="867026" y="1755975"/>
                    <a:pt x="871475" y="1753674"/>
                  </a:cubicBezTo>
                  <a:cubicBezTo>
                    <a:pt x="875639" y="1751792"/>
                    <a:pt x="880431" y="1751792"/>
                    <a:pt x="884595" y="1753674"/>
                  </a:cubicBezTo>
                  <a:cubicBezTo>
                    <a:pt x="890965" y="1757040"/>
                    <a:pt x="895853" y="1762668"/>
                    <a:pt x="898287" y="1769457"/>
                  </a:cubicBezTo>
                  <a:cubicBezTo>
                    <a:pt x="902774" y="1781608"/>
                    <a:pt x="904086" y="1794690"/>
                    <a:pt x="902090" y="1807488"/>
                  </a:cubicBezTo>
                  <a:lnTo>
                    <a:pt x="902090" y="1807488"/>
                  </a:lnTo>
                  <a:cubicBezTo>
                    <a:pt x="903421" y="1810530"/>
                    <a:pt x="904372" y="1813383"/>
                    <a:pt x="905322" y="1816045"/>
                  </a:cubicBezTo>
                  <a:cubicBezTo>
                    <a:pt x="906368" y="1820761"/>
                    <a:pt x="908441" y="1825172"/>
                    <a:pt x="911407" y="1828975"/>
                  </a:cubicBezTo>
                  <a:cubicBezTo>
                    <a:pt x="914697" y="1832284"/>
                    <a:pt x="918405" y="1835155"/>
                    <a:pt x="922436" y="1837532"/>
                  </a:cubicBezTo>
                  <a:cubicBezTo>
                    <a:pt x="930670" y="1841639"/>
                    <a:pt x="937345" y="1848314"/>
                    <a:pt x="941451" y="1856547"/>
                  </a:cubicBezTo>
                  <a:cubicBezTo>
                    <a:pt x="944951" y="1867348"/>
                    <a:pt x="944342" y="1879062"/>
                    <a:pt x="939740" y="1889444"/>
                  </a:cubicBezTo>
                  <a:lnTo>
                    <a:pt x="938409" y="1893628"/>
                  </a:lnTo>
                  <a:cubicBezTo>
                    <a:pt x="933845" y="1905398"/>
                    <a:pt x="934834" y="1918595"/>
                    <a:pt x="941071" y="1929567"/>
                  </a:cubicBezTo>
                  <a:cubicBezTo>
                    <a:pt x="951377" y="1950769"/>
                    <a:pt x="960467" y="1972541"/>
                    <a:pt x="968263" y="1994789"/>
                  </a:cubicBezTo>
                  <a:cubicBezTo>
                    <a:pt x="970089" y="1993553"/>
                    <a:pt x="971743" y="1992070"/>
                    <a:pt x="973207" y="1990416"/>
                  </a:cubicBezTo>
                  <a:cubicBezTo>
                    <a:pt x="981954" y="1980908"/>
                    <a:pt x="979672" y="1975964"/>
                    <a:pt x="974348" y="1964935"/>
                  </a:cubicBezTo>
                  <a:cubicBezTo>
                    <a:pt x="973207" y="1962273"/>
                    <a:pt x="971876" y="1959611"/>
                    <a:pt x="970735" y="1956568"/>
                  </a:cubicBezTo>
                  <a:cubicBezTo>
                    <a:pt x="964289" y="1938104"/>
                    <a:pt x="969804" y="1917587"/>
                    <a:pt x="984617" y="1904847"/>
                  </a:cubicBezTo>
                  <a:cubicBezTo>
                    <a:pt x="990264" y="1897183"/>
                    <a:pt x="997889" y="1891212"/>
                    <a:pt x="1006675" y="1887543"/>
                  </a:cubicBezTo>
                  <a:cubicBezTo>
                    <a:pt x="1013197" y="1885299"/>
                    <a:pt x="1020308" y="1885299"/>
                    <a:pt x="1026831" y="1887543"/>
                  </a:cubicBezTo>
                  <a:cubicBezTo>
                    <a:pt x="1029721" y="1888512"/>
                    <a:pt x="1032726" y="1889159"/>
                    <a:pt x="1035768" y="1889444"/>
                  </a:cubicBezTo>
                  <a:cubicBezTo>
                    <a:pt x="1039362" y="1889691"/>
                    <a:pt x="1042918" y="1888683"/>
                    <a:pt x="1045846" y="1886592"/>
                  </a:cubicBezTo>
                  <a:cubicBezTo>
                    <a:pt x="1048926" y="1884728"/>
                    <a:pt x="1052254" y="1883321"/>
                    <a:pt x="1055734" y="1882408"/>
                  </a:cubicBezTo>
                  <a:cubicBezTo>
                    <a:pt x="1060374" y="1881439"/>
                    <a:pt x="1065166" y="1881439"/>
                    <a:pt x="1069805" y="1882408"/>
                  </a:cubicBezTo>
                  <a:cubicBezTo>
                    <a:pt x="1073324" y="1883074"/>
                    <a:pt x="1076936" y="1883074"/>
                    <a:pt x="1080454" y="1882408"/>
                  </a:cubicBezTo>
                  <a:cubicBezTo>
                    <a:pt x="1095458" y="1876970"/>
                    <a:pt x="1109319" y="1868774"/>
                    <a:pt x="1121337" y="1858259"/>
                  </a:cubicBezTo>
                  <a:cubicBezTo>
                    <a:pt x="1131035" y="1850272"/>
                    <a:pt x="1130084" y="1839244"/>
                    <a:pt x="1128753" y="1825552"/>
                  </a:cubicBezTo>
                  <a:lnTo>
                    <a:pt x="1128753" y="1817946"/>
                  </a:lnTo>
                  <a:cubicBezTo>
                    <a:pt x="1128563" y="1812318"/>
                    <a:pt x="1127536" y="1806746"/>
                    <a:pt x="1125710" y="1801403"/>
                  </a:cubicBezTo>
                  <a:lnTo>
                    <a:pt x="1122669" y="1796839"/>
                  </a:lnTo>
                  <a:cubicBezTo>
                    <a:pt x="1118523" y="1792561"/>
                    <a:pt x="1116621" y="1786571"/>
                    <a:pt x="1117534" y="1780676"/>
                  </a:cubicBezTo>
                  <a:cubicBezTo>
                    <a:pt x="1120006" y="1769457"/>
                    <a:pt x="1130655" y="1767555"/>
                    <a:pt x="1138261" y="1766224"/>
                  </a:cubicBezTo>
                  <a:cubicBezTo>
                    <a:pt x="1141702" y="1765787"/>
                    <a:pt x="1145049" y="1764760"/>
                    <a:pt x="1148149" y="1763182"/>
                  </a:cubicBezTo>
                  <a:cubicBezTo>
                    <a:pt x="1156230" y="1752685"/>
                    <a:pt x="1162239" y="1740744"/>
                    <a:pt x="1165833" y="1728003"/>
                  </a:cubicBezTo>
                  <a:cubicBezTo>
                    <a:pt x="1169123" y="1717830"/>
                    <a:pt x="1168077" y="1706763"/>
                    <a:pt x="1162981" y="1697389"/>
                  </a:cubicBezTo>
                  <a:cubicBezTo>
                    <a:pt x="1158227" y="1691874"/>
                    <a:pt x="1155755" y="1692825"/>
                    <a:pt x="1146818" y="1699670"/>
                  </a:cubicBezTo>
                  <a:cubicBezTo>
                    <a:pt x="1144574" y="1701496"/>
                    <a:pt x="1142216" y="1703227"/>
                    <a:pt x="1139782" y="1704805"/>
                  </a:cubicBezTo>
                  <a:cubicBezTo>
                    <a:pt x="1124950" y="1713552"/>
                    <a:pt x="1118865" y="1708798"/>
                    <a:pt x="1112590" y="1701952"/>
                  </a:cubicBezTo>
                  <a:cubicBezTo>
                    <a:pt x="1110442" y="1699195"/>
                    <a:pt x="1107798" y="1696875"/>
                    <a:pt x="1104794" y="1695107"/>
                  </a:cubicBezTo>
                  <a:cubicBezTo>
                    <a:pt x="1101713" y="1693852"/>
                    <a:pt x="1098423" y="1693129"/>
                    <a:pt x="1095096" y="1693015"/>
                  </a:cubicBezTo>
                  <a:cubicBezTo>
                    <a:pt x="1087015" y="1693395"/>
                    <a:pt x="1079256" y="1689763"/>
                    <a:pt x="1074369" y="1683317"/>
                  </a:cubicBezTo>
                  <a:cubicBezTo>
                    <a:pt x="1067334" y="1670387"/>
                    <a:pt x="1080074" y="1658787"/>
                    <a:pt x="1089201" y="1650231"/>
                  </a:cubicBezTo>
                  <a:cubicBezTo>
                    <a:pt x="1092757" y="1647454"/>
                    <a:pt x="1095894" y="1644203"/>
                    <a:pt x="1098519" y="1640533"/>
                  </a:cubicBezTo>
                  <a:cubicBezTo>
                    <a:pt x="1100648" y="1636102"/>
                    <a:pt x="1102493" y="1631519"/>
                    <a:pt x="1104033" y="1626841"/>
                  </a:cubicBezTo>
                  <a:cubicBezTo>
                    <a:pt x="1106391" y="1619407"/>
                    <a:pt x="1109719" y="1612314"/>
                    <a:pt x="1113921" y="1605735"/>
                  </a:cubicBezTo>
                  <a:cubicBezTo>
                    <a:pt x="1117439" y="1600182"/>
                    <a:pt x="1123201" y="1596436"/>
                    <a:pt x="1129704" y="1595466"/>
                  </a:cubicBezTo>
                  <a:cubicBezTo>
                    <a:pt x="1141455" y="1595181"/>
                    <a:pt x="1152789" y="1599878"/>
                    <a:pt x="1160889" y="1608397"/>
                  </a:cubicBezTo>
                  <a:lnTo>
                    <a:pt x="1164502" y="1611439"/>
                  </a:lnTo>
                  <a:cubicBezTo>
                    <a:pt x="1167354" y="1614139"/>
                    <a:pt x="1170549" y="1616440"/>
                    <a:pt x="1174010" y="1618285"/>
                  </a:cubicBezTo>
                  <a:cubicBezTo>
                    <a:pt x="1176311" y="1619045"/>
                    <a:pt x="1178668" y="1619692"/>
                    <a:pt x="1181045" y="1620186"/>
                  </a:cubicBezTo>
                  <a:cubicBezTo>
                    <a:pt x="1185210" y="1620814"/>
                    <a:pt x="1189222" y="1622221"/>
                    <a:pt x="1192835" y="1624370"/>
                  </a:cubicBezTo>
                  <a:cubicBezTo>
                    <a:pt x="1200517" y="1629941"/>
                    <a:pt x="1204472" y="1639316"/>
                    <a:pt x="1203103" y="1648709"/>
                  </a:cubicBezTo>
                  <a:cubicBezTo>
                    <a:pt x="1203103" y="1657266"/>
                    <a:pt x="1203103" y="1662781"/>
                    <a:pt x="1209759" y="1667725"/>
                  </a:cubicBezTo>
                  <a:cubicBezTo>
                    <a:pt x="1220331" y="1673753"/>
                    <a:pt x="1233053" y="1674665"/>
                    <a:pt x="1244367" y="1670197"/>
                  </a:cubicBezTo>
                  <a:lnTo>
                    <a:pt x="1244367" y="1670197"/>
                  </a:lnTo>
                  <a:cubicBezTo>
                    <a:pt x="1244557" y="1667725"/>
                    <a:pt x="1244557" y="1665253"/>
                    <a:pt x="1244367" y="1662781"/>
                  </a:cubicBezTo>
                  <a:cubicBezTo>
                    <a:pt x="1243587" y="1651390"/>
                    <a:pt x="1241153" y="1640190"/>
                    <a:pt x="1237141" y="1629504"/>
                  </a:cubicBezTo>
                  <a:cubicBezTo>
                    <a:pt x="1223735" y="1593774"/>
                    <a:pt x="1223735" y="1554374"/>
                    <a:pt x="1237141" y="1518644"/>
                  </a:cubicBezTo>
                  <a:cubicBezTo>
                    <a:pt x="1243968" y="1504135"/>
                    <a:pt x="1239689" y="1486831"/>
                    <a:pt x="1226872" y="1477190"/>
                  </a:cubicBezTo>
                  <a:cubicBezTo>
                    <a:pt x="1214988" y="1464811"/>
                    <a:pt x="1205690" y="1450208"/>
                    <a:pt x="1199490" y="1434216"/>
                  </a:cubicBezTo>
                  <a:cubicBezTo>
                    <a:pt x="1191827" y="1420601"/>
                    <a:pt x="1183441" y="1407404"/>
                    <a:pt x="1174390" y="1394664"/>
                  </a:cubicBezTo>
                  <a:cubicBezTo>
                    <a:pt x="1165643" y="1376979"/>
                    <a:pt x="1157276" y="1358344"/>
                    <a:pt x="1147579" y="1341231"/>
                  </a:cubicBezTo>
                  <a:cubicBezTo>
                    <a:pt x="1131035" y="1312137"/>
                    <a:pt x="1095666" y="1298446"/>
                    <a:pt x="1073038" y="1274486"/>
                  </a:cubicBezTo>
                  <a:cubicBezTo>
                    <a:pt x="1060469" y="1262545"/>
                    <a:pt x="1052064" y="1246876"/>
                    <a:pt x="1049078" y="1229800"/>
                  </a:cubicBezTo>
                  <a:cubicBezTo>
                    <a:pt x="1045656" y="1210785"/>
                    <a:pt x="1030063" y="1199376"/>
                    <a:pt x="1026260" y="1179600"/>
                  </a:cubicBezTo>
                  <a:cubicBezTo>
                    <a:pt x="1021563" y="1163037"/>
                    <a:pt x="1018254" y="1146133"/>
                    <a:pt x="1016372" y="1129019"/>
                  </a:cubicBezTo>
                  <a:cubicBezTo>
                    <a:pt x="1016734" y="1119968"/>
                    <a:pt x="1014699" y="1110973"/>
                    <a:pt x="1010477" y="1102968"/>
                  </a:cubicBezTo>
                  <a:cubicBezTo>
                    <a:pt x="1008576" y="1098974"/>
                    <a:pt x="1005343" y="1095552"/>
                    <a:pt x="1003822" y="1091368"/>
                  </a:cubicBezTo>
                  <a:cubicBezTo>
                    <a:pt x="1002301" y="1087185"/>
                    <a:pt x="1003822" y="1080720"/>
                    <a:pt x="1001730" y="1076346"/>
                  </a:cubicBezTo>
                  <a:cubicBezTo>
                    <a:pt x="995456" y="1063035"/>
                    <a:pt x="977961" y="1074064"/>
                    <a:pt x="967693" y="1064937"/>
                  </a:cubicBezTo>
                  <a:cubicBezTo>
                    <a:pt x="957425" y="1055809"/>
                    <a:pt x="958755" y="1039647"/>
                    <a:pt x="943734" y="1030709"/>
                  </a:cubicBezTo>
                  <a:cubicBezTo>
                    <a:pt x="931754" y="1023483"/>
                    <a:pt x="909316" y="1028998"/>
                    <a:pt x="913689" y="1008841"/>
                  </a:cubicBezTo>
                  <a:cubicBezTo>
                    <a:pt x="916732" y="1000665"/>
                    <a:pt x="920345" y="996862"/>
                    <a:pt x="920345" y="98868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45" name="Полилиния: фигура 344">
              <a:extLst>
                <a:ext uri="{FF2B5EF4-FFF2-40B4-BE49-F238E27FC236}">
                  <a16:creationId xmlns:a16="http://schemas.microsoft.com/office/drawing/2014/main" id="{28DCD39F-371D-3CEB-C3E1-CAB40309FFFE}"/>
                </a:ext>
              </a:extLst>
            </p:cNvPr>
            <p:cNvSpPr/>
            <p:nvPr/>
          </p:nvSpPr>
          <p:spPr>
            <a:xfrm>
              <a:off x="8253677" y="4826850"/>
              <a:ext cx="380171" cy="968659"/>
            </a:xfrm>
            <a:custGeom>
              <a:avLst/>
              <a:gdLst>
                <a:gd name="connsiteX0" fmla="*/ 386636 w 397521"/>
                <a:gd name="connsiteY0" fmla="*/ 548974 h 1009906"/>
                <a:gd name="connsiteX1" fmla="*/ 386636 w 397521"/>
                <a:gd name="connsiteY1" fmla="*/ 521021 h 1009906"/>
                <a:gd name="connsiteX2" fmla="*/ 383023 w 397521"/>
                <a:gd name="connsiteY2" fmla="*/ 505049 h 1009906"/>
                <a:gd name="connsiteX3" fmla="*/ 393861 w 397521"/>
                <a:gd name="connsiteY3" fmla="*/ 487935 h 1009906"/>
                <a:gd name="connsiteX4" fmla="*/ 389868 w 397521"/>
                <a:gd name="connsiteY4" fmla="*/ 466447 h 1009906"/>
                <a:gd name="connsiteX5" fmla="*/ 389868 w 397521"/>
                <a:gd name="connsiteY5" fmla="*/ 442488 h 1009906"/>
                <a:gd name="connsiteX6" fmla="*/ 387396 w 397521"/>
                <a:gd name="connsiteY6" fmla="*/ 389815 h 1009906"/>
                <a:gd name="connsiteX7" fmla="*/ 395953 w 397521"/>
                <a:gd name="connsiteY7" fmla="*/ 332769 h 1009906"/>
                <a:gd name="connsiteX8" fmla="*/ 395953 w 397521"/>
                <a:gd name="connsiteY8" fmla="*/ 273631 h 1009906"/>
                <a:gd name="connsiteX9" fmla="*/ 395953 w 397521"/>
                <a:gd name="connsiteY9" fmla="*/ 211261 h 1009906"/>
                <a:gd name="connsiteX10" fmla="*/ 387206 w 397521"/>
                <a:gd name="connsiteY10" fmla="*/ 190724 h 1009906"/>
                <a:gd name="connsiteX11" fmla="*/ 384734 w 397521"/>
                <a:gd name="connsiteY11" fmla="*/ 168666 h 1009906"/>
                <a:gd name="connsiteX12" fmla="*/ 365719 w 397521"/>
                <a:gd name="connsiteY12" fmla="*/ 120367 h 1009906"/>
                <a:gd name="connsiteX13" fmla="*/ 371423 w 397521"/>
                <a:gd name="connsiteY13" fmla="*/ 103634 h 1009906"/>
                <a:gd name="connsiteX14" fmla="*/ 361536 w 397521"/>
                <a:gd name="connsiteY14" fmla="*/ 84618 h 1009906"/>
                <a:gd name="connsiteX15" fmla="*/ 361536 w 397521"/>
                <a:gd name="connsiteY15" fmla="*/ 75301 h 1009906"/>
                <a:gd name="connsiteX16" fmla="*/ 322364 w 397521"/>
                <a:gd name="connsiteY16" fmla="*/ 69976 h 1009906"/>
                <a:gd name="connsiteX17" fmla="*/ 311145 w 397521"/>
                <a:gd name="connsiteY17" fmla="*/ 42594 h 1009906"/>
                <a:gd name="connsiteX18" fmla="*/ 306010 w 397521"/>
                <a:gd name="connsiteY18" fmla="*/ 27382 h 1009906"/>
                <a:gd name="connsiteX19" fmla="*/ 297644 w 397521"/>
                <a:gd name="connsiteY19" fmla="*/ 24720 h 1009906"/>
                <a:gd name="connsiteX20" fmla="*/ 288517 w 397521"/>
                <a:gd name="connsiteY20" fmla="*/ 21868 h 1009906"/>
                <a:gd name="connsiteX21" fmla="*/ 276346 w 397521"/>
                <a:gd name="connsiteY21" fmla="*/ 13501 h 1009906"/>
                <a:gd name="connsiteX22" fmla="*/ 273114 w 397521"/>
                <a:gd name="connsiteY22" fmla="*/ 10649 h 1009906"/>
                <a:gd name="connsiteX23" fmla="*/ 250105 w 397521"/>
                <a:gd name="connsiteY23" fmla="*/ 0 h 1009906"/>
                <a:gd name="connsiteX24" fmla="*/ 241548 w 397521"/>
                <a:gd name="connsiteY24" fmla="*/ 5895 h 1009906"/>
                <a:gd name="connsiteX25" fmla="*/ 233182 w 397521"/>
                <a:gd name="connsiteY25" fmla="*/ 24910 h 1009906"/>
                <a:gd name="connsiteX26" fmla="*/ 226906 w 397521"/>
                <a:gd name="connsiteY26" fmla="*/ 39932 h 1009906"/>
                <a:gd name="connsiteX27" fmla="*/ 215307 w 397521"/>
                <a:gd name="connsiteY27" fmla="*/ 52672 h 1009906"/>
                <a:gd name="connsiteX28" fmla="*/ 202757 w 397521"/>
                <a:gd name="connsiteY28" fmla="*/ 72639 h 1009906"/>
                <a:gd name="connsiteX29" fmla="*/ 215307 w 397521"/>
                <a:gd name="connsiteY29" fmla="*/ 76822 h 1009906"/>
                <a:gd name="connsiteX30" fmla="*/ 229189 w 397521"/>
                <a:gd name="connsiteY30" fmla="*/ 80245 h 1009906"/>
                <a:gd name="connsiteX31" fmla="*/ 239456 w 397521"/>
                <a:gd name="connsiteY31" fmla="*/ 89182 h 1009906"/>
                <a:gd name="connsiteX32" fmla="*/ 253148 w 397521"/>
                <a:gd name="connsiteY32" fmla="*/ 89182 h 1009906"/>
                <a:gd name="connsiteX33" fmla="*/ 259233 w 397521"/>
                <a:gd name="connsiteY33" fmla="*/ 84808 h 1009906"/>
                <a:gd name="connsiteX34" fmla="*/ 290037 w 397521"/>
                <a:gd name="connsiteY34" fmla="*/ 84808 h 1009906"/>
                <a:gd name="connsiteX35" fmla="*/ 294982 w 397521"/>
                <a:gd name="connsiteY35" fmla="*/ 125311 h 1009906"/>
                <a:gd name="connsiteX36" fmla="*/ 273304 w 397521"/>
                <a:gd name="connsiteY36" fmla="*/ 166194 h 1009906"/>
                <a:gd name="connsiteX37" fmla="*/ 259042 w 397521"/>
                <a:gd name="connsiteY37" fmla="*/ 171138 h 1009906"/>
                <a:gd name="connsiteX38" fmla="*/ 246873 w 397521"/>
                <a:gd name="connsiteY38" fmla="*/ 177413 h 1009906"/>
                <a:gd name="connsiteX39" fmla="*/ 250295 w 397521"/>
                <a:gd name="connsiteY39" fmla="*/ 184639 h 1009906"/>
                <a:gd name="connsiteX40" fmla="*/ 254288 w 397521"/>
                <a:gd name="connsiteY40" fmla="*/ 191295 h 1009906"/>
                <a:gd name="connsiteX41" fmla="*/ 258282 w 397521"/>
                <a:gd name="connsiteY41" fmla="*/ 211451 h 1009906"/>
                <a:gd name="connsiteX42" fmla="*/ 258282 w 397521"/>
                <a:gd name="connsiteY42" fmla="*/ 218867 h 1009906"/>
                <a:gd name="connsiteX43" fmla="*/ 246873 w 397521"/>
                <a:gd name="connsiteY43" fmla="*/ 260891 h 1009906"/>
                <a:gd name="connsiteX44" fmla="*/ 201806 w 397521"/>
                <a:gd name="connsiteY44" fmla="*/ 287132 h 1009906"/>
                <a:gd name="connsiteX45" fmla="*/ 186974 w 397521"/>
                <a:gd name="connsiteY45" fmla="*/ 287132 h 1009906"/>
                <a:gd name="connsiteX46" fmla="*/ 176896 w 397521"/>
                <a:gd name="connsiteY46" fmla="*/ 287132 h 1009906"/>
                <a:gd name="connsiteX47" fmla="*/ 169670 w 397521"/>
                <a:gd name="connsiteY47" fmla="*/ 290175 h 1009906"/>
                <a:gd name="connsiteX48" fmla="*/ 153887 w 397521"/>
                <a:gd name="connsiteY48" fmla="*/ 294358 h 1009906"/>
                <a:gd name="connsiteX49" fmla="*/ 142478 w 397521"/>
                <a:gd name="connsiteY49" fmla="*/ 292076 h 1009906"/>
                <a:gd name="connsiteX50" fmla="*/ 128787 w 397521"/>
                <a:gd name="connsiteY50" fmla="*/ 290935 h 1009906"/>
                <a:gd name="connsiteX51" fmla="*/ 112054 w 397521"/>
                <a:gd name="connsiteY51" fmla="*/ 304436 h 1009906"/>
                <a:gd name="connsiteX52" fmla="*/ 99313 w 397521"/>
                <a:gd name="connsiteY52" fmla="*/ 345700 h 1009906"/>
                <a:gd name="connsiteX53" fmla="*/ 102926 w 397521"/>
                <a:gd name="connsiteY53" fmla="*/ 353496 h 1009906"/>
                <a:gd name="connsiteX54" fmla="*/ 99693 w 397521"/>
                <a:gd name="connsiteY54" fmla="*/ 391527 h 1009906"/>
                <a:gd name="connsiteX55" fmla="*/ 90946 w 397521"/>
                <a:gd name="connsiteY55" fmla="*/ 399323 h 1009906"/>
                <a:gd name="connsiteX56" fmla="*/ 90946 w 397521"/>
                <a:gd name="connsiteY56" fmla="*/ 401034 h 1009906"/>
                <a:gd name="connsiteX57" fmla="*/ 97222 w 397521"/>
                <a:gd name="connsiteY57" fmla="*/ 416817 h 1009906"/>
                <a:gd name="connsiteX58" fmla="*/ 111863 w 397521"/>
                <a:gd name="connsiteY58" fmla="*/ 476906 h 1009906"/>
                <a:gd name="connsiteX59" fmla="*/ 116617 w 397521"/>
                <a:gd name="connsiteY59" fmla="*/ 506760 h 1009906"/>
                <a:gd name="connsiteX60" fmla="*/ 119280 w 397521"/>
                <a:gd name="connsiteY60" fmla="*/ 536614 h 1009906"/>
                <a:gd name="connsiteX61" fmla="*/ 118138 w 397521"/>
                <a:gd name="connsiteY61" fmla="*/ 551066 h 1009906"/>
                <a:gd name="connsiteX62" fmla="*/ 124223 w 397521"/>
                <a:gd name="connsiteY62" fmla="*/ 570081 h 1009906"/>
                <a:gd name="connsiteX63" fmla="*/ 122322 w 397521"/>
                <a:gd name="connsiteY63" fmla="*/ 611535 h 1009906"/>
                <a:gd name="connsiteX64" fmla="*/ 74593 w 397521"/>
                <a:gd name="connsiteY64" fmla="*/ 630550 h 1009906"/>
                <a:gd name="connsiteX65" fmla="*/ 71741 w 397521"/>
                <a:gd name="connsiteY65" fmla="*/ 630550 h 1009906"/>
                <a:gd name="connsiteX66" fmla="*/ 60902 w 397521"/>
                <a:gd name="connsiteY66" fmla="*/ 632071 h 1009906"/>
                <a:gd name="connsiteX67" fmla="*/ 24012 w 397521"/>
                <a:gd name="connsiteY67" fmla="*/ 648615 h 1009906"/>
                <a:gd name="connsiteX68" fmla="*/ 24012 w 397521"/>
                <a:gd name="connsiteY68" fmla="*/ 663637 h 1009906"/>
                <a:gd name="connsiteX69" fmla="*/ 24012 w 397521"/>
                <a:gd name="connsiteY69" fmla="*/ 686645 h 1009906"/>
                <a:gd name="connsiteX70" fmla="*/ 11272 w 397521"/>
                <a:gd name="connsiteY70" fmla="*/ 701287 h 1009906"/>
                <a:gd name="connsiteX71" fmla="*/ 1955 w 397521"/>
                <a:gd name="connsiteY71" fmla="*/ 710795 h 1009906"/>
                <a:gd name="connsiteX72" fmla="*/ 10321 w 397521"/>
                <a:gd name="connsiteY72" fmla="*/ 731902 h 1009906"/>
                <a:gd name="connsiteX73" fmla="*/ 19068 w 397521"/>
                <a:gd name="connsiteY73" fmla="*/ 740459 h 1009906"/>
                <a:gd name="connsiteX74" fmla="*/ 46450 w 397521"/>
                <a:gd name="connsiteY74" fmla="*/ 766320 h 1009906"/>
                <a:gd name="connsiteX75" fmla="*/ 80298 w 397521"/>
                <a:gd name="connsiteY75" fmla="*/ 812908 h 1009906"/>
                <a:gd name="connsiteX76" fmla="*/ 93038 w 397521"/>
                <a:gd name="connsiteY76" fmla="*/ 835156 h 1009906"/>
                <a:gd name="connsiteX77" fmla="*/ 105018 w 397521"/>
                <a:gd name="connsiteY77" fmla="*/ 852269 h 1009906"/>
                <a:gd name="connsiteX78" fmla="*/ 135062 w 397521"/>
                <a:gd name="connsiteY78" fmla="*/ 909316 h 1009906"/>
                <a:gd name="connsiteX79" fmla="*/ 120230 w 397521"/>
                <a:gd name="connsiteY79" fmla="*/ 949628 h 1009906"/>
                <a:gd name="connsiteX80" fmla="*/ 109962 w 397521"/>
                <a:gd name="connsiteY80" fmla="*/ 964840 h 1009906"/>
                <a:gd name="connsiteX81" fmla="*/ 101215 w 397521"/>
                <a:gd name="connsiteY81" fmla="*/ 993554 h 1009906"/>
                <a:gd name="connsiteX82" fmla="*/ 113004 w 397521"/>
                <a:gd name="connsiteY82" fmla="*/ 997927 h 1009906"/>
                <a:gd name="connsiteX83" fmla="*/ 132020 w 397521"/>
                <a:gd name="connsiteY83" fmla="*/ 1008956 h 1009906"/>
                <a:gd name="connsiteX84" fmla="*/ 133731 w 397521"/>
                <a:gd name="connsiteY84" fmla="*/ 1009907 h 1009906"/>
                <a:gd name="connsiteX85" fmla="*/ 138105 w 397521"/>
                <a:gd name="connsiteY85" fmla="*/ 995075 h 1009906"/>
                <a:gd name="connsiteX86" fmla="*/ 126315 w 397521"/>
                <a:gd name="connsiteY86" fmla="*/ 977581 h 1009906"/>
                <a:gd name="connsiteX87" fmla="*/ 132210 w 397521"/>
                <a:gd name="connsiteY87" fmla="*/ 956474 h 1009906"/>
                <a:gd name="connsiteX88" fmla="*/ 157691 w 397521"/>
                <a:gd name="connsiteY88" fmla="*/ 932895 h 1009906"/>
                <a:gd name="connsiteX89" fmla="*/ 155218 w 397521"/>
                <a:gd name="connsiteY89" fmla="*/ 913879 h 1009906"/>
                <a:gd name="connsiteX90" fmla="*/ 160352 w 397521"/>
                <a:gd name="connsiteY90" fmla="*/ 887638 h 1009906"/>
                <a:gd name="connsiteX91" fmla="*/ 162064 w 397521"/>
                <a:gd name="connsiteY91" fmla="*/ 844853 h 1009906"/>
                <a:gd name="connsiteX92" fmla="*/ 183551 w 397521"/>
                <a:gd name="connsiteY92" fmla="*/ 835156 h 1009906"/>
                <a:gd name="connsiteX93" fmla="*/ 196672 w 397521"/>
                <a:gd name="connsiteY93" fmla="*/ 825648 h 1009906"/>
                <a:gd name="connsiteX94" fmla="*/ 233372 w 397521"/>
                <a:gd name="connsiteY94" fmla="*/ 850178 h 1009906"/>
                <a:gd name="connsiteX95" fmla="*/ 261895 w 397521"/>
                <a:gd name="connsiteY95" fmla="*/ 834965 h 1009906"/>
                <a:gd name="connsiteX96" fmla="*/ 277678 w 397521"/>
                <a:gd name="connsiteY96" fmla="*/ 836677 h 1009906"/>
                <a:gd name="connsiteX97" fmla="*/ 290418 w 397521"/>
                <a:gd name="connsiteY97" fmla="*/ 827169 h 1009906"/>
                <a:gd name="connsiteX98" fmla="*/ 307151 w 397521"/>
                <a:gd name="connsiteY98" fmla="*/ 827169 h 1009906"/>
                <a:gd name="connsiteX99" fmla="*/ 341759 w 397521"/>
                <a:gd name="connsiteY99" fmla="*/ 778870 h 1009906"/>
                <a:gd name="connsiteX100" fmla="*/ 354119 w 397521"/>
                <a:gd name="connsiteY100" fmla="*/ 765559 h 1009906"/>
                <a:gd name="connsiteX101" fmla="*/ 355450 w 397521"/>
                <a:gd name="connsiteY101" fmla="*/ 745593 h 1009906"/>
                <a:gd name="connsiteX102" fmla="*/ 362486 w 397521"/>
                <a:gd name="connsiteY102" fmla="*/ 726578 h 1009906"/>
                <a:gd name="connsiteX103" fmla="*/ 369332 w 397521"/>
                <a:gd name="connsiteY103" fmla="*/ 699766 h 1009906"/>
                <a:gd name="connsiteX104" fmla="*/ 379410 w 397521"/>
                <a:gd name="connsiteY104" fmla="*/ 683033 h 1009906"/>
                <a:gd name="connsiteX105" fmla="*/ 381312 w 397521"/>
                <a:gd name="connsiteY105" fmla="*/ 664017 h 1009906"/>
                <a:gd name="connsiteX106" fmla="*/ 389868 w 397521"/>
                <a:gd name="connsiteY106" fmla="*/ 646333 h 1009906"/>
                <a:gd name="connsiteX107" fmla="*/ 388918 w 397521"/>
                <a:gd name="connsiteY107" fmla="*/ 615528 h 1009906"/>
                <a:gd name="connsiteX108" fmla="*/ 396904 w 397521"/>
                <a:gd name="connsiteY108" fmla="*/ 595372 h 1009906"/>
                <a:gd name="connsiteX109" fmla="*/ 392720 w 397521"/>
                <a:gd name="connsiteY109" fmla="*/ 572743 h 1009906"/>
                <a:gd name="connsiteX110" fmla="*/ 386636 w 397521"/>
                <a:gd name="connsiteY110" fmla="*/ 548974 h 100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397521" h="1009906">
                  <a:moveTo>
                    <a:pt x="386636" y="548974"/>
                  </a:moveTo>
                  <a:cubicBezTo>
                    <a:pt x="385400" y="539694"/>
                    <a:pt x="385400" y="530301"/>
                    <a:pt x="386636" y="521021"/>
                  </a:cubicBezTo>
                  <a:cubicBezTo>
                    <a:pt x="386636" y="515507"/>
                    <a:pt x="382453" y="510753"/>
                    <a:pt x="383023" y="505049"/>
                  </a:cubicBezTo>
                  <a:cubicBezTo>
                    <a:pt x="383593" y="499344"/>
                    <a:pt x="391580" y="494590"/>
                    <a:pt x="393861" y="487935"/>
                  </a:cubicBezTo>
                  <a:cubicBezTo>
                    <a:pt x="396144" y="481279"/>
                    <a:pt x="392531" y="474053"/>
                    <a:pt x="389868" y="466447"/>
                  </a:cubicBezTo>
                  <a:cubicBezTo>
                    <a:pt x="386845" y="458746"/>
                    <a:pt x="386845" y="450189"/>
                    <a:pt x="389868" y="442488"/>
                  </a:cubicBezTo>
                  <a:cubicBezTo>
                    <a:pt x="391219" y="424899"/>
                    <a:pt x="390382" y="407195"/>
                    <a:pt x="387396" y="389815"/>
                  </a:cubicBezTo>
                  <a:cubicBezTo>
                    <a:pt x="387396" y="370800"/>
                    <a:pt x="396333" y="351785"/>
                    <a:pt x="395953" y="332769"/>
                  </a:cubicBezTo>
                  <a:cubicBezTo>
                    <a:pt x="395573" y="313754"/>
                    <a:pt x="394242" y="294738"/>
                    <a:pt x="395953" y="273631"/>
                  </a:cubicBezTo>
                  <a:cubicBezTo>
                    <a:pt x="398045" y="252886"/>
                    <a:pt x="398045" y="232007"/>
                    <a:pt x="395953" y="211261"/>
                  </a:cubicBezTo>
                  <a:cubicBezTo>
                    <a:pt x="393880" y="204092"/>
                    <a:pt x="390933" y="197189"/>
                    <a:pt x="387206" y="190724"/>
                  </a:cubicBezTo>
                  <a:cubicBezTo>
                    <a:pt x="384601" y="183688"/>
                    <a:pt x="383745" y="176101"/>
                    <a:pt x="384734" y="168666"/>
                  </a:cubicBezTo>
                  <a:cubicBezTo>
                    <a:pt x="384734" y="149651"/>
                    <a:pt x="362486" y="137481"/>
                    <a:pt x="365719" y="120367"/>
                  </a:cubicBezTo>
                  <a:cubicBezTo>
                    <a:pt x="365719" y="114472"/>
                    <a:pt x="372564" y="110099"/>
                    <a:pt x="371423" y="103634"/>
                  </a:cubicBezTo>
                  <a:cubicBezTo>
                    <a:pt x="370282" y="97168"/>
                    <a:pt x="362676" y="92985"/>
                    <a:pt x="361536" y="84618"/>
                  </a:cubicBezTo>
                  <a:cubicBezTo>
                    <a:pt x="361155" y="81519"/>
                    <a:pt x="361155" y="78400"/>
                    <a:pt x="361536" y="75301"/>
                  </a:cubicBezTo>
                  <a:cubicBezTo>
                    <a:pt x="348320" y="79275"/>
                    <a:pt x="334039" y="77335"/>
                    <a:pt x="322364" y="69976"/>
                  </a:cubicBezTo>
                  <a:cubicBezTo>
                    <a:pt x="314016" y="63492"/>
                    <a:pt x="309738" y="53072"/>
                    <a:pt x="311145" y="42594"/>
                  </a:cubicBezTo>
                  <a:cubicBezTo>
                    <a:pt x="311145" y="34608"/>
                    <a:pt x="311145" y="30424"/>
                    <a:pt x="306010" y="27382"/>
                  </a:cubicBezTo>
                  <a:cubicBezTo>
                    <a:pt x="303425" y="25937"/>
                    <a:pt x="300591" y="25024"/>
                    <a:pt x="297644" y="24720"/>
                  </a:cubicBezTo>
                  <a:cubicBezTo>
                    <a:pt x="294506" y="24111"/>
                    <a:pt x="291445" y="23160"/>
                    <a:pt x="288517" y="21868"/>
                  </a:cubicBezTo>
                  <a:cubicBezTo>
                    <a:pt x="284086" y="19662"/>
                    <a:pt x="279998" y="16847"/>
                    <a:pt x="276346" y="13501"/>
                  </a:cubicBezTo>
                  <a:lnTo>
                    <a:pt x="273114" y="10649"/>
                  </a:lnTo>
                  <a:cubicBezTo>
                    <a:pt x="266991" y="4430"/>
                    <a:pt x="258814" y="646"/>
                    <a:pt x="250105" y="0"/>
                  </a:cubicBezTo>
                  <a:cubicBezTo>
                    <a:pt x="246550" y="665"/>
                    <a:pt x="243431" y="2795"/>
                    <a:pt x="241548" y="5895"/>
                  </a:cubicBezTo>
                  <a:cubicBezTo>
                    <a:pt x="237802" y="11770"/>
                    <a:pt x="234988" y="18179"/>
                    <a:pt x="233182" y="24910"/>
                  </a:cubicBezTo>
                  <a:cubicBezTo>
                    <a:pt x="231280" y="29854"/>
                    <a:pt x="229378" y="34988"/>
                    <a:pt x="226906" y="39932"/>
                  </a:cubicBezTo>
                  <a:cubicBezTo>
                    <a:pt x="223807" y="44819"/>
                    <a:pt x="219871" y="49117"/>
                    <a:pt x="215307" y="52672"/>
                  </a:cubicBezTo>
                  <a:cubicBezTo>
                    <a:pt x="206560" y="60849"/>
                    <a:pt x="199905" y="67504"/>
                    <a:pt x="202757" y="72639"/>
                  </a:cubicBezTo>
                  <a:cubicBezTo>
                    <a:pt x="205609" y="77773"/>
                    <a:pt x="209983" y="76252"/>
                    <a:pt x="215307" y="76822"/>
                  </a:cubicBezTo>
                  <a:cubicBezTo>
                    <a:pt x="220118" y="77031"/>
                    <a:pt x="224834" y="78191"/>
                    <a:pt x="229189" y="80245"/>
                  </a:cubicBezTo>
                  <a:cubicBezTo>
                    <a:pt x="233048" y="82698"/>
                    <a:pt x="236509" y="85702"/>
                    <a:pt x="239456" y="89182"/>
                  </a:cubicBezTo>
                  <a:cubicBezTo>
                    <a:pt x="243830" y="93936"/>
                    <a:pt x="244781" y="94887"/>
                    <a:pt x="253148" y="89182"/>
                  </a:cubicBezTo>
                  <a:lnTo>
                    <a:pt x="259233" y="84808"/>
                  </a:lnTo>
                  <a:cubicBezTo>
                    <a:pt x="266459" y="79294"/>
                    <a:pt x="278248" y="69976"/>
                    <a:pt x="290037" y="84808"/>
                  </a:cubicBezTo>
                  <a:cubicBezTo>
                    <a:pt x="297530" y="96940"/>
                    <a:pt x="299336" y="111734"/>
                    <a:pt x="294982" y="125311"/>
                  </a:cubicBezTo>
                  <a:cubicBezTo>
                    <a:pt x="290665" y="140295"/>
                    <a:pt x="283287" y="154214"/>
                    <a:pt x="273304" y="166194"/>
                  </a:cubicBezTo>
                  <a:cubicBezTo>
                    <a:pt x="268988" y="168894"/>
                    <a:pt x="264101" y="170587"/>
                    <a:pt x="259042" y="171138"/>
                  </a:cubicBezTo>
                  <a:cubicBezTo>
                    <a:pt x="251246" y="172469"/>
                    <a:pt x="247823" y="173420"/>
                    <a:pt x="246873" y="177413"/>
                  </a:cubicBezTo>
                  <a:cubicBezTo>
                    <a:pt x="245922" y="181407"/>
                    <a:pt x="246873" y="181217"/>
                    <a:pt x="250295" y="184639"/>
                  </a:cubicBezTo>
                  <a:cubicBezTo>
                    <a:pt x="251855" y="186712"/>
                    <a:pt x="253186" y="188937"/>
                    <a:pt x="254288" y="191295"/>
                  </a:cubicBezTo>
                  <a:cubicBezTo>
                    <a:pt x="256894" y="197703"/>
                    <a:pt x="258244" y="204548"/>
                    <a:pt x="258282" y="211451"/>
                  </a:cubicBezTo>
                  <a:lnTo>
                    <a:pt x="258282" y="218867"/>
                  </a:lnTo>
                  <a:cubicBezTo>
                    <a:pt x="262332" y="233908"/>
                    <a:pt x="257977" y="249976"/>
                    <a:pt x="246873" y="260891"/>
                  </a:cubicBezTo>
                  <a:cubicBezTo>
                    <a:pt x="233581" y="272319"/>
                    <a:pt x="218311" y="281218"/>
                    <a:pt x="201806" y="287132"/>
                  </a:cubicBezTo>
                  <a:cubicBezTo>
                    <a:pt x="196919" y="288102"/>
                    <a:pt x="191861" y="288102"/>
                    <a:pt x="186974" y="287132"/>
                  </a:cubicBezTo>
                  <a:cubicBezTo>
                    <a:pt x="183646" y="286486"/>
                    <a:pt x="180224" y="286486"/>
                    <a:pt x="176896" y="287132"/>
                  </a:cubicBezTo>
                  <a:cubicBezTo>
                    <a:pt x="174348" y="287779"/>
                    <a:pt x="171914" y="288805"/>
                    <a:pt x="169670" y="290175"/>
                  </a:cubicBezTo>
                  <a:cubicBezTo>
                    <a:pt x="164973" y="293179"/>
                    <a:pt x="159459" y="294643"/>
                    <a:pt x="153887" y="294358"/>
                  </a:cubicBezTo>
                  <a:cubicBezTo>
                    <a:pt x="150009" y="294035"/>
                    <a:pt x="146186" y="293274"/>
                    <a:pt x="142478" y="292076"/>
                  </a:cubicBezTo>
                  <a:cubicBezTo>
                    <a:pt x="138181" y="290099"/>
                    <a:pt x="133351" y="289699"/>
                    <a:pt x="128787" y="290935"/>
                  </a:cubicBezTo>
                  <a:cubicBezTo>
                    <a:pt x="122113" y="293883"/>
                    <a:pt x="116332" y="298541"/>
                    <a:pt x="112054" y="304436"/>
                  </a:cubicBezTo>
                  <a:cubicBezTo>
                    <a:pt x="97602" y="320409"/>
                    <a:pt x="93989" y="332579"/>
                    <a:pt x="99313" y="345700"/>
                  </a:cubicBezTo>
                  <a:cubicBezTo>
                    <a:pt x="100454" y="348552"/>
                    <a:pt x="101785" y="351024"/>
                    <a:pt x="102926" y="353496"/>
                  </a:cubicBezTo>
                  <a:cubicBezTo>
                    <a:pt x="111731" y="365133"/>
                    <a:pt x="110342" y="381543"/>
                    <a:pt x="99693" y="391527"/>
                  </a:cubicBezTo>
                  <a:cubicBezTo>
                    <a:pt x="97012" y="394379"/>
                    <a:pt x="94084" y="396984"/>
                    <a:pt x="90946" y="399323"/>
                  </a:cubicBezTo>
                  <a:lnTo>
                    <a:pt x="90946" y="401034"/>
                  </a:lnTo>
                  <a:lnTo>
                    <a:pt x="97222" y="416817"/>
                  </a:lnTo>
                  <a:cubicBezTo>
                    <a:pt x="106387" y="435547"/>
                    <a:pt x="111388" y="456046"/>
                    <a:pt x="111863" y="476906"/>
                  </a:cubicBezTo>
                  <a:cubicBezTo>
                    <a:pt x="110627" y="487098"/>
                    <a:pt x="112282" y="497442"/>
                    <a:pt x="116617" y="506760"/>
                  </a:cubicBezTo>
                  <a:cubicBezTo>
                    <a:pt x="120668" y="516172"/>
                    <a:pt x="121599" y="526631"/>
                    <a:pt x="119280" y="536614"/>
                  </a:cubicBezTo>
                  <a:cubicBezTo>
                    <a:pt x="118500" y="541387"/>
                    <a:pt x="118120" y="546217"/>
                    <a:pt x="118138" y="551066"/>
                  </a:cubicBezTo>
                  <a:cubicBezTo>
                    <a:pt x="118937" y="557740"/>
                    <a:pt x="121010" y="564186"/>
                    <a:pt x="124223" y="570081"/>
                  </a:cubicBezTo>
                  <a:cubicBezTo>
                    <a:pt x="130118" y="582441"/>
                    <a:pt x="137154" y="597653"/>
                    <a:pt x="122322" y="611535"/>
                  </a:cubicBezTo>
                  <a:cubicBezTo>
                    <a:pt x="108422" y="622088"/>
                    <a:pt x="91935" y="628649"/>
                    <a:pt x="74593" y="630550"/>
                  </a:cubicBezTo>
                  <a:lnTo>
                    <a:pt x="71741" y="630550"/>
                  </a:lnTo>
                  <a:lnTo>
                    <a:pt x="60902" y="632071"/>
                  </a:lnTo>
                  <a:cubicBezTo>
                    <a:pt x="45690" y="633973"/>
                    <a:pt x="28386" y="636065"/>
                    <a:pt x="24012" y="648615"/>
                  </a:cubicBezTo>
                  <a:cubicBezTo>
                    <a:pt x="22700" y="653540"/>
                    <a:pt x="22700" y="658712"/>
                    <a:pt x="24012" y="663637"/>
                  </a:cubicBezTo>
                  <a:cubicBezTo>
                    <a:pt x="26769" y="671053"/>
                    <a:pt x="26769" y="679229"/>
                    <a:pt x="24012" y="686645"/>
                  </a:cubicBezTo>
                  <a:cubicBezTo>
                    <a:pt x="20970" y="692464"/>
                    <a:pt x="16615" y="697465"/>
                    <a:pt x="11272" y="701287"/>
                  </a:cubicBezTo>
                  <a:cubicBezTo>
                    <a:pt x="7564" y="703816"/>
                    <a:pt x="4407" y="707049"/>
                    <a:pt x="1955" y="710795"/>
                  </a:cubicBezTo>
                  <a:cubicBezTo>
                    <a:pt x="-2419" y="718591"/>
                    <a:pt x="623" y="722775"/>
                    <a:pt x="10321" y="731902"/>
                  </a:cubicBezTo>
                  <a:lnTo>
                    <a:pt x="19068" y="740459"/>
                  </a:lnTo>
                  <a:cubicBezTo>
                    <a:pt x="28196" y="749586"/>
                    <a:pt x="36943" y="758143"/>
                    <a:pt x="46450" y="766320"/>
                  </a:cubicBezTo>
                  <a:cubicBezTo>
                    <a:pt x="60693" y="779478"/>
                    <a:pt x="72197" y="795299"/>
                    <a:pt x="80298" y="812908"/>
                  </a:cubicBezTo>
                  <a:cubicBezTo>
                    <a:pt x="84291" y="820133"/>
                    <a:pt x="88285" y="827740"/>
                    <a:pt x="93038" y="835156"/>
                  </a:cubicBezTo>
                  <a:cubicBezTo>
                    <a:pt x="97792" y="842572"/>
                    <a:pt x="100835" y="846565"/>
                    <a:pt x="105018" y="852269"/>
                  </a:cubicBezTo>
                  <a:cubicBezTo>
                    <a:pt x="119185" y="868794"/>
                    <a:pt x="129452" y="888285"/>
                    <a:pt x="135062" y="909316"/>
                  </a:cubicBezTo>
                  <a:cubicBezTo>
                    <a:pt x="136241" y="924281"/>
                    <a:pt x="130822" y="938998"/>
                    <a:pt x="120230" y="949628"/>
                  </a:cubicBezTo>
                  <a:cubicBezTo>
                    <a:pt x="116313" y="954344"/>
                    <a:pt x="112871" y="959440"/>
                    <a:pt x="109962" y="964840"/>
                  </a:cubicBezTo>
                  <a:cubicBezTo>
                    <a:pt x="105683" y="973949"/>
                    <a:pt x="102736" y="983609"/>
                    <a:pt x="101215" y="993554"/>
                  </a:cubicBezTo>
                  <a:cubicBezTo>
                    <a:pt x="105208" y="994808"/>
                    <a:pt x="109144" y="996273"/>
                    <a:pt x="113004" y="997927"/>
                  </a:cubicBezTo>
                  <a:cubicBezTo>
                    <a:pt x="119584" y="1001160"/>
                    <a:pt x="125935" y="1004849"/>
                    <a:pt x="132020" y="1008956"/>
                  </a:cubicBezTo>
                  <a:lnTo>
                    <a:pt x="133731" y="1009907"/>
                  </a:lnTo>
                  <a:cubicBezTo>
                    <a:pt x="136983" y="1005686"/>
                    <a:pt x="138542" y="1000399"/>
                    <a:pt x="138105" y="995075"/>
                  </a:cubicBezTo>
                  <a:cubicBezTo>
                    <a:pt x="138105" y="986328"/>
                    <a:pt x="129358" y="984426"/>
                    <a:pt x="126315" y="977581"/>
                  </a:cubicBezTo>
                  <a:cubicBezTo>
                    <a:pt x="123615" y="970013"/>
                    <a:pt x="125973" y="961551"/>
                    <a:pt x="132210" y="956474"/>
                  </a:cubicBezTo>
                  <a:cubicBezTo>
                    <a:pt x="139816" y="948107"/>
                    <a:pt x="154268" y="944875"/>
                    <a:pt x="157691" y="932895"/>
                  </a:cubicBezTo>
                  <a:cubicBezTo>
                    <a:pt x="158223" y="926448"/>
                    <a:pt x="157386" y="919964"/>
                    <a:pt x="155218" y="913879"/>
                  </a:cubicBezTo>
                  <a:cubicBezTo>
                    <a:pt x="154439" y="904828"/>
                    <a:pt x="156226" y="895739"/>
                    <a:pt x="160352" y="887638"/>
                  </a:cubicBezTo>
                  <a:cubicBezTo>
                    <a:pt x="164726" y="873757"/>
                    <a:pt x="153698" y="855692"/>
                    <a:pt x="162064" y="844853"/>
                  </a:cubicBezTo>
                  <a:cubicBezTo>
                    <a:pt x="167198" y="838198"/>
                    <a:pt x="176516" y="837818"/>
                    <a:pt x="183551" y="835156"/>
                  </a:cubicBezTo>
                  <a:cubicBezTo>
                    <a:pt x="188781" y="833368"/>
                    <a:pt x="193344" y="830059"/>
                    <a:pt x="196672" y="825648"/>
                  </a:cubicBezTo>
                  <a:cubicBezTo>
                    <a:pt x="219871" y="803020"/>
                    <a:pt x="208652" y="857594"/>
                    <a:pt x="233372" y="850178"/>
                  </a:cubicBezTo>
                  <a:cubicBezTo>
                    <a:pt x="245732" y="846565"/>
                    <a:pt x="249345" y="834205"/>
                    <a:pt x="261895" y="834965"/>
                  </a:cubicBezTo>
                  <a:cubicBezTo>
                    <a:pt x="268931" y="834965"/>
                    <a:pt x="270072" y="839910"/>
                    <a:pt x="277678" y="836677"/>
                  </a:cubicBezTo>
                  <a:cubicBezTo>
                    <a:pt x="282241" y="834775"/>
                    <a:pt x="285093" y="827549"/>
                    <a:pt x="290418" y="827169"/>
                  </a:cubicBezTo>
                  <a:cubicBezTo>
                    <a:pt x="301827" y="827169"/>
                    <a:pt x="297834" y="841621"/>
                    <a:pt x="307151" y="827169"/>
                  </a:cubicBezTo>
                  <a:cubicBezTo>
                    <a:pt x="317153" y="810036"/>
                    <a:pt x="328753" y="793854"/>
                    <a:pt x="341759" y="778870"/>
                  </a:cubicBezTo>
                  <a:cubicBezTo>
                    <a:pt x="346646" y="775200"/>
                    <a:pt x="350830" y="770694"/>
                    <a:pt x="354119" y="765559"/>
                  </a:cubicBezTo>
                  <a:cubicBezTo>
                    <a:pt x="356782" y="759665"/>
                    <a:pt x="354119" y="752058"/>
                    <a:pt x="355450" y="745593"/>
                  </a:cubicBezTo>
                  <a:cubicBezTo>
                    <a:pt x="357010" y="738995"/>
                    <a:pt x="359368" y="732606"/>
                    <a:pt x="362486" y="726578"/>
                  </a:cubicBezTo>
                  <a:cubicBezTo>
                    <a:pt x="366289" y="717831"/>
                    <a:pt x="366099" y="707562"/>
                    <a:pt x="369332" y="699766"/>
                  </a:cubicBezTo>
                  <a:cubicBezTo>
                    <a:pt x="372564" y="691970"/>
                    <a:pt x="377508" y="689498"/>
                    <a:pt x="379410" y="683033"/>
                  </a:cubicBezTo>
                  <a:cubicBezTo>
                    <a:pt x="381312" y="676567"/>
                    <a:pt x="379410" y="669722"/>
                    <a:pt x="381312" y="664017"/>
                  </a:cubicBezTo>
                  <a:cubicBezTo>
                    <a:pt x="383213" y="658313"/>
                    <a:pt x="388537" y="653368"/>
                    <a:pt x="389868" y="646333"/>
                  </a:cubicBezTo>
                  <a:cubicBezTo>
                    <a:pt x="391960" y="636065"/>
                    <a:pt x="387016" y="625796"/>
                    <a:pt x="388918" y="615528"/>
                  </a:cubicBezTo>
                  <a:cubicBezTo>
                    <a:pt x="390059" y="608112"/>
                    <a:pt x="395383" y="602597"/>
                    <a:pt x="396904" y="595372"/>
                  </a:cubicBezTo>
                  <a:cubicBezTo>
                    <a:pt x="397627" y="587594"/>
                    <a:pt x="396181" y="579760"/>
                    <a:pt x="392720" y="572743"/>
                  </a:cubicBezTo>
                  <a:cubicBezTo>
                    <a:pt x="390439" y="564567"/>
                    <a:pt x="388727" y="556770"/>
                    <a:pt x="386636" y="54897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46" name="Полилиния: фигура 345">
              <a:extLst>
                <a:ext uri="{FF2B5EF4-FFF2-40B4-BE49-F238E27FC236}">
                  <a16:creationId xmlns:a16="http://schemas.microsoft.com/office/drawing/2014/main" id="{52308AA6-4481-9B69-083C-99EA0C9E66C7}"/>
                </a:ext>
              </a:extLst>
            </p:cNvPr>
            <p:cNvSpPr/>
            <p:nvPr/>
          </p:nvSpPr>
          <p:spPr>
            <a:xfrm>
              <a:off x="7538857" y="999321"/>
              <a:ext cx="1136961" cy="1457842"/>
            </a:xfrm>
            <a:custGeom>
              <a:avLst/>
              <a:gdLst>
                <a:gd name="connsiteX0" fmla="*/ 37270 w 1188848"/>
                <a:gd name="connsiteY0" fmla="*/ 1129457 h 1519919"/>
                <a:gd name="connsiteX1" fmla="*/ 61420 w 1188848"/>
                <a:gd name="connsiteY1" fmla="*/ 1134971 h 1519919"/>
                <a:gd name="connsiteX2" fmla="*/ 69976 w 1188848"/>
                <a:gd name="connsiteY2" fmla="*/ 1144859 h 1519919"/>
                <a:gd name="connsiteX3" fmla="*/ 74730 w 1188848"/>
                <a:gd name="connsiteY3" fmla="*/ 1150564 h 1519919"/>
                <a:gd name="connsiteX4" fmla="*/ 84808 w 1188848"/>
                <a:gd name="connsiteY4" fmla="*/ 1152085 h 1519919"/>
                <a:gd name="connsiteX5" fmla="*/ 92986 w 1188848"/>
                <a:gd name="connsiteY5" fmla="*/ 1152085 h 1519919"/>
                <a:gd name="connsiteX6" fmla="*/ 109909 w 1188848"/>
                <a:gd name="connsiteY6" fmla="*/ 1161212 h 1519919"/>
                <a:gd name="connsiteX7" fmla="*/ 113522 w 1188848"/>
                <a:gd name="connsiteY7" fmla="*/ 1165396 h 1519919"/>
                <a:gd name="connsiteX8" fmla="*/ 123980 w 1188848"/>
                <a:gd name="connsiteY8" fmla="*/ 1172241 h 1519919"/>
                <a:gd name="connsiteX9" fmla="*/ 153645 w 1188848"/>
                <a:gd name="connsiteY9" fmla="*/ 1206659 h 1519919"/>
                <a:gd name="connsiteX10" fmla="*/ 136150 w 1188848"/>
                <a:gd name="connsiteY10" fmla="*/ 1234612 h 1519919"/>
                <a:gd name="connsiteX11" fmla="*/ 123980 w 1188848"/>
                <a:gd name="connsiteY11" fmla="*/ 1245260 h 1519919"/>
                <a:gd name="connsiteX12" fmla="*/ 119036 w 1188848"/>
                <a:gd name="connsiteY12" fmla="*/ 1271311 h 1519919"/>
                <a:gd name="connsiteX13" fmla="*/ 115043 w 1188848"/>
                <a:gd name="connsiteY13" fmla="*/ 1298123 h 1519919"/>
                <a:gd name="connsiteX14" fmla="*/ 102873 w 1188848"/>
                <a:gd name="connsiteY14" fmla="*/ 1319040 h 1519919"/>
                <a:gd name="connsiteX15" fmla="*/ 90323 w 1188848"/>
                <a:gd name="connsiteY15" fmla="*/ 1341288 h 1519919"/>
                <a:gd name="connsiteX16" fmla="*/ 86900 w 1188848"/>
                <a:gd name="connsiteY16" fmla="*/ 1354219 h 1519919"/>
                <a:gd name="connsiteX17" fmla="*/ 84238 w 1188848"/>
                <a:gd name="connsiteY17" fmla="*/ 1364297 h 1519919"/>
                <a:gd name="connsiteX18" fmla="*/ 81006 w 1188848"/>
                <a:gd name="connsiteY18" fmla="*/ 1372854 h 1519919"/>
                <a:gd name="connsiteX19" fmla="*/ 76822 w 1188848"/>
                <a:gd name="connsiteY19" fmla="*/ 1386164 h 1519919"/>
                <a:gd name="connsiteX20" fmla="*/ 86330 w 1188848"/>
                <a:gd name="connsiteY20" fmla="*/ 1400616 h 1519919"/>
                <a:gd name="connsiteX21" fmla="*/ 101542 w 1188848"/>
                <a:gd name="connsiteY21" fmla="*/ 1405940 h 1519919"/>
                <a:gd name="connsiteX22" fmla="*/ 110289 w 1188848"/>
                <a:gd name="connsiteY22" fmla="*/ 1411455 h 1519919"/>
                <a:gd name="connsiteX23" fmla="*/ 110289 w 1188848"/>
                <a:gd name="connsiteY23" fmla="*/ 1422674 h 1519919"/>
                <a:gd name="connsiteX24" fmla="*/ 109338 w 1188848"/>
                <a:gd name="connsiteY24" fmla="*/ 1424956 h 1519919"/>
                <a:gd name="connsiteX25" fmla="*/ 109338 w 1188848"/>
                <a:gd name="connsiteY25" fmla="*/ 1426287 h 1519919"/>
                <a:gd name="connsiteX26" fmla="*/ 107247 w 1188848"/>
                <a:gd name="connsiteY26" fmla="*/ 1431421 h 1519919"/>
                <a:gd name="connsiteX27" fmla="*/ 117705 w 1188848"/>
                <a:gd name="connsiteY27" fmla="*/ 1445873 h 1519919"/>
                <a:gd name="connsiteX28" fmla="*/ 162201 w 1188848"/>
                <a:gd name="connsiteY28" fmla="*/ 1451197 h 1519919"/>
                <a:gd name="connsiteX29" fmla="*/ 206127 w 1188848"/>
                <a:gd name="connsiteY29" fmla="*/ 1445873 h 1519919"/>
                <a:gd name="connsiteX30" fmla="*/ 210500 w 1188848"/>
                <a:gd name="connsiteY30" fmla="*/ 1447014 h 1519919"/>
                <a:gd name="connsiteX31" fmla="*/ 229516 w 1188848"/>
                <a:gd name="connsiteY31" fmla="*/ 1458613 h 1519919"/>
                <a:gd name="connsiteX32" fmla="*/ 235411 w 1188848"/>
                <a:gd name="connsiteY32" fmla="*/ 1469832 h 1519919"/>
                <a:gd name="connsiteX33" fmla="*/ 240164 w 1188848"/>
                <a:gd name="connsiteY33" fmla="*/ 1479150 h 1519919"/>
                <a:gd name="connsiteX34" fmla="*/ 257849 w 1188848"/>
                <a:gd name="connsiteY34" fmla="*/ 1495503 h 1519919"/>
                <a:gd name="connsiteX35" fmla="*/ 261652 w 1188848"/>
                <a:gd name="connsiteY35" fmla="*/ 1498545 h 1519919"/>
                <a:gd name="connsiteX36" fmla="*/ 273441 w 1188848"/>
                <a:gd name="connsiteY36" fmla="*/ 1492270 h 1519919"/>
                <a:gd name="connsiteX37" fmla="*/ 316416 w 1188848"/>
                <a:gd name="connsiteY37" fmla="*/ 1499686 h 1519919"/>
                <a:gd name="connsiteX38" fmla="*/ 322311 w 1188848"/>
                <a:gd name="connsiteY38" fmla="*/ 1508243 h 1519919"/>
                <a:gd name="connsiteX39" fmla="*/ 328586 w 1188848"/>
                <a:gd name="connsiteY39" fmla="*/ 1516420 h 1519919"/>
                <a:gd name="connsiteX40" fmla="*/ 357489 w 1188848"/>
                <a:gd name="connsiteY40" fmla="*/ 1514708 h 1519919"/>
                <a:gd name="connsiteX41" fmla="*/ 368138 w 1188848"/>
                <a:gd name="connsiteY41" fmla="*/ 1507673 h 1519919"/>
                <a:gd name="connsiteX42" fmla="*/ 390766 w 1188848"/>
                <a:gd name="connsiteY42" fmla="*/ 1495122 h 1519919"/>
                <a:gd name="connsiteX43" fmla="*/ 425184 w 1188848"/>
                <a:gd name="connsiteY43" fmla="*/ 1495122 h 1519919"/>
                <a:gd name="connsiteX44" fmla="*/ 444200 w 1188848"/>
                <a:gd name="connsiteY44" fmla="*/ 1493221 h 1519919"/>
                <a:gd name="connsiteX45" fmla="*/ 450665 w 1188848"/>
                <a:gd name="connsiteY45" fmla="*/ 1485235 h 1519919"/>
                <a:gd name="connsiteX46" fmla="*/ 453517 w 1188848"/>
                <a:gd name="connsiteY46" fmla="*/ 1480671 h 1519919"/>
                <a:gd name="connsiteX47" fmla="*/ 499154 w 1188848"/>
                <a:gd name="connsiteY47" fmla="*/ 1458233 h 1519919"/>
                <a:gd name="connsiteX48" fmla="*/ 506950 w 1188848"/>
                <a:gd name="connsiteY48" fmla="*/ 1458233 h 1519919"/>
                <a:gd name="connsiteX49" fmla="*/ 523494 w 1188848"/>
                <a:gd name="connsiteY49" fmla="*/ 1456521 h 1519919"/>
                <a:gd name="connsiteX50" fmla="*/ 535093 w 1188848"/>
                <a:gd name="connsiteY50" fmla="*/ 1451007 h 1519919"/>
                <a:gd name="connsiteX51" fmla="*/ 564947 w 1188848"/>
                <a:gd name="connsiteY51" fmla="*/ 1416019 h 1519919"/>
                <a:gd name="connsiteX52" fmla="*/ 556200 w 1188848"/>
                <a:gd name="connsiteY52" fmla="*/ 1403659 h 1519919"/>
                <a:gd name="connsiteX53" fmla="*/ 563426 w 1188848"/>
                <a:gd name="connsiteY53" fmla="*/ 1368670 h 1519919"/>
                <a:gd name="connsiteX54" fmla="*/ 567989 w 1188848"/>
                <a:gd name="connsiteY54" fmla="*/ 1362585 h 1519919"/>
                <a:gd name="connsiteX55" fmla="*/ 571602 w 1188848"/>
                <a:gd name="connsiteY55" fmla="*/ 1356500 h 1519919"/>
                <a:gd name="connsiteX56" fmla="*/ 580540 w 1188848"/>
                <a:gd name="connsiteY56" fmla="*/ 1343760 h 1519919"/>
                <a:gd name="connsiteX57" fmla="*/ 592710 w 1188848"/>
                <a:gd name="connsiteY57" fmla="*/ 1336914 h 1519919"/>
                <a:gd name="connsiteX58" fmla="*/ 599365 w 1188848"/>
                <a:gd name="connsiteY58" fmla="*/ 1333872 h 1519919"/>
                <a:gd name="connsiteX59" fmla="*/ 602027 w 1188848"/>
                <a:gd name="connsiteY59" fmla="*/ 1325315 h 1519919"/>
                <a:gd name="connsiteX60" fmla="*/ 600506 w 1188848"/>
                <a:gd name="connsiteY60" fmla="*/ 1313906 h 1519919"/>
                <a:gd name="connsiteX61" fmla="*/ 632262 w 1188848"/>
                <a:gd name="connsiteY61" fmla="*/ 1289186 h 1519919"/>
                <a:gd name="connsiteX62" fmla="*/ 654700 w 1188848"/>
                <a:gd name="connsiteY62" fmla="*/ 1279108 h 1519919"/>
                <a:gd name="connsiteX63" fmla="*/ 656792 w 1188848"/>
                <a:gd name="connsiteY63" fmla="*/ 1273023 h 1519919"/>
                <a:gd name="connsiteX64" fmla="*/ 660405 w 1188848"/>
                <a:gd name="connsiteY64" fmla="*/ 1262564 h 1519919"/>
                <a:gd name="connsiteX65" fmla="*/ 667630 w 1188848"/>
                <a:gd name="connsiteY65" fmla="*/ 1255909 h 1519919"/>
                <a:gd name="connsiteX66" fmla="*/ 671814 w 1188848"/>
                <a:gd name="connsiteY66" fmla="*/ 1252296 h 1519919"/>
                <a:gd name="connsiteX67" fmla="*/ 678469 w 1188848"/>
                <a:gd name="connsiteY67" fmla="*/ 1237464 h 1519919"/>
                <a:gd name="connsiteX68" fmla="*/ 682082 w 1188848"/>
                <a:gd name="connsiteY68" fmla="*/ 1226435 h 1519919"/>
                <a:gd name="connsiteX69" fmla="*/ 705661 w 1188848"/>
                <a:gd name="connsiteY69" fmla="*/ 1213885 h 1519919"/>
                <a:gd name="connsiteX70" fmla="*/ 717640 w 1188848"/>
                <a:gd name="connsiteY70" fmla="*/ 1211413 h 1519919"/>
                <a:gd name="connsiteX71" fmla="*/ 729240 w 1188848"/>
                <a:gd name="connsiteY71" fmla="*/ 1196961 h 1519919"/>
                <a:gd name="connsiteX72" fmla="*/ 737797 w 1188848"/>
                <a:gd name="connsiteY72" fmla="*/ 1183080 h 1519919"/>
                <a:gd name="connsiteX73" fmla="*/ 770123 w 1188848"/>
                <a:gd name="connsiteY73" fmla="*/ 1172241 h 1519919"/>
                <a:gd name="connsiteX74" fmla="*/ 779060 w 1188848"/>
                <a:gd name="connsiteY74" fmla="*/ 1172241 h 1519919"/>
                <a:gd name="connsiteX75" fmla="*/ 795414 w 1188848"/>
                <a:gd name="connsiteY75" fmla="*/ 1163875 h 1519919"/>
                <a:gd name="connsiteX76" fmla="*/ 804731 w 1188848"/>
                <a:gd name="connsiteY76" fmla="*/ 1156268 h 1519919"/>
                <a:gd name="connsiteX77" fmla="*/ 847326 w 1188848"/>
                <a:gd name="connsiteY77" fmla="*/ 1153796 h 1519919"/>
                <a:gd name="connsiteX78" fmla="*/ 859305 w 1188848"/>
                <a:gd name="connsiteY78" fmla="*/ 1175854 h 1519919"/>
                <a:gd name="connsiteX79" fmla="*/ 862728 w 1188848"/>
                <a:gd name="connsiteY79" fmla="*/ 1185742 h 1519919"/>
                <a:gd name="connsiteX80" fmla="*/ 871475 w 1188848"/>
                <a:gd name="connsiteY80" fmla="*/ 1201145 h 1519919"/>
                <a:gd name="connsiteX81" fmla="*/ 881743 w 1188848"/>
                <a:gd name="connsiteY81" fmla="*/ 1220160 h 1519919"/>
                <a:gd name="connsiteX82" fmla="*/ 884215 w 1188848"/>
                <a:gd name="connsiteY82" fmla="*/ 1226435 h 1519919"/>
                <a:gd name="connsiteX83" fmla="*/ 895625 w 1188848"/>
                <a:gd name="connsiteY83" fmla="*/ 1238415 h 1519919"/>
                <a:gd name="connsiteX84" fmla="*/ 910837 w 1188848"/>
                <a:gd name="connsiteY84" fmla="*/ 1225675 h 1519919"/>
                <a:gd name="connsiteX85" fmla="*/ 923387 w 1188848"/>
                <a:gd name="connsiteY85" fmla="*/ 1212744 h 1519919"/>
                <a:gd name="connsiteX86" fmla="*/ 942402 w 1188848"/>
                <a:gd name="connsiteY86" fmla="*/ 1204758 h 1519919"/>
                <a:gd name="connsiteX87" fmla="*/ 959136 w 1188848"/>
                <a:gd name="connsiteY87" fmla="*/ 1198102 h 1519919"/>
                <a:gd name="connsiteX88" fmla="*/ 991652 w 1188848"/>
                <a:gd name="connsiteY88" fmla="*/ 1194109 h 1519919"/>
                <a:gd name="connsiteX89" fmla="*/ 1000970 w 1188848"/>
                <a:gd name="connsiteY89" fmla="*/ 1196011 h 1519919"/>
                <a:gd name="connsiteX90" fmla="*/ 1019986 w 1188848"/>
                <a:gd name="connsiteY90" fmla="*/ 1182129 h 1519919"/>
                <a:gd name="connsiteX91" fmla="*/ 1039001 w 1188848"/>
                <a:gd name="connsiteY91" fmla="*/ 1104166 h 1519919"/>
                <a:gd name="connsiteX92" fmla="*/ 1050790 w 1188848"/>
                <a:gd name="connsiteY92" fmla="*/ 1073551 h 1519919"/>
                <a:gd name="connsiteX93" fmla="*/ 1056495 w 1188848"/>
                <a:gd name="connsiteY93" fmla="*/ 1064995 h 1519919"/>
                <a:gd name="connsiteX94" fmla="*/ 1062770 w 1188848"/>
                <a:gd name="connsiteY94" fmla="*/ 1037232 h 1519919"/>
                <a:gd name="connsiteX95" fmla="*/ 1062770 w 1188848"/>
                <a:gd name="connsiteY95" fmla="*/ 1028865 h 1519919"/>
                <a:gd name="connsiteX96" fmla="*/ 1077792 w 1188848"/>
                <a:gd name="connsiteY96" fmla="*/ 989503 h 1519919"/>
                <a:gd name="connsiteX97" fmla="*/ 1109928 w 1188848"/>
                <a:gd name="connsiteY97" fmla="*/ 989503 h 1519919"/>
                <a:gd name="connsiteX98" fmla="*/ 1114682 w 1188848"/>
                <a:gd name="connsiteY98" fmla="*/ 991215 h 1519919"/>
                <a:gd name="connsiteX99" fmla="*/ 1130845 w 1188848"/>
                <a:gd name="connsiteY99" fmla="*/ 992356 h 1519919"/>
                <a:gd name="connsiteX100" fmla="*/ 1135599 w 1188848"/>
                <a:gd name="connsiteY100" fmla="*/ 988553 h 1519919"/>
                <a:gd name="connsiteX101" fmla="*/ 1148339 w 1188848"/>
                <a:gd name="connsiteY101" fmla="*/ 981707 h 1519919"/>
                <a:gd name="connsiteX102" fmla="*/ 1159178 w 1188848"/>
                <a:gd name="connsiteY102" fmla="*/ 983228 h 1519919"/>
                <a:gd name="connsiteX103" fmla="*/ 1160319 w 1188848"/>
                <a:gd name="connsiteY103" fmla="*/ 977714 h 1519919"/>
                <a:gd name="connsiteX104" fmla="*/ 1151572 w 1188848"/>
                <a:gd name="connsiteY104" fmla="*/ 955656 h 1519919"/>
                <a:gd name="connsiteX105" fmla="*/ 1150621 w 1188848"/>
                <a:gd name="connsiteY105" fmla="*/ 934739 h 1519919"/>
                <a:gd name="connsiteX106" fmla="*/ 1144726 w 1188848"/>
                <a:gd name="connsiteY106" fmla="*/ 904695 h 1519919"/>
                <a:gd name="connsiteX107" fmla="*/ 1135028 w 1188848"/>
                <a:gd name="connsiteY107" fmla="*/ 842134 h 1519919"/>
                <a:gd name="connsiteX108" fmla="*/ 1117534 w 1188848"/>
                <a:gd name="connsiteY108" fmla="*/ 804103 h 1519919"/>
                <a:gd name="connsiteX109" fmla="*/ 1098519 w 1188848"/>
                <a:gd name="connsiteY109" fmla="*/ 790412 h 1519919"/>
                <a:gd name="connsiteX110" fmla="*/ 1104224 w 1188848"/>
                <a:gd name="connsiteY110" fmla="*/ 780524 h 1519919"/>
                <a:gd name="connsiteX111" fmla="*/ 1113351 w 1188848"/>
                <a:gd name="connsiteY111" fmla="*/ 782806 h 1519919"/>
                <a:gd name="connsiteX112" fmla="*/ 1139402 w 1188848"/>
                <a:gd name="connsiteY112" fmla="*/ 760748 h 1519919"/>
                <a:gd name="connsiteX113" fmla="*/ 1175341 w 1188848"/>
                <a:gd name="connsiteY113" fmla="*/ 718534 h 1519919"/>
                <a:gd name="connsiteX114" fmla="*/ 1188462 w 1188848"/>
                <a:gd name="connsiteY114" fmla="*/ 705794 h 1519919"/>
                <a:gd name="connsiteX115" fmla="*/ 1174770 w 1188848"/>
                <a:gd name="connsiteY115" fmla="*/ 688110 h 1519919"/>
                <a:gd name="connsiteX116" fmla="*/ 1166024 w 1188848"/>
                <a:gd name="connsiteY116" fmla="*/ 672707 h 1519919"/>
                <a:gd name="connsiteX117" fmla="*/ 1152142 w 1188848"/>
                <a:gd name="connsiteY117" fmla="*/ 658446 h 1519919"/>
                <a:gd name="connsiteX118" fmla="*/ 1120387 w 1188848"/>
                <a:gd name="connsiteY118" fmla="*/ 666242 h 1519919"/>
                <a:gd name="connsiteX119" fmla="*/ 1108026 w 1188848"/>
                <a:gd name="connsiteY119" fmla="*/ 658255 h 1519919"/>
                <a:gd name="connsiteX120" fmla="*/ 1084447 w 1188848"/>
                <a:gd name="connsiteY120" fmla="*/ 658255 h 1519919"/>
                <a:gd name="connsiteX121" fmla="*/ 1047368 w 1188848"/>
                <a:gd name="connsiteY121" fmla="*/ 679743 h 1519919"/>
                <a:gd name="connsiteX122" fmla="*/ 1034057 w 1188848"/>
                <a:gd name="connsiteY122" fmla="*/ 673848 h 1519919"/>
                <a:gd name="connsiteX123" fmla="*/ 1028732 w 1188848"/>
                <a:gd name="connsiteY123" fmla="*/ 687729 h 1519919"/>
                <a:gd name="connsiteX124" fmla="*/ 1008006 w 1188848"/>
                <a:gd name="connsiteY124" fmla="*/ 665101 h 1519919"/>
                <a:gd name="connsiteX125" fmla="*/ 969975 w 1188848"/>
                <a:gd name="connsiteY125" fmla="*/ 667193 h 1519919"/>
                <a:gd name="connsiteX126" fmla="*/ 936698 w 1188848"/>
                <a:gd name="connsiteY126" fmla="*/ 673468 h 1519919"/>
                <a:gd name="connsiteX127" fmla="*/ 938980 w 1188848"/>
                <a:gd name="connsiteY127" fmla="*/ 688300 h 1519919"/>
                <a:gd name="connsiteX128" fmla="*/ 923768 w 1188848"/>
                <a:gd name="connsiteY128" fmla="*/ 700660 h 1519919"/>
                <a:gd name="connsiteX129" fmla="*/ 885737 w 1188848"/>
                <a:gd name="connsiteY129" fmla="*/ 711879 h 1519919"/>
                <a:gd name="connsiteX130" fmla="*/ 860066 w 1188848"/>
                <a:gd name="connsiteY130" fmla="*/ 748769 h 1519919"/>
                <a:gd name="connsiteX131" fmla="*/ 851129 w 1188848"/>
                <a:gd name="connsiteY131" fmla="*/ 754093 h 1519919"/>
                <a:gd name="connsiteX132" fmla="*/ 843142 w 1188848"/>
                <a:gd name="connsiteY132" fmla="*/ 752572 h 1519919"/>
                <a:gd name="connsiteX133" fmla="*/ 831353 w 1188848"/>
                <a:gd name="connsiteY133" fmla="*/ 757516 h 1519919"/>
                <a:gd name="connsiteX134" fmla="*/ 834775 w 1188848"/>
                <a:gd name="connsiteY134" fmla="*/ 745536 h 1519919"/>
                <a:gd name="connsiteX135" fmla="*/ 847135 w 1188848"/>
                <a:gd name="connsiteY135" fmla="*/ 727662 h 1519919"/>
                <a:gd name="connsiteX136" fmla="*/ 857404 w 1188848"/>
                <a:gd name="connsiteY136" fmla="*/ 708646 h 1519919"/>
                <a:gd name="connsiteX137" fmla="*/ 815189 w 1188848"/>
                <a:gd name="connsiteY137" fmla="*/ 733937 h 1519919"/>
                <a:gd name="connsiteX138" fmla="*/ 815189 w 1188848"/>
                <a:gd name="connsiteY138" fmla="*/ 726711 h 1519919"/>
                <a:gd name="connsiteX139" fmla="*/ 821655 w 1188848"/>
                <a:gd name="connsiteY139" fmla="*/ 718534 h 1519919"/>
                <a:gd name="connsiteX140" fmla="*/ 824317 w 1188848"/>
                <a:gd name="connsiteY140" fmla="*/ 709027 h 1519919"/>
                <a:gd name="connsiteX141" fmla="*/ 862348 w 1188848"/>
                <a:gd name="connsiteY141" fmla="*/ 686779 h 1519919"/>
                <a:gd name="connsiteX142" fmla="*/ 888589 w 1188848"/>
                <a:gd name="connsiteY142" fmla="*/ 658826 h 1519919"/>
                <a:gd name="connsiteX143" fmla="*/ 906273 w 1188848"/>
                <a:gd name="connsiteY143" fmla="*/ 628972 h 1519919"/>
                <a:gd name="connsiteX144" fmla="*/ 896005 w 1188848"/>
                <a:gd name="connsiteY144" fmla="*/ 605393 h 1519919"/>
                <a:gd name="connsiteX145" fmla="*/ 896005 w 1188848"/>
                <a:gd name="connsiteY145" fmla="*/ 582764 h 1519919"/>
                <a:gd name="connsiteX146" fmla="*/ 882694 w 1188848"/>
                <a:gd name="connsiteY146" fmla="*/ 569644 h 1519919"/>
                <a:gd name="connsiteX147" fmla="*/ 874328 w 1188848"/>
                <a:gd name="connsiteY147" fmla="*/ 544734 h 1519919"/>
                <a:gd name="connsiteX148" fmla="*/ 848847 w 1188848"/>
                <a:gd name="connsiteY148" fmla="*/ 518683 h 1519919"/>
                <a:gd name="connsiteX149" fmla="*/ 842192 w 1188848"/>
                <a:gd name="connsiteY149" fmla="*/ 523627 h 1519919"/>
                <a:gd name="connsiteX150" fmla="*/ 834015 w 1188848"/>
                <a:gd name="connsiteY150" fmla="*/ 533515 h 1519919"/>
                <a:gd name="connsiteX151" fmla="*/ 832874 w 1188848"/>
                <a:gd name="connsiteY151" fmla="*/ 509745 h 1519919"/>
                <a:gd name="connsiteX152" fmla="*/ 817852 w 1188848"/>
                <a:gd name="connsiteY152" fmla="*/ 496625 h 1519919"/>
                <a:gd name="connsiteX153" fmla="*/ 772025 w 1188848"/>
                <a:gd name="connsiteY153" fmla="*/ 515640 h 1519919"/>
                <a:gd name="connsiteX154" fmla="*/ 750157 w 1188848"/>
                <a:gd name="connsiteY154" fmla="*/ 492251 h 1519919"/>
                <a:gd name="connsiteX155" fmla="*/ 746354 w 1188848"/>
                <a:gd name="connsiteY155" fmla="*/ 477229 h 1519919"/>
                <a:gd name="connsiteX156" fmla="*/ 745213 w 1188848"/>
                <a:gd name="connsiteY156" fmla="*/ 463918 h 1519919"/>
                <a:gd name="connsiteX157" fmla="*/ 749396 w 1188848"/>
                <a:gd name="connsiteY157" fmla="*/ 444903 h 1519919"/>
                <a:gd name="connsiteX158" fmla="*/ 743502 w 1188848"/>
                <a:gd name="connsiteY158" fmla="*/ 430071 h 1519919"/>
                <a:gd name="connsiteX159" fmla="*/ 760045 w 1188848"/>
                <a:gd name="connsiteY159" fmla="*/ 441100 h 1519919"/>
                <a:gd name="connsiteX160" fmla="*/ 779060 w 1188848"/>
                <a:gd name="connsiteY160" fmla="*/ 460115 h 1519919"/>
                <a:gd name="connsiteX161" fmla="*/ 808154 w 1188848"/>
                <a:gd name="connsiteY161" fmla="*/ 455551 h 1519919"/>
                <a:gd name="connsiteX162" fmla="*/ 821275 w 1188848"/>
                <a:gd name="connsiteY162" fmla="*/ 452129 h 1519919"/>
                <a:gd name="connsiteX163" fmla="*/ 834395 w 1188848"/>
                <a:gd name="connsiteY163" fmla="*/ 466010 h 1519919"/>
                <a:gd name="connsiteX164" fmla="*/ 857784 w 1188848"/>
                <a:gd name="connsiteY164" fmla="*/ 423225 h 1519919"/>
                <a:gd name="connsiteX165" fmla="*/ 857784 w 1188848"/>
                <a:gd name="connsiteY165" fmla="*/ 371123 h 1519919"/>
                <a:gd name="connsiteX166" fmla="*/ 889920 w 1188848"/>
                <a:gd name="connsiteY166" fmla="*/ 335374 h 1519919"/>
                <a:gd name="connsiteX167" fmla="*/ 946966 w 1188848"/>
                <a:gd name="connsiteY167" fmla="*/ 335374 h 1519919"/>
                <a:gd name="connsiteX168" fmla="*/ 970355 w 1188848"/>
                <a:gd name="connsiteY168" fmla="*/ 319211 h 1519919"/>
                <a:gd name="connsiteX169" fmla="*/ 975299 w 1188848"/>
                <a:gd name="connsiteY169" fmla="*/ 296583 h 1519919"/>
                <a:gd name="connsiteX170" fmla="*/ 990702 w 1188848"/>
                <a:gd name="connsiteY170" fmla="*/ 284413 h 1519919"/>
                <a:gd name="connsiteX171" fmla="*/ 1015802 w 1188848"/>
                <a:gd name="connsiteY171" fmla="*/ 261404 h 1519919"/>
                <a:gd name="connsiteX172" fmla="*/ 1036909 w 1188848"/>
                <a:gd name="connsiteY172" fmla="*/ 252087 h 1519919"/>
                <a:gd name="connsiteX173" fmla="*/ 1045085 w 1188848"/>
                <a:gd name="connsiteY173" fmla="*/ 230219 h 1519919"/>
                <a:gd name="connsiteX174" fmla="*/ 1064101 w 1188848"/>
                <a:gd name="connsiteY174" fmla="*/ 213866 h 1519919"/>
                <a:gd name="connsiteX175" fmla="*/ 1050600 w 1188848"/>
                <a:gd name="connsiteY175" fmla="*/ 201696 h 1519919"/>
                <a:gd name="connsiteX176" fmla="*/ 1042614 w 1188848"/>
                <a:gd name="connsiteY176" fmla="*/ 169180 h 1519919"/>
                <a:gd name="connsiteX177" fmla="*/ 1011048 w 1188848"/>
                <a:gd name="connsiteY177" fmla="*/ 193519 h 1519919"/>
                <a:gd name="connsiteX178" fmla="*/ 983666 w 1188848"/>
                <a:gd name="connsiteY178" fmla="*/ 159292 h 1519919"/>
                <a:gd name="connsiteX179" fmla="*/ 959516 w 1188848"/>
                <a:gd name="connsiteY179" fmla="*/ 146171 h 1519919"/>
                <a:gd name="connsiteX180" fmla="*/ 947727 w 1188848"/>
                <a:gd name="connsiteY180" fmla="*/ 161764 h 1519919"/>
                <a:gd name="connsiteX181" fmla="*/ 938980 w 1188848"/>
                <a:gd name="connsiteY181" fmla="*/ 145601 h 1519919"/>
                <a:gd name="connsiteX182" fmla="*/ 915781 w 1188848"/>
                <a:gd name="connsiteY182" fmla="*/ 147312 h 1519919"/>
                <a:gd name="connsiteX183" fmla="*/ 896766 w 1188848"/>
                <a:gd name="connsiteY183" fmla="*/ 145601 h 1519919"/>
                <a:gd name="connsiteX184" fmla="*/ 922437 w 1188848"/>
                <a:gd name="connsiteY184" fmla="*/ 96731 h 1519919"/>
                <a:gd name="connsiteX185" fmla="*/ 892202 w 1188848"/>
                <a:gd name="connsiteY185" fmla="*/ 95210 h 1519919"/>
                <a:gd name="connsiteX186" fmla="*/ 909886 w 1188848"/>
                <a:gd name="connsiteY186" fmla="*/ 74673 h 1519919"/>
                <a:gd name="connsiteX187" fmla="*/ 892773 w 1188848"/>
                <a:gd name="connsiteY187" fmla="*/ 41396 h 1519919"/>
                <a:gd name="connsiteX188" fmla="*/ 873757 w 1188848"/>
                <a:gd name="connsiteY188" fmla="*/ 19338 h 1519919"/>
                <a:gd name="connsiteX189" fmla="*/ 861968 w 1188848"/>
                <a:gd name="connsiteY189" fmla="*/ 323 h 1519919"/>
                <a:gd name="connsiteX190" fmla="*/ 852270 w 1188848"/>
                <a:gd name="connsiteY190" fmla="*/ 12493 h 1519919"/>
                <a:gd name="connsiteX191" fmla="*/ 842952 w 1188848"/>
                <a:gd name="connsiteY191" fmla="*/ 22191 h 1519919"/>
                <a:gd name="connsiteX192" fmla="*/ 837057 w 1188848"/>
                <a:gd name="connsiteY192" fmla="*/ 41206 h 1519919"/>
                <a:gd name="connsiteX193" fmla="*/ 826599 w 1188848"/>
                <a:gd name="connsiteY193" fmla="*/ 35121 h 1519919"/>
                <a:gd name="connsiteX194" fmla="*/ 812717 w 1188848"/>
                <a:gd name="connsiteY194" fmla="*/ 40826 h 1519919"/>
                <a:gd name="connsiteX195" fmla="*/ 781342 w 1188848"/>
                <a:gd name="connsiteY195" fmla="*/ 69159 h 1519919"/>
                <a:gd name="connsiteX196" fmla="*/ 745783 w 1188848"/>
                <a:gd name="connsiteY196" fmla="*/ 84371 h 1519919"/>
                <a:gd name="connsiteX197" fmla="*/ 734564 w 1188848"/>
                <a:gd name="connsiteY197" fmla="*/ 103386 h 1519919"/>
                <a:gd name="connsiteX198" fmla="*/ 723916 w 1188848"/>
                <a:gd name="connsiteY198" fmla="*/ 130008 h 1519919"/>
                <a:gd name="connsiteX199" fmla="*/ 725437 w 1188848"/>
                <a:gd name="connsiteY199" fmla="*/ 154918 h 1519919"/>
                <a:gd name="connsiteX200" fmla="*/ 699386 w 1188848"/>
                <a:gd name="connsiteY200" fmla="*/ 195611 h 1519919"/>
                <a:gd name="connsiteX201" fmla="*/ 715739 w 1188848"/>
                <a:gd name="connsiteY201" fmla="*/ 195611 h 1519919"/>
                <a:gd name="connsiteX202" fmla="*/ 748636 w 1188848"/>
                <a:gd name="connsiteY202" fmla="*/ 202457 h 1519919"/>
                <a:gd name="connsiteX203" fmla="*/ 777729 w 1188848"/>
                <a:gd name="connsiteY203" fmla="*/ 202457 h 1519919"/>
                <a:gd name="connsiteX204" fmla="*/ 800548 w 1188848"/>
                <a:gd name="connsiteY204" fmla="*/ 212345 h 1519919"/>
                <a:gd name="connsiteX205" fmla="*/ 786286 w 1188848"/>
                <a:gd name="connsiteY205" fmla="*/ 220711 h 1519919"/>
                <a:gd name="connsiteX206" fmla="*/ 787618 w 1188848"/>
                <a:gd name="connsiteY206" fmla="*/ 230409 h 1519919"/>
                <a:gd name="connsiteX207" fmla="*/ 773926 w 1188848"/>
                <a:gd name="connsiteY207" fmla="*/ 230409 h 1519919"/>
                <a:gd name="connsiteX208" fmla="*/ 746924 w 1188848"/>
                <a:gd name="connsiteY208" fmla="*/ 242009 h 1519919"/>
                <a:gd name="connsiteX209" fmla="*/ 727909 w 1188848"/>
                <a:gd name="connsiteY209" fmla="*/ 229078 h 1519919"/>
                <a:gd name="connsiteX210" fmla="*/ 689878 w 1188848"/>
                <a:gd name="connsiteY210" fmla="*/ 233832 h 1519919"/>
                <a:gd name="connsiteX211" fmla="*/ 657552 w 1188848"/>
                <a:gd name="connsiteY211" fmla="*/ 222423 h 1519919"/>
                <a:gd name="connsiteX212" fmla="*/ 652608 w 1188848"/>
                <a:gd name="connsiteY212" fmla="*/ 239347 h 1519919"/>
                <a:gd name="connsiteX213" fmla="*/ 625416 w 1188848"/>
                <a:gd name="connsiteY213" fmla="*/ 239347 h 1519919"/>
                <a:gd name="connsiteX214" fmla="*/ 589477 w 1188848"/>
                <a:gd name="connsiteY214" fmla="*/ 260263 h 1519919"/>
                <a:gd name="connsiteX215" fmla="*/ 551446 w 1188848"/>
                <a:gd name="connsiteY215" fmla="*/ 292780 h 1519919"/>
                <a:gd name="connsiteX216" fmla="*/ 519881 w 1188848"/>
                <a:gd name="connsiteY216" fmla="*/ 322634 h 1519919"/>
                <a:gd name="connsiteX217" fmla="*/ 498583 w 1188848"/>
                <a:gd name="connsiteY217" fmla="*/ 334043 h 1519919"/>
                <a:gd name="connsiteX218" fmla="*/ 479568 w 1188848"/>
                <a:gd name="connsiteY218" fmla="*/ 353059 h 1519919"/>
                <a:gd name="connsiteX219" fmla="*/ 456369 w 1188848"/>
                <a:gd name="connsiteY219" fmla="*/ 360665 h 1519919"/>
                <a:gd name="connsiteX220" fmla="*/ 400464 w 1188848"/>
                <a:gd name="connsiteY220" fmla="*/ 406682 h 1519919"/>
                <a:gd name="connsiteX221" fmla="*/ 370420 w 1188848"/>
                <a:gd name="connsiteY221" fmla="*/ 421514 h 1519919"/>
                <a:gd name="connsiteX222" fmla="*/ 340186 w 1188848"/>
                <a:gd name="connsiteY222" fmla="*/ 440529 h 1519919"/>
                <a:gd name="connsiteX223" fmla="*/ 329156 w 1188848"/>
                <a:gd name="connsiteY223" fmla="*/ 453460 h 1519919"/>
                <a:gd name="connsiteX224" fmla="*/ 317557 w 1188848"/>
                <a:gd name="connsiteY224" fmla="*/ 462017 h 1519919"/>
                <a:gd name="connsiteX225" fmla="*/ 312233 w 1188848"/>
                <a:gd name="connsiteY225" fmla="*/ 475327 h 1519919"/>
                <a:gd name="connsiteX226" fmla="*/ 296640 w 1188848"/>
                <a:gd name="connsiteY226" fmla="*/ 490159 h 1519919"/>
                <a:gd name="connsiteX227" fmla="*/ 245869 w 1188848"/>
                <a:gd name="connsiteY227" fmla="*/ 534846 h 1519919"/>
                <a:gd name="connsiteX228" fmla="*/ 222670 w 1188848"/>
                <a:gd name="connsiteY228" fmla="*/ 553861 h 1519919"/>
                <a:gd name="connsiteX229" fmla="*/ 216586 w 1188848"/>
                <a:gd name="connsiteY229" fmla="*/ 589230 h 1519919"/>
                <a:gd name="connsiteX230" fmla="*/ 200612 w 1188848"/>
                <a:gd name="connsiteY230" fmla="*/ 622126 h 1519919"/>
                <a:gd name="connsiteX231" fmla="*/ 191104 w 1188848"/>
                <a:gd name="connsiteY231" fmla="*/ 641142 h 1519919"/>
                <a:gd name="connsiteX232" fmla="*/ 187111 w 1188848"/>
                <a:gd name="connsiteY232" fmla="*/ 647227 h 1519919"/>
                <a:gd name="connsiteX233" fmla="*/ 189203 w 1188848"/>
                <a:gd name="connsiteY233" fmla="*/ 655213 h 1519919"/>
                <a:gd name="connsiteX234" fmla="*/ 189203 w 1188848"/>
                <a:gd name="connsiteY234" fmla="*/ 663390 h 1519919"/>
                <a:gd name="connsiteX235" fmla="*/ 176272 w 1188848"/>
                <a:gd name="connsiteY235" fmla="*/ 667953 h 1519919"/>
                <a:gd name="connsiteX236" fmla="*/ 159349 w 1188848"/>
                <a:gd name="connsiteY236" fmla="*/ 686969 h 1519919"/>
                <a:gd name="connsiteX237" fmla="*/ 138432 w 1188848"/>
                <a:gd name="connsiteY237" fmla="*/ 715872 h 1519919"/>
                <a:gd name="connsiteX238" fmla="*/ 116184 w 1188848"/>
                <a:gd name="connsiteY238" fmla="*/ 748198 h 1519919"/>
                <a:gd name="connsiteX239" fmla="*/ 137862 w 1188848"/>
                <a:gd name="connsiteY239" fmla="*/ 771397 h 1519919"/>
                <a:gd name="connsiteX240" fmla="*/ 152884 w 1188848"/>
                <a:gd name="connsiteY240" fmla="*/ 792884 h 1519919"/>
                <a:gd name="connsiteX241" fmla="*/ 180836 w 1188848"/>
                <a:gd name="connsiteY241" fmla="*/ 784137 h 1519919"/>
                <a:gd name="connsiteX242" fmla="*/ 202894 w 1188848"/>
                <a:gd name="connsiteY242" fmla="*/ 786229 h 1519919"/>
                <a:gd name="connsiteX243" fmla="*/ 227424 w 1188848"/>
                <a:gd name="connsiteY243" fmla="*/ 787750 h 1519919"/>
                <a:gd name="connsiteX244" fmla="*/ 252904 w 1188848"/>
                <a:gd name="connsiteY244" fmla="*/ 811900 h 1519919"/>
                <a:gd name="connsiteX245" fmla="*/ 261462 w 1188848"/>
                <a:gd name="connsiteY245" fmla="*/ 830915 h 1519919"/>
                <a:gd name="connsiteX246" fmla="*/ 251193 w 1188848"/>
                <a:gd name="connsiteY246" fmla="*/ 861720 h 1519919"/>
                <a:gd name="connsiteX247" fmla="*/ 219627 w 1188848"/>
                <a:gd name="connsiteY247" fmla="*/ 859058 h 1519919"/>
                <a:gd name="connsiteX248" fmla="*/ 162581 w 1188848"/>
                <a:gd name="connsiteY248" fmla="*/ 891764 h 1519919"/>
                <a:gd name="connsiteX249" fmla="*/ 137291 w 1188848"/>
                <a:gd name="connsiteY249" fmla="*/ 878263 h 1519919"/>
                <a:gd name="connsiteX250" fmla="*/ 107247 w 1188848"/>
                <a:gd name="connsiteY250" fmla="*/ 878263 h 1519919"/>
                <a:gd name="connsiteX251" fmla="*/ 104965 w 1188848"/>
                <a:gd name="connsiteY251" fmla="*/ 942726 h 1519919"/>
                <a:gd name="connsiteX252" fmla="*/ 78154 w 1188848"/>
                <a:gd name="connsiteY252" fmla="*/ 975052 h 1519919"/>
                <a:gd name="connsiteX253" fmla="*/ 53433 w 1188848"/>
                <a:gd name="connsiteY253" fmla="*/ 1016886 h 1519919"/>
                <a:gd name="connsiteX254" fmla="*/ 42024 w 1188848"/>
                <a:gd name="connsiteY254" fmla="*/ 1028295 h 1519919"/>
                <a:gd name="connsiteX255" fmla="*/ 24149 w 1188848"/>
                <a:gd name="connsiteY255" fmla="*/ 1032288 h 1519919"/>
                <a:gd name="connsiteX256" fmla="*/ 15022 w 1188848"/>
                <a:gd name="connsiteY256" fmla="*/ 1056818 h 1519919"/>
                <a:gd name="connsiteX257" fmla="*/ 0 w 1188848"/>
                <a:gd name="connsiteY257" fmla="*/ 1084200 h 1519919"/>
                <a:gd name="connsiteX258" fmla="*/ 14071 w 1188848"/>
                <a:gd name="connsiteY258" fmla="*/ 1118618 h 1519919"/>
                <a:gd name="connsiteX259" fmla="*/ 37270 w 1188848"/>
                <a:gd name="connsiteY259" fmla="*/ 1129457 h 1519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</a:cxnLst>
              <a:rect l="l" t="t" r="r" b="b"/>
              <a:pathLst>
                <a:path w="1188848" h="1519919">
                  <a:moveTo>
                    <a:pt x="37270" y="1129457"/>
                  </a:moveTo>
                  <a:cubicBezTo>
                    <a:pt x="45675" y="1129101"/>
                    <a:pt x="54004" y="1131005"/>
                    <a:pt x="61420" y="1134971"/>
                  </a:cubicBezTo>
                  <a:cubicBezTo>
                    <a:pt x="65014" y="1137538"/>
                    <a:pt x="67961" y="1140929"/>
                    <a:pt x="69976" y="1144859"/>
                  </a:cubicBezTo>
                  <a:cubicBezTo>
                    <a:pt x="71099" y="1147103"/>
                    <a:pt x="72715" y="1149058"/>
                    <a:pt x="74730" y="1150564"/>
                  </a:cubicBezTo>
                  <a:cubicBezTo>
                    <a:pt x="77773" y="1152330"/>
                    <a:pt x="81386" y="1152874"/>
                    <a:pt x="84808" y="1152085"/>
                  </a:cubicBezTo>
                  <a:cubicBezTo>
                    <a:pt x="87528" y="1151800"/>
                    <a:pt x="90266" y="1151800"/>
                    <a:pt x="92986" y="1152085"/>
                  </a:cubicBezTo>
                  <a:cubicBezTo>
                    <a:pt x="99736" y="1152323"/>
                    <a:pt x="105992" y="1155698"/>
                    <a:pt x="109909" y="1161212"/>
                  </a:cubicBezTo>
                  <a:cubicBezTo>
                    <a:pt x="111221" y="1162504"/>
                    <a:pt x="112438" y="1163903"/>
                    <a:pt x="113522" y="1165396"/>
                  </a:cubicBezTo>
                  <a:cubicBezTo>
                    <a:pt x="115880" y="1169052"/>
                    <a:pt x="119683" y="1171540"/>
                    <a:pt x="123980" y="1172241"/>
                  </a:cubicBezTo>
                  <a:cubicBezTo>
                    <a:pt x="139801" y="1176834"/>
                    <a:pt x="151438" y="1190327"/>
                    <a:pt x="153645" y="1206659"/>
                  </a:cubicBezTo>
                  <a:cubicBezTo>
                    <a:pt x="155356" y="1221301"/>
                    <a:pt x="144707" y="1228717"/>
                    <a:pt x="136150" y="1234612"/>
                  </a:cubicBezTo>
                  <a:cubicBezTo>
                    <a:pt x="131492" y="1237401"/>
                    <a:pt x="127365" y="1241009"/>
                    <a:pt x="123980" y="1245260"/>
                  </a:cubicBezTo>
                  <a:cubicBezTo>
                    <a:pt x="119930" y="1253313"/>
                    <a:pt x="118219" y="1262336"/>
                    <a:pt x="119036" y="1271311"/>
                  </a:cubicBezTo>
                  <a:cubicBezTo>
                    <a:pt x="119397" y="1280420"/>
                    <a:pt x="118048" y="1289517"/>
                    <a:pt x="115043" y="1298123"/>
                  </a:cubicBezTo>
                  <a:cubicBezTo>
                    <a:pt x="111678" y="1305471"/>
                    <a:pt x="107589" y="1312476"/>
                    <a:pt x="102873" y="1319040"/>
                  </a:cubicBezTo>
                  <a:cubicBezTo>
                    <a:pt x="97758" y="1325886"/>
                    <a:pt x="93537" y="1333364"/>
                    <a:pt x="90323" y="1341288"/>
                  </a:cubicBezTo>
                  <a:cubicBezTo>
                    <a:pt x="88992" y="1345472"/>
                    <a:pt x="87851" y="1349845"/>
                    <a:pt x="86900" y="1354219"/>
                  </a:cubicBezTo>
                  <a:cubicBezTo>
                    <a:pt x="85949" y="1358592"/>
                    <a:pt x="85189" y="1360874"/>
                    <a:pt x="84238" y="1364297"/>
                  </a:cubicBezTo>
                  <a:cubicBezTo>
                    <a:pt x="83287" y="1367719"/>
                    <a:pt x="82147" y="1369811"/>
                    <a:pt x="81006" y="1372854"/>
                  </a:cubicBezTo>
                  <a:cubicBezTo>
                    <a:pt x="78819" y="1377005"/>
                    <a:pt x="77412" y="1381513"/>
                    <a:pt x="76822" y="1386164"/>
                  </a:cubicBezTo>
                  <a:cubicBezTo>
                    <a:pt x="77488" y="1392228"/>
                    <a:pt x="81025" y="1397602"/>
                    <a:pt x="86330" y="1400616"/>
                  </a:cubicBezTo>
                  <a:cubicBezTo>
                    <a:pt x="91046" y="1403269"/>
                    <a:pt x="96199" y="1405071"/>
                    <a:pt x="101542" y="1405940"/>
                  </a:cubicBezTo>
                  <a:cubicBezTo>
                    <a:pt x="105174" y="1406275"/>
                    <a:pt x="108426" y="1408325"/>
                    <a:pt x="110289" y="1411455"/>
                  </a:cubicBezTo>
                  <a:cubicBezTo>
                    <a:pt x="112019" y="1414994"/>
                    <a:pt x="112019" y="1419135"/>
                    <a:pt x="110289" y="1422674"/>
                  </a:cubicBezTo>
                  <a:cubicBezTo>
                    <a:pt x="110080" y="1423474"/>
                    <a:pt x="109757" y="1424241"/>
                    <a:pt x="109338" y="1424956"/>
                  </a:cubicBezTo>
                  <a:lnTo>
                    <a:pt x="109338" y="1426287"/>
                  </a:lnTo>
                  <a:cubicBezTo>
                    <a:pt x="108312" y="1427840"/>
                    <a:pt x="107589" y="1429586"/>
                    <a:pt x="107247" y="1431421"/>
                  </a:cubicBezTo>
                  <a:cubicBezTo>
                    <a:pt x="108445" y="1437536"/>
                    <a:pt x="112267" y="1442817"/>
                    <a:pt x="117705" y="1445873"/>
                  </a:cubicBezTo>
                  <a:cubicBezTo>
                    <a:pt x="130312" y="1455979"/>
                    <a:pt x="147560" y="1458044"/>
                    <a:pt x="162201" y="1451197"/>
                  </a:cubicBezTo>
                  <a:cubicBezTo>
                    <a:pt x="175322" y="1442960"/>
                    <a:pt x="191428" y="1441007"/>
                    <a:pt x="206127" y="1445873"/>
                  </a:cubicBezTo>
                  <a:lnTo>
                    <a:pt x="210500" y="1447014"/>
                  </a:lnTo>
                  <a:cubicBezTo>
                    <a:pt x="218163" y="1448122"/>
                    <a:pt x="225028" y="1452313"/>
                    <a:pt x="229516" y="1458613"/>
                  </a:cubicBezTo>
                  <a:cubicBezTo>
                    <a:pt x="231817" y="1462167"/>
                    <a:pt x="233794" y="1465922"/>
                    <a:pt x="235411" y="1469832"/>
                  </a:cubicBezTo>
                  <a:cubicBezTo>
                    <a:pt x="236684" y="1473086"/>
                    <a:pt x="238282" y="1476206"/>
                    <a:pt x="240164" y="1479150"/>
                  </a:cubicBezTo>
                  <a:cubicBezTo>
                    <a:pt x="244994" y="1485641"/>
                    <a:pt x="251003" y="1491186"/>
                    <a:pt x="257849" y="1495503"/>
                  </a:cubicBezTo>
                  <a:lnTo>
                    <a:pt x="261652" y="1498545"/>
                  </a:lnTo>
                  <a:cubicBezTo>
                    <a:pt x="265341" y="1496045"/>
                    <a:pt x="269296" y="1493942"/>
                    <a:pt x="273441" y="1492270"/>
                  </a:cubicBezTo>
                  <a:cubicBezTo>
                    <a:pt x="287893" y="1485468"/>
                    <a:pt x="305064" y="1488431"/>
                    <a:pt x="316416" y="1499686"/>
                  </a:cubicBezTo>
                  <a:cubicBezTo>
                    <a:pt x="318679" y="1502322"/>
                    <a:pt x="320657" y="1505189"/>
                    <a:pt x="322311" y="1508243"/>
                  </a:cubicBezTo>
                  <a:cubicBezTo>
                    <a:pt x="324041" y="1511227"/>
                    <a:pt x="326152" y="1513974"/>
                    <a:pt x="328586" y="1516420"/>
                  </a:cubicBezTo>
                  <a:cubicBezTo>
                    <a:pt x="337694" y="1521645"/>
                    <a:pt x="349046" y="1520974"/>
                    <a:pt x="357489" y="1514708"/>
                  </a:cubicBezTo>
                  <a:cubicBezTo>
                    <a:pt x="361102" y="1512617"/>
                    <a:pt x="364715" y="1510145"/>
                    <a:pt x="368138" y="1507673"/>
                  </a:cubicBezTo>
                  <a:cubicBezTo>
                    <a:pt x="374983" y="1502352"/>
                    <a:pt x="382628" y="1498117"/>
                    <a:pt x="390766" y="1495122"/>
                  </a:cubicBezTo>
                  <a:cubicBezTo>
                    <a:pt x="402099" y="1492645"/>
                    <a:pt x="413851" y="1492645"/>
                    <a:pt x="425184" y="1495122"/>
                  </a:cubicBezTo>
                  <a:cubicBezTo>
                    <a:pt x="431554" y="1496760"/>
                    <a:pt x="438286" y="1496085"/>
                    <a:pt x="444200" y="1493221"/>
                  </a:cubicBezTo>
                  <a:cubicBezTo>
                    <a:pt x="446824" y="1490977"/>
                    <a:pt x="449010" y="1488271"/>
                    <a:pt x="450665" y="1485235"/>
                  </a:cubicBezTo>
                  <a:lnTo>
                    <a:pt x="453517" y="1480671"/>
                  </a:lnTo>
                  <a:cubicBezTo>
                    <a:pt x="464679" y="1466826"/>
                    <a:pt x="481375" y="1458615"/>
                    <a:pt x="499154" y="1458233"/>
                  </a:cubicBezTo>
                  <a:lnTo>
                    <a:pt x="506950" y="1458233"/>
                  </a:lnTo>
                  <a:cubicBezTo>
                    <a:pt x="512522" y="1458362"/>
                    <a:pt x="518074" y="1457788"/>
                    <a:pt x="523494" y="1456521"/>
                  </a:cubicBezTo>
                  <a:cubicBezTo>
                    <a:pt x="527620" y="1455285"/>
                    <a:pt x="531537" y="1453426"/>
                    <a:pt x="535093" y="1451007"/>
                  </a:cubicBezTo>
                  <a:cubicBezTo>
                    <a:pt x="548176" y="1442433"/>
                    <a:pt x="558539" y="1430292"/>
                    <a:pt x="564947" y="1416019"/>
                  </a:cubicBezTo>
                  <a:cubicBezTo>
                    <a:pt x="561239" y="1412527"/>
                    <a:pt x="558254" y="1408323"/>
                    <a:pt x="556200" y="1403659"/>
                  </a:cubicBezTo>
                  <a:cubicBezTo>
                    <a:pt x="550781" y="1391660"/>
                    <a:pt x="553709" y="1377543"/>
                    <a:pt x="563426" y="1368670"/>
                  </a:cubicBezTo>
                  <a:lnTo>
                    <a:pt x="567989" y="1362585"/>
                  </a:lnTo>
                  <a:cubicBezTo>
                    <a:pt x="569302" y="1360625"/>
                    <a:pt x="570518" y="1358594"/>
                    <a:pt x="571602" y="1356500"/>
                  </a:cubicBezTo>
                  <a:cubicBezTo>
                    <a:pt x="573979" y="1351866"/>
                    <a:pt x="576984" y="1347578"/>
                    <a:pt x="580540" y="1343760"/>
                  </a:cubicBezTo>
                  <a:cubicBezTo>
                    <a:pt x="584077" y="1340670"/>
                    <a:pt x="588222" y="1338341"/>
                    <a:pt x="592710" y="1336914"/>
                  </a:cubicBezTo>
                  <a:cubicBezTo>
                    <a:pt x="595011" y="1336097"/>
                    <a:pt x="597235" y="1335078"/>
                    <a:pt x="599365" y="1333872"/>
                  </a:cubicBezTo>
                  <a:cubicBezTo>
                    <a:pt x="603738" y="1331020"/>
                    <a:pt x="603358" y="1330259"/>
                    <a:pt x="602027" y="1325315"/>
                  </a:cubicBezTo>
                  <a:cubicBezTo>
                    <a:pt x="600848" y="1321630"/>
                    <a:pt x="600335" y="1317768"/>
                    <a:pt x="600506" y="1313906"/>
                  </a:cubicBezTo>
                  <a:cubicBezTo>
                    <a:pt x="601647" y="1296222"/>
                    <a:pt x="618570" y="1292419"/>
                    <a:pt x="632262" y="1289186"/>
                  </a:cubicBezTo>
                  <a:cubicBezTo>
                    <a:pt x="641389" y="1286904"/>
                    <a:pt x="651277" y="1284812"/>
                    <a:pt x="654700" y="1279108"/>
                  </a:cubicBezTo>
                  <a:cubicBezTo>
                    <a:pt x="655822" y="1277252"/>
                    <a:pt x="656544" y="1275177"/>
                    <a:pt x="656792" y="1273023"/>
                  </a:cubicBezTo>
                  <a:cubicBezTo>
                    <a:pt x="657248" y="1269321"/>
                    <a:pt x="658484" y="1265757"/>
                    <a:pt x="660405" y="1262564"/>
                  </a:cubicBezTo>
                  <a:cubicBezTo>
                    <a:pt x="662420" y="1259957"/>
                    <a:pt x="664873" y="1257708"/>
                    <a:pt x="667630" y="1255909"/>
                  </a:cubicBezTo>
                  <a:cubicBezTo>
                    <a:pt x="669151" y="1254857"/>
                    <a:pt x="670559" y="1253646"/>
                    <a:pt x="671814" y="1252296"/>
                  </a:cubicBezTo>
                  <a:cubicBezTo>
                    <a:pt x="675008" y="1247852"/>
                    <a:pt x="677271" y="1242807"/>
                    <a:pt x="678469" y="1237464"/>
                  </a:cubicBezTo>
                  <a:cubicBezTo>
                    <a:pt x="679362" y="1233691"/>
                    <a:pt x="680561" y="1230001"/>
                    <a:pt x="682082" y="1226435"/>
                  </a:cubicBezTo>
                  <a:cubicBezTo>
                    <a:pt x="686912" y="1218104"/>
                    <a:pt x="696058" y="1213238"/>
                    <a:pt x="705661" y="1213885"/>
                  </a:cubicBezTo>
                  <a:cubicBezTo>
                    <a:pt x="709768" y="1213822"/>
                    <a:pt x="713838" y="1212984"/>
                    <a:pt x="717640" y="1211413"/>
                  </a:cubicBezTo>
                  <a:cubicBezTo>
                    <a:pt x="723155" y="1208194"/>
                    <a:pt x="727301" y="1203046"/>
                    <a:pt x="729240" y="1196961"/>
                  </a:cubicBezTo>
                  <a:cubicBezTo>
                    <a:pt x="731503" y="1191995"/>
                    <a:pt x="734374" y="1187332"/>
                    <a:pt x="737797" y="1183080"/>
                  </a:cubicBezTo>
                  <a:cubicBezTo>
                    <a:pt x="746088" y="1174291"/>
                    <a:pt x="758219" y="1170224"/>
                    <a:pt x="770123" y="1172241"/>
                  </a:cubicBezTo>
                  <a:lnTo>
                    <a:pt x="779060" y="1172241"/>
                  </a:lnTo>
                  <a:cubicBezTo>
                    <a:pt x="785393" y="1171715"/>
                    <a:pt x="791268" y="1168708"/>
                    <a:pt x="795414" y="1163875"/>
                  </a:cubicBezTo>
                  <a:cubicBezTo>
                    <a:pt x="798285" y="1161074"/>
                    <a:pt x="801403" y="1158529"/>
                    <a:pt x="804731" y="1156268"/>
                  </a:cubicBezTo>
                  <a:cubicBezTo>
                    <a:pt x="817357" y="1147556"/>
                    <a:pt x="833786" y="1146603"/>
                    <a:pt x="847326" y="1153796"/>
                  </a:cubicBezTo>
                  <a:cubicBezTo>
                    <a:pt x="853848" y="1159471"/>
                    <a:pt x="858088" y="1167301"/>
                    <a:pt x="859305" y="1175854"/>
                  </a:cubicBezTo>
                  <a:cubicBezTo>
                    <a:pt x="860446" y="1179277"/>
                    <a:pt x="861397" y="1182700"/>
                    <a:pt x="862728" y="1185742"/>
                  </a:cubicBezTo>
                  <a:cubicBezTo>
                    <a:pt x="864059" y="1188785"/>
                    <a:pt x="868243" y="1195820"/>
                    <a:pt x="871475" y="1201145"/>
                  </a:cubicBezTo>
                  <a:cubicBezTo>
                    <a:pt x="875392" y="1207207"/>
                    <a:pt x="878815" y="1213566"/>
                    <a:pt x="881743" y="1220160"/>
                  </a:cubicBezTo>
                  <a:cubicBezTo>
                    <a:pt x="882713" y="1222191"/>
                    <a:pt x="883550" y="1224288"/>
                    <a:pt x="884215" y="1226435"/>
                  </a:cubicBezTo>
                  <a:cubicBezTo>
                    <a:pt x="887828" y="1236703"/>
                    <a:pt x="889540" y="1239556"/>
                    <a:pt x="895625" y="1238415"/>
                  </a:cubicBezTo>
                  <a:cubicBezTo>
                    <a:pt x="901710" y="1237274"/>
                    <a:pt x="906083" y="1231569"/>
                    <a:pt x="910837" y="1225675"/>
                  </a:cubicBezTo>
                  <a:cubicBezTo>
                    <a:pt x="914279" y="1220694"/>
                    <a:pt x="918519" y="1216323"/>
                    <a:pt x="923387" y="1212744"/>
                  </a:cubicBezTo>
                  <a:cubicBezTo>
                    <a:pt x="929339" y="1209245"/>
                    <a:pt x="935728" y="1206560"/>
                    <a:pt x="942402" y="1204758"/>
                  </a:cubicBezTo>
                  <a:cubicBezTo>
                    <a:pt x="948259" y="1203337"/>
                    <a:pt x="953907" y="1201097"/>
                    <a:pt x="959136" y="1198102"/>
                  </a:cubicBezTo>
                  <a:cubicBezTo>
                    <a:pt x="968644" y="1191466"/>
                    <a:pt x="980814" y="1189969"/>
                    <a:pt x="991652" y="1194109"/>
                  </a:cubicBezTo>
                  <a:lnTo>
                    <a:pt x="1000970" y="1196011"/>
                  </a:lnTo>
                  <a:cubicBezTo>
                    <a:pt x="1011999" y="1198102"/>
                    <a:pt x="1015612" y="1194299"/>
                    <a:pt x="1019986" y="1182129"/>
                  </a:cubicBezTo>
                  <a:cubicBezTo>
                    <a:pt x="1031129" y="1157556"/>
                    <a:pt x="1037575" y="1131113"/>
                    <a:pt x="1039001" y="1104166"/>
                  </a:cubicBezTo>
                  <a:cubicBezTo>
                    <a:pt x="1039324" y="1092915"/>
                    <a:pt x="1043469" y="1082108"/>
                    <a:pt x="1050790" y="1073551"/>
                  </a:cubicBezTo>
                  <a:lnTo>
                    <a:pt x="1056495" y="1064995"/>
                  </a:lnTo>
                  <a:cubicBezTo>
                    <a:pt x="1061344" y="1056590"/>
                    <a:pt x="1063530" y="1046909"/>
                    <a:pt x="1062770" y="1037232"/>
                  </a:cubicBezTo>
                  <a:cubicBezTo>
                    <a:pt x="1062770" y="1034570"/>
                    <a:pt x="1062770" y="1031718"/>
                    <a:pt x="1062770" y="1028865"/>
                  </a:cubicBezTo>
                  <a:cubicBezTo>
                    <a:pt x="1061401" y="1014125"/>
                    <a:pt x="1066954" y="999584"/>
                    <a:pt x="1077792" y="989503"/>
                  </a:cubicBezTo>
                  <a:cubicBezTo>
                    <a:pt x="1087718" y="983683"/>
                    <a:pt x="1100002" y="983683"/>
                    <a:pt x="1109928" y="989503"/>
                  </a:cubicBezTo>
                  <a:lnTo>
                    <a:pt x="1114682" y="991215"/>
                  </a:lnTo>
                  <a:cubicBezTo>
                    <a:pt x="1119626" y="993987"/>
                    <a:pt x="1125559" y="994406"/>
                    <a:pt x="1130845" y="992356"/>
                  </a:cubicBezTo>
                  <a:cubicBezTo>
                    <a:pt x="1132690" y="991439"/>
                    <a:pt x="1134306" y="990144"/>
                    <a:pt x="1135599" y="988553"/>
                  </a:cubicBezTo>
                  <a:cubicBezTo>
                    <a:pt x="1138984" y="984949"/>
                    <a:pt x="1143471" y="982548"/>
                    <a:pt x="1148339" y="981707"/>
                  </a:cubicBezTo>
                  <a:cubicBezTo>
                    <a:pt x="1152028" y="981411"/>
                    <a:pt x="1155717" y="981930"/>
                    <a:pt x="1159178" y="983228"/>
                  </a:cubicBezTo>
                  <a:cubicBezTo>
                    <a:pt x="1159691" y="981420"/>
                    <a:pt x="1160071" y="979577"/>
                    <a:pt x="1160319" y="977714"/>
                  </a:cubicBezTo>
                  <a:cubicBezTo>
                    <a:pt x="1161460" y="967636"/>
                    <a:pt x="1154614" y="964023"/>
                    <a:pt x="1151572" y="955656"/>
                  </a:cubicBezTo>
                  <a:cubicBezTo>
                    <a:pt x="1150488" y="948740"/>
                    <a:pt x="1150164" y="941725"/>
                    <a:pt x="1150621" y="934739"/>
                  </a:cubicBezTo>
                  <a:cubicBezTo>
                    <a:pt x="1149290" y="924661"/>
                    <a:pt x="1145867" y="915724"/>
                    <a:pt x="1144726" y="904695"/>
                  </a:cubicBezTo>
                  <a:cubicBezTo>
                    <a:pt x="1144080" y="883521"/>
                    <a:pt x="1140828" y="862507"/>
                    <a:pt x="1135028" y="842134"/>
                  </a:cubicBezTo>
                  <a:cubicBezTo>
                    <a:pt x="1130655" y="830535"/>
                    <a:pt x="1129704" y="809238"/>
                    <a:pt x="1117534" y="804103"/>
                  </a:cubicBezTo>
                  <a:cubicBezTo>
                    <a:pt x="1108597" y="800300"/>
                    <a:pt x="1095666" y="804103"/>
                    <a:pt x="1098519" y="790412"/>
                  </a:cubicBezTo>
                  <a:cubicBezTo>
                    <a:pt x="1099736" y="786767"/>
                    <a:pt x="1101675" y="783405"/>
                    <a:pt x="1104224" y="780524"/>
                  </a:cubicBezTo>
                  <a:cubicBezTo>
                    <a:pt x="1109168" y="777102"/>
                    <a:pt x="1106696" y="781665"/>
                    <a:pt x="1113351" y="782806"/>
                  </a:cubicBezTo>
                  <a:cubicBezTo>
                    <a:pt x="1129134" y="785468"/>
                    <a:pt x="1132366" y="771967"/>
                    <a:pt x="1139402" y="760748"/>
                  </a:cubicBezTo>
                  <a:cubicBezTo>
                    <a:pt x="1149480" y="745161"/>
                    <a:pt x="1161555" y="730966"/>
                    <a:pt x="1175341" y="718534"/>
                  </a:cubicBezTo>
                  <a:cubicBezTo>
                    <a:pt x="1179144" y="715111"/>
                    <a:pt x="1187321" y="711118"/>
                    <a:pt x="1188462" y="705794"/>
                  </a:cubicBezTo>
                  <a:cubicBezTo>
                    <a:pt x="1191124" y="694195"/>
                    <a:pt x="1179334" y="695526"/>
                    <a:pt x="1174770" y="688110"/>
                  </a:cubicBezTo>
                  <a:cubicBezTo>
                    <a:pt x="1170207" y="680694"/>
                    <a:pt x="1171348" y="678031"/>
                    <a:pt x="1166024" y="672707"/>
                  </a:cubicBezTo>
                  <a:cubicBezTo>
                    <a:pt x="1160699" y="667383"/>
                    <a:pt x="1156516" y="662249"/>
                    <a:pt x="1152142" y="658446"/>
                  </a:cubicBezTo>
                  <a:cubicBezTo>
                    <a:pt x="1136169" y="644945"/>
                    <a:pt x="1133127" y="665291"/>
                    <a:pt x="1120387" y="666242"/>
                  </a:cubicBezTo>
                  <a:cubicBezTo>
                    <a:pt x="1114492" y="666242"/>
                    <a:pt x="1112400" y="660918"/>
                    <a:pt x="1108026" y="658255"/>
                  </a:cubicBezTo>
                  <a:cubicBezTo>
                    <a:pt x="1100877" y="653507"/>
                    <a:pt x="1091597" y="653507"/>
                    <a:pt x="1084447" y="658255"/>
                  </a:cubicBezTo>
                  <a:cubicBezTo>
                    <a:pt x="1074560" y="664150"/>
                    <a:pt x="1059537" y="681644"/>
                    <a:pt x="1047368" y="679743"/>
                  </a:cubicBezTo>
                  <a:cubicBezTo>
                    <a:pt x="1042804" y="679743"/>
                    <a:pt x="1039761" y="671376"/>
                    <a:pt x="1034057" y="673848"/>
                  </a:cubicBezTo>
                  <a:cubicBezTo>
                    <a:pt x="1028352" y="676320"/>
                    <a:pt x="1032726" y="682975"/>
                    <a:pt x="1028732" y="687729"/>
                  </a:cubicBezTo>
                  <a:cubicBezTo>
                    <a:pt x="1024739" y="692483"/>
                    <a:pt x="1015802" y="668714"/>
                    <a:pt x="1008006" y="665101"/>
                  </a:cubicBezTo>
                  <a:cubicBezTo>
                    <a:pt x="995075" y="658636"/>
                    <a:pt x="983856" y="670996"/>
                    <a:pt x="969975" y="667193"/>
                  </a:cubicBezTo>
                  <a:cubicBezTo>
                    <a:pt x="956094" y="663390"/>
                    <a:pt x="939550" y="657495"/>
                    <a:pt x="936698" y="673468"/>
                  </a:cubicBezTo>
                  <a:cubicBezTo>
                    <a:pt x="935747" y="678031"/>
                    <a:pt x="941262" y="682405"/>
                    <a:pt x="938980" y="688300"/>
                  </a:cubicBezTo>
                  <a:cubicBezTo>
                    <a:pt x="935614" y="694156"/>
                    <a:pt x="930195" y="698559"/>
                    <a:pt x="923768" y="700660"/>
                  </a:cubicBezTo>
                  <a:cubicBezTo>
                    <a:pt x="911407" y="706364"/>
                    <a:pt x="897336" y="704083"/>
                    <a:pt x="885737" y="711879"/>
                  </a:cubicBezTo>
                  <a:cubicBezTo>
                    <a:pt x="874137" y="719675"/>
                    <a:pt x="869574" y="736219"/>
                    <a:pt x="860066" y="748769"/>
                  </a:cubicBezTo>
                  <a:cubicBezTo>
                    <a:pt x="858449" y="752195"/>
                    <a:pt x="854913" y="754302"/>
                    <a:pt x="851129" y="754093"/>
                  </a:cubicBezTo>
                  <a:cubicBezTo>
                    <a:pt x="848847" y="754093"/>
                    <a:pt x="845805" y="752382"/>
                    <a:pt x="843142" y="752572"/>
                  </a:cubicBezTo>
                  <a:cubicBezTo>
                    <a:pt x="840480" y="752762"/>
                    <a:pt x="835536" y="756755"/>
                    <a:pt x="831353" y="757516"/>
                  </a:cubicBezTo>
                  <a:cubicBezTo>
                    <a:pt x="813478" y="760558"/>
                    <a:pt x="830021" y="750100"/>
                    <a:pt x="834775" y="745536"/>
                  </a:cubicBezTo>
                  <a:cubicBezTo>
                    <a:pt x="839415" y="739947"/>
                    <a:pt x="843541" y="733967"/>
                    <a:pt x="847135" y="727662"/>
                  </a:cubicBezTo>
                  <a:cubicBezTo>
                    <a:pt x="851889" y="721006"/>
                    <a:pt x="860446" y="717583"/>
                    <a:pt x="857404" y="708646"/>
                  </a:cubicBezTo>
                  <a:cubicBezTo>
                    <a:pt x="847706" y="679933"/>
                    <a:pt x="821465" y="733176"/>
                    <a:pt x="815189" y="733937"/>
                  </a:cubicBezTo>
                  <a:cubicBezTo>
                    <a:pt x="808915" y="734697"/>
                    <a:pt x="815189" y="728422"/>
                    <a:pt x="815189" y="726711"/>
                  </a:cubicBezTo>
                  <a:cubicBezTo>
                    <a:pt x="815189" y="724999"/>
                    <a:pt x="819943" y="721957"/>
                    <a:pt x="821655" y="718534"/>
                  </a:cubicBezTo>
                  <a:cubicBezTo>
                    <a:pt x="823366" y="715111"/>
                    <a:pt x="822796" y="711879"/>
                    <a:pt x="824317" y="709027"/>
                  </a:cubicBezTo>
                  <a:cubicBezTo>
                    <a:pt x="831162" y="694004"/>
                    <a:pt x="848657" y="693244"/>
                    <a:pt x="862348" y="686779"/>
                  </a:cubicBezTo>
                  <a:cubicBezTo>
                    <a:pt x="876039" y="680313"/>
                    <a:pt x="879652" y="670045"/>
                    <a:pt x="888589" y="658826"/>
                  </a:cubicBezTo>
                  <a:cubicBezTo>
                    <a:pt x="897526" y="647607"/>
                    <a:pt x="908555" y="642853"/>
                    <a:pt x="906273" y="628972"/>
                  </a:cubicBezTo>
                  <a:cubicBezTo>
                    <a:pt x="904752" y="620225"/>
                    <a:pt x="896956" y="614330"/>
                    <a:pt x="896005" y="605393"/>
                  </a:cubicBezTo>
                  <a:cubicBezTo>
                    <a:pt x="895054" y="596455"/>
                    <a:pt x="900379" y="590180"/>
                    <a:pt x="896005" y="582764"/>
                  </a:cubicBezTo>
                  <a:cubicBezTo>
                    <a:pt x="891632" y="575348"/>
                    <a:pt x="886307" y="575729"/>
                    <a:pt x="882694" y="569644"/>
                  </a:cubicBezTo>
                  <a:cubicBezTo>
                    <a:pt x="879081" y="563559"/>
                    <a:pt x="878701" y="552530"/>
                    <a:pt x="874328" y="544734"/>
                  </a:cubicBezTo>
                  <a:cubicBezTo>
                    <a:pt x="869954" y="536937"/>
                    <a:pt x="862728" y="516781"/>
                    <a:pt x="848847" y="518683"/>
                  </a:cubicBezTo>
                  <a:cubicBezTo>
                    <a:pt x="842192" y="519633"/>
                    <a:pt x="845994" y="519633"/>
                    <a:pt x="842192" y="523627"/>
                  </a:cubicBezTo>
                  <a:cubicBezTo>
                    <a:pt x="841240" y="524767"/>
                    <a:pt x="837438" y="536367"/>
                    <a:pt x="834015" y="533515"/>
                  </a:cubicBezTo>
                  <a:cubicBezTo>
                    <a:pt x="830592" y="530662"/>
                    <a:pt x="834015" y="514499"/>
                    <a:pt x="832874" y="509745"/>
                  </a:cubicBezTo>
                  <a:cubicBezTo>
                    <a:pt x="831543" y="502398"/>
                    <a:pt x="825306" y="496950"/>
                    <a:pt x="817852" y="496625"/>
                  </a:cubicBezTo>
                  <a:cubicBezTo>
                    <a:pt x="799787" y="496625"/>
                    <a:pt x="791991" y="520964"/>
                    <a:pt x="772025" y="515640"/>
                  </a:cubicBezTo>
                  <a:cubicBezTo>
                    <a:pt x="758714" y="512027"/>
                    <a:pt x="749587" y="504991"/>
                    <a:pt x="750157" y="492251"/>
                  </a:cubicBezTo>
                  <a:cubicBezTo>
                    <a:pt x="750157" y="483884"/>
                    <a:pt x="750157" y="483504"/>
                    <a:pt x="746354" y="477229"/>
                  </a:cubicBezTo>
                  <a:cubicBezTo>
                    <a:pt x="742551" y="470954"/>
                    <a:pt x="741030" y="472095"/>
                    <a:pt x="745213" y="463918"/>
                  </a:cubicBezTo>
                  <a:cubicBezTo>
                    <a:pt x="749396" y="455742"/>
                    <a:pt x="753580" y="454411"/>
                    <a:pt x="749396" y="444903"/>
                  </a:cubicBezTo>
                  <a:cubicBezTo>
                    <a:pt x="748256" y="442241"/>
                    <a:pt x="738557" y="432733"/>
                    <a:pt x="743502" y="430071"/>
                  </a:cubicBezTo>
                  <a:cubicBezTo>
                    <a:pt x="748446" y="427409"/>
                    <a:pt x="758143" y="439959"/>
                    <a:pt x="760045" y="441100"/>
                  </a:cubicBezTo>
                  <a:cubicBezTo>
                    <a:pt x="768089" y="445458"/>
                    <a:pt x="774706" y="452066"/>
                    <a:pt x="779060" y="460115"/>
                  </a:cubicBezTo>
                  <a:cubicBezTo>
                    <a:pt x="789329" y="475708"/>
                    <a:pt x="798076" y="462587"/>
                    <a:pt x="808154" y="455551"/>
                  </a:cubicBezTo>
                  <a:cubicBezTo>
                    <a:pt x="812337" y="452699"/>
                    <a:pt x="815950" y="450037"/>
                    <a:pt x="821275" y="452129"/>
                  </a:cubicBezTo>
                  <a:cubicBezTo>
                    <a:pt x="826599" y="454220"/>
                    <a:pt x="827930" y="464869"/>
                    <a:pt x="834395" y="466010"/>
                  </a:cubicBezTo>
                  <a:cubicBezTo>
                    <a:pt x="843713" y="467531"/>
                    <a:pt x="855883" y="429500"/>
                    <a:pt x="857784" y="423225"/>
                  </a:cubicBezTo>
                  <a:cubicBezTo>
                    <a:pt x="863489" y="404210"/>
                    <a:pt x="847135" y="388807"/>
                    <a:pt x="857784" y="371123"/>
                  </a:cubicBezTo>
                  <a:cubicBezTo>
                    <a:pt x="865257" y="356651"/>
                    <a:pt x="876324" y="344342"/>
                    <a:pt x="889920" y="335374"/>
                  </a:cubicBezTo>
                  <a:cubicBezTo>
                    <a:pt x="908935" y="326817"/>
                    <a:pt x="928902" y="339177"/>
                    <a:pt x="946966" y="335374"/>
                  </a:cubicBezTo>
                  <a:cubicBezTo>
                    <a:pt x="957045" y="334422"/>
                    <a:pt x="965905" y="328300"/>
                    <a:pt x="970355" y="319211"/>
                  </a:cubicBezTo>
                  <a:cubicBezTo>
                    <a:pt x="973398" y="311795"/>
                    <a:pt x="970355" y="303619"/>
                    <a:pt x="975299" y="296583"/>
                  </a:cubicBezTo>
                  <a:cubicBezTo>
                    <a:pt x="980243" y="289547"/>
                    <a:pt x="985757" y="288787"/>
                    <a:pt x="990702" y="284413"/>
                  </a:cubicBezTo>
                  <a:cubicBezTo>
                    <a:pt x="999639" y="276236"/>
                    <a:pt x="1003252" y="265398"/>
                    <a:pt x="1015802" y="261404"/>
                  </a:cubicBezTo>
                  <a:cubicBezTo>
                    <a:pt x="1023598" y="259123"/>
                    <a:pt x="1032155" y="260454"/>
                    <a:pt x="1036909" y="252087"/>
                  </a:cubicBezTo>
                  <a:cubicBezTo>
                    <a:pt x="1041663" y="243720"/>
                    <a:pt x="1036909" y="236494"/>
                    <a:pt x="1045085" y="230219"/>
                  </a:cubicBezTo>
                  <a:cubicBezTo>
                    <a:pt x="1053262" y="223944"/>
                    <a:pt x="1064101" y="224324"/>
                    <a:pt x="1064101" y="213866"/>
                  </a:cubicBezTo>
                  <a:cubicBezTo>
                    <a:pt x="1064101" y="206830"/>
                    <a:pt x="1054593" y="206070"/>
                    <a:pt x="1050600" y="201696"/>
                  </a:cubicBezTo>
                  <a:cubicBezTo>
                    <a:pt x="1041853" y="191998"/>
                    <a:pt x="1058206" y="167658"/>
                    <a:pt x="1042614" y="169180"/>
                  </a:cubicBezTo>
                  <a:cubicBezTo>
                    <a:pt x="1030253" y="170321"/>
                    <a:pt x="1023598" y="191618"/>
                    <a:pt x="1011048" y="193519"/>
                  </a:cubicBezTo>
                  <a:cubicBezTo>
                    <a:pt x="987659" y="197132"/>
                    <a:pt x="989941" y="172032"/>
                    <a:pt x="983666" y="159292"/>
                  </a:cubicBezTo>
                  <a:cubicBezTo>
                    <a:pt x="979483" y="150925"/>
                    <a:pt x="969405" y="140276"/>
                    <a:pt x="959516" y="146171"/>
                  </a:cubicBezTo>
                  <a:cubicBezTo>
                    <a:pt x="956854" y="147502"/>
                    <a:pt x="949819" y="162715"/>
                    <a:pt x="947727" y="161764"/>
                  </a:cubicBezTo>
                  <a:cubicBezTo>
                    <a:pt x="945635" y="160813"/>
                    <a:pt x="942783" y="148833"/>
                    <a:pt x="938980" y="145601"/>
                  </a:cubicBezTo>
                  <a:cubicBezTo>
                    <a:pt x="931374" y="139135"/>
                    <a:pt x="924338" y="145601"/>
                    <a:pt x="915781" y="147312"/>
                  </a:cubicBezTo>
                  <a:cubicBezTo>
                    <a:pt x="907224" y="149023"/>
                    <a:pt x="880983" y="162334"/>
                    <a:pt x="896766" y="145601"/>
                  </a:cubicBezTo>
                  <a:cubicBezTo>
                    <a:pt x="909316" y="132100"/>
                    <a:pt x="924718" y="117838"/>
                    <a:pt x="922437" y="96731"/>
                  </a:cubicBezTo>
                  <a:cubicBezTo>
                    <a:pt x="919394" y="66877"/>
                    <a:pt x="903421" y="96731"/>
                    <a:pt x="892202" y="95210"/>
                  </a:cubicBezTo>
                  <a:cubicBezTo>
                    <a:pt x="880983" y="93689"/>
                    <a:pt x="907794" y="78286"/>
                    <a:pt x="909886" y="74673"/>
                  </a:cubicBezTo>
                  <a:cubicBezTo>
                    <a:pt x="921485" y="55658"/>
                    <a:pt x="908935" y="48052"/>
                    <a:pt x="892773" y="41396"/>
                  </a:cubicBezTo>
                  <a:cubicBezTo>
                    <a:pt x="882599" y="38514"/>
                    <a:pt x="875107" y="29835"/>
                    <a:pt x="873757" y="19338"/>
                  </a:cubicBezTo>
                  <a:cubicBezTo>
                    <a:pt x="872426" y="12113"/>
                    <a:pt x="873757" y="-2339"/>
                    <a:pt x="861968" y="323"/>
                  </a:cubicBezTo>
                  <a:cubicBezTo>
                    <a:pt x="855692" y="1654"/>
                    <a:pt x="855122" y="8500"/>
                    <a:pt x="852270" y="12493"/>
                  </a:cubicBezTo>
                  <a:cubicBezTo>
                    <a:pt x="849455" y="15998"/>
                    <a:pt x="846337" y="19244"/>
                    <a:pt x="842952" y="22191"/>
                  </a:cubicBezTo>
                  <a:cubicBezTo>
                    <a:pt x="833254" y="31889"/>
                    <a:pt x="839529" y="30177"/>
                    <a:pt x="837057" y="41206"/>
                  </a:cubicBezTo>
                  <a:cubicBezTo>
                    <a:pt x="834775" y="42727"/>
                    <a:pt x="829641" y="35692"/>
                    <a:pt x="826599" y="35121"/>
                  </a:cubicBezTo>
                  <a:cubicBezTo>
                    <a:pt x="823556" y="34551"/>
                    <a:pt x="816711" y="37974"/>
                    <a:pt x="812717" y="40826"/>
                  </a:cubicBezTo>
                  <a:cubicBezTo>
                    <a:pt x="801309" y="49383"/>
                    <a:pt x="793702" y="61743"/>
                    <a:pt x="781342" y="69159"/>
                  </a:cubicBezTo>
                  <a:cubicBezTo>
                    <a:pt x="768982" y="76575"/>
                    <a:pt x="756622" y="77335"/>
                    <a:pt x="745783" y="84371"/>
                  </a:cubicBezTo>
                  <a:cubicBezTo>
                    <a:pt x="734945" y="91407"/>
                    <a:pt x="737037" y="94449"/>
                    <a:pt x="734564" y="103386"/>
                  </a:cubicBezTo>
                  <a:cubicBezTo>
                    <a:pt x="732092" y="112324"/>
                    <a:pt x="723155" y="122402"/>
                    <a:pt x="723916" y="130008"/>
                  </a:cubicBezTo>
                  <a:cubicBezTo>
                    <a:pt x="725057" y="141607"/>
                    <a:pt x="737417" y="142558"/>
                    <a:pt x="725437" y="154918"/>
                  </a:cubicBezTo>
                  <a:cubicBezTo>
                    <a:pt x="713457" y="167278"/>
                    <a:pt x="694632" y="173934"/>
                    <a:pt x="699386" y="195611"/>
                  </a:cubicBezTo>
                  <a:cubicBezTo>
                    <a:pt x="702238" y="208542"/>
                    <a:pt x="706802" y="198844"/>
                    <a:pt x="715739" y="195611"/>
                  </a:cubicBezTo>
                  <a:cubicBezTo>
                    <a:pt x="727167" y="194168"/>
                    <a:pt x="738729" y="196577"/>
                    <a:pt x="748636" y="202457"/>
                  </a:cubicBezTo>
                  <a:cubicBezTo>
                    <a:pt x="760425" y="207591"/>
                    <a:pt x="765560" y="203598"/>
                    <a:pt x="777729" y="202457"/>
                  </a:cubicBezTo>
                  <a:cubicBezTo>
                    <a:pt x="780772" y="202457"/>
                    <a:pt x="803780" y="203598"/>
                    <a:pt x="800548" y="212345"/>
                  </a:cubicBezTo>
                  <a:cubicBezTo>
                    <a:pt x="797315" y="221092"/>
                    <a:pt x="788378" y="209873"/>
                    <a:pt x="786286" y="220711"/>
                  </a:cubicBezTo>
                  <a:cubicBezTo>
                    <a:pt x="786286" y="223944"/>
                    <a:pt x="790089" y="226986"/>
                    <a:pt x="787618" y="230409"/>
                  </a:cubicBezTo>
                  <a:cubicBezTo>
                    <a:pt x="785145" y="233832"/>
                    <a:pt x="778110" y="230409"/>
                    <a:pt x="773926" y="230409"/>
                  </a:cubicBezTo>
                  <a:cubicBezTo>
                    <a:pt x="763278" y="230409"/>
                    <a:pt x="757573" y="243530"/>
                    <a:pt x="746924" y="242009"/>
                  </a:cubicBezTo>
                  <a:cubicBezTo>
                    <a:pt x="736276" y="240487"/>
                    <a:pt x="735325" y="230980"/>
                    <a:pt x="727909" y="229078"/>
                  </a:cubicBezTo>
                  <a:cubicBezTo>
                    <a:pt x="715359" y="226226"/>
                    <a:pt x="702619" y="235734"/>
                    <a:pt x="689878" y="233832"/>
                  </a:cubicBezTo>
                  <a:cubicBezTo>
                    <a:pt x="677138" y="231930"/>
                    <a:pt x="668581" y="220331"/>
                    <a:pt x="657552" y="222423"/>
                  </a:cubicBezTo>
                  <a:cubicBezTo>
                    <a:pt x="643291" y="225085"/>
                    <a:pt x="654319" y="232121"/>
                    <a:pt x="652608" y="239347"/>
                  </a:cubicBezTo>
                  <a:cubicBezTo>
                    <a:pt x="650897" y="246572"/>
                    <a:pt x="631311" y="239347"/>
                    <a:pt x="625416" y="239347"/>
                  </a:cubicBezTo>
                  <a:cubicBezTo>
                    <a:pt x="611497" y="242288"/>
                    <a:pt x="598909" y="249621"/>
                    <a:pt x="589477" y="260263"/>
                  </a:cubicBezTo>
                  <a:cubicBezTo>
                    <a:pt x="576737" y="271102"/>
                    <a:pt x="563806" y="281751"/>
                    <a:pt x="551446" y="292780"/>
                  </a:cubicBezTo>
                  <a:cubicBezTo>
                    <a:pt x="539086" y="303809"/>
                    <a:pt x="530719" y="313316"/>
                    <a:pt x="519881" y="322634"/>
                  </a:cubicBezTo>
                  <a:cubicBezTo>
                    <a:pt x="513225" y="328148"/>
                    <a:pt x="505239" y="328909"/>
                    <a:pt x="498583" y="334043"/>
                  </a:cubicBezTo>
                  <a:cubicBezTo>
                    <a:pt x="491890" y="340006"/>
                    <a:pt x="485539" y="346356"/>
                    <a:pt x="479568" y="353059"/>
                  </a:cubicBezTo>
                  <a:cubicBezTo>
                    <a:pt x="469490" y="363137"/>
                    <a:pt x="468919" y="360094"/>
                    <a:pt x="456369" y="360665"/>
                  </a:cubicBezTo>
                  <a:cubicBezTo>
                    <a:pt x="434311" y="360665"/>
                    <a:pt x="413775" y="391470"/>
                    <a:pt x="400464" y="406682"/>
                  </a:cubicBezTo>
                  <a:cubicBezTo>
                    <a:pt x="392268" y="414665"/>
                    <a:pt x="381753" y="419856"/>
                    <a:pt x="370420" y="421514"/>
                  </a:cubicBezTo>
                  <a:cubicBezTo>
                    <a:pt x="359182" y="425804"/>
                    <a:pt x="348913" y="432265"/>
                    <a:pt x="340186" y="440529"/>
                  </a:cubicBezTo>
                  <a:cubicBezTo>
                    <a:pt x="335621" y="444332"/>
                    <a:pt x="333340" y="449467"/>
                    <a:pt x="329156" y="453460"/>
                  </a:cubicBezTo>
                  <a:cubicBezTo>
                    <a:pt x="324973" y="457453"/>
                    <a:pt x="320600" y="458404"/>
                    <a:pt x="317557" y="462017"/>
                  </a:cubicBezTo>
                  <a:cubicBezTo>
                    <a:pt x="315313" y="466251"/>
                    <a:pt x="313526" y="470712"/>
                    <a:pt x="312233" y="475327"/>
                  </a:cubicBezTo>
                  <a:cubicBezTo>
                    <a:pt x="308221" y="481376"/>
                    <a:pt x="302877" y="486446"/>
                    <a:pt x="296640" y="490159"/>
                  </a:cubicBezTo>
                  <a:cubicBezTo>
                    <a:pt x="278575" y="503660"/>
                    <a:pt x="265455" y="522676"/>
                    <a:pt x="245869" y="534846"/>
                  </a:cubicBezTo>
                  <a:cubicBezTo>
                    <a:pt x="235220" y="541691"/>
                    <a:pt x="227994" y="541121"/>
                    <a:pt x="222670" y="553861"/>
                  </a:cubicBezTo>
                  <a:cubicBezTo>
                    <a:pt x="219875" y="565506"/>
                    <a:pt x="217840" y="577320"/>
                    <a:pt x="216586" y="589230"/>
                  </a:cubicBezTo>
                  <a:cubicBezTo>
                    <a:pt x="212079" y="600570"/>
                    <a:pt x="206735" y="611567"/>
                    <a:pt x="200612" y="622126"/>
                  </a:cubicBezTo>
                  <a:cubicBezTo>
                    <a:pt x="197779" y="628626"/>
                    <a:pt x="194604" y="634973"/>
                    <a:pt x="191104" y="641142"/>
                  </a:cubicBezTo>
                  <a:cubicBezTo>
                    <a:pt x="190154" y="642853"/>
                    <a:pt x="187492" y="645135"/>
                    <a:pt x="187111" y="647227"/>
                  </a:cubicBezTo>
                  <a:cubicBezTo>
                    <a:pt x="185780" y="656164"/>
                    <a:pt x="188823" y="650839"/>
                    <a:pt x="189203" y="655213"/>
                  </a:cubicBezTo>
                  <a:cubicBezTo>
                    <a:pt x="189583" y="659587"/>
                    <a:pt x="193387" y="658636"/>
                    <a:pt x="189203" y="663390"/>
                  </a:cubicBezTo>
                  <a:cubicBezTo>
                    <a:pt x="185020" y="668143"/>
                    <a:pt x="179125" y="667193"/>
                    <a:pt x="176272" y="667953"/>
                  </a:cubicBezTo>
                  <a:cubicBezTo>
                    <a:pt x="162772" y="672327"/>
                    <a:pt x="164673" y="675940"/>
                    <a:pt x="159349" y="686969"/>
                  </a:cubicBezTo>
                  <a:cubicBezTo>
                    <a:pt x="153359" y="697273"/>
                    <a:pt x="146343" y="706954"/>
                    <a:pt x="138432" y="715872"/>
                  </a:cubicBezTo>
                  <a:cubicBezTo>
                    <a:pt x="131776" y="724429"/>
                    <a:pt x="115043" y="736028"/>
                    <a:pt x="116184" y="748198"/>
                  </a:cubicBezTo>
                  <a:cubicBezTo>
                    <a:pt x="117325" y="760368"/>
                    <a:pt x="131587" y="763791"/>
                    <a:pt x="137862" y="771397"/>
                  </a:cubicBezTo>
                  <a:cubicBezTo>
                    <a:pt x="144137" y="779003"/>
                    <a:pt x="144897" y="790412"/>
                    <a:pt x="152884" y="792884"/>
                  </a:cubicBezTo>
                  <a:cubicBezTo>
                    <a:pt x="160870" y="795356"/>
                    <a:pt x="171899" y="784708"/>
                    <a:pt x="180836" y="784137"/>
                  </a:cubicBezTo>
                  <a:cubicBezTo>
                    <a:pt x="188214" y="784466"/>
                    <a:pt x="195573" y="785164"/>
                    <a:pt x="202894" y="786229"/>
                  </a:cubicBezTo>
                  <a:cubicBezTo>
                    <a:pt x="211109" y="785875"/>
                    <a:pt x="219323" y="786385"/>
                    <a:pt x="227424" y="787750"/>
                  </a:cubicBezTo>
                  <a:cubicBezTo>
                    <a:pt x="242446" y="791743"/>
                    <a:pt x="243777" y="801631"/>
                    <a:pt x="252904" y="811900"/>
                  </a:cubicBezTo>
                  <a:cubicBezTo>
                    <a:pt x="262032" y="822168"/>
                    <a:pt x="263554" y="819506"/>
                    <a:pt x="261462" y="830915"/>
                  </a:cubicBezTo>
                  <a:cubicBezTo>
                    <a:pt x="260416" y="841830"/>
                    <a:pt x="256917" y="852364"/>
                    <a:pt x="251193" y="861720"/>
                  </a:cubicBezTo>
                  <a:cubicBezTo>
                    <a:pt x="239594" y="874841"/>
                    <a:pt x="232178" y="861720"/>
                    <a:pt x="219627" y="859058"/>
                  </a:cubicBezTo>
                  <a:cubicBezTo>
                    <a:pt x="196809" y="856206"/>
                    <a:pt x="185020" y="892335"/>
                    <a:pt x="162581" y="891764"/>
                  </a:cubicBezTo>
                  <a:cubicBezTo>
                    <a:pt x="152313" y="891764"/>
                    <a:pt x="146228" y="881876"/>
                    <a:pt x="137291" y="878263"/>
                  </a:cubicBezTo>
                  <a:cubicBezTo>
                    <a:pt x="127593" y="874747"/>
                    <a:pt x="116945" y="874747"/>
                    <a:pt x="107247" y="878263"/>
                  </a:cubicBezTo>
                  <a:cubicBezTo>
                    <a:pt x="84808" y="887771"/>
                    <a:pt x="113142" y="923520"/>
                    <a:pt x="104965" y="942726"/>
                  </a:cubicBezTo>
                  <a:cubicBezTo>
                    <a:pt x="99451" y="955846"/>
                    <a:pt x="85949" y="964023"/>
                    <a:pt x="78154" y="975052"/>
                  </a:cubicBezTo>
                  <a:cubicBezTo>
                    <a:pt x="70357" y="986081"/>
                    <a:pt x="62751" y="1003385"/>
                    <a:pt x="53433" y="1016886"/>
                  </a:cubicBezTo>
                  <a:cubicBezTo>
                    <a:pt x="50695" y="1021624"/>
                    <a:pt x="46759" y="1025559"/>
                    <a:pt x="42024" y="1028295"/>
                  </a:cubicBezTo>
                  <a:cubicBezTo>
                    <a:pt x="36510" y="1030957"/>
                    <a:pt x="29474" y="1028295"/>
                    <a:pt x="24149" y="1032288"/>
                  </a:cubicBezTo>
                  <a:cubicBezTo>
                    <a:pt x="15402" y="1037612"/>
                    <a:pt x="19206" y="1048261"/>
                    <a:pt x="15022" y="1056818"/>
                  </a:cubicBezTo>
                  <a:cubicBezTo>
                    <a:pt x="9356" y="1065565"/>
                    <a:pt x="4335" y="1074717"/>
                    <a:pt x="0" y="1084200"/>
                  </a:cubicBezTo>
                  <a:cubicBezTo>
                    <a:pt x="1806" y="1096649"/>
                    <a:pt x="6636" y="1108468"/>
                    <a:pt x="14071" y="1118618"/>
                  </a:cubicBezTo>
                  <a:cubicBezTo>
                    <a:pt x="19909" y="1125365"/>
                    <a:pt x="28352" y="1129306"/>
                    <a:pt x="37270" y="1129457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47" name="Полилиния: фигура 346">
              <a:extLst>
                <a:ext uri="{FF2B5EF4-FFF2-40B4-BE49-F238E27FC236}">
                  <a16:creationId xmlns:a16="http://schemas.microsoft.com/office/drawing/2014/main" id="{CF00EC47-5BE7-11C7-C79F-729B3D3A6901}"/>
                </a:ext>
              </a:extLst>
            </p:cNvPr>
            <p:cNvSpPr/>
            <p:nvPr/>
          </p:nvSpPr>
          <p:spPr>
            <a:xfrm>
              <a:off x="7609349" y="1217684"/>
              <a:ext cx="90451" cy="160636"/>
            </a:xfrm>
            <a:custGeom>
              <a:avLst/>
              <a:gdLst>
                <a:gd name="connsiteX0" fmla="*/ 7677 w 94579"/>
                <a:gd name="connsiteY0" fmla="*/ 104861 h 167476"/>
                <a:gd name="connsiteX1" fmla="*/ 12241 w 94579"/>
                <a:gd name="connsiteY1" fmla="*/ 118933 h 167476"/>
                <a:gd name="connsiteX2" fmla="*/ 18326 w 94579"/>
                <a:gd name="connsiteY2" fmla="*/ 123877 h 167476"/>
                <a:gd name="connsiteX3" fmla="*/ 26693 w 94579"/>
                <a:gd name="connsiteY3" fmla="*/ 139279 h 167476"/>
                <a:gd name="connsiteX4" fmla="*/ 37912 w 94579"/>
                <a:gd name="connsiteY4" fmla="*/ 152400 h 167476"/>
                <a:gd name="connsiteX5" fmla="*/ 43997 w 94579"/>
                <a:gd name="connsiteY5" fmla="*/ 153351 h 167476"/>
                <a:gd name="connsiteX6" fmla="*/ 49701 w 94579"/>
                <a:gd name="connsiteY6" fmla="*/ 160767 h 167476"/>
                <a:gd name="connsiteX7" fmla="*/ 57878 w 94579"/>
                <a:gd name="connsiteY7" fmla="*/ 165901 h 167476"/>
                <a:gd name="connsiteX8" fmla="*/ 72140 w 94579"/>
                <a:gd name="connsiteY8" fmla="*/ 165901 h 167476"/>
                <a:gd name="connsiteX9" fmla="*/ 80126 w 94579"/>
                <a:gd name="connsiteY9" fmla="*/ 152400 h 167476"/>
                <a:gd name="connsiteX10" fmla="*/ 83549 w 94579"/>
                <a:gd name="connsiteY10" fmla="*/ 135476 h 167476"/>
                <a:gd name="connsiteX11" fmla="*/ 78605 w 94579"/>
                <a:gd name="connsiteY11" fmla="*/ 118172 h 167476"/>
                <a:gd name="connsiteX12" fmla="*/ 78605 w 94579"/>
                <a:gd name="connsiteY12" fmla="*/ 99157 h 167476"/>
                <a:gd name="connsiteX13" fmla="*/ 87542 w 94579"/>
                <a:gd name="connsiteY13" fmla="*/ 87367 h 167476"/>
                <a:gd name="connsiteX14" fmla="*/ 90965 w 94579"/>
                <a:gd name="connsiteY14" fmla="*/ 73296 h 167476"/>
                <a:gd name="connsiteX15" fmla="*/ 90965 w 94579"/>
                <a:gd name="connsiteY15" fmla="*/ 61506 h 167476"/>
                <a:gd name="connsiteX16" fmla="*/ 94198 w 94579"/>
                <a:gd name="connsiteY16" fmla="*/ 51048 h 167476"/>
                <a:gd name="connsiteX17" fmla="*/ 88302 w 94579"/>
                <a:gd name="connsiteY17" fmla="*/ 28420 h 167476"/>
                <a:gd name="connsiteX18" fmla="*/ 86781 w 94579"/>
                <a:gd name="connsiteY18" fmla="*/ 13778 h 167476"/>
                <a:gd name="connsiteX19" fmla="*/ 79936 w 94579"/>
                <a:gd name="connsiteY19" fmla="*/ 1228 h 167476"/>
                <a:gd name="connsiteX20" fmla="*/ 60921 w 94579"/>
                <a:gd name="connsiteY20" fmla="*/ 3509 h 167476"/>
                <a:gd name="connsiteX21" fmla="*/ 48180 w 94579"/>
                <a:gd name="connsiteY21" fmla="*/ 9404 h 167476"/>
                <a:gd name="connsiteX22" fmla="*/ 33158 w 94579"/>
                <a:gd name="connsiteY22" fmla="*/ 17581 h 167476"/>
                <a:gd name="connsiteX23" fmla="*/ 24601 w 94579"/>
                <a:gd name="connsiteY23" fmla="*/ 24997 h 167476"/>
                <a:gd name="connsiteX24" fmla="*/ 15664 w 94579"/>
                <a:gd name="connsiteY24" fmla="*/ 33364 h 167476"/>
                <a:gd name="connsiteX25" fmla="*/ 9959 w 94579"/>
                <a:gd name="connsiteY25" fmla="*/ 40019 h 167476"/>
                <a:gd name="connsiteX26" fmla="*/ 7297 w 94579"/>
                <a:gd name="connsiteY26" fmla="*/ 61697 h 167476"/>
                <a:gd name="connsiteX27" fmla="*/ 1783 w 94579"/>
                <a:gd name="connsiteY27" fmla="*/ 70634 h 167476"/>
                <a:gd name="connsiteX28" fmla="*/ 1783 w 94579"/>
                <a:gd name="connsiteY28" fmla="*/ 87748 h 167476"/>
                <a:gd name="connsiteX29" fmla="*/ 7677 w 94579"/>
                <a:gd name="connsiteY29" fmla="*/ 104861 h 16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4579" h="167476">
                  <a:moveTo>
                    <a:pt x="7677" y="104861"/>
                  </a:moveTo>
                  <a:cubicBezTo>
                    <a:pt x="8001" y="109859"/>
                    <a:pt x="9579" y="114696"/>
                    <a:pt x="12241" y="118933"/>
                  </a:cubicBezTo>
                  <a:cubicBezTo>
                    <a:pt x="14143" y="120739"/>
                    <a:pt x="16177" y="122392"/>
                    <a:pt x="18326" y="123877"/>
                  </a:cubicBezTo>
                  <a:cubicBezTo>
                    <a:pt x="22281" y="128290"/>
                    <a:pt x="25134" y="133563"/>
                    <a:pt x="26693" y="139279"/>
                  </a:cubicBezTo>
                  <a:cubicBezTo>
                    <a:pt x="28366" y="145064"/>
                    <a:pt x="32455" y="149846"/>
                    <a:pt x="37912" y="152400"/>
                  </a:cubicBezTo>
                  <a:cubicBezTo>
                    <a:pt x="39966" y="152499"/>
                    <a:pt x="42000" y="152818"/>
                    <a:pt x="43997" y="153351"/>
                  </a:cubicBezTo>
                  <a:cubicBezTo>
                    <a:pt x="46659" y="154872"/>
                    <a:pt x="47800" y="158295"/>
                    <a:pt x="49701" y="160767"/>
                  </a:cubicBezTo>
                  <a:cubicBezTo>
                    <a:pt x="51945" y="163153"/>
                    <a:pt x="54760" y="164922"/>
                    <a:pt x="57878" y="165901"/>
                  </a:cubicBezTo>
                  <a:cubicBezTo>
                    <a:pt x="62404" y="168002"/>
                    <a:pt x="67614" y="168002"/>
                    <a:pt x="72140" y="165901"/>
                  </a:cubicBezTo>
                  <a:cubicBezTo>
                    <a:pt x="76342" y="162508"/>
                    <a:pt x="79175" y="157715"/>
                    <a:pt x="80126" y="152400"/>
                  </a:cubicBezTo>
                  <a:cubicBezTo>
                    <a:pt x="82028" y="146941"/>
                    <a:pt x="83188" y="141247"/>
                    <a:pt x="83549" y="135476"/>
                  </a:cubicBezTo>
                  <a:cubicBezTo>
                    <a:pt x="83549" y="129359"/>
                    <a:pt x="81837" y="123365"/>
                    <a:pt x="78605" y="118172"/>
                  </a:cubicBezTo>
                  <a:cubicBezTo>
                    <a:pt x="73585" y="112829"/>
                    <a:pt x="73585" y="104500"/>
                    <a:pt x="78605" y="99157"/>
                  </a:cubicBezTo>
                  <a:cubicBezTo>
                    <a:pt x="81267" y="94973"/>
                    <a:pt x="84880" y="91551"/>
                    <a:pt x="87542" y="87367"/>
                  </a:cubicBezTo>
                  <a:cubicBezTo>
                    <a:pt x="89919" y="83066"/>
                    <a:pt x="91098" y="78208"/>
                    <a:pt x="90965" y="73296"/>
                  </a:cubicBezTo>
                  <a:cubicBezTo>
                    <a:pt x="90965" y="69493"/>
                    <a:pt x="90965" y="65500"/>
                    <a:pt x="90965" y="61506"/>
                  </a:cubicBezTo>
                  <a:cubicBezTo>
                    <a:pt x="91839" y="57962"/>
                    <a:pt x="92923" y="54469"/>
                    <a:pt x="94198" y="51048"/>
                  </a:cubicBezTo>
                  <a:cubicBezTo>
                    <a:pt x="96099" y="43252"/>
                    <a:pt x="90394" y="36026"/>
                    <a:pt x="88302" y="28420"/>
                  </a:cubicBezTo>
                  <a:cubicBezTo>
                    <a:pt x="87504" y="23574"/>
                    <a:pt x="86990" y="18684"/>
                    <a:pt x="86781" y="13778"/>
                  </a:cubicBezTo>
                  <a:cubicBezTo>
                    <a:pt x="86363" y="8817"/>
                    <a:pt x="83891" y="4261"/>
                    <a:pt x="79936" y="1228"/>
                  </a:cubicBezTo>
                  <a:cubicBezTo>
                    <a:pt x="73585" y="-1005"/>
                    <a:pt x="66568" y="-162"/>
                    <a:pt x="60921" y="3509"/>
                  </a:cubicBezTo>
                  <a:lnTo>
                    <a:pt x="48180" y="9404"/>
                  </a:lnTo>
                  <a:cubicBezTo>
                    <a:pt x="42913" y="11637"/>
                    <a:pt x="37893" y="14375"/>
                    <a:pt x="33158" y="17581"/>
                  </a:cubicBezTo>
                  <a:cubicBezTo>
                    <a:pt x="30135" y="19847"/>
                    <a:pt x="27282" y="22325"/>
                    <a:pt x="24601" y="24997"/>
                  </a:cubicBezTo>
                  <a:lnTo>
                    <a:pt x="15664" y="33364"/>
                  </a:lnTo>
                  <a:cubicBezTo>
                    <a:pt x="13325" y="35162"/>
                    <a:pt x="11386" y="37429"/>
                    <a:pt x="9959" y="40019"/>
                  </a:cubicBezTo>
                  <a:cubicBezTo>
                    <a:pt x="6727" y="46674"/>
                    <a:pt x="9959" y="54851"/>
                    <a:pt x="7297" y="61697"/>
                  </a:cubicBezTo>
                  <a:cubicBezTo>
                    <a:pt x="5966" y="64929"/>
                    <a:pt x="3114" y="67591"/>
                    <a:pt x="1783" y="70634"/>
                  </a:cubicBezTo>
                  <a:cubicBezTo>
                    <a:pt x="-594" y="76093"/>
                    <a:pt x="-594" y="82288"/>
                    <a:pt x="1783" y="87748"/>
                  </a:cubicBezTo>
                  <a:cubicBezTo>
                    <a:pt x="4140" y="93312"/>
                    <a:pt x="6099" y="99029"/>
                    <a:pt x="7677" y="104861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48" name="Полилиния: фигура 347">
              <a:extLst>
                <a:ext uri="{FF2B5EF4-FFF2-40B4-BE49-F238E27FC236}">
                  <a16:creationId xmlns:a16="http://schemas.microsoft.com/office/drawing/2014/main" id="{123E9BEB-00EA-29A7-7DEA-3E1DD97347E3}"/>
                </a:ext>
              </a:extLst>
            </p:cNvPr>
            <p:cNvSpPr/>
            <p:nvPr/>
          </p:nvSpPr>
          <p:spPr>
            <a:xfrm>
              <a:off x="7611236" y="1783875"/>
              <a:ext cx="66595" cy="63133"/>
            </a:xfrm>
            <a:custGeom>
              <a:avLst/>
              <a:gdLst>
                <a:gd name="connsiteX0" fmla="*/ 26051 w 69634"/>
                <a:gd name="connsiteY0" fmla="*/ 12573 h 65821"/>
                <a:gd name="connsiteX1" fmla="*/ 20536 w 69634"/>
                <a:gd name="connsiteY1" fmla="*/ 17707 h 65821"/>
                <a:gd name="connsiteX2" fmla="*/ 12550 w 69634"/>
                <a:gd name="connsiteY2" fmla="*/ 22651 h 65821"/>
                <a:gd name="connsiteX3" fmla="*/ 1902 w 69634"/>
                <a:gd name="connsiteY3" fmla="*/ 37483 h 65821"/>
                <a:gd name="connsiteX4" fmla="*/ 0 w 69634"/>
                <a:gd name="connsiteY4" fmla="*/ 46040 h 65821"/>
                <a:gd name="connsiteX5" fmla="*/ 8367 w 69634"/>
                <a:gd name="connsiteY5" fmla="*/ 61442 h 65821"/>
                <a:gd name="connsiteX6" fmla="*/ 12550 w 69634"/>
                <a:gd name="connsiteY6" fmla="*/ 65055 h 65821"/>
                <a:gd name="connsiteX7" fmla="*/ 24529 w 69634"/>
                <a:gd name="connsiteY7" fmla="*/ 63915 h 65821"/>
                <a:gd name="connsiteX8" fmla="*/ 62560 w 69634"/>
                <a:gd name="connsiteY8" fmla="*/ 42617 h 65821"/>
                <a:gd name="connsiteX9" fmla="*/ 68836 w 69634"/>
                <a:gd name="connsiteY9" fmla="*/ 24743 h 65821"/>
                <a:gd name="connsiteX10" fmla="*/ 68836 w 69634"/>
                <a:gd name="connsiteY10" fmla="*/ 17707 h 65821"/>
                <a:gd name="connsiteX11" fmla="*/ 63511 w 69634"/>
                <a:gd name="connsiteY11" fmla="*/ 15235 h 65821"/>
                <a:gd name="connsiteX12" fmla="*/ 57806 w 69634"/>
                <a:gd name="connsiteY12" fmla="*/ 9340 h 65821"/>
                <a:gd name="connsiteX13" fmla="*/ 49630 w 69634"/>
                <a:gd name="connsiteY13" fmla="*/ 974 h 65821"/>
                <a:gd name="connsiteX14" fmla="*/ 33277 w 69634"/>
                <a:gd name="connsiteY14" fmla="*/ 6108 h 65821"/>
                <a:gd name="connsiteX15" fmla="*/ 28142 w 69634"/>
                <a:gd name="connsiteY15" fmla="*/ 10671 h 65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9634" h="65821">
                  <a:moveTo>
                    <a:pt x="26051" y="12573"/>
                  </a:moveTo>
                  <a:cubicBezTo>
                    <a:pt x="23579" y="15425"/>
                    <a:pt x="23769" y="16376"/>
                    <a:pt x="20536" y="17707"/>
                  </a:cubicBezTo>
                  <a:cubicBezTo>
                    <a:pt x="17703" y="19059"/>
                    <a:pt x="15022" y="20715"/>
                    <a:pt x="12550" y="22651"/>
                  </a:cubicBezTo>
                  <a:cubicBezTo>
                    <a:pt x="7891" y="26698"/>
                    <a:pt x="4240" y="31777"/>
                    <a:pt x="1902" y="37483"/>
                  </a:cubicBezTo>
                  <a:cubicBezTo>
                    <a:pt x="703" y="40183"/>
                    <a:pt x="57" y="43091"/>
                    <a:pt x="0" y="46040"/>
                  </a:cubicBezTo>
                  <a:cubicBezTo>
                    <a:pt x="1122" y="51922"/>
                    <a:pt x="4031" y="57307"/>
                    <a:pt x="8367" y="61442"/>
                  </a:cubicBezTo>
                  <a:cubicBezTo>
                    <a:pt x="9526" y="62895"/>
                    <a:pt x="10953" y="64120"/>
                    <a:pt x="12550" y="65055"/>
                  </a:cubicBezTo>
                  <a:cubicBezTo>
                    <a:pt x="16524" y="66385"/>
                    <a:pt x="20879" y="65970"/>
                    <a:pt x="24529" y="63915"/>
                  </a:cubicBezTo>
                  <a:cubicBezTo>
                    <a:pt x="36319" y="59161"/>
                    <a:pt x="55715" y="54027"/>
                    <a:pt x="62560" y="42617"/>
                  </a:cubicBezTo>
                  <a:cubicBezTo>
                    <a:pt x="65717" y="37088"/>
                    <a:pt x="67847" y="31031"/>
                    <a:pt x="68836" y="24743"/>
                  </a:cubicBezTo>
                  <a:cubicBezTo>
                    <a:pt x="69900" y="22518"/>
                    <a:pt x="69900" y="19932"/>
                    <a:pt x="68836" y="17707"/>
                  </a:cubicBezTo>
                  <a:cubicBezTo>
                    <a:pt x="67504" y="16186"/>
                    <a:pt x="65223" y="15996"/>
                    <a:pt x="63511" y="15235"/>
                  </a:cubicBezTo>
                  <a:cubicBezTo>
                    <a:pt x="61154" y="13767"/>
                    <a:pt x="59195" y="11744"/>
                    <a:pt x="57806" y="9340"/>
                  </a:cubicBezTo>
                  <a:cubicBezTo>
                    <a:pt x="55734" y="5977"/>
                    <a:pt x="52939" y="3117"/>
                    <a:pt x="49630" y="974"/>
                  </a:cubicBezTo>
                  <a:cubicBezTo>
                    <a:pt x="43545" y="-2069"/>
                    <a:pt x="37840" y="2685"/>
                    <a:pt x="33277" y="6108"/>
                  </a:cubicBezTo>
                  <a:lnTo>
                    <a:pt x="28142" y="10671"/>
                  </a:ln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49" name="Полилиния: фигура 348">
              <a:extLst>
                <a:ext uri="{FF2B5EF4-FFF2-40B4-BE49-F238E27FC236}">
                  <a16:creationId xmlns:a16="http://schemas.microsoft.com/office/drawing/2014/main" id="{98B09162-6325-5E79-EB73-1FF7E2DBF789}"/>
                </a:ext>
              </a:extLst>
            </p:cNvPr>
            <p:cNvSpPr/>
            <p:nvPr/>
          </p:nvSpPr>
          <p:spPr>
            <a:xfrm>
              <a:off x="9130262" y="2718990"/>
              <a:ext cx="82930" cy="28003"/>
            </a:xfrm>
            <a:custGeom>
              <a:avLst/>
              <a:gdLst>
                <a:gd name="connsiteX0" fmla="*/ 86716 w 86715"/>
                <a:gd name="connsiteY0" fmla="*/ 12939 h 29195"/>
                <a:gd name="connsiteX1" fmla="*/ 83483 w 86715"/>
                <a:gd name="connsiteY1" fmla="*/ 8375 h 29195"/>
                <a:gd name="connsiteX2" fmla="*/ 78349 w 86715"/>
                <a:gd name="connsiteY2" fmla="*/ 5523 h 29195"/>
                <a:gd name="connsiteX3" fmla="*/ 76637 w 86715"/>
                <a:gd name="connsiteY3" fmla="*/ 2861 h 29195"/>
                <a:gd name="connsiteX4" fmla="*/ 66559 w 86715"/>
                <a:gd name="connsiteY4" fmla="*/ 2861 h 29195"/>
                <a:gd name="connsiteX5" fmla="*/ 61045 w 86715"/>
                <a:gd name="connsiteY5" fmla="*/ 7425 h 29195"/>
                <a:gd name="connsiteX6" fmla="*/ 57812 w 86715"/>
                <a:gd name="connsiteY6" fmla="*/ 7425 h 29195"/>
                <a:gd name="connsiteX7" fmla="*/ 36895 w 86715"/>
                <a:gd name="connsiteY7" fmla="*/ 8946 h 29195"/>
                <a:gd name="connsiteX8" fmla="*/ 27577 w 86715"/>
                <a:gd name="connsiteY8" fmla="*/ 8946 h 29195"/>
                <a:gd name="connsiteX9" fmla="*/ 19781 w 86715"/>
                <a:gd name="connsiteY9" fmla="*/ 4192 h 29195"/>
                <a:gd name="connsiteX10" fmla="*/ 16169 w 86715"/>
                <a:gd name="connsiteY10" fmla="*/ 199 h 29195"/>
                <a:gd name="connsiteX11" fmla="*/ 11225 w 86715"/>
                <a:gd name="connsiteY11" fmla="*/ 3051 h 29195"/>
                <a:gd name="connsiteX12" fmla="*/ 8562 w 86715"/>
                <a:gd name="connsiteY12" fmla="*/ 8565 h 29195"/>
                <a:gd name="connsiteX13" fmla="*/ 3048 w 86715"/>
                <a:gd name="connsiteY13" fmla="*/ 12369 h 29195"/>
                <a:gd name="connsiteX14" fmla="*/ 6 w 86715"/>
                <a:gd name="connsiteY14" fmla="*/ 18834 h 29195"/>
                <a:gd name="connsiteX15" fmla="*/ 7421 w 86715"/>
                <a:gd name="connsiteY15" fmla="*/ 28912 h 29195"/>
                <a:gd name="connsiteX16" fmla="*/ 13316 w 86715"/>
                <a:gd name="connsiteY16" fmla="*/ 28912 h 29195"/>
                <a:gd name="connsiteX17" fmla="*/ 51347 w 86715"/>
                <a:gd name="connsiteY17" fmla="*/ 28912 h 29195"/>
                <a:gd name="connsiteX18" fmla="*/ 57052 w 86715"/>
                <a:gd name="connsiteY18" fmla="*/ 28912 h 29195"/>
                <a:gd name="connsiteX19" fmla="*/ 63326 w 86715"/>
                <a:gd name="connsiteY19" fmla="*/ 23968 h 29195"/>
                <a:gd name="connsiteX20" fmla="*/ 76257 w 86715"/>
                <a:gd name="connsiteY20" fmla="*/ 20165 h 29195"/>
                <a:gd name="connsiteX21" fmla="*/ 78349 w 86715"/>
                <a:gd name="connsiteY21" fmla="*/ 17693 h 29195"/>
                <a:gd name="connsiteX22" fmla="*/ 83293 w 86715"/>
                <a:gd name="connsiteY22" fmla="*/ 15411 h 29195"/>
                <a:gd name="connsiteX23" fmla="*/ 86716 w 86715"/>
                <a:gd name="connsiteY23" fmla="*/ 12939 h 2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6715" h="29195">
                  <a:moveTo>
                    <a:pt x="86716" y="12939"/>
                  </a:moveTo>
                  <a:cubicBezTo>
                    <a:pt x="86716" y="11038"/>
                    <a:pt x="85384" y="9326"/>
                    <a:pt x="83483" y="8375"/>
                  </a:cubicBezTo>
                  <a:cubicBezTo>
                    <a:pt x="81581" y="7807"/>
                    <a:pt x="79832" y="6833"/>
                    <a:pt x="78349" y="5523"/>
                  </a:cubicBezTo>
                  <a:lnTo>
                    <a:pt x="76637" y="2861"/>
                  </a:lnTo>
                  <a:cubicBezTo>
                    <a:pt x="73766" y="317"/>
                    <a:pt x="69431" y="317"/>
                    <a:pt x="66559" y="2861"/>
                  </a:cubicBezTo>
                  <a:cubicBezTo>
                    <a:pt x="64658" y="4382"/>
                    <a:pt x="63326" y="6664"/>
                    <a:pt x="61045" y="7425"/>
                  </a:cubicBezTo>
                  <a:cubicBezTo>
                    <a:pt x="59980" y="7715"/>
                    <a:pt x="58877" y="7715"/>
                    <a:pt x="57812" y="7425"/>
                  </a:cubicBezTo>
                  <a:lnTo>
                    <a:pt x="36895" y="8946"/>
                  </a:lnTo>
                  <a:cubicBezTo>
                    <a:pt x="33815" y="9421"/>
                    <a:pt x="30658" y="9421"/>
                    <a:pt x="27577" y="8946"/>
                  </a:cubicBezTo>
                  <a:cubicBezTo>
                    <a:pt x="24440" y="8493"/>
                    <a:pt x="21626" y="6776"/>
                    <a:pt x="19781" y="4192"/>
                  </a:cubicBezTo>
                  <a:cubicBezTo>
                    <a:pt x="18640" y="2671"/>
                    <a:pt x="18070" y="769"/>
                    <a:pt x="16169" y="199"/>
                  </a:cubicBezTo>
                  <a:cubicBezTo>
                    <a:pt x="14267" y="-372"/>
                    <a:pt x="12175" y="199"/>
                    <a:pt x="11225" y="3051"/>
                  </a:cubicBezTo>
                  <a:cubicBezTo>
                    <a:pt x="10578" y="4993"/>
                    <a:pt x="9684" y="6845"/>
                    <a:pt x="8562" y="8565"/>
                  </a:cubicBezTo>
                  <a:cubicBezTo>
                    <a:pt x="7041" y="10277"/>
                    <a:pt x="4759" y="10847"/>
                    <a:pt x="3048" y="12369"/>
                  </a:cubicBezTo>
                  <a:cubicBezTo>
                    <a:pt x="1051" y="13905"/>
                    <a:pt x="-90" y="16314"/>
                    <a:pt x="6" y="18834"/>
                  </a:cubicBezTo>
                  <a:cubicBezTo>
                    <a:pt x="652" y="23219"/>
                    <a:pt x="3428" y="26997"/>
                    <a:pt x="7421" y="28912"/>
                  </a:cubicBezTo>
                  <a:cubicBezTo>
                    <a:pt x="9380" y="29201"/>
                    <a:pt x="11357" y="29201"/>
                    <a:pt x="13316" y="28912"/>
                  </a:cubicBezTo>
                  <a:cubicBezTo>
                    <a:pt x="25980" y="28039"/>
                    <a:pt x="38683" y="28039"/>
                    <a:pt x="51347" y="28912"/>
                  </a:cubicBezTo>
                  <a:cubicBezTo>
                    <a:pt x="53229" y="29290"/>
                    <a:pt x="55169" y="29290"/>
                    <a:pt x="57052" y="28912"/>
                  </a:cubicBezTo>
                  <a:cubicBezTo>
                    <a:pt x="59524" y="27771"/>
                    <a:pt x="61045" y="25299"/>
                    <a:pt x="63326" y="23968"/>
                  </a:cubicBezTo>
                  <a:cubicBezTo>
                    <a:pt x="65608" y="22637"/>
                    <a:pt x="73215" y="23968"/>
                    <a:pt x="76257" y="20165"/>
                  </a:cubicBezTo>
                  <a:lnTo>
                    <a:pt x="78349" y="17693"/>
                  </a:lnTo>
                  <a:cubicBezTo>
                    <a:pt x="79794" y="16558"/>
                    <a:pt x="81487" y="15776"/>
                    <a:pt x="83293" y="15411"/>
                  </a:cubicBezTo>
                  <a:cubicBezTo>
                    <a:pt x="84757" y="15166"/>
                    <a:pt x="86031" y="14253"/>
                    <a:pt x="86716" y="1293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50" name="Полилиния: фигура 349">
              <a:extLst>
                <a:ext uri="{FF2B5EF4-FFF2-40B4-BE49-F238E27FC236}">
                  <a16:creationId xmlns:a16="http://schemas.microsoft.com/office/drawing/2014/main" id="{A41FA204-FFEA-79CD-E77D-8827937E6BE6}"/>
                </a:ext>
              </a:extLst>
            </p:cNvPr>
            <p:cNvSpPr/>
            <p:nvPr/>
          </p:nvSpPr>
          <p:spPr>
            <a:xfrm>
              <a:off x="8678100" y="2595743"/>
              <a:ext cx="47347" cy="103499"/>
            </a:xfrm>
            <a:custGeom>
              <a:avLst/>
              <a:gdLst>
                <a:gd name="connsiteX0" fmla="*/ 4645 w 49508"/>
                <a:gd name="connsiteY0" fmla="*/ 40082 h 107906"/>
                <a:gd name="connsiteX1" fmla="*/ 841 w 49508"/>
                <a:gd name="connsiteY1" fmla="*/ 48259 h 107906"/>
                <a:gd name="connsiteX2" fmla="*/ 841 w 49508"/>
                <a:gd name="connsiteY2" fmla="*/ 56816 h 107906"/>
                <a:gd name="connsiteX3" fmla="*/ 7306 w 49508"/>
                <a:gd name="connsiteY3" fmla="*/ 63471 h 107906"/>
                <a:gd name="connsiteX4" fmla="*/ 24420 w 49508"/>
                <a:gd name="connsiteY4" fmla="*/ 78683 h 107906"/>
                <a:gd name="connsiteX5" fmla="*/ 31076 w 49508"/>
                <a:gd name="connsiteY5" fmla="*/ 86290 h 107906"/>
                <a:gd name="connsiteX6" fmla="*/ 33168 w 49508"/>
                <a:gd name="connsiteY6" fmla="*/ 95987 h 107906"/>
                <a:gd name="connsiteX7" fmla="*/ 38111 w 49508"/>
                <a:gd name="connsiteY7" fmla="*/ 102453 h 107906"/>
                <a:gd name="connsiteX8" fmla="*/ 38111 w 49508"/>
                <a:gd name="connsiteY8" fmla="*/ 105115 h 107906"/>
                <a:gd name="connsiteX9" fmla="*/ 40393 w 49508"/>
                <a:gd name="connsiteY9" fmla="*/ 106826 h 107906"/>
                <a:gd name="connsiteX10" fmla="*/ 49141 w 49508"/>
                <a:gd name="connsiteY10" fmla="*/ 106826 h 107906"/>
                <a:gd name="connsiteX11" fmla="*/ 48000 w 49508"/>
                <a:gd name="connsiteY11" fmla="*/ 100932 h 107906"/>
                <a:gd name="connsiteX12" fmla="*/ 44006 w 49508"/>
                <a:gd name="connsiteY12" fmla="*/ 96368 h 107906"/>
                <a:gd name="connsiteX13" fmla="*/ 44006 w 49508"/>
                <a:gd name="connsiteY13" fmla="*/ 88381 h 107906"/>
                <a:gd name="connsiteX14" fmla="*/ 42675 w 49508"/>
                <a:gd name="connsiteY14" fmla="*/ 78493 h 107906"/>
                <a:gd name="connsiteX15" fmla="*/ 39633 w 49508"/>
                <a:gd name="connsiteY15" fmla="*/ 71267 h 107906"/>
                <a:gd name="connsiteX16" fmla="*/ 40583 w 49508"/>
                <a:gd name="connsiteY16" fmla="*/ 62140 h 107906"/>
                <a:gd name="connsiteX17" fmla="*/ 39252 w 49508"/>
                <a:gd name="connsiteY17" fmla="*/ 49590 h 107906"/>
                <a:gd name="connsiteX18" fmla="*/ 37541 w 49508"/>
                <a:gd name="connsiteY18" fmla="*/ 37800 h 107906"/>
                <a:gd name="connsiteX19" fmla="*/ 42865 w 49508"/>
                <a:gd name="connsiteY19" fmla="*/ 27532 h 107906"/>
                <a:gd name="connsiteX20" fmla="*/ 45147 w 49508"/>
                <a:gd name="connsiteY20" fmla="*/ 26011 h 107906"/>
                <a:gd name="connsiteX21" fmla="*/ 45147 w 49508"/>
                <a:gd name="connsiteY21" fmla="*/ 15172 h 107906"/>
                <a:gd name="connsiteX22" fmla="*/ 34879 w 49508"/>
                <a:gd name="connsiteY22" fmla="*/ 8707 h 107906"/>
                <a:gd name="connsiteX23" fmla="*/ 27843 w 49508"/>
                <a:gd name="connsiteY23" fmla="*/ 3573 h 107906"/>
                <a:gd name="connsiteX24" fmla="*/ 17765 w 49508"/>
                <a:gd name="connsiteY24" fmla="*/ 530 h 107906"/>
                <a:gd name="connsiteX25" fmla="*/ 8258 w 49508"/>
                <a:gd name="connsiteY25" fmla="*/ 2051 h 107906"/>
                <a:gd name="connsiteX26" fmla="*/ 5405 w 49508"/>
                <a:gd name="connsiteY26" fmla="*/ 6615 h 107906"/>
                <a:gd name="connsiteX27" fmla="*/ 461 w 49508"/>
                <a:gd name="connsiteY27" fmla="*/ 12700 h 107906"/>
                <a:gd name="connsiteX28" fmla="*/ 4074 w 49508"/>
                <a:gd name="connsiteY28" fmla="*/ 21827 h 107906"/>
                <a:gd name="connsiteX29" fmla="*/ 4645 w 49508"/>
                <a:gd name="connsiteY29" fmla="*/ 40082 h 107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508" h="107906">
                  <a:moveTo>
                    <a:pt x="4645" y="40082"/>
                  </a:moveTo>
                  <a:cubicBezTo>
                    <a:pt x="3504" y="42935"/>
                    <a:pt x="1982" y="45406"/>
                    <a:pt x="841" y="48259"/>
                  </a:cubicBezTo>
                  <a:cubicBezTo>
                    <a:pt x="-280" y="50999"/>
                    <a:pt x="-280" y="54076"/>
                    <a:pt x="841" y="56816"/>
                  </a:cubicBezTo>
                  <a:cubicBezTo>
                    <a:pt x="2420" y="59533"/>
                    <a:pt x="4625" y="61821"/>
                    <a:pt x="7306" y="63471"/>
                  </a:cubicBezTo>
                  <a:cubicBezTo>
                    <a:pt x="13448" y="68031"/>
                    <a:pt x="19172" y="73121"/>
                    <a:pt x="24420" y="78683"/>
                  </a:cubicBezTo>
                  <a:cubicBezTo>
                    <a:pt x="26987" y="80895"/>
                    <a:pt x="29231" y="83454"/>
                    <a:pt x="31076" y="86290"/>
                  </a:cubicBezTo>
                  <a:cubicBezTo>
                    <a:pt x="32901" y="89174"/>
                    <a:pt x="33643" y="92608"/>
                    <a:pt x="33168" y="95987"/>
                  </a:cubicBezTo>
                  <a:cubicBezTo>
                    <a:pt x="35925" y="97005"/>
                    <a:pt x="37846" y="99522"/>
                    <a:pt x="38111" y="102453"/>
                  </a:cubicBezTo>
                  <a:cubicBezTo>
                    <a:pt x="38111" y="103403"/>
                    <a:pt x="38111" y="104354"/>
                    <a:pt x="38111" y="105115"/>
                  </a:cubicBezTo>
                  <a:cubicBezTo>
                    <a:pt x="38682" y="105896"/>
                    <a:pt x="39481" y="106492"/>
                    <a:pt x="40393" y="106826"/>
                  </a:cubicBezTo>
                  <a:cubicBezTo>
                    <a:pt x="43436" y="107967"/>
                    <a:pt x="47429" y="108538"/>
                    <a:pt x="49141" y="106826"/>
                  </a:cubicBezTo>
                  <a:cubicBezTo>
                    <a:pt x="49901" y="104803"/>
                    <a:pt x="49464" y="102521"/>
                    <a:pt x="48000" y="100932"/>
                  </a:cubicBezTo>
                  <a:cubicBezTo>
                    <a:pt x="46859" y="99410"/>
                    <a:pt x="45147" y="98079"/>
                    <a:pt x="44006" y="96368"/>
                  </a:cubicBezTo>
                  <a:cubicBezTo>
                    <a:pt x="42694" y="93869"/>
                    <a:pt x="42694" y="90880"/>
                    <a:pt x="44006" y="88381"/>
                  </a:cubicBezTo>
                  <a:cubicBezTo>
                    <a:pt x="45660" y="85130"/>
                    <a:pt x="45147" y="81188"/>
                    <a:pt x="42675" y="78493"/>
                  </a:cubicBezTo>
                  <a:cubicBezTo>
                    <a:pt x="41192" y="76306"/>
                    <a:pt x="40165" y="73852"/>
                    <a:pt x="39633" y="71267"/>
                  </a:cubicBezTo>
                  <a:cubicBezTo>
                    <a:pt x="39766" y="68208"/>
                    <a:pt x="40070" y="65160"/>
                    <a:pt x="40583" y="62140"/>
                  </a:cubicBezTo>
                  <a:cubicBezTo>
                    <a:pt x="40698" y="57917"/>
                    <a:pt x="40260" y="53693"/>
                    <a:pt x="39252" y="49590"/>
                  </a:cubicBezTo>
                  <a:cubicBezTo>
                    <a:pt x="38226" y="45741"/>
                    <a:pt x="37636" y="41784"/>
                    <a:pt x="37541" y="37800"/>
                  </a:cubicBezTo>
                  <a:cubicBezTo>
                    <a:pt x="37636" y="33737"/>
                    <a:pt x="39595" y="29945"/>
                    <a:pt x="42865" y="27532"/>
                  </a:cubicBezTo>
                  <a:cubicBezTo>
                    <a:pt x="43740" y="27205"/>
                    <a:pt x="44520" y="26684"/>
                    <a:pt x="45147" y="26011"/>
                  </a:cubicBezTo>
                  <a:cubicBezTo>
                    <a:pt x="48380" y="23539"/>
                    <a:pt x="47239" y="18214"/>
                    <a:pt x="45147" y="15172"/>
                  </a:cubicBezTo>
                  <a:cubicBezTo>
                    <a:pt x="41934" y="12689"/>
                    <a:pt x="38511" y="10525"/>
                    <a:pt x="34879" y="8707"/>
                  </a:cubicBezTo>
                  <a:cubicBezTo>
                    <a:pt x="32635" y="6872"/>
                    <a:pt x="30277" y="5159"/>
                    <a:pt x="27843" y="3573"/>
                  </a:cubicBezTo>
                  <a:cubicBezTo>
                    <a:pt x="24649" y="2074"/>
                    <a:pt x="21245" y="1049"/>
                    <a:pt x="17765" y="530"/>
                  </a:cubicBezTo>
                  <a:cubicBezTo>
                    <a:pt x="14532" y="-538"/>
                    <a:pt x="10995" y="28"/>
                    <a:pt x="8258" y="2051"/>
                  </a:cubicBezTo>
                  <a:cubicBezTo>
                    <a:pt x="7098" y="3430"/>
                    <a:pt x="6128" y="4967"/>
                    <a:pt x="5405" y="6615"/>
                  </a:cubicBezTo>
                  <a:cubicBezTo>
                    <a:pt x="3693" y="8707"/>
                    <a:pt x="1032" y="10038"/>
                    <a:pt x="461" y="12700"/>
                  </a:cubicBezTo>
                  <a:cubicBezTo>
                    <a:pt x="-109" y="15362"/>
                    <a:pt x="2173" y="18975"/>
                    <a:pt x="4074" y="21827"/>
                  </a:cubicBezTo>
                  <a:cubicBezTo>
                    <a:pt x="6888" y="27543"/>
                    <a:pt x="7098" y="34201"/>
                    <a:pt x="4645" y="4008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51" name="Полилиния: фигура 350">
              <a:extLst>
                <a:ext uri="{FF2B5EF4-FFF2-40B4-BE49-F238E27FC236}">
                  <a16:creationId xmlns:a16="http://schemas.microsoft.com/office/drawing/2014/main" id="{E3442229-F312-11FA-EEC6-3090188B32FA}"/>
                </a:ext>
              </a:extLst>
            </p:cNvPr>
            <p:cNvSpPr/>
            <p:nvPr/>
          </p:nvSpPr>
          <p:spPr>
            <a:xfrm>
              <a:off x="9210554" y="3594554"/>
              <a:ext cx="48662" cy="130129"/>
            </a:xfrm>
            <a:custGeom>
              <a:avLst/>
              <a:gdLst>
                <a:gd name="connsiteX0" fmla="*/ 43073 w 50883"/>
                <a:gd name="connsiteY0" fmla="*/ 115514 h 135670"/>
                <a:gd name="connsiteX1" fmla="*/ 43073 w 50883"/>
                <a:gd name="connsiteY1" fmla="*/ 103154 h 135670"/>
                <a:gd name="connsiteX2" fmla="*/ 43073 w 50883"/>
                <a:gd name="connsiteY2" fmla="*/ 69306 h 135670"/>
                <a:gd name="connsiteX3" fmla="*/ 40601 w 50883"/>
                <a:gd name="connsiteY3" fmla="*/ 61130 h 135670"/>
                <a:gd name="connsiteX4" fmla="*/ 33755 w 50883"/>
                <a:gd name="connsiteY4" fmla="*/ 55806 h 135670"/>
                <a:gd name="connsiteX5" fmla="*/ 33755 w 50883"/>
                <a:gd name="connsiteY5" fmla="*/ 48580 h 135670"/>
                <a:gd name="connsiteX6" fmla="*/ 30903 w 50883"/>
                <a:gd name="connsiteY6" fmla="*/ 44967 h 135670"/>
                <a:gd name="connsiteX7" fmla="*/ 23487 w 50883"/>
                <a:gd name="connsiteY7" fmla="*/ 34508 h 135670"/>
                <a:gd name="connsiteX8" fmla="*/ 26720 w 50883"/>
                <a:gd name="connsiteY8" fmla="*/ 22529 h 135670"/>
                <a:gd name="connsiteX9" fmla="*/ 30523 w 50883"/>
                <a:gd name="connsiteY9" fmla="*/ 19867 h 135670"/>
                <a:gd name="connsiteX10" fmla="*/ 32615 w 50883"/>
                <a:gd name="connsiteY10" fmla="*/ 12641 h 135670"/>
                <a:gd name="connsiteX11" fmla="*/ 26910 w 50883"/>
                <a:gd name="connsiteY11" fmla="*/ 7506 h 135670"/>
                <a:gd name="connsiteX12" fmla="*/ 20064 w 50883"/>
                <a:gd name="connsiteY12" fmla="*/ 7506 h 135670"/>
                <a:gd name="connsiteX13" fmla="*/ 7514 w 50883"/>
                <a:gd name="connsiteY13" fmla="*/ 3703 h 135670"/>
                <a:gd name="connsiteX14" fmla="*/ 7514 w 50883"/>
                <a:gd name="connsiteY14" fmla="*/ 15683 h 135670"/>
                <a:gd name="connsiteX15" fmla="*/ 7514 w 50883"/>
                <a:gd name="connsiteY15" fmla="*/ 24430 h 135670"/>
                <a:gd name="connsiteX16" fmla="*/ 8465 w 50883"/>
                <a:gd name="connsiteY16" fmla="*/ 25761 h 135670"/>
                <a:gd name="connsiteX17" fmla="*/ 9796 w 50883"/>
                <a:gd name="connsiteY17" fmla="*/ 25761 h 135670"/>
                <a:gd name="connsiteX18" fmla="*/ 16641 w 50883"/>
                <a:gd name="connsiteY18" fmla="*/ 28233 h 135670"/>
                <a:gd name="connsiteX19" fmla="*/ 19494 w 50883"/>
                <a:gd name="connsiteY19" fmla="*/ 33367 h 135670"/>
                <a:gd name="connsiteX20" fmla="*/ 14359 w 50883"/>
                <a:gd name="connsiteY20" fmla="*/ 35269 h 135670"/>
                <a:gd name="connsiteX21" fmla="*/ 8655 w 50883"/>
                <a:gd name="connsiteY21" fmla="*/ 33558 h 135670"/>
                <a:gd name="connsiteX22" fmla="*/ 8655 w 50883"/>
                <a:gd name="connsiteY22" fmla="*/ 62461 h 135670"/>
                <a:gd name="connsiteX23" fmla="*/ 13409 w 50883"/>
                <a:gd name="connsiteY23" fmla="*/ 66835 h 135670"/>
                <a:gd name="connsiteX24" fmla="*/ 17212 w 50883"/>
                <a:gd name="connsiteY24" fmla="*/ 75962 h 135670"/>
                <a:gd name="connsiteX25" fmla="*/ 19494 w 50883"/>
                <a:gd name="connsiteY25" fmla="*/ 92315 h 135670"/>
                <a:gd name="connsiteX26" fmla="*/ 13979 w 50883"/>
                <a:gd name="connsiteY26" fmla="*/ 98971 h 135670"/>
                <a:gd name="connsiteX27" fmla="*/ 13979 w 50883"/>
                <a:gd name="connsiteY27" fmla="*/ 107147 h 135670"/>
                <a:gd name="connsiteX28" fmla="*/ 10176 w 50883"/>
                <a:gd name="connsiteY28" fmla="*/ 113422 h 135670"/>
                <a:gd name="connsiteX29" fmla="*/ 8465 w 50883"/>
                <a:gd name="connsiteY29" fmla="*/ 120268 h 135670"/>
                <a:gd name="connsiteX30" fmla="*/ 22346 w 50883"/>
                <a:gd name="connsiteY30" fmla="*/ 126543 h 135670"/>
                <a:gd name="connsiteX31" fmla="*/ 28050 w 50883"/>
                <a:gd name="connsiteY31" fmla="*/ 135100 h 135670"/>
                <a:gd name="connsiteX32" fmla="*/ 34516 w 50883"/>
                <a:gd name="connsiteY32" fmla="*/ 135100 h 135670"/>
                <a:gd name="connsiteX33" fmla="*/ 48017 w 50883"/>
                <a:gd name="connsiteY33" fmla="*/ 130916 h 135670"/>
                <a:gd name="connsiteX34" fmla="*/ 50869 w 50883"/>
                <a:gd name="connsiteY34" fmla="*/ 128064 h 135670"/>
                <a:gd name="connsiteX35" fmla="*/ 49728 w 50883"/>
                <a:gd name="connsiteY35" fmla="*/ 126543 h 135670"/>
                <a:gd name="connsiteX36" fmla="*/ 43073 w 50883"/>
                <a:gd name="connsiteY36" fmla="*/ 115514 h 135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883" h="135670">
                  <a:moveTo>
                    <a:pt x="43073" y="115514"/>
                  </a:moveTo>
                  <a:cubicBezTo>
                    <a:pt x="42312" y="111426"/>
                    <a:pt x="42312" y="107242"/>
                    <a:pt x="43073" y="103154"/>
                  </a:cubicBezTo>
                  <a:cubicBezTo>
                    <a:pt x="44214" y="91897"/>
                    <a:pt x="44214" y="80564"/>
                    <a:pt x="43073" y="69306"/>
                  </a:cubicBezTo>
                  <a:cubicBezTo>
                    <a:pt x="43149" y="66378"/>
                    <a:pt x="42293" y="63507"/>
                    <a:pt x="40601" y="61130"/>
                  </a:cubicBezTo>
                  <a:cubicBezTo>
                    <a:pt x="38509" y="59038"/>
                    <a:pt x="34896" y="58468"/>
                    <a:pt x="33755" y="55806"/>
                  </a:cubicBezTo>
                  <a:cubicBezTo>
                    <a:pt x="32615" y="53143"/>
                    <a:pt x="33755" y="50861"/>
                    <a:pt x="33755" y="48580"/>
                  </a:cubicBezTo>
                  <a:cubicBezTo>
                    <a:pt x="33128" y="47154"/>
                    <a:pt x="32158" y="45899"/>
                    <a:pt x="30903" y="44967"/>
                  </a:cubicBezTo>
                  <a:cubicBezTo>
                    <a:pt x="27518" y="42229"/>
                    <a:pt x="24951" y="38616"/>
                    <a:pt x="23487" y="34508"/>
                  </a:cubicBezTo>
                  <a:cubicBezTo>
                    <a:pt x="22156" y="30230"/>
                    <a:pt x="23411" y="25552"/>
                    <a:pt x="26720" y="22529"/>
                  </a:cubicBezTo>
                  <a:cubicBezTo>
                    <a:pt x="28032" y="21711"/>
                    <a:pt x="29306" y="20817"/>
                    <a:pt x="30523" y="19867"/>
                  </a:cubicBezTo>
                  <a:cubicBezTo>
                    <a:pt x="32481" y="18022"/>
                    <a:pt x="33280" y="15246"/>
                    <a:pt x="32615" y="12641"/>
                  </a:cubicBezTo>
                  <a:cubicBezTo>
                    <a:pt x="31854" y="9978"/>
                    <a:pt x="29629" y="7982"/>
                    <a:pt x="26910" y="7506"/>
                  </a:cubicBezTo>
                  <a:cubicBezTo>
                    <a:pt x="24647" y="7792"/>
                    <a:pt x="22346" y="7792"/>
                    <a:pt x="20064" y="7506"/>
                  </a:cubicBezTo>
                  <a:cubicBezTo>
                    <a:pt x="16261" y="5795"/>
                    <a:pt x="11317" y="-5804"/>
                    <a:pt x="7514" y="3703"/>
                  </a:cubicBezTo>
                  <a:cubicBezTo>
                    <a:pt x="7039" y="7678"/>
                    <a:pt x="7039" y="11709"/>
                    <a:pt x="7514" y="15683"/>
                  </a:cubicBezTo>
                  <a:cubicBezTo>
                    <a:pt x="6658" y="18535"/>
                    <a:pt x="6658" y="21578"/>
                    <a:pt x="7514" y="24430"/>
                  </a:cubicBezTo>
                  <a:cubicBezTo>
                    <a:pt x="7514" y="24430"/>
                    <a:pt x="7514" y="25571"/>
                    <a:pt x="8465" y="25761"/>
                  </a:cubicBezTo>
                  <a:lnTo>
                    <a:pt x="9796" y="25761"/>
                  </a:lnTo>
                  <a:cubicBezTo>
                    <a:pt x="12325" y="25647"/>
                    <a:pt x="14778" y="26541"/>
                    <a:pt x="16641" y="28233"/>
                  </a:cubicBezTo>
                  <a:cubicBezTo>
                    <a:pt x="18353" y="29564"/>
                    <a:pt x="20254" y="31276"/>
                    <a:pt x="19494" y="33367"/>
                  </a:cubicBezTo>
                  <a:cubicBezTo>
                    <a:pt x="18733" y="35459"/>
                    <a:pt x="16261" y="35839"/>
                    <a:pt x="14359" y="35269"/>
                  </a:cubicBezTo>
                  <a:cubicBezTo>
                    <a:pt x="12553" y="34432"/>
                    <a:pt x="10633" y="33862"/>
                    <a:pt x="8655" y="33558"/>
                  </a:cubicBezTo>
                  <a:cubicBezTo>
                    <a:pt x="-7699" y="32607"/>
                    <a:pt x="3140" y="57517"/>
                    <a:pt x="8655" y="62461"/>
                  </a:cubicBezTo>
                  <a:cubicBezTo>
                    <a:pt x="10366" y="63773"/>
                    <a:pt x="11964" y="65237"/>
                    <a:pt x="13409" y="66835"/>
                  </a:cubicBezTo>
                  <a:cubicBezTo>
                    <a:pt x="15196" y="69630"/>
                    <a:pt x="16489" y="72710"/>
                    <a:pt x="17212" y="75962"/>
                  </a:cubicBezTo>
                  <a:cubicBezTo>
                    <a:pt x="19113" y="81476"/>
                    <a:pt x="22536" y="87561"/>
                    <a:pt x="19494" y="92315"/>
                  </a:cubicBezTo>
                  <a:cubicBezTo>
                    <a:pt x="16451" y="97069"/>
                    <a:pt x="14930" y="96308"/>
                    <a:pt x="13979" y="98971"/>
                  </a:cubicBezTo>
                  <a:cubicBezTo>
                    <a:pt x="13029" y="101633"/>
                    <a:pt x="13979" y="104485"/>
                    <a:pt x="13979" y="107147"/>
                  </a:cubicBezTo>
                  <a:cubicBezTo>
                    <a:pt x="13123" y="109467"/>
                    <a:pt x="11830" y="111597"/>
                    <a:pt x="10176" y="113422"/>
                  </a:cubicBezTo>
                  <a:cubicBezTo>
                    <a:pt x="8446" y="115248"/>
                    <a:pt x="7799" y="117853"/>
                    <a:pt x="8465" y="120268"/>
                  </a:cubicBezTo>
                  <a:cubicBezTo>
                    <a:pt x="10557" y="125212"/>
                    <a:pt x="18543" y="122930"/>
                    <a:pt x="22346" y="126543"/>
                  </a:cubicBezTo>
                  <a:cubicBezTo>
                    <a:pt x="26149" y="130156"/>
                    <a:pt x="25008" y="133578"/>
                    <a:pt x="28050" y="135100"/>
                  </a:cubicBezTo>
                  <a:cubicBezTo>
                    <a:pt x="30142" y="135860"/>
                    <a:pt x="32424" y="135860"/>
                    <a:pt x="34516" y="135100"/>
                  </a:cubicBezTo>
                  <a:lnTo>
                    <a:pt x="48017" y="130916"/>
                  </a:lnTo>
                  <a:cubicBezTo>
                    <a:pt x="49348" y="130916"/>
                    <a:pt x="51060" y="129395"/>
                    <a:pt x="50869" y="128064"/>
                  </a:cubicBezTo>
                  <a:cubicBezTo>
                    <a:pt x="50736" y="127417"/>
                    <a:pt x="50318" y="126866"/>
                    <a:pt x="49728" y="126543"/>
                  </a:cubicBezTo>
                  <a:cubicBezTo>
                    <a:pt x="46476" y="123595"/>
                    <a:pt x="44157" y="119754"/>
                    <a:pt x="43073" y="11551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52" name="Полилиния: фигура 351">
              <a:extLst>
                <a:ext uri="{FF2B5EF4-FFF2-40B4-BE49-F238E27FC236}">
                  <a16:creationId xmlns:a16="http://schemas.microsoft.com/office/drawing/2014/main" id="{96884B57-E007-FEFB-7E8B-59982439F315}"/>
                </a:ext>
              </a:extLst>
            </p:cNvPr>
            <p:cNvSpPr/>
            <p:nvPr/>
          </p:nvSpPr>
          <p:spPr>
            <a:xfrm>
              <a:off x="9173367" y="3637259"/>
              <a:ext cx="16475" cy="19193"/>
            </a:xfrm>
            <a:custGeom>
              <a:avLst/>
              <a:gdLst>
                <a:gd name="connsiteX0" fmla="*/ 7796 w 17227"/>
                <a:gd name="connsiteY0" fmla="*/ 62 h 20010"/>
                <a:gd name="connsiteX1" fmla="*/ 2282 w 17227"/>
                <a:gd name="connsiteY1" fmla="*/ 1964 h 20010"/>
                <a:gd name="connsiteX2" fmla="*/ 2282 w 17227"/>
                <a:gd name="connsiteY2" fmla="*/ 5767 h 20010"/>
                <a:gd name="connsiteX3" fmla="*/ 0 w 17227"/>
                <a:gd name="connsiteY3" fmla="*/ 10901 h 20010"/>
                <a:gd name="connsiteX4" fmla="*/ 9698 w 17227"/>
                <a:gd name="connsiteY4" fmla="*/ 18887 h 20010"/>
                <a:gd name="connsiteX5" fmla="*/ 11409 w 17227"/>
                <a:gd name="connsiteY5" fmla="*/ 11471 h 20010"/>
                <a:gd name="connsiteX6" fmla="*/ 17114 w 17227"/>
                <a:gd name="connsiteY6" fmla="*/ 6528 h 20010"/>
                <a:gd name="connsiteX7" fmla="*/ 17114 w 17227"/>
                <a:gd name="connsiteY7" fmla="*/ 4816 h 20010"/>
                <a:gd name="connsiteX8" fmla="*/ 7796 w 17227"/>
                <a:gd name="connsiteY8" fmla="*/ 62 h 20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227" h="20010">
                  <a:moveTo>
                    <a:pt x="7796" y="62"/>
                  </a:moveTo>
                  <a:cubicBezTo>
                    <a:pt x="5762" y="-223"/>
                    <a:pt x="3708" y="480"/>
                    <a:pt x="2282" y="1964"/>
                  </a:cubicBezTo>
                  <a:cubicBezTo>
                    <a:pt x="2091" y="3219"/>
                    <a:pt x="2091" y="4512"/>
                    <a:pt x="2282" y="5767"/>
                  </a:cubicBezTo>
                  <a:cubicBezTo>
                    <a:pt x="1407" y="7421"/>
                    <a:pt x="646" y="9133"/>
                    <a:pt x="0" y="10901"/>
                  </a:cubicBezTo>
                  <a:cubicBezTo>
                    <a:pt x="0" y="15274"/>
                    <a:pt x="5704" y="22881"/>
                    <a:pt x="9698" y="18887"/>
                  </a:cubicBezTo>
                  <a:cubicBezTo>
                    <a:pt x="13691" y="14894"/>
                    <a:pt x="9698" y="13753"/>
                    <a:pt x="11409" y="11471"/>
                  </a:cubicBezTo>
                  <a:cubicBezTo>
                    <a:pt x="13121" y="9190"/>
                    <a:pt x="15402" y="8049"/>
                    <a:pt x="17114" y="6528"/>
                  </a:cubicBezTo>
                  <a:cubicBezTo>
                    <a:pt x="17266" y="5957"/>
                    <a:pt x="17266" y="5387"/>
                    <a:pt x="17114" y="4816"/>
                  </a:cubicBezTo>
                  <a:cubicBezTo>
                    <a:pt x="17114" y="823"/>
                    <a:pt x="10458" y="62"/>
                    <a:pt x="7796" y="6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53" name="Полилиния: фигура 352">
              <a:extLst>
                <a:ext uri="{FF2B5EF4-FFF2-40B4-BE49-F238E27FC236}">
                  <a16:creationId xmlns:a16="http://schemas.microsoft.com/office/drawing/2014/main" id="{370FE13A-4765-E21E-16F7-ACF3389A8F45}"/>
                </a:ext>
              </a:extLst>
            </p:cNvPr>
            <p:cNvSpPr/>
            <p:nvPr/>
          </p:nvSpPr>
          <p:spPr>
            <a:xfrm>
              <a:off x="9270273" y="3783130"/>
              <a:ext cx="26473" cy="38192"/>
            </a:xfrm>
            <a:custGeom>
              <a:avLst/>
              <a:gdLst>
                <a:gd name="connsiteX0" fmla="*/ 23033 w 27681"/>
                <a:gd name="connsiteY0" fmla="*/ 18548 h 39818"/>
                <a:gd name="connsiteX1" fmla="*/ 23033 w 27681"/>
                <a:gd name="connsiteY1" fmla="*/ 14935 h 39818"/>
                <a:gd name="connsiteX2" fmla="*/ 20370 w 27681"/>
                <a:gd name="connsiteY2" fmla="*/ 12463 h 39818"/>
                <a:gd name="connsiteX3" fmla="*/ 16568 w 27681"/>
                <a:gd name="connsiteY3" fmla="*/ 12463 h 39818"/>
                <a:gd name="connsiteX4" fmla="*/ 7820 w 27681"/>
                <a:gd name="connsiteY4" fmla="*/ 5047 h 39818"/>
                <a:gd name="connsiteX5" fmla="*/ 6489 w 27681"/>
                <a:gd name="connsiteY5" fmla="*/ 1434 h 39818"/>
                <a:gd name="connsiteX6" fmla="*/ 3523 w 27681"/>
                <a:gd name="connsiteY6" fmla="*/ 160 h 39818"/>
                <a:gd name="connsiteX7" fmla="*/ 3257 w 27681"/>
                <a:gd name="connsiteY7" fmla="*/ 293 h 39818"/>
                <a:gd name="connsiteX8" fmla="*/ 1925 w 27681"/>
                <a:gd name="connsiteY8" fmla="*/ 2004 h 39818"/>
                <a:gd name="connsiteX9" fmla="*/ 1925 w 27681"/>
                <a:gd name="connsiteY9" fmla="*/ 19879 h 39818"/>
                <a:gd name="connsiteX10" fmla="*/ 4398 w 27681"/>
                <a:gd name="connsiteY10" fmla="*/ 24823 h 39818"/>
                <a:gd name="connsiteX11" fmla="*/ 5729 w 27681"/>
                <a:gd name="connsiteY11" fmla="*/ 28816 h 39818"/>
                <a:gd name="connsiteX12" fmla="*/ 10863 w 27681"/>
                <a:gd name="connsiteY12" fmla="*/ 34711 h 39818"/>
                <a:gd name="connsiteX13" fmla="*/ 20750 w 27681"/>
                <a:gd name="connsiteY13" fmla="*/ 38704 h 39818"/>
                <a:gd name="connsiteX14" fmla="*/ 27406 w 27681"/>
                <a:gd name="connsiteY14" fmla="*/ 28626 h 39818"/>
                <a:gd name="connsiteX15" fmla="*/ 23983 w 27681"/>
                <a:gd name="connsiteY15" fmla="*/ 20069 h 39818"/>
                <a:gd name="connsiteX16" fmla="*/ 23033 w 27681"/>
                <a:gd name="connsiteY16" fmla="*/ 18548 h 3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681" h="39818">
                  <a:moveTo>
                    <a:pt x="23033" y="18548"/>
                  </a:moveTo>
                  <a:cubicBezTo>
                    <a:pt x="23033" y="18548"/>
                    <a:pt x="23033" y="16076"/>
                    <a:pt x="23033" y="14935"/>
                  </a:cubicBezTo>
                  <a:cubicBezTo>
                    <a:pt x="22614" y="13718"/>
                    <a:pt x="21626" y="12786"/>
                    <a:pt x="20370" y="12463"/>
                  </a:cubicBezTo>
                  <a:lnTo>
                    <a:pt x="16568" y="12463"/>
                  </a:lnTo>
                  <a:cubicBezTo>
                    <a:pt x="12517" y="11778"/>
                    <a:pt x="9151" y="8926"/>
                    <a:pt x="7820" y="5047"/>
                  </a:cubicBezTo>
                  <a:cubicBezTo>
                    <a:pt x="7554" y="3792"/>
                    <a:pt x="7098" y="2575"/>
                    <a:pt x="6489" y="1434"/>
                  </a:cubicBezTo>
                  <a:cubicBezTo>
                    <a:pt x="6014" y="255"/>
                    <a:pt x="4683" y="-297"/>
                    <a:pt x="3523" y="160"/>
                  </a:cubicBezTo>
                  <a:cubicBezTo>
                    <a:pt x="3428" y="198"/>
                    <a:pt x="3352" y="236"/>
                    <a:pt x="3257" y="293"/>
                  </a:cubicBezTo>
                  <a:cubicBezTo>
                    <a:pt x="2534" y="578"/>
                    <a:pt x="2021" y="1225"/>
                    <a:pt x="1925" y="2004"/>
                  </a:cubicBezTo>
                  <a:cubicBezTo>
                    <a:pt x="-642" y="7690"/>
                    <a:pt x="-642" y="14193"/>
                    <a:pt x="1925" y="19879"/>
                  </a:cubicBezTo>
                  <a:cubicBezTo>
                    <a:pt x="1925" y="21590"/>
                    <a:pt x="3827" y="23111"/>
                    <a:pt x="4398" y="24823"/>
                  </a:cubicBezTo>
                  <a:cubicBezTo>
                    <a:pt x="4968" y="26534"/>
                    <a:pt x="4398" y="27485"/>
                    <a:pt x="5729" y="28816"/>
                  </a:cubicBezTo>
                  <a:cubicBezTo>
                    <a:pt x="7022" y="31117"/>
                    <a:pt x="8771" y="33113"/>
                    <a:pt x="10863" y="34711"/>
                  </a:cubicBezTo>
                  <a:cubicBezTo>
                    <a:pt x="13905" y="37373"/>
                    <a:pt x="16948" y="41937"/>
                    <a:pt x="20750" y="38704"/>
                  </a:cubicBezTo>
                  <a:cubicBezTo>
                    <a:pt x="23736" y="35909"/>
                    <a:pt x="25999" y="32467"/>
                    <a:pt x="27406" y="28626"/>
                  </a:cubicBezTo>
                  <a:cubicBezTo>
                    <a:pt x="28319" y="25336"/>
                    <a:pt x="26912" y="21818"/>
                    <a:pt x="23983" y="20069"/>
                  </a:cubicBezTo>
                  <a:cubicBezTo>
                    <a:pt x="23983" y="20069"/>
                    <a:pt x="23223" y="18928"/>
                    <a:pt x="23033" y="18548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54" name="Полилиния: фигура 353">
              <a:extLst>
                <a:ext uri="{FF2B5EF4-FFF2-40B4-BE49-F238E27FC236}">
                  <a16:creationId xmlns:a16="http://schemas.microsoft.com/office/drawing/2014/main" id="{393D7993-AA23-E983-B7A2-CEFE41DF2524}"/>
                </a:ext>
              </a:extLst>
            </p:cNvPr>
            <p:cNvSpPr/>
            <p:nvPr/>
          </p:nvSpPr>
          <p:spPr>
            <a:xfrm>
              <a:off x="9305372" y="3874833"/>
              <a:ext cx="10811" cy="24025"/>
            </a:xfrm>
            <a:custGeom>
              <a:avLst/>
              <a:gdLst>
                <a:gd name="connsiteX0" fmla="*/ 8389 w 11304"/>
                <a:gd name="connsiteY0" fmla="*/ 143 h 25048"/>
                <a:gd name="connsiteX1" fmla="*/ 6868 w 11304"/>
                <a:gd name="connsiteY1" fmla="*/ 143 h 25048"/>
                <a:gd name="connsiteX2" fmla="*/ 2114 w 11304"/>
                <a:gd name="connsiteY2" fmla="*/ 3756 h 25048"/>
                <a:gd name="connsiteX3" fmla="*/ 403 w 11304"/>
                <a:gd name="connsiteY3" fmla="*/ 9650 h 25048"/>
                <a:gd name="connsiteX4" fmla="*/ 6107 w 11304"/>
                <a:gd name="connsiteY4" fmla="*/ 23342 h 25048"/>
                <a:gd name="connsiteX5" fmla="*/ 9150 w 11304"/>
                <a:gd name="connsiteY5" fmla="*/ 1474 h 25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4" h="25048">
                  <a:moveTo>
                    <a:pt x="8389" y="143"/>
                  </a:moveTo>
                  <a:cubicBezTo>
                    <a:pt x="7895" y="-48"/>
                    <a:pt x="7362" y="-48"/>
                    <a:pt x="6868" y="143"/>
                  </a:cubicBezTo>
                  <a:cubicBezTo>
                    <a:pt x="4757" y="428"/>
                    <a:pt x="2951" y="1797"/>
                    <a:pt x="2114" y="3756"/>
                  </a:cubicBezTo>
                  <a:cubicBezTo>
                    <a:pt x="1144" y="5581"/>
                    <a:pt x="574" y="7597"/>
                    <a:pt x="403" y="9650"/>
                  </a:cubicBezTo>
                  <a:cubicBezTo>
                    <a:pt x="403" y="13644"/>
                    <a:pt x="-2260" y="30377"/>
                    <a:pt x="6107" y="23342"/>
                  </a:cubicBezTo>
                  <a:cubicBezTo>
                    <a:pt x="11679" y="17447"/>
                    <a:pt x="12896" y="8662"/>
                    <a:pt x="9150" y="147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55" name="Полилиния: фигура 354">
              <a:extLst>
                <a:ext uri="{FF2B5EF4-FFF2-40B4-BE49-F238E27FC236}">
                  <a16:creationId xmlns:a16="http://schemas.microsoft.com/office/drawing/2014/main" id="{5531B7A0-18BE-EFDD-D365-9CECD38B7A7E}"/>
                </a:ext>
              </a:extLst>
            </p:cNvPr>
            <p:cNvSpPr/>
            <p:nvPr/>
          </p:nvSpPr>
          <p:spPr>
            <a:xfrm>
              <a:off x="9327050" y="3986591"/>
              <a:ext cx="17579" cy="13611"/>
            </a:xfrm>
            <a:custGeom>
              <a:avLst/>
              <a:gdLst>
                <a:gd name="connsiteX0" fmla="*/ 16338 w 18381"/>
                <a:gd name="connsiteY0" fmla="*/ 2282 h 14191"/>
                <a:gd name="connsiteX1" fmla="*/ 9682 w 18381"/>
                <a:gd name="connsiteY1" fmla="*/ 0 h 14191"/>
                <a:gd name="connsiteX2" fmla="*/ 1886 w 18381"/>
                <a:gd name="connsiteY2" fmla="*/ 11789 h 14191"/>
                <a:gd name="connsiteX3" fmla="*/ 12154 w 18381"/>
                <a:gd name="connsiteY3" fmla="*/ 13881 h 14191"/>
                <a:gd name="connsiteX4" fmla="*/ 18239 w 18381"/>
                <a:gd name="connsiteY4" fmla="*/ 11789 h 14191"/>
                <a:gd name="connsiteX5" fmla="*/ 18239 w 18381"/>
                <a:gd name="connsiteY5" fmla="*/ 10268 h 14191"/>
                <a:gd name="connsiteX6" fmla="*/ 18239 w 18381"/>
                <a:gd name="connsiteY6" fmla="*/ 6846 h 14191"/>
                <a:gd name="connsiteX7" fmla="*/ 18239 w 18381"/>
                <a:gd name="connsiteY7" fmla="*/ 4564 h 14191"/>
                <a:gd name="connsiteX8" fmla="*/ 16338 w 18381"/>
                <a:gd name="connsiteY8" fmla="*/ 2282 h 1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81" h="14191">
                  <a:moveTo>
                    <a:pt x="16338" y="2282"/>
                  </a:moveTo>
                  <a:cubicBezTo>
                    <a:pt x="14398" y="856"/>
                    <a:pt x="12078" y="57"/>
                    <a:pt x="9682" y="0"/>
                  </a:cubicBezTo>
                  <a:cubicBezTo>
                    <a:pt x="4167" y="0"/>
                    <a:pt x="-3628" y="5895"/>
                    <a:pt x="1886" y="11789"/>
                  </a:cubicBezTo>
                  <a:cubicBezTo>
                    <a:pt x="4852" y="13919"/>
                    <a:pt x="8598" y="14680"/>
                    <a:pt x="12154" y="13881"/>
                  </a:cubicBezTo>
                  <a:cubicBezTo>
                    <a:pt x="14379" y="13976"/>
                    <a:pt x="16547" y="13235"/>
                    <a:pt x="18239" y="11789"/>
                  </a:cubicBezTo>
                  <a:lnTo>
                    <a:pt x="18239" y="10268"/>
                  </a:lnTo>
                  <a:cubicBezTo>
                    <a:pt x="18429" y="9127"/>
                    <a:pt x="18429" y="7986"/>
                    <a:pt x="18239" y="6846"/>
                  </a:cubicBezTo>
                  <a:cubicBezTo>
                    <a:pt x="18429" y="6104"/>
                    <a:pt x="18429" y="5305"/>
                    <a:pt x="18239" y="4564"/>
                  </a:cubicBezTo>
                  <a:cubicBezTo>
                    <a:pt x="17802" y="3670"/>
                    <a:pt x="17136" y="2871"/>
                    <a:pt x="16338" y="228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56" name="Полилиния: фигура 355">
              <a:extLst>
                <a:ext uri="{FF2B5EF4-FFF2-40B4-BE49-F238E27FC236}">
                  <a16:creationId xmlns:a16="http://schemas.microsoft.com/office/drawing/2014/main" id="{0BE3D169-C2E9-E5FE-BEB0-DE94A1867BBA}"/>
                </a:ext>
              </a:extLst>
            </p:cNvPr>
            <p:cNvSpPr/>
            <p:nvPr/>
          </p:nvSpPr>
          <p:spPr>
            <a:xfrm>
              <a:off x="9354063" y="4021427"/>
              <a:ext cx="8847" cy="16087"/>
            </a:xfrm>
            <a:custGeom>
              <a:avLst/>
              <a:gdLst>
                <a:gd name="connsiteX0" fmla="*/ 5016 w 9251"/>
                <a:gd name="connsiteY0" fmla="*/ 16543 h 16772"/>
                <a:gd name="connsiteX1" fmla="*/ 9009 w 9251"/>
                <a:gd name="connsiteY1" fmla="*/ 6275 h 16772"/>
                <a:gd name="connsiteX2" fmla="*/ 9009 w 9251"/>
                <a:gd name="connsiteY2" fmla="*/ 3423 h 16772"/>
                <a:gd name="connsiteX3" fmla="*/ 9009 w 9251"/>
                <a:gd name="connsiteY3" fmla="*/ 2092 h 16772"/>
                <a:gd name="connsiteX4" fmla="*/ 7107 w 9251"/>
                <a:gd name="connsiteY4" fmla="*/ 0 h 16772"/>
                <a:gd name="connsiteX5" fmla="*/ 6156 w 9251"/>
                <a:gd name="connsiteY5" fmla="*/ 0 h 16772"/>
                <a:gd name="connsiteX6" fmla="*/ 5016 w 9251"/>
                <a:gd name="connsiteY6" fmla="*/ 0 h 16772"/>
                <a:gd name="connsiteX7" fmla="*/ 1022 w 9251"/>
                <a:gd name="connsiteY7" fmla="*/ 2472 h 16772"/>
                <a:gd name="connsiteX8" fmla="*/ 71 w 9251"/>
                <a:gd name="connsiteY8" fmla="*/ 2472 h 16772"/>
                <a:gd name="connsiteX9" fmla="*/ 71 w 9251"/>
                <a:gd name="connsiteY9" fmla="*/ 3613 h 16772"/>
                <a:gd name="connsiteX10" fmla="*/ 71 w 9251"/>
                <a:gd name="connsiteY10" fmla="*/ 9888 h 16772"/>
                <a:gd name="connsiteX11" fmla="*/ 5016 w 9251"/>
                <a:gd name="connsiteY11" fmla="*/ 16543 h 16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51" h="16772">
                  <a:moveTo>
                    <a:pt x="5016" y="16543"/>
                  </a:moveTo>
                  <a:cubicBezTo>
                    <a:pt x="8438" y="15212"/>
                    <a:pt x="7487" y="9127"/>
                    <a:pt x="9009" y="6275"/>
                  </a:cubicBezTo>
                  <a:cubicBezTo>
                    <a:pt x="9332" y="5343"/>
                    <a:pt x="9332" y="4355"/>
                    <a:pt x="9009" y="3423"/>
                  </a:cubicBezTo>
                  <a:lnTo>
                    <a:pt x="9009" y="2092"/>
                  </a:lnTo>
                  <a:lnTo>
                    <a:pt x="7107" y="0"/>
                  </a:lnTo>
                  <a:lnTo>
                    <a:pt x="6156" y="0"/>
                  </a:lnTo>
                  <a:lnTo>
                    <a:pt x="5016" y="0"/>
                  </a:lnTo>
                  <a:lnTo>
                    <a:pt x="1022" y="2472"/>
                  </a:lnTo>
                  <a:cubicBezTo>
                    <a:pt x="718" y="2396"/>
                    <a:pt x="375" y="2396"/>
                    <a:pt x="71" y="2472"/>
                  </a:cubicBezTo>
                  <a:cubicBezTo>
                    <a:pt x="-24" y="2852"/>
                    <a:pt x="-24" y="3233"/>
                    <a:pt x="71" y="3613"/>
                  </a:cubicBezTo>
                  <a:lnTo>
                    <a:pt x="71" y="9888"/>
                  </a:lnTo>
                  <a:cubicBezTo>
                    <a:pt x="262" y="13121"/>
                    <a:pt x="1212" y="17875"/>
                    <a:pt x="5016" y="16543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57" name="Полилиния: фигура 356">
              <a:extLst>
                <a:ext uri="{FF2B5EF4-FFF2-40B4-BE49-F238E27FC236}">
                  <a16:creationId xmlns:a16="http://schemas.microsoft.com/office/drawing/2014/main" id="{0A8770B8-EFCB-C0B1-577D-BD1E61C9C20D}"/>
                </a:ext>
              </a:extLst>
            </p:cNvPr>
            <p:cNvSpPr/>
            <p:nvPr/>
          </p:nvSpPr>
          <p:spPr>
            <a:xfrm>
              <a:off x="9360691" y="4087783"/>
              <a:ext cx="12521" cy="15738"/>
            </a:xfrm>
            <a:custGeom>
              <a:avLst/>
              <a:gdLst>
                <a:gd name="connsiteX0" fmla="*/ 1317 w 13092"/>
                <a:gd name="connsiteY0" fmla="*/ 15817 h 16408"/>
                <a:gd name="connsiteX1" fmla="*/ 5310 w 13092"/>
                <a:gd name="connsiteY1" fmla="*/ 15817 h 16408"/>
                <a:gd name="connsiteX2" fmla="*/ 12536 w 13092"/>
                <a:gd name="connsiteY2" fmla="*/ 10493 h 16408"/>
                <a:gd name="connsiteX3" fmla="*/ 12536 w 13092"/>
                <a:gd name="connsiteY3" fmla="*/ 5929 h 16408"/>
                <a:gd name="connsiteX4" fmla="*/ 9684 w 13092"/>
                <a:gd name="connsiteY4" fmla="*/ 985 h 16408"/>
                <a:gd name="connsiteX5" fmla="*/ 7212 w 13092"/>
                <a:gd name="connsiteY5" fmla="*/ 34 h 16408"/>
                <a:gd name="connsiteX6" fmla="*/ 5881 w 13092"/>
                <a:gd name="connsiteY6" fmla="*/ 1175 h 16408"/>
                <a:gd name="connsiteX7" fmla="*/ 3979 w 13092"/>
                <a:gd name="connsiteY7" fmla="*/ 3457 h 16408"/>
                <a:gd name="connsiteX8" fmla="*/ 2648 w 13092"/>
                <a:gd name="connsiteY8" fmla="*/ 6119 h 16408"/>
                <a:gd name="connsiteX9" fmla="*/ 1317 w 13092"/>
                <a:gd name="connsiteY9" fmla="*/ 15817 h 16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092" h="16408">
                  <a:moveTo>
                    <a:pt x="1317" y="15817"/>
                  </a:moveTo>
                  <a:cubicBezTo>
                    <a:pt x="2648" y="17148"/>
                    <a:pt x="3789" y="15817"/>
                    <a:pt x="5310" y="15817"/>
                  </a:cubicBezTo>
                  <a:cubicBezTo>
                    <a:pt x="6832" y="15817"/>
                    <a:pt x="11205" y="13155"/>
                    <a:pt x="12536" y="10493"/>
                  </a:cubicBezTo>
                  <a:cubicBezTo>
                    <a:pt x="13278" y="9066"/>
                    <a:pt x="13278" y="7355"/>
                    <a:pt x="12536" y="5929"/>
                  </a:cubicBezTo>
                  <a:cubicBezTo>
                    <a:pt x="11699" y="4218"/>
                    <a:pt x="10749" y="2563"/>
                    <a:pt x="9684" y="985"/>
                  </a:cubicBezTo>
                  <a:cubicBezTo>
                    <a:pt x="9094" y="243"/>
                    <a:pt x="8144" y="-118"/>
                    <a:pt x="7212" y="34"/>
                  </a:cubicBezTo>
                  <a:lnTo>
                    <a:pt x="5881" y="1175"/>
                  </a:lnTo>
                  <a:lnTo>
                    <a:pt x="3979" y="3457"/>
                  </a:lnTo>
                  <a:cubicBezTo>
                    <a:pt x="3428" y="4274"/>
                    <a:pt x="2971" y="5187"/>
                    <a:pt x="2648" y="6119"/>
                  </a:cubicBezTo>
                  <a:cubicBezTo>
                    <a:pt x="176" y="7831"/>
                    <a:pt x="-1155" y="13345"/>
                    <a:pt x="1317" y="15817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58" name="Полилиния: фигура 357">
              <a:extLst>
                <a:ext uri="{FF2B5EF4-FFF2-40B4-BE49-F238E27FC236}">
                  <a16:creationId xmlns:a16="http://schemas.microsoft.com/office/drawing/2014/main" id="{55448599-2C5E-833D-A549-F7D8ECFB5157}"/>
                </a:ext>
              </a:extLst>
            </p:cNvPr>
            <p:cNvSpPr/>
            <p:nvPr/>
          </p:nvSpPr>
          <p:spPr>
            <a:xfrm>
              <a:off x="9369615" y="4128716"/>
              <a:ext cx="19922" cy="61499"/>
            </a:xfrm>
            <a:custGeom>
              <a:avLst/>
              <a:gdLst>
                <a:gd name="connsiteX0" fmla="*/ 19748 w 20831"/>
                <a:gd name="connsiteY0" fmla="*/ 26194 h 64118"/>
                <a:gd name="connsiteX1" fmla="*/ 17466 w 20831"/>
                <a:gd name="connsiteY1" fmla="*/ 19919 h 64118"/>
                <a:gd name="connsiteX2" fmla="*/ 13283 w 20831"/>
                <a:gd name="connsiteY2" fmla="*/ 14404 h 64118"/>
                <a:gd name="connsiteX3" fmla="*/ 11762 w 20831"/>
                <a:gd name="connsiteY3" fmla="*/ 8510 h 64118"/>
                <a:gd name="connsiteX4" fmla="*/ 10241 w 20831"/>
                <a:gd name="connsiteY4" fmla="*/ 2615 h 64118"/>
                <a:gd name="connsiteX5" fmla="*/ 8339 w 20831"/>
                <a:gd name="connsiteY5" fmla="*/ 1284 h 64118"/>
                <a:gd name="connsiteX6" fmla="*/ 3775 w 20831"/>
                <a:gd name="connsiteY6" fmla="*/ 143 h 64118"/>
                <a:gd name="connsiteX7" fmla="*/ 1684 w 20831"/>
                <a:gd name="connsiteY7" fmla="*/ 143 h 64118"/>
                <a:gd name="connsiteX8" fmla="*/ 733 w 20831"/>
                <a:gd name="connsiteY8" fmla="*/ 3565 h 64118"/>
                <a:gd name="connsiteX9" fmla="*/ 733 w 20831"/>
                <a:gd name="connsiteY9" fmla="*/ 9460 h 64118"/>
                <a:gd name="connsiteX10" fmla="*/ 1684 w 20831"/>
                <a:gd name="connsiteY10" fmla="*/ 16306 h 64118"/>
                <a:gd name="connsiteX11" fmla="*/ 4346 w 20831"/>
                <a:gd name="connsiteY11" fmla="*/ 21250 h 64118"/>
                <a:gd name="connsiteX12" fmla="*/ 5867 w 20831"/>
                <a:gd name="connsiteY12" fmla="*/ 22771 h 64118"/>
                <a:gd name="connsiteX13" fmla="*/ 5867 w 20831"/>
                <a:gd name="connsiteY13" fmla="*/ 24292 h 64118"/>
                <a:gd name="connsiteX14" fmla="*/ 5867 w 20831"/>
                <a:gd name="connsiteY14" fmla="*/ 45780 h 64118"/>
                <a:gd name="connsiteX15" fmla="*/ 4916 w 20831"/>
                <a:gd name="connsiteY15" fmla="*/ 48632 h 64118"/>
                <a:gd name="connsiteX16" fmla="*/ 2444 w 20831"/>
                <a:gd name="connsiteY16" fmla="*/ 50724 h 64118"/>
                <a:gd name="connsiteX17" fmla="*/ 162 w 20831"/>
                <a:gd name="connsiteY17" fmla="*/ 57569 h 64118"/>
                <a:gd name="connsiteX18" fmla="*/ 4916 w 20831"/>
                <a:gd name="connsiteY18" fmla="*/ 63274 h 64118"/>
                <a:gd name="connsiteX19" fmla="*/ 12713 w 20831"/>
                <a:gd name="connsiteY19" fmla="*/ 63274 h 64118"/>
                <a:gd name="connsiteX20" fmla="*/ 12713 w 20831"/>
                <a:gd name="connsiteY20" fmla="*/ 56048 h 64118"/>
                <a:gd name="connsiteX21" fmla="*/ 15755 w 20831"/>
                <a:gd name="connsiteY21" fmla="*/ 49012 h 64118"/>
                <a:gd name="connsiteX22" fmla="*/ 18227 w 20831"/>
                <a:gd name="connsiteY22" fmla="*/ 47111 h 64118"/>
                <a:gd name="connsiteX23" fmla="*/ 20699 w 20831"/>
                <a:gd name="connsiteY23" fmla="*/ 40455 h 64118"/>
                <a:gd name="connsiteX24" fmla="*/ 19748 w 20831"/>
                <a:gd name="connsiteY24" fmla="*/ 26194 h 64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0831" h="64118">
                  <a:moveTo>
                    <a:pt x="19748" y="26194"/>
                  </a:moveTo>
                  <a:cubicBezTo>
                    <a:pt x="19273" y="24007"/>
                    <a:pt x="18512" y="21896"/>
                    <a:pt x="17466" y="19919"/>
                  </a:cubicBezTo>
                  <a:cubicBezTo>
                    <a:pt x="16326" y="18017"/>
                    <a:pt x="14424" y="16306"/>
                    <a:pt x="13283" y="14404"/>
                  </a:cubicBezTo>
                  <a:cubicBezTo>
                    <a:pt x="12409" y="12560"/>
                    <a:pt x="11895" y="10563"/>
                    <a:pt x="11762" y="8510"/>
                  </a:cubicBezTo>
                  <a:cubicBezTo>
                    <a:pt x="12047" y="6418"/>
                    <a:pt x="11515" y="4307"/>
                    <a:pt x="10241" y="2615"/>
                  </a:cubicBezTo>
                  <a:lnTo>
                    <a:pt x="8339" y="1284"/>
                  </a:lnTo>
                  <a:cubicBezTo>
                    <a:pt x="6875" y="713"/>
                    <a:pt x="5335" y="314"/>
                    <a:pt x="3775" y="143"/>
                  </a:cubicBezTo>
                  <a:cubicBezTo>
                    <a:pt x="3091" y="-48"/>
                    <a:pt x="2368" y="-48"/>
                    <a:pt x="1684" y="143"/>
                  </a:cubicBezTo>
                  <a:cubicBezTo>
                    <a:pt x="733" y="143"/>
                    <a:pt x="733" y="2425"/>
                    <a:pt x="733" y="3565"/>
                  </a:cubicBezTo>
                  <a:lnTo>
                    <a:pt x="733" y="9460"/>
                  </a:lnTo>
                  <a:cubicBezTo>
                    <a:pt x="866" y="11761"/>
                    <a:pt x="1190" y="14062"/>
                    <a:pt x="1684" y="16306"/>
                  </a:cubicBezTo>
                  <a:cubicBezTo>
                    <a:pt x="2140" y="18150"/>
                    <a:pt x="3053" y="19843"/>
                    <a:pt x="4346" y="21250"/>
                  </a:cubicBezTo>
                  <a:cubicBezTo>
                    <a:pt x="4898" y="21706"/>
                    <a:pt x="5411" y="22220"/>
                    <a:pt x="5867" y="22771"/>
                  </a:cubicBezTo>
                  <a:cubicBezTo>
                    <a:pt x="5924" y="23284"/>
                    <a:pt x="5924" y="23779"/>
                    <a:pt x="5867" y="24292"/>
                  </a:cubicBezTo>
                  <a:cubicBezTo>
                    <a:pt x="7388" y="31366"/>
                    <a:pt x="7388" y="38706"/>
                    <a:pt x="5867" y="45780"/>
                  </a:cubicBezTo>
                  <a:cubicBezTo>
                    <a:pt x="5753" y="46788"/>
                    <a:pt x="5430" y="47757"/>
                    <a:pt x="4916" y="48632"/>
                  </a:cubicBezTo>
                  <a:cubicBezTo>
                    <a:pt x="4175" y="49412"/>
                    <a:pt x="3338" y="50115"/>
                    <a:pt x="2444" y="50724"/>
                  </a:cubicBezTo>
                  <a:cubicBezTo>
                    <a:pt x="486" y="52416"/>
                    <a:pt x="-389" y="55040"/>
                    <a:pt x="162" y="57569"/>
                  </a:cubicBezTo>
                  <a:cubicBezTo>
                    <a:pt x="581" y="60193"/>
                    <a:pt x="2406" y="62399"/>
                    <a:pt x="4916" y="63274"/>
                  </a:cubicBezTo>
                  <a:cubicBezTo>
                    <a:pt x="6628" y="63274"/>
                    <a:pt x="11192" y="65175"/>
                    <a:pt x="12713" y="63274"/>
                  </a:cubicBezTo>
                  <a:cubicBezTo>
                    <a:pt x="14234" y="61372"/>
                    <a:pt x="12713" y="57949"/>
                    <a:pt x="12713" y="56048"/>
                  </a:cubicBezTo>
                  <a:cubicBezTo>
                    <a:pt x="12808" y="53405"/>
                    <a:pt x="13892" y="50895"/>
                    <a:pt x="15755" y="49012"/>
                  </a:cubicBezTo>
                  <a:lnTo>
                    <a:pt x="18227" y="47111"/>
                  </a:lnTo>
                  <a:cubicBezTo>
                    <a:pt x="19787" y="45247"/>
                    <a:pt x="20661" y="42889"/>
                    <a:pt x="20699" y="40455"/>
                  </a:cubicBezTo>
                  <a:cubicBezTo>
                    <a:pt x="21042" y="35683"/>
                    <a:pt x="20719" y="30891"/>
                    <a:pt x="19748" y="2619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59" name="Полилиния: фигура 358">
              <a:extLst>
                <a:ext uri="{FF2B5EF4-FFF2-40B4-BE49-F238E27FC236}">
                  <a16:creationId xmlns:a16="http://schemas.microsoft.com/office/drawing/2014/main" id="{D0746651-3F5D-B208-E9C3-758FE3BD44AF}"/>
                </a:ext>
              </a:extLst>
            </p:cNvPr>
            <p:cNvSpPr/>
            <p:nvPr/>
          </p:nvSpPr>
          <p:spPr>
            <a:xfrm>
              <a:off x="9352855" y="4304124"/>
              <a:ext cx="24515" cy="112670"/>
            </a:xfrm>
            <a:custGeom>
              <a:avLst/>
              <a:gdLst>
                <a:gd name="connsiteX0" fmla="*/ 25484 w 25634"/>
                <a:gd name="connsiteY0" fmla="*/ 50204 h 117468"/>
                <a:gd name="connsiteX1" fmla="*/ 21300 w 25634"/>
                <a:gd name="connsiteY1" fmla="*/ 20160 h 117468"/>
                <a:gd name="connsiteX2" fmla="*/ 21300 w 25634"/>
                <a:gd name="connsiteY2" fmla="*/ 8560 h 117468"/>
                <a:gd name="connsiteX3" fmla="*/ 21300 w 25634"/>
                <a:gd name="connsiteY3" fmla="*/ 3046 h 117468"/>
                <a:gd name="connsiteX4" fmla="*/ 17117 w 25634"/>
                <a:gd name="connsiteY4" fmla="*/ 3 h 117468"/>
                <a:gd name="connsiteX5" fmla="*/ 13124 w 25634"/>
                <a:gd name="connsiteY5" fmla="*/ 3236 h 117468"/>
                <a:gd name="connsiteX6" fmla="*/ 11603 w 25634"/>
                <a:gd name="connsiteY6" fmla="*/ 8370 h 117468"/>
                <a:gd name="connsiteX7" fmla="*/ 7990 w 25634"/>
                <a:gd name="connsiteY7" fmla="*/ 15216 h 117468"/>
                <a:gd name="connsiteX8" fmla="*/ 3807 w 25634"/>
                <a:gd name="connsiteY8" fmla="*/ 28336 h 117468"/>
                <a:gd name="connsiteX9" fmla="*/ 5518 w 25634"/>
                <a:gd name="connsiteY9" fmla="*/ 45450 h 117468"/>
                <a:gd name="connsiteX10" fmla="*/ 7990 w 25634"/>
                <a:gd name="connsiteY10" fmla="*/ 63134 h 117468"/>
                <a:gd name="connsiteX11" fmla="*/ 3 w 25634"/>
                <a:gd name="connsiteY11" fmla="*/ 99644 h 117468"/>
                <a:gd name="connsiteX12" fmla="*/ 16927 w 25634"/>
                <a:gd name="connsiteY12" fmla="*/ 116948 h 117468"/>
                <a:gd name="connsiteX13" fmla="*/ 24153 w 25634"/>
                <a:gd name="connsiteY13" fmla="*/ 102877 h 117468"/>
                <a:gd name="connsiteX14" fmla="*/ 24153 w 25634"/>
                <a:gd name="connsiteY14" fmla="*/ 60092 h 117468"/>
                <a:gd name="connsiteX15" fmla="*/ 25484 w 25634"/>
                <a:gd name="connsiteY15" fmla="*/ 50204 h 117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634" h="117468">
                  <a:moveTo>
                    <a:pt x="25484" y="50204"/>
                  </a:moveTo>
                  <a:cubicBezTo>
                    <a:pt x="26625" y="39935"/>
                    <a:pt x="20920" y="31188"/>
                    <a:pt x="21300" y="20160"/>
                  </a:cubicBezTo>
                  <a:lnTo>
                    <a:pt x="21300" y="8560"/>
                  </a:lnTo>
                  <a:cubicBezTo>
                    <a:pt x="21776" y="6754"/>
                    <a:pt x="21776" y="4852"/>
                    <a:pt x="21300" y="3046"/>
                  </a:cubicBezTo>
                  <a:cubicBezTo>
                    <a:pt x="20768" y="1182"/>
                    <a:pt x="19038" y="-73"/>
                    <a:pt x="17117" y="3"/>
                  </a:cubicBezTo>
                  <a:cubicBezTo>
                    <a:pt x="15292" y="250"/>
                    <a:pt x="13751" y="1505"/>
                    <a:pt x="13124" y="3236"/>
                  </a:cubicBezTo>
                  <a:cubicBezTo>
                    <a:pt x="12497" y="4909"/>
                    <a:pt x="12002" y="6620"/>
                    <a:pt x="11603" y="8370"/>
                  </a:cubicBezTo>
                  <a:cubicBezTo>
                    <a:pt x="11603" y="10842"/>
                    <a:pt x="9131" y="12934"/>
                    <a:pt x="7990" y="15216"/>
                  </a:cubicBezTo>
                  <a:cubicBezTo>
                    <a:pt x="5423" y="19114"/>
                    <a:pt x="3978" y="23658"/>
                    <a:pt x="3807" y="28336"/>
                  </a:cubicBezTo>
                  <a:cubicBezTo>
                    <a:pt x="3807" y="34041"/>
                    <a:pt x="3807" y="39745"/>
                    <a:pt x="5518" y="45450"/>
                  </a:cubicBezTo>
                  <a:cubicBezTo>
                    <a:pt x="7001" y="51231"/>
                    <a:pt x="7819" y="57163"/>
                    <a:pt x="7990" y="63134"/>
                  </a:cubicBezTo>
                  <a:cubicBezTo>
                    <a:pt x="7990" y="75684"/>
                    <a:pt x="-187" y="86903"/>
                    <a:pt x="3" y="99644"/>
                  </a:cubicBezTo>
                  <a:cubicBezTo>
                    <a:pt x="3" y="107630"/>
                    <a:pt x="7420" y="120180"/>
                    <a:pt x="16927" y="116948"/>
                  </a:cubicBezTo>
                  <a:cubicBezTo>
                    <a:pt x="22252" y="115046"/>
                    <a:pt x="23963" y="108391"/>
                    <a:pt x="24153" y="102877"/>
                  </a:cubicBezTo>
                  <a:cubicBezTo>
                    <a:pt x="22917" y="88634"/>
                    <a:pt x="22917" y="74334"/>
                    <a:pt x="24153" y="60092"/>
                  </a:cubicBezTo>
                  <a:cubicBezTo>
                    <a:pt x="24800" y="56821"/>
                    <a:pt x="25237" y="53532"/>
                    <a:pt x="25484" y="50204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60" name="Полилиния: фигура 359">
              <a:extLst>
                <a:ext uri="{FF2B5EF4-FFF2-40B4-BE49-F238E27FC236}">
                  <a16:creationId xmlns:a16="http://schemas.microsoft.com/office/drawing/2014/main" id="{A80E0DDC-BA36-FA6A-E41E-82F18C408600}"/>
                </a:ext>
              </a:extLst>
            </p:cNvPr>
            <p:cNvSpPr/>
            <p:nvPr/>
          </p:nvSpPr>
          <p:spPr>
            <a:xfrm>
              <a:off x="8250886" y="4055781"/>
              <a:ext cx="712984" cy="779673"/>
            </a:xfrm>
            <a:custGeom>
              <a:avLst/>
              <a:gdLst>
                <a:gd name="connsiteX0" fmla="*/ 730880 w 745522"/>
                <a:gd name="connsiteY0" fmla="*/ 688289 h 812873"/>
                <a:gd name="connsiteX1" fmla="*/ 721753 w 745522"/>
                <a:gd name="connsiteY1" fmla="*/ 685817 h 812873"/>
                <a:gd name="connsiteX2" fmla="*/ 686955 w 745522"/>
                <a:gd name="connsiteY2" fmla="*/ 666802 h 812873"/>
                <a:gd name="connsiteX3" fmla="*/ 674405 w 745522"/>
                <a:gd name="connsiteY3" fmla="*/ 669844 h 812873"/>
                <a:gd name="connsiteX4" fmla="*/ 665087 w 745522"/>
                <a:gd name="connsiteY4" fmla="*/ 665280 h 812873"/>
                <a:gd name="connsiteX5" fmla="*/ 633902 w 745522"/>
                <a:gd name="connsiteY5" fmla="*/ 642082 h 812873"/>
                <a:gd name="connsiteX6" fmla="*/ 620021 w 745522"/>
                <a:gd name="connsiteY6" fmla="*/ 634285 h 812873"/>
                <a:gd name="connsiteX7" fmla="*/ 595491 w 745522"/>
                <a:gd name="connsiteY7" fmla="*/ 634285 h 812873"/>
                <a:gd name="connsiteX8" fmla="*/ 555179 w 745522"/>
                <a:gd name="connsiteY8" fmla="*/ 616791 h 812873"/>
                <a:gd name="connsiteX9" fmla="*/ 524944 w 745522"/>
                <a:gd name="connsiteY9" fmla="*/ 585226 h 812873"/>
                <a:gd name="connsiteX10" fmla="*/ 509731 w 745522"/>
                <a:gd name="connsiteY10" fmla="*/ 536736 h 812873"/>
                <a:gd name="connsiteX11" fmla="*/ 495280 w 745522"/>
                <a:gd name="connsiteY11" fmla="*/ 523616 h 812873"/>
                <a:gd name="connsiteX12" fmla="*/ 486913 w 745522"/>
                <a:gd name="connsiteY12" fmla="*/ 500037 h 812873"/>
                <a:gd name="connsiteX13" fmla="*/ 467898 w 745522"/>
                <a:gd name="connsiteY13" fmla="*/ 477408 h 812873"/>
                <a:gd name="connsiteX14" fmla="*/ 463334 w 745522"/>
                <a:gd name="connsiteY14" fmla="*/ 473225 h 812873"/>
                <a:gd name="connsiteX15" fmla="*/ 462003 w 745522"/>
                <a:gd name="connsiteY15" fmla="*/ 466570 h 812873"/>
                <a:gd name="connsiteX16" fmla="*/ 464665 w 745522"/>
                <a:gd name="connsiteY16" fmla="*/ 453069 h 812873"/>
                <a:gd name="connsiteX17" fmla="*/ 467137 w 745522"/>
                <a:gd name="connsiteY17" fmla="*/ 441279 h 812873"/>
                <a:gd name="connsiteX18" fmla="*/ 472842 w 745522"/>
                <a:gd name="connsiteY18" fmla="*/ 426827 h 812873"/>
                <a:gd name="connsiteX19" fmla="*/ 481589 w 745522"/>
                <a:gd name="connsiteY19" fmla="*/ 416369 h 812873"/>
                <a:gd name="connsiteX20" fmla="*/ 505929 w 745522"/>
                <a:gd name="connsiteY20" fmla="*/ 404960 h 812873"/>
                <a:gd name="connsiteX21" fmla="*/ 521141 w 745522"/>
                <a:gd name="connsiteY21" fmla="*/ 402107 h 812873"/>
                <a:gd name="connsiteX22" fmla="*/ 569250 w 745522"/>
                <a:gd name="connsiteY22" fmla="*/ 404389 h 812873"/>
                <a:gd name="connsiteX23" fmla="*/ 588265 w 745522"/>
                <a:gd name="connsiteY23" fmla="*/ 405720 h 812873"/>
                <a:gd name="connsiteX24" fmla="*/ 592639 w 745522"/>
                <a:gd name="connsiteY24" fmla="*/ 409904 h 812873"/>
                <a:gd name="connsiteX25" fmla="*/ 599294 w 745522"/>
                <a:gd name="connsiteY25" fmla="*/ 414277 h 812873"/>
                <a:gd name="connsiteX26" fmla="*/ 603097 w 745522"/>
                <a:gd name="connsiteY26" fmla="*/ 415228 h 812873"/>
                <a:gd name="connsiteX27" fmla="*/ 606140 w 745522"/>
                <a:gd name="connsiteY27" fmla="*/ 413136 h 812873"/>
                <a:gd name="connsiteX28" fmla="*/ 604808 w 745522"/>
                <a:gd name="connsiteY28" fmla="*/ 409143 h 812873"/>
                <a:gd name="connsiteX29" fmla="*/ 599674 w 745522"/>
                <a:gd name="connsiteY29" fmla="*/ 401157 h 812873"/>
                <a:gd name="connsiteX30" fmla="*/ 593209 w 745522"/>
                <a:gd name="connsiteY30" fmla="*/ 393931 h 812873"/>
                <a:gd name="connsiteX31" fmla="*/ 581990 w 745522"/>
                <a:gd name="connsiteY31" fmla="*/ 391649 h 812873"/>
                <a:gd name="connsiteX32" fmla="*/ 569060 w 745522"/>
                <a:gd name="connsiteY32" fmla="*/ 391649 h 812873"/>
                <a:gd name="connsiteX33" fmla="*/ 555749 w 745522"/>
                <a:gd name="connsiteY33" fmla="*/ 391649 h 812873"/>
                <a:gd name="connsiteX34" fmla="*/ 533501 w 745522"/>
                <a:gd name="connsiteY34" fmla="*/ 381190 h 812873"/>
                <a:gd name="connsiteX35" fmla="*/ 516768 w 745522"/>
                <a:gd name="connsiteY35" fmla="*/ 369781 h 812873"/>
                <a:gd name="connsiteX36" fmla="*/ 472271 w 745522"/>
                <a:gd name="connsiteY36" fmla="*/ 343730 h 812873"/>
                <a:gd name="connsiteX37" fmla="*/ 440325 w 745522"/>
                <a:gd name="connsiteY37" fmla="*/ 326997 h 812873"/>
                <a:gd name="connsiteX38" fmla="*/ 421310 w 745522"/>
                <a:gd name="connsiteY38" fmla="*/ 322813 h 812873"/>
                <a:gd name="connsiteX39" fmla="*/ 390885 w 745522"/>
                <a:gd name="connsiteY39" fmla="*/ 300185 h 812873"/>
                <a:gd name="connsiteX40" fmla="*/ 361602 w 745522"/>
                <a:gd name="connsiteY40" fmla="*/ 277557 h 812873"/>
                <a:gd name="connsiteX41" fmla="*/ 340875 w 745522"/>
                <a:gd name="connsiteY41" fmla="*/ 261774 h 812873"/>
                <a:gd name="connsiteX42" fmla="*/ 319578 w 745522"/>
                <a:gd name="connsiteY42" fmla="*/ 250745 h 812873"/>
                <a:gd name="connsiteX43" fmla="*/ 284970 w 745522"/>
                <a:gd name="connsiteY43" fmla="*/ 228307 h 812873"/>
                <a:gd name="connsiteX44" fmla="*/ 265004 w 745522"/>
                <a:gd name="connsiteY44" fmla="*/ 225074 h 812873"/>
                <a:gd name="connsiteX45" fmla="*/ 254165 w 745522"/>
                <a:gd name="connsiteY45" fmla="*/ 209481 h 812873"/>
                <a:gd name="connsiteX46" fmla="*/ 225642 w 745522"/>
                <a:gd name="connsiteY46" fmla="*/ 199974 h 812873"/>
                <a:gd name="connsiteX47" fmla="*/ 205676 w 745522"/>
                <a:gd name="connsiteY47" fmla="*/ 169549 h 812873"/>
                <a:gd name="connsiteX48" fmla="*/ 195027 w 745522"/>
                <a:gd name="connsiteY48" fmla="*/ 162323 h 812873"/>
                <a:gd name="connsiteX49" fmla="*/ 191985 w 745522"/>
                <a:gd name="connsiteY49" fmla="*/ 148632 h 812873"/>
                <a:gd name="connsiteX50" fmla="*/ 160800 w 745522"/>
                <a:gd name="connsiteY50" fmla="*/ 110602 h 812873"/>
                <a:gd name="connsiteX51" fmla="*/ 117634 w 745522"/>
                <a:gd name="connsiteY51" fmla="*/ 82459 h 812873"/>
                <a:gd name="connsiteX52" fmla="*/ 104894 w 745522"/>
                <a:gd name="connsiteY52" fmla="*/ 67817 h 812873"/>
                <a:gd name="connsiteX53" fmla="*/ 93675 w 745522"/>
                <a:gd name="connsiteY53" fmla="*/ 61922 h 812873"/>
                <a:gd name="connsiteX54" fmla="*/ 88541 w 745522"/>
                <a:gd name="connsiteY54" fmla="*/ 61922 h 812873"/>
                <a:gd name="connsiteX55" fmla="*/ 82646 w 745522"/>
                <a:gd name="connsiteY55" fmla="*/ 59070 h 812873"/>
                <a:gd name="connsiteX56" fmla="*/ 80555 w 745522"/>
                <a:gd name="connsiteY56" fmla="*/ 56598 h 812873"/>
                <a:gd name="connsiteX57" fmla="*/ 71427 w 745522"/>
                <a:gd name="connsiteY57" fmla="*/ 49942 h 812873"/>
                <a:gd name="connsiteX58" fmla="*/ 63060 w 745522"/>
                <a:gd name="connsiteY58" fmla="*/ 43287 h 812873"/>
                <a:gd name="connsiteX59" fmla="*/ 61919 w 745522"/>
                <a:gd name="connsiteY59" fmla="*/ 41386 h 812873"/>
                <a:gd name="connsiteX60" fmla="*/ 61919 w 745522"/>
                <a:gd name="connsiteY60" fmla="*/ 41386 h 812873"/>
                <a:gd name="connsiteX61" fmla="*/ 59067 w 745522"/>
                <a:gd name="connsiteY61" fmla="*/ 39104 h 812873"/>
                <a:gd name="connsiteX62" fmla="*/ 51841 w 745522"/>
                <a:gd name="connsiteY62" fmla="*/ 34160 h 812873"/>
                <a:gd name="connsiteX63" fmla="*/ 48228 w 745522"/>
                <a:gd name="connsiteY63" fmla="*/ 26554 h 812873"/>
                <a:gd name="connsiteX64" fmla="*/ 45376 w 745522"/>
                <a:gd name="connsiteY64" fmla="*/ 18377 h 812873"/>
                <a:gd name="connsiteX65" fmla="*/ 40052 w 745522"/>
                <a:gd name="connsiteY65" fmla="*/ 13813 h 812873"/>
                <a:gd name="connsiteX66" fmla="*/ 21036 w 745522"/>
                <a:gd name="connsiteY66" fmla="*/ 2974 h 812873"/>
                <a:gd name="connsiteX67" fmla="*/ 3542 w 745522"/>
                <a:gd name="connsiteY67" fmla="*/ 2974 h 812873"/>
                <a:gd name="connsiteX68" fmla="*/ 690 w 745522"/>
                <a:gd name="connsiteY68" fmla="*/ 11341 h 812873"/>
                <a:gd name="connsiteX69" fmla="*/ 7535 w 745522"/>
                <a:gd name="connsiteY69" fmla="*/ 38723 h 812873"/>
                <a:gd name="connsiteX70" fmla="*/ 16283 w 745522"/>
                <a:gd name="connsiteY70" fmla="*/ 41766 h 812873"/>
                <a:gd name="connsiteX71" fmla="*/ 35298 w 745522"/>
                <a:gd name="connsiteY71" fmla="*/ 47851 h 812873"/>
                <a:gd name="connsiteX72" fmla="*/ 44806 w 745522"/>
                <a:gd name="connsiteY72" fmla="*/ 53365 h 812873"/>
                <a:gd name="connsiteX73" fmla="*/ 50700 w 745522"/>
                <a:gd name="connsiteY73" fmla="*/ 62683 h 812873"/>
                <a:gd name="connsiteX74" fmla="*/ 68194 w 745522"/>
                <a:gd name="connsiteY74" fmla="*/ 98622 h 812873"/>
                <a:gd name="connsiteX75" fmla="*/ 71427 w 745522"/>
                <a:gd name="connsiteY75" fmla="*/ 108890 h 812873"/>
                <a:gd name="connsiteX76" fmla="*/ 66103 w 745522"/>
                <a:gd name="connsiteY76" fmla="*/ 117447 h 812873"/>
                <a:gd name="connsiteX77" fmla="*/ 54884 w 745522"/>
                <a:gd name="connsiteY77" fmla="*/ 116306 h 812873"/>
                <a:gd name="connsiteX78" fmla="*/ 42143 w 745522"/>
                <a:gd name="connsiteY78" fmla="*/ 130758 h 812873"/>
                <a:gd name="connsiteX79" fmla="*/ 44425 w 745522"/>
                <a:gd name="connsiteY79" fmla="*/ 152435 h 812873"/>
                <a:gd name="connsiteX80" fmla="*/ 61539 w 745522"/>
                <a:gd name="connsiteY80" fmla="*/ 165936 h 812873"/>
                <a:gd name="connsiteX81" fmla="*/ 73518 w 745522"/>
                <a:gd name="connsiteY81" fmla="*/ 177155 h 812873"/>
                <a:gd name="connsiteX82" fmla="*/ 85118 w 745522"/>
                <a:gd name="connsiteY82" fmla="*/ 198453 h 812873"/>
                <a:gd name="connsiteX83" fmla="*/ 105845 w 745522"/>
                <a:gd name="connsiteY83" fmla="*/ 222792 h 812873"/>
                <a:gd name="connsiteX84" fmla="*/ 124860 w 745522"/>
                <a:gd name="connsiteY84" fmla="*/ 260823 h 812873"/>
                <a:gd name="connsiteX85" fmla="*/ 145587 w 745522"/>
                <a:gd name="connsiteY85" fmla="*/ 279838 h 812873"/>
                <a:gd name="connsiteX86" fmla="*/ 170687 w 745522"/>
                <a:gd name="connsiteY86" fmla="*/ 291628 h 812873"/>
                <a:gd name="connsiteX87" fmla="*/ 178293 w 745522"/>
                <a:gd name="connsiteY87" fmla="*/ 294290 h 812873"/>
                <a:gd name="connsiteX88" fmla="*/ 181716 w 745522"/>
                <a:gd name="connsiteY88" fmla="*/ 300375 h 812873"/>
                <a:gd name="connsiteX89" fmla="*/ 198260 w 745522"/>
                <a:gd name="connsiteY89" fmla="*/ 304749 h 812873"/>
                <a:gd name="connsiteX90" fmla="*/ 235340 w 745522"/>
                <a:gd name="connsiteY90" fmla="*/ 319010 h 812873"/>
                <a:gd name="connsiteX91" fmla="*/ 257207 w 745522"/>
                <a:gd name="connsiteY91" fmla="*/ 338976 h 812873"/>
                <a:gd name="connsiteX92" fmla="*/ 260630 w 745522"/>
                <a:gd name="connsiteY92" fmla="*/ 347723 h 812873"/>
                <a:gd name="connsiteX93" fmla="*/ 270518 w 745522"/>
                <a:gd name="connsiteY93" fmla="*/ 362365 h 812873"/>
                <a:gd name="connsiteX94" fmla="*/ 275082 w 745522"/>
                <a:gd name="connsiteY94" fmla="*/ 372634 h 812873"/>
                <a:gd name="connsiteX95" fmla="*/ 284400 w 745522"/>
                <a:gd name="connsiteY95" fmla="*/ 380050 h 812873"/>
                <a:gd name="connsiteX96" fmla="*/ 302274 w 745522"/>
                <a:gd name="connsiteY96" fmla="*/ 399065 h 812873"/>
                <a:gd name="connsiteX97" fmla="*/ 311781 w 745522"/>
                <a:gd name="connsiteY97" fmla="*/ 404389 h 812873"/>
                <a:gd name="connsiteX98" fmla="*/ 319958 w 745522"/>
                <a:gd name="connsiteY98" fmla="*/ 412376 h 812873"/>
                <a:gd name="connsiteX99" fmla="*/ 338974 w 745522"/>
                <a:gd name="connsiteY99" fmla="*/ 429490 h 812873"/>
                <a:gd name="connsiteX100" fmla="*/ 354376 w 745522"/>
                <a:gd name="connsiteY100" fmla="*/ 453259 h 812873"/>
                <a:gd name="connsiteX101" fmla="*/ 365215 w 745522"/>
                <a:gd name="connsiteY101" fmla="*/ 460865 h 812873"/>
                <a:gd name="connsiteX102" fmla="*/ 380807 w 745522"/>
                <a:gd name="connsiteY102" fmla="*/ 481592 h 812873"/>
                <a:gd name="connsiteX103" fmla="*/ 383850 w 745522"/>
                <a:gd name="connsiteY103" fmla="*/ 488247 h 812873"/>
                <a:gd name="connsiteX104" fmla="*/ 388604 w 745522"/>
                <a:gd name="connsiteY104" fmla="*/ 494142 h 812873"/>
                <a:gd name="connsiteX105" fmla="*/ 404006 w 745522"/>
                <a:gd name="connsiteY105" fmla="*/ 517531 h 812873"/>
                <a:gd name="connsiteX106" fmla="*/ 406098 w 745522"/>
                <a:gd name="connsiteY106" fmla="*/ 521524 h 812873"/>
                <a:gd name="connsiteX107" fmla="*/ 412373 w 745522"/>
                <a:gd name="connsiteY107" fmla="*/ 525897 h 812873"/>
                <a:gd name="connsiteX108" fmla="*/ 426254 w 745522"/>
                <a:gd name="connsiteY108" fmla="*/ 540539 h 812873"/>
                <a:gd name="connsiteX109" fmla="*/ 431579 w 745522"/>
                <a:gd name="connsiteY109" fmla="*/ 563548 h 812873"/>
                <a:gd name="connsiteX110" fmla="*/ 463715 w 745522"/>
                <a:gd name="connsiteY110" fmla="*/ 583894 h 812873"/>
                <a:gd name="connsiteX111" fmla="*/ 488815 w 745522"/>
                <a:gd name="connsiteY111" fmla="*/ 597015 h 812873"/>
                <a:gd name="connsiteX112" fmla="*/ 504598 w 745522"/>
                <a:gd name="connsiteY112" fmla="*/ 610706 h 812873"/>
                <a:gd name="connsiteX113" fmla="*/ 510112 w 745522"/>
                <a:gd name="connsiteY113" fmla="*/ 624968 h 812873"/>
                <a:gd name="connsiteX114" fmla="*/ 522662 w 745522"/>
                <a:gd name="connsiteY114" fmla="*/ 640180 h 812873"/>
                <a:gd name="connsiteX115" fmla="*/ 523803 w 745522"/>
                <a:gd name="connsiteY115" fmla="*/ 650068 h 812873"/>
                <a:gd name="connsiteX116" fmla="*/ 537304 w 745522"/>
                <a:gd name="connsiteY116" fmla="*/ 674218 h 812873"/>
                <a:gd name="connsiteX117" fmla="*/ 560312 w 745522"/>
                <a:gd name="connsiteY117" fmla="*/ 690571 h 812873"/>
                <a:gd name="connsiteX118" fmla="*/ 590167 w 745522"/>
                <a:gd name="connsiteY118" fmla="*/ 723087 h 812873"/>
                <a:gd name="connsiteX119" fmla="*/ 607280 w 745522"/>
                <a:gd name="connsiteY119" fmla="*/ 763209 h 812873"/>
                <a:gd name="connsiteX120" fmla="*/ 621352 w 745522"/>
                <a:gd name="connsiteY120" fmla="*/ 777851 h 812873"/>
                <a:gd name="connsiteX121" fmla="*/ 649875 w 745522"/>
                <a:gd name="connsiteY121" fmla="*/ 803142 h 812873"/>
                <a:gd name="connsiteX122" fmla="*/ 665658 w 745522"/>
                <a:gd name="connsiteY122" fmla="*/ 812650 h 812873"/>
                <a:gd name="connsiteX123" fmla="*/ 679083 w 745522"/>
                <a:gd name="connsiteY123" fmla="*/ 803712 h 812873"/>
                <a:gd name="connsiteX124" fmla="*/ 679159 w 745522"/>
                <a:gd name="connsiteY124" fmla="*/ 803332 h 812873"/>
                <a:gd name="connsiteX125" fmla="*/ 677067 w 745522"/>
                <a:gd name="connsiteY125" fmla="*/ 788310 h 812873"/>
                <a:gd name="connsiteX126" fmla="*/ 667749 w 745522"/>
                <a:gd name="connsiteY126" fmla="*/ 771196 h 812873"/>
                <a:gd name="connsiteX127" fmla="*/ 661855 w 745522"/>
                <a:gd name="connsiteY127" fmla="*/ 764351 h 812873"/>
                <a:gd name="connsiteX128" fmla="*/ 659002 w 745522"/>
                <a:gd name="connsiteY128" fmla="*/ 757315 h 812873"/>
                <a:gd name="connsiteX129" fmla="*/ 656530 w 745522"/>
                <a:gd name="connsiteY129" fmla="*/ 745145 h 812873"/>
                <a:gd name="connsiteX130" fmla="*/ 656530 w 745522"/>
                <a:gd name="connsiteY130" fmla="*/ 735067 h 812873"/>
                <a:gd name="connsiteX131" fmla="*/ 652157 w 745522"/>
                <a:gd name="connsiteY131" fmla="*/ 723658 h 812873"/>
                <a:gd name="connsiteX132" fmla="*/ 647403 w 745522"/>
                <a:gd name="connsiteY132" fmla="*/ 711868 h 812873"/>
                <a:gd name="connsiteX133" fmla="*/ 657101 w 745522"/>
                <a:gd name="connsiteY133" fmla="*/ 705783 h 812873"/>
                <a:gd name="connsiteX134" fmla="*/ 664137 w 745522"/>
                <a:gd name="connsiteY134" fmla="*/ 708065 h 812873"/>
                <a:gd name="connsiteX135" fmla="*/ 678779 w 745522"/>
                <a:gd name="connsiteY135" fmla="*/ 704072 h 812873"/>
                <a:gd name="connsiteX136" fmla="*/ 693991 w 745522"/>
                <a:gd name="connsiteY136" fmla="*/ 689620 h 812873"/>
                <a:gd name="connsiteX137" fmla="*/ 722324 w 745522"/>
                <a:gd name="connsiteY137" fmla="*/ 699508 h 812873"/>
                <a:gd name="connsiteX138" fmla="*/ 732402 w 745522"/>
                <a:gd name="connsiteY138" fmla="*/ 709206 h 812873"/>
                <a:gd name="connsiteX139" fmla="*/ 745523 w 745522"/>
                <a:gd name="connsiteY139" fmla="*/ 711488 h 812873"/>
                <a:gd name="connsiteX140" fmla="*/ 736775 w 745522"/>
                <a:gd name="connsiteY140" fmla="*/ 696085 h 812873"/>
                <a:gd name="connsiteX141" fmla="*/ 730880 w 745522"/>
                <a:gd name="connsiteY141" fmla="*/ 688289 h 812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745522" h="812873">
                  <a:moveTo>
                    <a:pt x="730880" y="688289"/>
                  </a:moveTo>
                  <a:cubicBezTo>
                    <a:pt x="727952" y="687091"/>
                    <a:pt x="724891" y="686254"/>
                    <a:pt x="721753" y="685817"/>
                  </a:cubicBezTo>
                  <a:cubicBezTo>
                    <a:pt x="708633" y="682204"/>
                    <a:pt x="700456" y="664710"/>
                    <a:pt x="686955" y="666802"/>
                  </a:cubicBezTo>
                  <a:cubicBezTo>
                    <a:pt x="682867" y="668152"/>
                    <a:pt x="678664" y="669178"/>
                    <a:pt x="674405" y="669844"/>
                  </a:cubicBezTo>
                  <a:cubicBezTo>
                    <a:pt x="670963" y="669159"/>
                    <a:pt x="667749" y="667581"/>
                    <a:pt x="665087" y="665280"/>
                  </a:cubicBezTo>
                  <a:lnTo>
                    <a:pt x="633902" y="642082"/>
                  </a:lnTo>
                  <a:cubicBezTo>
                    <a:pt x="629833" y="638583"/>
                    <a:pt x="625117" y="635940"/>
                    <a:pt x="620021" y="634285"/>
                  </a:cubicBezTo>
                  <a:cubicBezTo>
                    <a:pt x="611882" y="633239"/>
                    <a:pt x="603630" y="633239"/>
                    <a:pt x="595491" y="634285"/>
                  </a:cubicBezTo>
                  <a:cubicBezTo>
                    <a:pt x="580583" y="632669"/>
                    <a:pt x="566530" y="626565"/>
                    <a:pt x="555179" y="616791"/>
                  </a:cubicBezTo>
                  <a:cubicBezTo>
                    <a:pt x="542324" y="609318"/>
                    <a:pt x="531847" y="598384"/>
                    <a:pt x="524944" y="585226"/>
                  </a:cubicBezTo>
                  <a:cubicBezTo>
                    <a:pt x="518289" y="569443"/>
                    <a:pt x="521711" y="549096"/>
                    <a:pt x="509731" y="536736"/>
                  </a:cubicBezTo>
                  <a:cubicBezTo>
                    <a:pt x="505168" y="531983"/>
                    <a:pt x="498703" y="529130"/>
                    <a:pt x="495280" y="523616"/>
                  </a:cubicBezTo>
                  <a:cubicBezTo>
                    <a:pt x="491895" y="515971"/>
                    <a:pt x="489100" y="508099"/>
                    <a:pt x="486913" y="500037"/>
                  </a:cubicBezTo>
                  <a:cubicBezTo>
                    <a:pt x="482825" y="490852"/>
                    <a:pt x="476226" y="483018"/>
                    <a:pt x="467898" y="477408"/>
                  </a:cubicBezTo>
                  <a:cubicBezTo>
                    <a:pt x="466167" y="476267"/>
                    <a:pt x="464608" y="474860"/>
                    <a:pt x="463334" y="473225"/>
                  </a:cubicBezTo>
                  <a:cubicBezTo>
                    <a:pt x="462136" y="471228"/>
                    <a:pt x="461661" y="468870"/>
                    <a:pt x="462003" y="466570"/>
                  </a:cubicBezTo>
                  <a:cubicBezTo>
                    <a:pt x="462422" y="461987"/>
                    <a:pt x="463296" y="457461"/>
                    <a:pt x="464665" y="453069"/>
                  </a:cubicBezTo>
                  <a:cubicBezTo>
                    <a:pt x="465274" y="449094"/>
                    <a:pt x="466091" y="445158"/>
                    <a:pt x="467137" y="441279"/>
                  </a:cubicBezTo>
                  <a:lnTo>
                    <a:pt x="472842" y="426827"/>
                  </a:lnTo>
                  <a:cubicBezTo>
                    <a:pt x="474363" y="422378"/>
                    <a:pt x="477482" y="418651"/>
                    <a:pt x="481589" y="416369"/>
                  </a:cubicBezTo>
                  <a:cubicBezTo>
                    <a:pt x="489385" y="411805"/>
                    <a:pt x="498132" y="409523"/>
                    <a:pt x="505929" y="404960"/>
                  </a:cubicBezTo>
                  <a:cubicBezTo>
                    <a:pt x="510663" y="402697"/>
                    <a:pt x="515912" y="401708"/>
                    <a:pt x="521141" y="402107"/>
                  </a:cubicBezTo>
                  <a:cubicBezTo>
                    <a:pt x="537114" y="402107"/>
                    <a:pt x="553277" y="405340"/>
                    <a:pt x="569250" y="404389"/>
                  </a:cubicBezTo>
                  <a:cubicBezTo>
                    <a:pt x="575582" y="402906"/>
                    <a:pt x="582199" y="403381"/>
                    <a:pt x="588265" y="405720"/>
                  </a:cubicBezTo>
                  <a:cubicBezTo>
                    <a:pt x="589900" y="406918"/>
                    <a:pt x="591364" y="408325"/>
                    <a:pt x="592639" y="409904"/>
                  </a:cubicBezTo>
                  <a:cubicBezTo>
                    <a:pt x="594635" y="411691"/>
                    <a:pt x="596879" y="413155"/>
                    <a:pt x="599294" y="414277"/>
                  </a:cubicBezTo>
                  <a:cubicBezTo>
                    <a:pt x="600435" y="414962"/>
                    <a:pt x="601766" y="415304"/>
                    <a:pt x="603097" y="415228"/>
                  </a:cubicBezTo>
                  <a:cubicBezTo>
                    <a:pt x="604467" y="415304"/>
                    <a:pt x="605721" y="414448"/>
                    <a:pt x="606140" y="413136"/>
                  </a:cubicBezTo>
                  <a:cubicBezTo>
                    <a:pt x="606272" y="411672"/>
                    <a:pt x="605779" y="410227"/>
                    <a:pt x="604808" y="409143"/>
                  </a:cubicBezTo>
                  <a:lnTo>
                    <a:pt x="599674" y="401157"/>
                  </a:lnTo>
                  <a:cubicBezTo>
                    <a:pt x="598096" y="398285"/>
                    <a:pt x="595890" y="395813"/>
                    <a:pt x="593209" y="393931"/>
                  </a:cubicBezTo>
                  <a:cubicBezTo>
                    <a:pt x="589768" y="392124"/>
                    <a:pt x="585869" y="391326"/>
                    <a:pt x="581990" y="391649"/>
                  </a:cubicBezTo>
                  <a:lnTo>
                    <a:pt x="569060" y="391649"/>
                  </a:lnTo>
                  <a:cubicBezTo>
                    <a:pt x="564648" y="392219"/>
                    <a:pt x="560160" y="392219"/>
                    <a:pt x="555749" y="391649"/>
                  </a:cubicBezTo>
                  <a:cubicBezTo>
                    <a:pt x="548048" y="388778"/>
                    <a:pt x="540613" y="385298"/>
                    <a:pt x="533501" y="381190"/>
                  </a:cubicBezTo>
                  <a:cubicBezTo>
                    <a:pt x="527226" y="378148"/>
                    <a:pt x="523042" y="373204"/>
                    <a:pt x="516768" y="369781"/>
                  </a:cubicBezTo>
                  <a:cubicBezTo>
                    <a:pt x="501555" y="361795"/>
                    <a:pt x="486723" y="353048"/>
                    <a:pt x="472271" y="343730"/>
                  </a:cubicBezTo>
                  <a:cubicBezTo>
                    <a:pt x="462555" y="336523"/>
                    <a:pt x="451772" y="330895"/>
                    <a:pt x="440325" y="326997"/>
                  </a:cubicBezTo>
                  <a:cubicBezTo>
                    <a:pt x="434240" y="325285"/>
                    <a:pt x="427775" y="324525"/>
                    <a:pt x="421310" y="322813"/>
                  </a:cubicBezTo>
                  <a:cubicBezTo>
                    <a:pt x="408722" y="319276"/>
                    <a:pt x="397902" y="311214"/>
                    <a:pt x="390885" y="300185"/>
                  </a:cubicBezTo>
                  <a:cubicBezTo>
                    <a:pt x="384610" y="290297"/>
                    <a:pt x="370159" y="285353"/>
                    <a:pt x="361602" y="277557"/>
                  </a:cubicBezTo>
                  <a:cubicBezTo>
                    <a:pt x="355213" y="271662"/>
                    <a:pt x="348272" y="266376"/>
                    <a:pt x="340875" y="261774"/>
                  </a:cubicBezTo>
                  <a:cubicBezTo>
                    <a:pt x="334029" y="257781"/>
                    <a:pt x="326233" y="255119"/>
                    <a:pt x="319578" y="250745"/>
                  </a:cubicBezTo>
                  <a:cubicBezTo>
                    <a:pt x="307979" y="243139"/>
                    <a:pt x="298661" y="230208"/>
                    <a:pt x="284970" y="228307"/>
                  </a:cubicBezTo>
                  <a:cubicBezTo>
                    <a:pt x="278124" y="227356"/>
                    <a:pt x="270518" y="228307"/>
                    <a:pt x="265004" y="225074"/>
                  </a:cubicBezTo>
                  <a:cubicBezTo>
                    <a:pt x="259489" y="221842"/>
                    <a:pt x="258729" y="213855"/>
                    <a:pt x="254165" y="209481"/>
                  </a:cubicBezTo>
                  <a:cubicBezTo>
                    <a:pt x="249601" y="205108"/>
                    <a:pt x="234008" y="205488"/>
                    <a:pt x="225642" y="199974"/>
                  </a:cubicBezTo>
                  <a:cubicBezTo>
                    <a:pt x="217275" y="194459"/>
                    <a:pt x="215563" y="176775"/>
                    <a:pt x="205676" y="169549"/>
                  </a:cubicBezTo>
                  <a:cubicBezTo>
                    <a:pt x="202253" y="166887"/>
                    <a:pt x="197689" y="165746"/>
                    <a:pt x="195027" y="162323"/>
                  </a:cubicBezTo>
                  <a:cubicBezTo>
                    <a:pt x="192840" y="158102"/>
                    <a:pt x="191794" y="153386"/>
                    <a:pt x="191985" y="148632"/>
                  </a:cubicBezTo>
                  <a:cubicBezTo>
                    <a:pt x="187877" y="131899"/>
                    <a:pt x="176411" y="117922"/>
                    <a:pt x="160800" y="110602"/>
                  </a:cubicBezTo>
                  <a:cubicBezTo>
                    <a:pt x="145112" y="103376"/>
                    <a:pt x="130584" y="93887"/>
                    <a:pt x="117634" y="82459"/>
                  </a:cubicBezTo>
                  <a:cubicBezTo>
                    <a:pt x="113698" y="77325"/>
                    <a:pt x="109439" y="72438"/>
                    <a:pt x="104894" y="67817"/>
                  </a:cubicBezTo>
                  <a:cubicBezTo>
                    <a:pt x="101757" y="64870"/>
                    <a:pt x="97877" y="62835"/>
                    <a:pt x="93675" y="61922"/>
                  </a:cubicBezTo>
                  <a:cubicBezTo>
                    <a:pt x="91963" y="61922"/>
                    <a:pt x="90252" y="61922"/>
                    <a:pt x="88541" y="61922"/>
                  </a:cubicBezTo>
                  <a:cubicBezTo>
                    <a:pt x="86373" y="61447"/>
                    <a:pt x="84357" y="60458"/>
                    <a:pt x="82646" y="59070"/>
                  </a:cubicBezTo>
                  <a:cubicBezTo>
                    <a:pt x="81848" y="58328"/>
                    <a:pt x="81144" y="57510"/>
                    <a:pt x="80555" y="56598"/>
                  </a:cubicBezTo>
                  <a:cubicBezTo>
                    <a:pt x="77835" y="53955"/>
                    <a:pt x="74774" y="51730"/>
                    <a:pt x="71427" y="49942"/>
                  </a:cubicBezTo>
                  <a:cubicBezTo>
                    <a:pt x="68100" y="48516"/>
                    <a:pt x="65209" y="46215"/>
                    <a:pt x="63060" y="43287"/>
                  </a:cubicBezTo>
                  <a:lnTo>
                    <a:pt x="61919" y="41386"/>
                  </a:lnTo>
                  <a:lnTo>
                    <a:pt x="61919" y="41386"/>
                  </a:lnTo>
                  <a:cubicBezTo>
                    <a:pt x="61102" y="40473"/>
                    <a:pt x="60132" y="39693"/>
                    <a:pt x="59067" y="39104"/>
                  </a:cubicBezTo>
                  <a:cubicBezTo>
                    <a:pt x="56310" y="38039"/>
                    <a:pt x="53838" y="36346"/>
                    <a:pt x="51841" y="34160"/>
                  </a:cubicBezTo>
                  <a:cubicBezTo>
                    <a:pt x="50149" y="31878"/>
                    <a:pt x="48932" y="29292"/>
                    <a:pt x="48228" y="26554"/>
                  </a:cubicBezTo>
                  <a:cubicBezTo>
                    <a:pt x="47715" y="23701"/>
                    <a:pt x="46745" y="20944"/>
                    <a:pt x="45376" y="18377"/>
                  </a:cubicBezTo>
                  <a:cubicBezTo>
                    <a:pt x="43931" y="16513"/>
                    <a:pt x="42124" y="14954"/>
                    <a:pt x="40052" y="13813"/>
                  </a:cubicBezTo>
                  <a:cubicBezTo>
                    <a:pt x="33928" y="9839"/>
                    <a:pt x="27578" y="6226"/>
                    <a:pt x="21036" y="2974"/>
                  </a:cubicBezTo>
                  <a:cubicBezTo>
                    <a:pt x="15331" y="122"/>
                    <a:pt x="7725" y="-1970"/>
                    <a:pt x="3542" y="2974"/>
                  </a:cubicBezTo>
                  <a:cubicBezTo>
                    <a:pt x="1755" y="5408"/>
                    <a:pt x="766" y="8318"/>
                    <a:pt x="690" y="11341"/>
                  </a:cubicBezTo>
                  <a:cubicBezTo>
                    <a:pt x="-641" y="21229"/>
                    <a:pt x="-831" y="33399"/>
                    <a:pt x="7535" y="38723"/>
                  </a:cubicBezTo>
                  <a:cubicBezTo>
                    <a:pt x="10254" y="40245"/>
                    <a:pt x="13202" y="41272"/>
                    <a:pt x="16283" y="41766"/>
                  </a:cubicBezTo>
                  <a:cubicBezTo>
                    <a:pt x="22557" y="43477"/>
                    <a:pt x="29023" y="45569"/>
                    <a:pt x="35298" y="47851"/>
                  </a:cubicBezTo>
                  <a:cubicBezTo>
                    <a:pt x="38740" y="49163"/>
                    <a:pt x="41953" y="51026"/>
                    <a:pt x="44806" y="53365"/>
                  </a:cubicBezTo>
                  <a:cubicBezTo>
                    <a:pt x="47372" y="56046"/>
                    <a:pt x="49369" y="59222"/>
                    <a:pt x="50700" y="62683"/>
                  </a:cubicBezTo>
                  <a:lnTo>
                    <a:pt x="68194" y="98622"/>
                  </a:lnTo>
                  <a:cubicBezTo>
                    <a:pt x="69925" y="101797"/>
                    <a:pt x="71028" y="105296"/>
                    <a:pt x="71427" y="108890"/>
                  </a:cubicBezTo>
                  <a:cubicBezTo>
                    <a:pt x="71636" y="112579"/>
                    <a:pt x="69506" y="116002"/>
                    <a:pt x="66103" y="117447"/>
                  </a:cubicBezTo>
                  <a:cubicBezTo>
                    <a:pt x="62490" y="117447"/>
                    <a:pt x="58686" y="116116"/>
                    <a:pt x="54884" y="116306"/>
                  </a:cubicBezTo>
                  <a:cubicBezTo>
                    <a:pt x="48038" y="116306"/>
                    <a:pt x="43855" y="123912"/>
                    <a:pt x="42143" y="130758"/>
                  </a:cubicBezTo>
                  <a:cubicBezTo>
                    <a:pt x="40432" y="137603"/>
                    <a:pt x="35678" y="145400"/>
                    <a:pt x="44425" y="152435"/>
                  </a:cubicBezTo>
                  <a:lnTo>
                    <a:pt x="61539" y="165936"/>
                  </a:lnTo>
                  <a:cubicBezTo>
                    <a:pt x="65970" y="169169"/>
                    <a:pt x="70001" y="172934"/>
                    <a:pt x="73518" y="177155"/>
                  </a:cubicBezTo>
                  <a:cubicBezTo>
                    <a:pt x="78463" y="183621"/>
                    <a:pt x="80744" y="191607"/>
                    <a:pt x="85118" y="198453"/>
                  </a:cubicBezTo>
                  <a:cubicBezTo>
                    <a:pt x="89492" y="205298"/>
                    <a:pt x="99760" y="214045"/>
                    <a:pt x="105845" y="222792"/>
                  </a:cubicBezTo>
                  <a:cubicBezTo>
                    <a:pt x="113641" y="234582"/>
                    <a:pt x="115733" y="249984"/>
                    <a:pt x="124860" y="260823"/>
                  </a:cubicBezTo>
                  <a:cubicBezTo>
                    <a:pt x="132162" y="266718"/>
                    <a:pt x="139084" y="273069"/>
                    <a:pt x="145587" y="279838"/>
                  </a:cubicBezTo>
                  <a:cubicBezTo>
                    <a:pt x="152034" y="286988"/>
                    <a:pt x="161085" y="291229"/>
                    <a:pt x="170687" y="291628"/>
                  </a:cubicBezTo>
                  <a:cubicBezTo>
                    <a:pt x="173444" y="291704"/>
                    <a:pt x="176107" y="292636"/>
                    <a:pt x="178293" y="294290"/>
                  </a:cubicBezTo>
                  <a:cubicBezTo>
                    <a:pt x="180005" y="296002"/>
                    <a:pt x="180385" y="298474"/>
                    <a:pt x="181716" y="300375"/>
                  </a:cubicBezTo>
                  <a:cubicBezTo>
                    <a:pt x="185139" y="305129"/>
                    <a:pt x="192365" y="304558"/>
                    <a:pt x="198260" y="304749"/>
                  </a:cubicBezTo>
                  <a:cubicBezTo>
                    <a:pt x="211590" y="306403"/>
                    <a:pt x="224329" y="311309"/>
                    <a:pt x="235340" y="319010"/>
                  </a:cubicBezTo>
                  <a:cubicBezTo>
                    <a:pt x="244467" y="323327"/>
                    <a:pt x="252073" y="330286"/>
                    <a:pt x="257207" y="338976"/>
                  </a:cubicBezTo>
                  <a:cubicBezTo>
                    <a:pt x="258538" y="341829"/>
                    <a:pt x="259299" y="345061"/>
                    <a:pt x="260630" y="347723"/>
                  </a:cubicBezTo>
                  <a:cubicBezTo>
                    <a:pt x="264224" y="352401"/>
                    <a:pt x="267533" y="357288"/>
                    <a:pt x="270518" y="362365"/>
                  </a:cubicBezTo>
                  <a:cubicBezTo>
                    <a:pt x="271526" y="365997"/>
                    <a:pt x="273066" y="369458"/>
                    <a:pt x="275082" y="372634"/>
                  </a:cubicBezTo>
                  <a:cubicBezTo>
                    <a:pt x="277744" y="375486"/>
                    <a:pt x="281737" y="377197"/>
                    <a:pt x="284400" y="380050"/>
                  </a:cubicBezTo>
                  <a:cubicBezTo>
                    <a:pt x="289590" y="387066"/>
                    <a:pt x="295580" y="393455"/>
                    <a:pt x="302274" y="399065"/>
                  </a:cubicBezTo>
                  <a:cubicBezTo>
                    <a:pt x="305316" y="400967"/>
                    <a:pt x="308929" y="402297"/>
                    <a:pt x="311781" y="404389"/>
                  </a:cubicBezTo>
                  <a:cubicBezTo>
                    <a:pt x="314729" y="406804"/>
                    <a:pt x="317467" y="409485"/>
                    <a:pt x="319958" y="412376"/>
                  </a:cubicBezTo>
                  <a:cubicBezTo>
                    <a:pt x="326652" y="417681"/>
                    <a:pt x="333003" y="423386"/>
                    <a:pt x="338974" y="429490"/>
                  </a:cubicBezTo>
                  <a:cubicBezTo>
                    <a:pt x="344868" y="437096"/>
                    <a:pt x="347340" y="446984"/>
                    <a:pt x="354376" y="453259"/>
                  </a:cubicBezTo>
                  <a:cubicBezTo>
                    <a:pt x="357837" y="456016"/>
                    <a:pt x="361449" y="458545"/>
                    <a:pt x="365215" y="460865"/>
                  </a:cubicBezTo>
                  <a:cubicBezTo>
                    <a:pt x="372193" y="466227"/>
                    <a:pt x="377594" y="473396"/>
                    <a:pt x="380807" y="481592"/>
                  </a:cubicBezTo>
                  <a:cubicBezTo>
                    <a:pt x="381701" y="483854"/>
                    <a:pt x="382728" y="486079"/>
                    <a:pt x="383850" y="488247"/>
                  </a:cubicBezTo>
                  <a:cubicBezTo>
                    <a:pt x="385276" y="490339"/>
                    <a:pt x="386855" y="492316"/>
                    <a:pt x="388604" y="494142"/>
                  </a:cubicBezTo>
                  <a:cubicBezTo>
                    <a:pt x="394784" y="501197"/>
                    <a:pt x="399975" y="509069"/>
                    <a:pt x="404006" y="517531"/>
                  </a:cubicBezTo>
                  <a:cubicBezTo>
                    <a:pt x="404596" y="518919"/>
                    <a:pt x="405280" y="520250"/>
                    <a:pt x="406098" y="521524"/>
                  </a:cubicBezTo>
                  <a:cubicBezTo>
                    <a:pt x="407942" y="523311"/>
                    <a:pt x="410053" y="524795"/>
                    <a:pt x="412373" y="525897"/>
                  </a:cubicBezTo>
                  <a:cubicBezTo>
                    <a:pt x="418477" y="529111"/>
                    <a:pt x="423364" y="534264"/>
                    <a:pt x="426254" y="540539"/>
                  </a:cubicBezTo>
                  <a:cubicBezTo>
                    <a:pt x="428916" y="547955"/>
                    <a:pt x="428156" y="556322"/>
                    <a:pt x="431579" y="563548"/>
                  </a:cubicBezTo>
                  <a:cubicBezTo>
                    <a:pt x="437093" y="575338"/>
                    <a:pt x="451735" y="578951"/>
                    <a:pt x="463715" y="583894"/>
                  </a:cubicBezTo>
                  <a:cubicBezTo>
                    <a:pt x="472366" y="587697"/>
                    <a:pt x="480752" y="592071"/>
                    <a:pt x="488815" y="597015"/>
                  </a:cubicBezTo>
                  <a:cubicBezTo>
                    <a:pt x="495204" y="600077"/>
                    <a:pt x="500661" y="604812"/>
                    <a:pt x="504598" y="610706"/>
                  </a:cubicBezTo>
                  <a:cubicBezTo>
                    <a:pt x="506879" y="615270"/>
                    <a:pt x="507450" y="620784"/>
                    <a:pt x="510112" y="624968"/>
                  </a:cubicBezTo>
                  <a:cubicBezTo>
                    <a:pt x="512774" y="629151"/>
                    <a:pt x="520570" y="633905"/>
                    <a:pt x="522662" y="640180"/>
                  </a:cubicBezTo>
                  <a:cubicBezTo>
                    <a:pt x="523423" y="643432"/>
                    <a:pt x="523803" y="646740"/>
                    <a:pt x="523803" y="650068"/>
                  </a:cubicBezTo>
                  <a:cubicBezTo>
                    <a:pt x="525115" y="659519"/>
                    <a:pt x="529926" y="668152"/>
                    <a:pt x="537304" y="674218"/>
                  </a:cubicBezTo>
                  <a:cubicBezTo>
                    <a:pt x="544701" y="680055"/>
                    <a:pt x="552364" y="685513"/>
                    <a:pt x="560312" y="690571"/>
                  </a:cubicBezTo>
                  <a:cubicBezTo>
                    <a:pt x="572787" y="698786"/>
                    <a:pt x="583036" y="709947"/>
                    <a:pt x="590167" y="723087"/>
                  </a:cubicBezTo>
                  <a:cubicBezTo>
                    <a:pt x="594730" y="736911"/>
                    <a:pt x="600454" y="750336"/>
                    <a:pt x="607280" y="763209"/>
                  </a:cubicBezTo>
                  <a:cubicBezTo>
                    <a:pt x="611369" y="768629"/>
                    <a:pt x="616085" y="773554"/>
                    <a:pt x="621352" y="777851"/>
                  </a:cubicBezTo>
                  <a:lnTo>
                    <a:pt x="649875" y="803142"/>
                  </a:lnTo>
                  <a:cubicBezTo>
                    <a:pt x="654077" y="807801"/>
                    <a:pt x="659573" y="811109"/>
                    <a:pt x="665658" y="812650"/>
                  </a:cubicBezTo>
                  <a:cubicBezTo>
                    <a:pt x="671838" y="813886"/>
                    <a:pt x="677847" y="809892"/>
                    <a:pt x="679083" y="803712"/>
                  </a:cubicBezTo>
                  <a:cubicBezTo>
                    <a:pt x="679121" y="803579"/>
                    <a:pt x="679139" y="803465"/>
                    <a:pt x="679159" y="803332"/>
                  </a:cubicBezTo>
                  <a:cubicBezTo>
                    <a:pt x="679539" y="798236"/>
                    <a:pt x="678816" y="793121"/>
                    <a:pt x="677067" y="788310"/>
                  </a:cubicBezTo>
                  <a:cubicBezTo>
                    <a:pt x="674975" y="782111"/>
                    <a:pt x="671819" y="776330"/>
                    <a:pt x="667749" y="771196"/>
                  </a:cubicBezTo>
                  <a:cubicBezTo>
                    <a:pt x="665848" y="768914"/>
                    <a:pt x="663566" y="766822"/>
                    <a:pt x="661855" y="764351"/>
                  </a:cubicBezTo>
                  <a:cubicBezTo>
                    <a:pt x="660600" y="762145"/>
                    <a:pt x="659630" y="759768"/>
                    <a:pt x="659002" y="757315"/>
                  </a:cubicBezTo>
                  <a:cubicBezTo>
                    <a:pt x="657443" y="753455"/>
                    <a:pt x="656588" y="749328"/>
                    <a:pt x="656530" y="745145"/>
                  </a:cubicBezTo>
                  <a:cubicBezTo>
                    <a:pt x="656530" y="741722"/>
                    <a:pt x="657481" y="738490"/>
                    <a:pt x="656530" y="735067"/>
                  </a:cubicBezTo>
                  <a:cubicBezTo>
                    <a:pt x="656131" y="730940"/>
                    <a:pt x="654629" y="726985"/>
                    <a:pt x="652157" y="723658"/>
                  </a:cubicBezTo>
                  <a:cubicBezTo>
                    <a:pt x="649875" y="720425"/>
                    <a:pt x="646452" y="716051"/>
                    <a:pt x="647403" y="711868"/>
                  </a:cubicBezTo>
                  <a:cubicBezTo>
                    <a:pt x="648810" y="707818"/>
                    <a:pt x="652841" y="705289"/>
                    <a:pt x="657101" y="705783"/>
                  </a:cubicBezTo>
                  <a:cubicBezTo>
                    <a:pt x="659516" y="706334"/>
                    <a:pt x="661855" y="707114"/>
                    <a:pt x="664137" y="708065"/>
                  </a:cubicBezTo>
                  <a:cubicBezTo>
                    <a:pt x="669385" y="709605"/>
                    <a:pt x="675051" y="708065"/>
                    <a:pt x="678779" y="704072"/>
                  </a:cubicBezTo>
                  <a:cubicBezTo>
                    <a:pt x="684673" y="697606"/>
                    <a:pt x="684103" y="690000"/>
                    <a:pt x="693991" y="689620"/>
                  </a:cubicBezTo>
                  <a:cubicBezTo>
                    <a:pt x="704373" y="689069"/>
                    <a:pt x="714546" y="692624"/>
                    <a:pt x="722324" y="699508"/>
                  </a:cubicBezTo>
                  <a:cubicBezTo>
                    <a:pt x="725499" y="702931"/>
                    <a:pt x="728865" y="706163"/>
                    <a:pt x="732402" y="709206"/>
                  </a:cubicBezTo>
                  <a:cubicBezTo>
                    <a:pt x="735996" y="712382"/>
                    <a:pt x="741073" y="713256"/>
                    <a:pt x="745523" y="711488"/>
                  </a:cubicBezTo>
                  <a:cubicBezTo>
                    <a:pt x="742480" y="706354"/>
                    <a:pt x="739627" y="701219"/>
                    <a:pt x="736775" y="696085"/>
                  </a:cubicBezTo>
                  <a:cubicBezTo>
                    <a:pt x="735521" y="693024"/>
                    <a:pt x="733485" y="690324"/>
                    <a:pt x="730880" y="68828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61" name="Полилиния: фигура 360">
              <a:extLst>
                <a:ext uri="{FF2B5EF4-FFF2-40B4-BE49-F238E27FC236}">
                  <a16:creationId xmlns:a16="http://schemas.microsoft.com/office/drawing/2014/main" id="{A65525A6-69B7-466A-3436-A2F1813D750C}"/>
                </a:ext>
              </a:extLst>
            </p:cNvPr>
            <p:cNvSpPr/>
            <p:nvPr/>
          </p:nvSpPr>
          <p:spPr>
            <a:xfrm>
              <a:off x="7929326" y="4211985"/>
              <a:ext cx="49467" cy="56029"/>
            </a:xfrm>
            <a:custGeom>
              <a:avLst/>
              <a:gdLst>
                <a:gd name="connsiteX0" fmla="*/ 45798 w 51724"/>
                <a:gd name="connsiteY0" fmla="*/ 15250 h 58415"/>
                <a:gd name="connsiteX1" fmla="*/ 36861 w 51724"/>
                <a:gd name="connsiteY1" fmla="*/ 4982 h 58415"/>
                <a:gd name="connsiteX2" fmla="*/ 27734 w 51724"/>
                <a:gd name="connsiteY2" fmla="*/ 2130 h 58415"/>
                <a:gd name="connsiteX3" fmla="*/ 10620 w 51724"/>
                <a:gd name="connsiteY3" fmla="*/ 228 h 58415"/>
                <a:gd name="connsiteX4" fmla="*/ 6056 w 51724"/>
                <a:gd name="connsiteY4" fmla="*/ 228 h 58415"/>
                <a:gd name="connsiteX5" fmla="*/ 2253 w 51724"/>
                <a:gd name="connsiteY5" fmla="*/ 3841 h 58415"/>
                <a:gd name="connsiteX6" fmla="*/ 351 w 51724"/>
                <a:gd name="connsiteY6" fmla="*/ 19053 h 58415"/>
                <a:gd name="connsiteX7" fmla="*/ 2443 w 51724"/>
                <a:gd name="connsiteY7" fmla="*/ 49858 h 58415"/>
                <a:gd name="connsiteX8" fmla="*/ 2443 w 51724"/>
                <a:gd name="connsiteY8" fmla="*/ 52901 h 58415"/>
                <a:gd name="connsiteX9" fmla="*/ 6246 w 51724"/>
                <a:gd name="connsiteY9" fmla="*/ 53852 h 58415"/>
                <a:gd name="connsiteX10" fmla="*/ 17466 w 51724"/>
                <a:gd name="connsiteY10" fmla="*/ 46245 h 58415"/>
                <a:gd name="connsiteX11" fmla="*/ 20698 w 51724"/>
                <a:gd name="connsiteY11" fmla="*/ 43964 h 58415"/>
                <a:gd name="connsiteX12" fmla="*/ 21839 w 51724"/>
                <a:gd name="connsiteY12" fmla="*/ 45104 h 58415"/>
                <a:gd name="connsiteX13" fmla="*/ 29065 w 51724"/>
                <a:gd name="connsiteY13" fmla="*/ 54232 h 58415"/>
                <a:gd name="connsiteX14" fmla="*/ 45950 w 51724"/>
                <a:gd name="connsiteY14" fmla="*/ 55525 h 58415"/>
                <a:gd name="connsiteX15" fmla="*/ 49792 w 51724"/>
                <a:gd name="connsiteY15" fmla="*/ 49288 h 58415"/>
                <a:gd name="connsiteX16" fmla="*/ 45798 w 51724"/>
                <a:gd name="connsiteY16" fmla="*/ 15250 h 5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724" h="58415">
                  <a:moveTo>
                    <a:pt x="45798" y="15250"/>
                  </a:moveTo>
                  <a:cubicBezTo>
                    <a:pt x="43612" y="11200"/>
                    <a:pt x="40569" y="7701"/>
                    <a:pt x="36861" y="4982"/>
                  </a:cubicBezTo>
                  <a:cubicBezTo>
                    <a:pt x="34009" y="3518"/>
                    <a:pt x="30910" y="2567"/>
                    <a:pt x="27734" y="2130"/>
                  </a:cubicBezTo>
                  <a:cubicBezTo>
                    <a:pt x="22029" y="1179"/>
                    <a:pt x="16325" y="608"/>
                    <a:pt x="10620" y="228"/>
                  </a:cubicBezTo>
                  <a:cubicBezTo>
                    <a:pt x="9117" y="-76"/>
                    <a:pt x="7558" y="-76"/>
                    <a:pt x="6056" y="228"/>
                  </a:cubicBezTo>
                  <a:cubicBezTo>
                    <a:pt x="4402" y="951"/>
                    <a:pt x="3071" y="2225"/>
                    <a:pt x="2253" y="3841"/>
                  </a:cubicBezTo>
                  <a:cubicBezTo>
                    <a:pt x="180" y="8633"/>
                    <a:pt x="-485" y="13900"/>
                    <a:pt x="351" y="19053"/>
                  </a:cubicBezTo>
                  <a:cubicBezTo>
                    <a:pt x="351" y="29322"/>
                    <a:pt x="1683" y="39590"/>
                    <a:pt x="2443" y="49858"/>
                  </a:cubicBezTo>
                  <a:cubicBezTo>
                    <a:pt x="2063" y="50828"/>
                    <a:pt x="2063" y="51931"/>
                    <a:pt x="2443" y="52901"/>
                  </a:cubicBezTo>
                  <a:cubicBezTo>
                    <a:pt x="3508" y="53776"/>
                    <a:pt x="4896" y="54118"/>
                    <a:pt x="6246" y="53852"/>
                  </a:cubicBezTo>
                  <a:cubicBezTo>
                    <a:pt x="10962" y="53205"/>
                    <a:pt x="15126" y="50391"/>
                    <a:pt x="17466" y="46245"/>
                  </a:cubicBezTo>
                  <a:cubicBezTo>
                    <a:pt x="17466" y="45104"/>
                    <a:pt x="19367" y="43393"/>
                    <a:pt x="20698" y="43964"/>
                  </a:cubicBezTo>
                  <a:lnTo>
                    <a:pt x="21839" y="45104"/>
                  </a:lnTo>
                  <a:cubicBezTo>
                    <a:pt x="23873" y="48432"/>
                    <a:pt x="26289" y="51494"/>
                    <a:pt x="29065" y="54232"/>
                  </a:cubicBezTo>
                  <a:cubicBezTo>
                    <a:pt x="33381" y="59252"/>
                    <a:pt x="40930" y="59841"/>
                    <a:pt x="45950" y="55525"/>
                  </a:cubicBezTo>
                  <a:cubicBezTo>
                    <a:pt x="47852" y="53890"/>
                    <a:pt x="49202" y="51722"/>
                    <a:pt x="49792" y="49288"/>
                  </a:cubicBezTo>
                  <a:cubicBezTo>
                    <a:pt x="53385" y="37898"/>
                    <a:pt x="51921" y="25500"/>
                    <a:pt x="45798" y="15250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62" name="Полилиния: фигура 361">
              <a:extLst>
                <a:ext uri="{FF2B5EF4-FFF2-40B4-BE49-F238E27FC236}">
                  <a16:creationId xmlns:a16="http://schemas.microsoft.com/office/drawing/2014/main" id="{54E57573-BF96-A7EB-DCFD-AA65BEA1C6F6}"/>
                </a:ext>
              </a:extLst>
            </p:cNvPr>
            <p:cNvSpPr/>
            <p:nvPr/>
          </p:nvSpPr>
          <p:spPr>
            <a:xfrm>
              <a:off x="7896202" y="4247391"/>
              <a:ext cx="24915" cy="33572"/>
            </a:xfrm>
            <a:custGeom>
              <a:avLst/>
              <a:gdLst>
                <a:gd name="connsiteX0" fmla="*/ 15973 w 26052"/>
                <a:gd name="connsiteY0" fmla="*/ 395 h 35002"/>
                <a:gd name="connsiteX1" fmla="*/ 14832 w 26052"/>
                <a:gd name="connsiteY1" fmla="*/ 4578 h 35002"/>
                <a:gd name="connsiteX2" fmla="*/ 11409 w 26052"/>
                <a:gd name="connsiteY2" fmla="*/ 12565 h 35002"/>
                <a:gd name="connsiteX3" fmla="*/ 6085 w 26052"/>
                <a:gd name="connsiteY3" fmla="*/ 18840 h 35002"/>
                <a:gd name="connsiteX4" fmla="*/ 6085 w 26052"/>
                <a:gd name="connsiteY4" fmla="*/ 20361 h 35002"/>
                <a:gd name="connsiteX5" fmla="*/ 6085 w 26052"/>
                <a:gd name="connsiteY5" fmla="*/ 21502 h 35002"/>
                <a:gd name="connsiteX6" fmla="*/ 2092 w 26052"/>
                <a:gd name="connsiteY6" fmla="*/ 25495 h 35002"/>
                <a:gd name="connsiteX7" fmla="*/ 0 w 26052"/>
                <a:gd name="connsiteY7" fmla="*/ 29678 h 35002"/>
                <a:gd name="connsiteX8" fmla="*/ 2472 w 26052"/>
                <a:gd name="connsiteY8" fmla="*/ 33672 h 35002"/>
                <a:gd name="connsiteX9" fmla="*/ 5135 w 26052"/>
                <a:gd name="connsiteY9" fmla="*/ 35003 h 35002"/>
                <a:gd name="connsiteX10" fmla="*/ 8557 w 26052"/>
                <a:gd name="connsiteY10" fmla="*/ 35003 h 35002"/>
                <a:gd name="connsiteX11" fmla="*/ 17494 w 26052"/>
                <a:gd name="connsiteY11" fmla="*/ 25685 h 35002"/>
                <a:gd name="connsiteX12" fmla="*/ 21678 w 26052"/>
                <a:gd name="connsiteY12" fmla="*/ 25685 h 35002"/>
                <a:gd name="connsiteX13" fmla="*/ 21678 w 26052"/>
                <a:gd name="connsiteY13" fmla="*/ 23974 h 35002"/>
                <a:gd name="connsiteX14" fmla="*/ 22819 w 26052"/>
                <a:gd name="connsiteY14" fmla="*/ 21692 h 35002"/>
                <a:gd name="connsiteX15" fmla="*/ 26051 w 26052"/>
                <a:gd name="connsiteY15" fmla="*/ 12565 h 35002"/>
                <a:gd name="connsiteX16" fmla="*/ 21487 w 26052"/>
                <a:gd name="connsiteY16" fmla="*/ 2677 h 35002"/>
                <a:gd name="connsiteX17" fmla="*/ 16410 w 26052"/>
                <a:gd name="connsiteY17" fmla="*/ 224 h 35002"/>
                <a:gd name="connsiteX18" fmla="*/ 15973 w 26052"/>
                <a:gd name="connsiteY18" fmla="*/ 395 h 35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052" h="35002">
                  <a:moveTo>
                    <a:pt x="15973" y="395"/>
                  </a:moveTo>
                  <a:cubicBezTo>
                    <a:pt x="15022" y="1574"/>
                    <a:pt x="14604" y="3076"/>
                    <a:pt x="14832" y="4578"/>
                  </a:cubicBezTo>
                  <a:cubicBezTo>
                    <a:pt x="14718" y="7564"/>
                    <a:pt x="13501" y="10416"/>
                    <a:pt x="11409" y="12565"/>
                  </a:cubicBezTo>
                  <a:cubicBezTo>
                    <a:pt x="9888" y="14466"/>
                    <a:pt x="6465" y="16177"/>
                    <a:pt x="6085" y="18840"/>
                  </a:cubicBezTo>
                  <a:cubicBezTo>
                    <a:pt x="6180" y="19334"/>
                    <a:pt x="6180" y="19866"/>
                    <a:pt x="6085" y="20361"/>
                  </a:cubicBezTo>
                  <a:lnTo>
                    <a:pt x="6085" y="21502"/>
                  </a:lnTo>
                  <a:cubicBezTo>
                    <a:pt x="4754" y="22643"/>
                    <a:pt x="3423" y="24164"/>
                    <a:pt x="2092" y="25495"/>
                  </a:cubicBezTo>
                  <a:cubicBezTo>
                    <a:pt x="875" y="26560"/>
                    <a:pt x="133" y="28062"/>
                    <a:pt x="0" y="29678"/>
                  </a:cubicBezTo>
                  <a:cubicBezTo>
                    <a:pt x="362" y="31238"/>
                    <a:pt x="1236" y="32645"/>
                    <a:pt x="2472" y="33672"/>
                  </a:cubicBezTo>
                  <a:cubicBezTo>
                    <a:pt x="3176" y="34413"/>
                    <a:pt x="4127" y="34889"/>
                    <a:pt x="5135" y="35003"/>
                  </a:cubicBezTo>
                  <a:cubicBezTo>
                    <a:pt x="6275" y="35003"/>
                    <a:pt x="7416" y="35003"/>
                    <a:pt x="8557" y="35003"/>
                  </a:cubicBezTo>
                  <a:cubicBezTo>
                    <a:pt x="8728" y="30078"/>
                    <a:pt x="12589" y="26065"/>
                    <a:pt x="17494" y="25685"/>
                  </a:cubicBezTo>
                  <a:cubicBezTo>
                    <a:pt x="19015" y="25685"/>
                    <a:pt x="20727" y="25685"/>
                    <a:pt x="21678" y="25685"/>
                  </a:cubicBezTo>
                  <a:cubicBezTo>
                    <a:pt x="21754" y="25115"/>
                    <a:pt x="21754" y="24544"/>
                    <a:pt x="21678" y="23974"/>
                  </a:cubicBezTo>
                  <a:lnTo>
                    <a:pt x="22819" y="21692"/>
                  </a:lnTo>
                  <a:cubicBezTo>
                    <a:pt x="24816" y="19049"/>
                    <a:pt x="25937" y="15873"/>
                    <a:pt x="26051" y="12565"/>
                  </a:cubicBezTo>
                  <a:cubicBezTo>
                    <a:pt x="26108" y="8743"/>
                    <a:pt x="24435" y="5110"/>
                    <a:pt x="21487" y="2677"/>
                  </a:cubicBezTo>
                  <a:cubicBezTo>
                    <a:pt x="20765" y="585"/>
                    <a:pt x="18483" y="-499"/>
                    <a:pt x="16410" y="224"/>
                  </a:cubicBezTo>
                  <a:cubicBezTo>
                    <a:pt x="16258" y="262"/>
                    <a:pt x="16106" y="319"/>
                    <a:pt x="15973" y="39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63" name="Полилиния: фигура 362">
              <a:extLst>
                <a:ext uri="{FF2B5EF4-FFF2-40B4-BE49-F238E27FC236}">
                  <a16:creationId xmlns:a16="http://schemas.microsoft.com/office/drawing/2014/main" id="{630D2DB8-F9BF-4089-E208-D112907AFC78}"/>
                </a:ext>
              </a:extLst>
            </p:cNvPr>
            <p:cNvSpPr/>
            <p:nvPr/>
          </p:nvSpPr>
          <p:spPr>
            <a:xfrm>
              <a:off x="6600851" y="2337811"/>
              <a:ext cx="112177" cy="107052"/>
            </a:xfrm>
            <a:custGeom>
              <a:avLst/>
              <a:gdLst>
                <a:gd name="connsiteX0" fmla="*/ 27192 w 117296"/>
                <a:gd name="connsiteY0" fmla="*/ 84616 h 111610"/>
                <a:gd name="connsiteX1" fmla="*/ 52292 w 117296"/>
                <a:gd name="connsiteY1" fmla="*/ 80242 h 111610"/>
                <a:gd name="connsiteX2" fmla="*/ 77012 w 117296"/>
                <a:gd name="connsiteY2" fmla="*/ 69213 h 111610"/>
                <a:gd name="connsiteX3" fmla="*/ 116564 w 117296"/>
                <a:gd name="connsiteY3" fmla="*/ 41641 h 111610"/>
                <a:gd name="connsiteX4" fmla="*/ 95457 w 117296"/>
                <a:gd name="connsiteY4" fmla="*/ 8934 h 111610"/>
                <a:gd name="connsiteX5" fmla="*/ 95457 w 117296"/>
                <a:gd name="connsiteY5" fmla="*/ 8934 h 111610"/>
                <a:gd name="connsiteX6" fmla="*/ 45446 w 117296"/>
                <a:gd name="connsiteY6" fmla="*/ 1138 h 111610"/>
                <a:gd name="connsiteX7" fmla="*/ 21868 w 117296"/>
                <a:gd name="connsiteY7" fmla="*/ 1138 h 111610"/>
                <a:gd name="connsiteX8" fmla="*/ 11599 w 117296"/>
                <a:gd name="connsiteY8" fmla="*/ 15209 h 111610"/>
                <a:gd name="connsiteX9" fmla="*/ 3423 w 117296"/>
                <a:gd name="connsiteY9" fmla="*/ 56093 h 111610"/>
                <a:gd name="connsiteX10" fmla="*/ 0 w 117296"/>
                <a:gd name="connsiteY10" fmla="*/ 110667 h 111610"/>
                <a:gd name="connsiteX11" fmla="*/ 27192 w 117296"/>
                <a:gd name="connsiteY11" fmla="*/ 84616 h 11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296" h="111610">
                  <a:moveTo>
                    <a:pt x="27192" y="84616"/>
                  </a:moveTo>
                  <a:cubicBezTo>
                    <a:pt x="35178" y="81763"/>
                    <a:pt x="43925" y="83475"/>
                    <a:pt x="52292" y="80242"/>
                  </a:cubicBezTo>
                  <a:cubicBezTo>
                    <a:pt x="60659" y="77009"/>
                    <a:pt x="68645" y="72636"/>
                    <a:pt x="77012" y="69213"/>
                  </a:cubicBezTo>
                  <a:cubicBezTo>
                    <a:pt x="90323" y="63509"/>
                    <a:pt x="112381" y="57614"/>
                    <a:pt x="116564" y="41641"/>
                  </a:cubicBezTo>
                  <a:cubicBezTo>
                    <a:pt x="120747" y="25668"/>
                    <a:pt x="106106" y="16541"/>
                    <a:pt x="95457" y="8934"/>
                  </a:cubicBezTo>
                  <a:cubicBezTo>
                    <a:pt x="92414" y="7033"/>
                    <a:pt x="93936" y="8934"/>
                    <a:pt x="95457" y="8934"/>
                  </a:cubicBezTo>
                  <a:cubicBezTo>
                    <a:pt x="79560" y="2711"/>
                    <a:pt x="62484" y="48"/>
                    <a:pt x="45446" y="1138"/>
                  </a:cubicBezTo>
                  <a:cubicBezTo>
                    <a:pt x="37669" y="-379"/>
                    <a:pt x="29645" y="-379"/>
                    <a:pt x="21868" y="1138"/>
                  </a:cubicBezTo>
                  <a:cubicBezTo>
                    <a:pt x="13501" y="4371"/>
                    <a:pt x="14832" y="7793"/>
                    <a:pt x="11599" y="15209"/>
                  </a:cubicBezTo>
                  <a:cubicBezTo>
                    <a:pt x="4754" y="31563"/>
                    <a:pt x="-4183" y="36317"/>
                    <a:pt x="3423" y="56093"/>
                  </a:cubicBezTo>
                  <a:cubicBezTo>
                    <a:pt x="10401" y="73895"/>
                    <a:pt x="9165" y="93876"/>
                    <a:pt x="0" y="110667"/>
                  </a:cubicBezTo>
                  <a:cubicBezTo>
                    <a:pt x="11979" y="117132"/>
                    <a:pt x="17684" y="88419"/>
                    <a:pt x="27192" y="8461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64" name="Полилиния: фигура 363">
              <a:extLst>
                <a:ext uri="{FF2B5EF4-FFF2-40B4-BE49-F238E27FC236}">
                  <a16:creationId xmlns:a16="http://schemas.microsoft.com/office/drawing/2014/main" id="{C54E7C2C-1CBC-77FA-3207-3AA1391B1026}"/>
                </a:ext>
              </a:extLst>
            </p:cNvPr>
            <p:cNvSpPr/>
            <p:nvPr/>
          </p:nvSpPr>
          <p:spPr>
            <a:xfrm>
              <a:off x="6545235" y="2337298"/>
              <a:ext cx="41580" cy="43698"/>
            </a:xfrm>
            <a:custGeom>
              <a:avLst/>
              <a:gdLst>
                <a:gd name="connsiteX0" fmla="*/ 2058 w 43478"/>
                <a:gd name="connsiteY0" fmla="*/ 30196 h 45559"/>
                <a:gd name="connsiteX1" fmla="*/ 28109 w 43478"/>
                <a:gd name="connsiteY1" fmla="*/ 44756 h 45559"/>
                <a:gd name="connsiteX2" fmla="*/ 42675 w 43478"/>
                <a:gd name="connsiteY2" fmla="*/ 18697 h 45559"/>
                <a:gd name="connsiteX3" fmla="*/ 41420 w 43478"/>
                <a:gd name="connsiteY3" fmla="*/ 15364 h 45559"/>
                <a:gd name="connsiteX4" fmla="*/ 15369 w 43478"/>
                <a:gd name="connsiteY4" fmla="*/ 804 h 45559"/>
                <a:gd name="connsiteX5" fmla="*/ 803 w 43478"/>
                <a:gd name="connsiteY5" fmla="*/ 26862 h 45559"/>
                <a:gd name="connsiteX6" fmla="*/ 2058 w 43478"/>
                <a:gd name="connsiteY6" fmla="*/ 30196 h 45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478" h="45559">
                  <a:moveTo>
                    <a:pt x="2058" y="30196"/>
                  </a:moveTo>
                  <a:cubicBezTo>
                    <a:pt x="5234" y="41413"/>
                    <a:pt x="16910" y="47931"/>
                    <a:pt x="28109" y="44756"/>
                  </a:cubicBezTo>
                  <a:cubicBezTo>
                    <a:pt x="39328" y="41580"/>
                    <a:pt x="45851" y="29914"/>
                    <a:pt x="42675" y="18697"/>
                  </a:cubicBezTo>
                  <a:cubicBezTo>
                    <a:pt x="42352" y="17552"/>
                    <a:pt x="41934" y="16438"/>
                    <a:pt x="41420" y="15364"/>
                  </a:cubicBezTo>
                  <a:cubicBezTo>
                    <a:pt x="38245" y="4147"/>
                    <a:pt x="26569" y="-2372"/>
                    <a:pt x="15369" y="804"/>
                  </a:cubicBezTo>
                  <a:cubicBezTo>
                    <a:pt x="4150" y="3979"/>
                    <a:pt x="-2372" y="15645"/>
                    <a:pt x="803" y="26862"/>
                  </a:cubicBezTo>
                  <a:cubicBezTo>
                    <a:pt x="1126" y="28007"/>
                    <a:pt x="1545" y="29121"/>
                    <a:pt x="2058" y="3019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65" name="Полилиния: фигура 364">
              <a:extLst>
                <a:ext uri="{FF2B5EF4-FFF2-40B4-BE49-F238E27FC236}">
                  <a16:creationId xmlns:a16="http://schemas.microsoft.com/office/drawing/2014/main" id="{C065D4FC-1F6B-3A2A-D63E-0FE97A5B4475}"/>
                </a:ext>
              </a:extLst>
            </p:cNvPr>
            <p:cNvSpPr/>
            <p:nvPr/>
          </p:nvSpPr>
          <p:spPr>
            <a:xfrm>
              <a:off x="6417136" y="2457031"/>
              <a:ext cx="38494" cy="26493"/>
            </a:xfrm>
            <a:custGeom>
              <a:avLst/>
              <a:gdLst>
                <a:gd name="connsiteX0" fmla="*/ 22862 w 40251"/>
                <a:gd name="connsiteY0" fmla="*/ 2152 h 27621"/>
                <a:gd name="connsiteX1" fmla="*/ 11643 w 40251"/>
                <a:gd name="connsiteY1" fmla="*/ 61 h 27621"/>
                <a:gd name="connsiteX2" fmla="*/ 3466 w 40251"/>
                <a:gd name="connsiteY2" fmla="*/ 1202 h 27621"/>
                <a:gd name="connsiteX3" fmla="*/ 234 w 40251"/>
                <a:gd name="connsiteY3" fmla="*/ 8047 h 27621"/>
                <a:gd name="connsiteX4" fmla="*/ 9361 w 40251"/>
                <a:gd name="connsiteY4" fmla="*/ 12801 h 27621"/>
                <a:gd name="connsiteX5" fmla="*/ 38645 w 40251"/>
                <a:gd name="connsiteY5" fmla="*/ 25732 h 27621"/>
                <a:gd name="connsiteX6" fmla="*/ 22862 w 40251"/>
                <a:gd name="connsiteY6" fmla="*/ 2152 h 2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51" h="27621">
                  <a:moveTo>
                    <a:pt x="22862" y="2152"/>
                  </a:moveTo>
                  <a:cubicBezTo>
                    <a:pt x="19325" y="603"/>
                    <a:pt x="15503" y="-112"/>
                    <a:pt x="11643" y="61"/>
                  </a:cubicBezTo>
                  <a:cubicBezTo>
                    <a:pt x="8866" y="-162"/>
                    <a:pt x="6071" y="228"/>
                    <a:pt x="3466" y="1202"/>
                  </a:cubicBezTo>
                  <a:cubicBezTo>
                    <a:pt x="804" y="2337"/>
                    <a:pt x="-584" y="5277"/>
                    <a:pt x="234" y="8047"/>
                  </a:cubicBezTo>
                  <a:cubicBezTo>
                    <a:pt x="3656" y="8762"/>
                    <a:pt x="6813" y="10407"/>
                    <a:pt x="9361" y="12801"/>
                  </a:cubicBezTo>
                  <a:cubicBezTo>
                    <a:pt x="14305" y="16604"/>
                    <a:pt x="31609" y="33147"/>
                    <a:pt x="38645" y="25732"/>
                  </a:cubicBezTo>
                  <a:cubicBezTo>
                    <a:pt x="45680" y="18316"/>
                    <a:pt x="27615" y="4054"/>
                    <a:pt x="22862" y="2152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66" name="Полилиния: фигура 365">
              <a:extLst>
                <a:ext uri="{FF2B5EF4-FFF2-40B4-BE49-F238E27FC236}">
                  <a16:creationId xmlns:a16="http://schemas.microsoft.com/office/drawing/2014/main" id="{FEB83ED7-E368-A9C3-C5A9-7A28F1FC5ED6}"/>
                </a:ext>
              </a:extLst>
            </p:cNvPr>
            <p:cNvSpPr/>
            <p:nvPr/>
          </p:nvSpPr>
          <p:spPr>
            <a:xfrm>
              <a:off x="6296504" y="2286815"/>
              <a:ext cx="40293" cy="56069"/>
            </a:xfrm>
            <a:custGeom>
              <a:avLst/>
              <a:gdLst>
                <a:gd name="connsiteX0" fmla="*/ 42132 w 42132"/>
                <a:gd name="connsiteY0" fmla="*/ 46509 h 58457"/>
                <a:gd name="connsiteX1" fmla="*/ 21786 w 42132"/>
                <a:gd name="connsiteY1" fmla="*/ 5626 h 58457"/>
                <a:gd name="connsiteX2" fmla="*/ 109 w 42132"/>
                <a:gd name="connsiteY2" fmla="*/ 10379 h 58457"/>
                <a:gd name="connsiteX3" fmla="*/ 16081 w 42132"/>
                <a:gd name="connsiteY3" fmla="*/ 40044 h 58457"/>
                <a:gd name="connsiteX4" fmla="*/ 42132 w 42132"/>
                <a:gd name="connsiteY4" fmla="*/ 46509 h 58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132" h="58457">
                  <a:moveTo>
                    <a:pt x="42132" y="46509"/>
                  </a:moveTo>
                  <a:cubicBezTo>
                    <a:pt x="41619" y="30568"/>
                    <a:pt x="34203" y="15641"/>
                    <a:pt x="21786" y="5626"/>
                  </a:cubicBezTo>
                  <a:cubicBezTo>
                    <a:pt x="13420" y="-1220"/>
                    <a:pt x="-1412" y="-4072"/>
                    <a:pt x="109" y="10379"/>
                  </a:cubicBezTo>
                  <a:cubicBezTo>
                    <a:pt x="3322" y="21268"/>
                    <a:pt x="8760" y="31369"/>
                    <a:pt x="16081" y="40044"/>
                  </a:cubicBezTo>
                  <a:cubicBezTo>
                    <a:pt x="23498" y="51072"/>
                    <a:pt x="38710" y="71609"/>
                    <a:pt x="42132" y="4650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67" name="Полилиния: фигура 366">
              <a:extLst>
                <a:ext uri="{FF2B5EF4-FFF2-40B4-BE49-F238E27FC236}">
                  <a16:creationId xmlns:a16="http://schemas.microsoft.com/office/drawing/2014/main" id="{776B31E9-E1C0-6A13-E4DD-320D5747CB0D}"/>
                </a:ext>
              </a:extLst>
            </p:cNvPr>
            <p:cNvSpPr/>
            <p:nvPr/>
          </p:nvSpPr>
          <p:spPr>
            <a:xfrm>
              <a:off x="6335379" y="2114348"/>
              <a:ext cx="244246" cy="231523"/>
            </a:xfrm>
            <a:custGeom>
              <a:avLst/>
              <a:gdLst>
                <a:gd name="connsiteX0" fmla="*/ 10040 w 255392"/>
                <a:gd name="connsiteY0" fmla="*/ 146645 h 241382"/>
                <a:gd name="connsiteX1" fmla="*/ 11561 w 255392"/>
                <a:gd name="connsiteY1" fmla="*/ 159195 h 241382"/>
                <a:gd name="connsiteX2" fmla="*/ 35141 w 255392"/>
                <a:gd name="connsiteY2" fmla="*/ 184676 h 241382"/>
                <a:gd name="connsiteX3" fmla="*/ 35141 w 255392"/>
                <a:gd name="connsiteY3" fmla="*/ 209396 h 241382"/>
                <a:gd name="connsiteX4" fmla="*/ 86102 w 255392"/>
                <a:gd name="connsiteY4" fmla="*/ 231264 h 241382"/>
                <a:gd name="connsiteX5" fmla="*/ 102835 w 255392"/>
                <a:gd name="connsiteY5" fmla="*/ 241152 h 241382"/>
                <a:gd name="connsiteX6" fmla="*/ 121851 w 255392"/>
                <a:gd name="connsiteY6" fmla="*/ 238870 h 241382"/>
                <a:gd name="connsiteX7" fmla="*/ 148852 w 255392"/>
                <a:gd name="connsiteY7" fmla="*/ 230123 h 241382"/>
                <a:gd name="connsiteX8" fmla="*/ 144859 w 255392"/>
                <a:gd name="connsiteY8" fmla="*/ 200459 h 241382"/>
                <a:gd name="connsiteX9" fmla="*/ 160452 w 255392"/>
                <a:gd name="connsiteY9" fmla="*/ 189430 h 241382"/>
                <a:gd name="connsiteX10" fmla="*/ 199814 w 255392"/>
                <a:gd name="connsiteY10" fmla="*/ 139419 h 241382"/>
                <a:gd name="connsiteX11" fmla="*/ 220160 w 255392"/>
                <a:gd name="connsiteY11" fmla="*/ 139419 h 241382"/>
                <a:gd name="connsiteX12" fmla="*/ 231569 w 255392"/>
                <a:gd name="connsiteY12" fmla="*/ 122496 h 241382"/>
                <a:gd name="connsiteX13" fmla="*/ 242218 w 255392"/>
                <a:gd name="connsiteY13" fmla="*/ 111277 h 241382"/>
                <a:gd name="connsiteX14" fmla="*/ 234802 w 255392"/>
                <a:gd name="connsiteY14" fmla="*/ 96255 h 241382"/>
                <a:gd name="connsiteX15" fmla="*/ 196771 w 255392"/>
                <a:gd name="connsiteY15" fmla="*/ 102530 h 241382"/>
                <a:gd name="connsiteX16" fmla="*/ 162924 w 255392"/>
                <a:gd name="connsiteY16" fmla="*/ 83514 h 241382"/>
                <a:gd name="connsiteX17" fmla="*/ 142197 w 255392"/>
                <a:gd name="connsiteY17" fmla="*/ 57273 h 241382"/>
                <a:gd name="connsiteX18" fmla="*/ 163684 w 255392"/>
                <a:gd name="connsiteY18" fmla="*/ 41870 h 241382"/>
                <a:gd name="connsiteX19" fmla="*/ 173002 w 255392"/>
                <a:gd name="connsiteY19" fmla="*/ 71344 h 241382"/>
                <a:gd name="connsiteX20" fmla="*/ 215597 w 255392"/>
                <a:gd name="connsiteY20" fmla="*/ 96825 h 241382"/>
                <a:gd name="connsiteX21" fmla="*/ 248873 w 255392"/>
                <a:gd name="connsiteY21" fmla="*/ 76098 h 241382"/>
                <a:gd name="connsiteX22" fmla="*/ 254007 w 255392"/>
                <a:gd name="connsiteY22" fmla="*/ 53850 h 241382"/>
                <a:gd name="connsiteX23" fmla="*/ 237274 w 255392"/>
                <a:gd name="connsiteY23" fmla="*/ 31222 h 241382"/>
                <a:gd name="connsiteX24" fmla="*/ 228908 w 255392"/>
                <a:gd name="connsiteY24" fmla="*/ 19622 h 241382"/>
                <a:gd name="connsiteX25" fmla="*/ 231760 w 255392"/>
                <a:gd name="connsiteY25" fmla="*/ 8403 h 241382"/>
                <a:gd name="connsiteX26" fmla="*/ 227576 w 255392"/>
                <a:gd name="connsiteY26" fmla="*/ 797 h 241382"/>
                <a:gd name="connsiteX27" fmla="*/ 208561 w 255392"/>
                <a:gd name="connsiteY27" fmla="*/ 797 h 241382"/>
                <a:gd name="connsiteX28" fmla="*/ 170530 w 255392"/>
                <a:gd name="connsiteY28" fmla="*/ 7833 h 241382"/>
                <a:gd name="connsiteX29" fmla="*/ 121851 w 255392"/>
                <a:gd name="connsiteY29" fmla="*/ 32933 h 241382"/>
                <a:gd name="connsiteX30" fmla="*/ 78876 w 255392"/>
                <a:gd name="connsiteY30" fmla="*/ 47955 h 241382"/>
                <a:gd name="connsiteX31" fmla="*/ 93708 w 255392"/>
                <a:gd name="connsiteY31" fmla="*/ 65640 h 241382"/>
                <a:gd name="connsiteX32" fmla="*/ 97891 w 255392"/>
                <a:gd name="connsiteY32" fmla="*/ 73246 h 241382"/>
                <a:gd name="connsiteX33" fmla="*/ 109110 w 255392"/>
                <a:gd name="connsiteY33" fmla="*/ 80091 h 241382"/>
                <a:gd name="connsiteX34" fmla="*/ 101314 w 255392"/>
                <a:gd name="connsiteY34" fmla="*/ 99107 h 241382"/>
                <a:gd name="connsiteX35" fmla="*/ 80587 w 255392"/>
                <a:gd name="connsiteY35" fmla="*/ 86747 h 241382"/>
                <a:gd name="connsiteX36" fmla="*/ 70889 w 255392"/>
                <a:gd name="connsiteY36" fmla="*/ 93212 h 241382"/>
                <a:gd name="connsiteX37" fmla="*/ 58910 w 255392"/>
                <a:gd name="connsiteY37" fmla="*/ 83514 h 241382"/>
                <a:gd name="connsiteX38" fmla="*/ 31147 w 255392"/>
                <a:gd name="connsiteY38" fmla="*/ 83514 h 241382"/>
                <a:gd name="connsiteX39" fmla="*/ 8519 w 255392"/>
                <a:gd name="connsiteY39" fmla="*/ 88078 h 241382"/>
                <a:gd name="connsiteX40" fmla="*/ 9850 w 255392"/>
                <a:gd name="connsiteY40" fmla="*/ 102910 h 241382"/>
                <a:gd name="connsiteX41" fmla="*/ 2624 w 255392"/>
                <a:gd name="connsiteY41" fmla="*/ 115840 h 241382"/>
                <a:gd name="connsiteX42" fmla="*/ 2624 w 255392"/>
                <a:gd name="connsiteY42" fmla="*/ 139419 h 241382"/>
                <a:gd name="connsiteX43" fmla="*/ 10040 w 255392"/>
                <a:gd name="connsiteY43" fmla="*/ 146645 h 241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55392" h="241382">
                  <a:moveTo>
                    <a:pt x="10040" y="146645"/>
                  </a:moveTo>
                  <a:cubicBezTo>
                    <a:pt x="11942" y="149878"/>
                    <a:pt x="10040" y="155773"/>
                    <a:pt x="11561" y="159195"/>
                  </a:cubicBezTo>
                  <a:cubicBezTo>
                    <a:pt x="14984" y="174218"/>
                    <a:pt x="26013" y="175358"/>
                    <a:pt x="35141" y="184676"/>
                  </a:cubicBezTo>
                  <a:cubicBezTo>
                    <a:pt x="44268" y="193994"/>
                    <a:pt x="35141" y="197606"/>
                    <a:pt x="35141" y="209396"/>
                  </a:cubicBezTo>
                  <a:cubicBezTo>
                    <a:pt x="35141" y="231074"/>
                    <a:pt x="73171" y="226510"/>
                    <a:pt x="86102" y="231264"/>
                  </a:cubicBezTo>
                  <a:cubicBezTo>
                    <a:pt x="92567" y="233926"/>
                    <a:pt x="95609" y="239630"/>
                    <a:pt x="102835" y="241152"/>
                  </a:cubicBezTo>
                  <a:cubicBezTo>
                    <a:pt x="109262" y="241817"/>
                    <a:pt x="115766" y="241038"/>
                    <a:pt x="121851" y="238870"/>
                  </a:cubicBezTo>
                  <a:cubicBezTo>
                    <a:pt x="131320" y="237636"/>
                    <a:pt x="140467" y="234669"/>
                    <a:pt x="148852" y="230123"/>
                  </a:cubicBezTo>
                  <a:cubicBezTo>
                    <a:pt x="163304" y="218904"/>
                    <a:pt x="147141" y="211107"/>
                    <a:pt x="144859" y="200459"/>
                  </a:cubicBezTo>
                  <a:cubicBezTo>
                    <a:pt x="141817" y="185437"/>
                    <a:pt x="152085" y="192092"/>
                    <a:pt x="160452" y="189430"/>
                  </a:cubicBezTo>
                  <a:cubicBezTo>
                    <a:pt x="181940" y="182584"/>
                    <a:pt x="184792" y="153871"/>
                    <a:pt x="199814" y="139419"/>
                  </a:cubicBezTo>
                  <a:cubicBezTo>
                    <a:pt x="208561" y="130672"/>
                    <a:pt x="210652" y="143603"/>
                    <a:pt x="220160" y="139419"/>
                  </a:cubicBezTo>
                  <a:cubicBezTo>
                    <a:pt x="226435" y="137138"/>
                    <a:pt x="228337" y="127630"/>
                    <a:pt x="231569" y="122496"/>
                  </a:cubicBezTo>
                  <a:cubicBezTo>
                    <a:pt x="234802" y="117361"/>
                    <a:pt x="238986" y="115270"/>
                    <a:pt x="242218" y="111277"/>
                  </a:cubicBezTo>
                  <a:cubicBezTo>
                    <a:pt x="248113" y="103861"/>
                    <a:pt x="248493" y="95494"/>
                    <a:pt x="234802" y="96255"/>
                  </a:cubicBezTo>
                  <a:cubicBezTo>
                    <a:pt x="221111" y="97015"/>
                    <a:pt x="213505" y="109755"/>
                    <a:pt x="196771" y="102530"/>
                  </a:cubicBezTo>
                  <a:cubicBezTo>
                    <a:pt x="184981" y="97586"/>
                    <a:pt x="174523" y="88648"/>
                    <a:pt x="162924" y="83514"/>
                  </a:cubicBezTo>
                  <a:cubicBezTo>
                    <a:pt x="151324" y="78380"/>
                    <a:pt x="137443" y="71915"/>
                    <a:pt x="142197" y="57273"/>
                  </a:cubicBezTo>
                  <a:cubicBezTo>
                    <a:pt x="144099" y="51378"/>
                    <a:pt x="156649" y="39779"/>
                    <a:pt x="163684" y="41870"/>
                  </a:cubicBezTo>
                  <a:cubicBezTo>
                    <a:pt x="174714" y="45483"/>
                    <a:pt x="171861" y="63168"/>
                    <a:pt x="173002" y="71344"/>
                  </a:cubicBezTo>
                  <a:cubicBezTo>
                    <a:pt x="175854" y="88838"/>
                    <a:pt x="198673" y="98156"/>
                    <a:pt x="215597" y="96825"/>
                  </a:cubicBezTo>
                  <a:cubicBezTo>
                    <a:pt x="228793" y="94064"/>
                    <a:pt x="240583" y="86722"/>
                    <a:pt x="248873" y="76098"/>
                  </a:cubicBezTo>
                  <a:cubicBezTo>
                    <a:pt x="256479" y="68302"/>
                    <a:pt x="256289" y="65069"/>
                    <a:pt x="254007" y="53850"/>
                  </a:cubicBezTo>
                  <a:cubicBezTo>
                    <a:pt x="251726" y="42631"/>
                    <a:pt x="246781" y="38828"/>
                    <a:pt x="237274" y="31222"/>
                  </a:cubicBezTo>
                  <a:cubicBezTo>
                    <a:pt x="232901" y="27799"/>
                    <a:pt x="229668" y="25517"/>
                    <a:pt x="228908" y="19622"/>
                  </a:cubicBezTo>
                  <a:cubicBezTo>
                    <a:pt x="228147" y="13728"/>
                    <a:pt x="231949" y="11826"/>
                    <a:pt x="231760" y="8403"/>
                  </a:cubicBezTo>
                  <a:cubicBezTo>
                    <a:pt x="231760" y="1938"/>
                    <a:pt x="234041" y="3840"/>
                    <a:pt x="227576" y="797"/>
                  </a:cubicBezTo>
                  <a:cubicBezTo>
                    <a:pt x="221282" y="-266"/>
                    <a:pt x="214855" y="-266"/>
                    <a:pt x="208561" y="797"/>
                  </a:cubicBezTo>
                  <a:cubicBezTo>
                    <a:pt x="195611" y="1356"/>
                    <a:pt x="182814" y="3724"/>
                    <a:pt x="170530" y="7833"/>
                  </a:cubicBezTo>
                  <a:cubicBezTo>
                    <a:pt x="151515" y="15249"/>
                    <a:pt x="145239" y="34454"/>
                    <a:pt x="121851" y="32933"/>
                  </a:cubicBezTo>
                  <a:cubicBezTo>
                    <a:pt x="107779" y="31792"/>
                    <a:pt x="75073" y="17721"/>
                    <a:pt x="78876" y="47955"/>
                  </a:cubicBezTo>
                  <a:cubicBezTo>
                    <a:pt x="80207" y="58034"/>
                    <a:pt x="87433" y="59745"/>
                    <a:pt x="93708" y="65640"/>
                  </a:cubicBezTo>
                  <a:cubicBezTo>
                    <a:pt x="95609" y="67541"/>
                    <a:pt x="95800" y="71344"/>
                    <a:pt x="97891" y="73246"/>
                  </a:cubicBezTo>
                  <a:cubicBezTo>
                    <a:pt x="99983" y="75147"/>
                    <a:pt x="107209" y="77239"/>
                    <a:pt x="109110" y="80091"/>
                  </a:cubicBezTo>
                  <a:cubicBezTo>
                    <a:pt x="113864" y="86937"/>
                    <a:pt x="112723" y="101959"/>
                    <a:pt x="101314" y="99107"/>
                  </a:cubicBezTo>
                  <a:cubicBezTo>
                    <a:pt x="89905" y="96255"/>
                    <a:pt x="93137" y="84085"/>
                    <a:pt x="80587" y="86747"/>
                  </a:cubicBezTo>
                  <a:cubicBezTo>
                    <a:pt x="75453" y="87888"/>
                    <a:pt x="78496" y="93973"/>
                    <a:pt x="70889" y="93212"/>
                  </a:cubicBezTo>
                  <a:cubicBezTo>
                    <a:pt x="63283" y="92451"/>
                    <a:pt x="63283" y="85796"/>
                    <a:pt x="58910" y="83514"/>
                  </a:cubicBezTo>
                  <a:cubicBezTo>
                    <a:pt x="49973" y="78760"/>
                    <a:pt x="39895" y="84655"/>
                    <a:pt x="31147" y="83514"/>
                  </a:cubicBezTo>
                  <a:cubicBezTo>
                    <a:pt x="22400" y="82373"/>
                    <a:pt x="9279" y="70394"/>
                    <a:pt x="8519" y="88078"/>
                  </a:cubicBezTo>
                  <a:cubicBezTo>
                    <a:pt x="8519" y="93022"/>
                    <a:pt x="11181" y="97776"/>
                    <a:pt x="9850" y="102910"/>
                  </a:cubicBezTo>
                  <a:cubicBezTo>
                    <a:pt x="8519" y="108044"/>
                    <a:pt x="4526" y="111277"/>
                    <a:pt x="2624" y="115840"/>
                  </a:cubicBezTo>
                  <a:cubicBezTo>
                    <a:pt x="-875" y="123310"/>
                    <a:pt x="-875" y="131950"/>
                    <a:pt x="2624" y="139419"/>
                  </a:cubicBezTo>
                  <a:cubicBezTo>
                    <a:pt x="2624" y="142652"/>
                    <a:pt x="6998" y="142842"/>
                    <a:pt x="10040" y="146645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68" name="Полилиния: фигура 367">
              <a:extLst>
                <a:ext uri="{FF2B5EF4-FFF2-40B4-BE49-F238E27FC236}">
                  <a16:creationId xmlns:a16="http://schemas.microsoft.com/office/drawing/2014/main" id="{40F5D10C-1696-B432-284D-3AC4C0DD5C87}"/>
                </a:ext>
              </a:extLst>
            </p:cNvPr>
            <p:cNvSpPr/>
            <p:nvPr/>
          </p:nvSpPr>
          <p:spPr>
            <a:xfrm>
              <a:off x="6580620" y="2017780"/>
              <a:ext cx="157514" cy="105443"/>
            </a:xfrm>
            <a:custGeom>
              <a:avLst/>
              <a:gdLst>
                <a:gd name="connsiteX0" fmla="*/ 15639 w 164702"/>
                <a:gd name="connsiteY0" fmla="*/ 104330 h 109933"/>
                <a:gd name="connsiteX1" fmla="*/ 41881 w 164702"/>
                <a:gd name="connsiteY1" fmla="*/ 107182 h 109933"/>
                <a:gd name="connsiteX2" fmla="*/ 73636 w 164702"/>
                <a:gd name="connsiteY2" fmla="*/ 104710 h 109933"/>
                <a:gd name="connsiteX3" fmla="*/ 109766 w 164702"/>
                <a:gd name="connsiteY3" fmla="*/ 100527 h 109933"/>
                <a:gd name="connsiteX4" fmla="*/ 142092 w 164702"/>
                <a:gd name="connsiteY4" fmla="*/ 83793 h 109933"/>
                <a:gd name="connsiteX5" fmla="*/ 149317 w 164702"/>
                <a:gd name="connsiteY5" fmla="*/ 70482 h 109933"/>
                <a:gd name="connsiteX6" fmla="*/ 157875 w 164702"/>
                <a:gd name="connsiteY6" fmla="*/ 60595 h 109933"/>
                <a:gd name="connsiteX7" fmla="*/ 155592 w 164702"/>
                <a:gd name="connsiteY7" fmla="*/ 46903 h 109933"/>
                <a:gd name="connsiteX8" fmla="*/ 163009 w 164702"/>
                <a:gd name="connsiteY8" fmla="*/ 39868 h 109933"/>
                <a:gd name="connsiteX9" fmla="*/ 153121 w 164702"/>
                <a:gd name="connsiteY9" fmla="*/ 8682 h 109933"/>
                <a:gd name="connsiteX10" fmla="*/ 134105 w 164702"/>
                <a:gd name="connsiteY10" fmla="*/ 4499 h 109933"/>
                <a:gd name="connsiteX11" fmla="*/ 125358 w 164702"/>
                <a:gd name="connsiteY11" fmla="*/ 11154 h 109933"/>
                <a:gd name="connsiteX12" fmla="*/ 111287 w 164702"/>
                <a:gd name="connsiteY12" fmla="*/ 9633 h 109933"/>
                <a:gd name="connsiteX13" fmla="*/ 92271 w 164702"/>
                <a:gd name="connsiteY13" fmla="*/ 29980 h 109933"/>
                <a:gd name="connsiteX14" fmla="*/ 70784 w 164702"/>
                <a:gd name="connsiteY14" fmla="*/ 43481 h 109933"/>
                <a:gd name="connsiteX15" fmla="*/ 53290 w 164702"/>
                <a:gd name="connsiteY15" fmla="*/ 42340 h 109933"/>
                <a:gd name="connsiteX16" fmla="*/ 40169 w 164702"/>
                <a:gd name="connsiteY16" fmla="*/ 51087 h 109933"/>
                <a:gd name="connsiteX17" fmla="*/ 37317 w 164702"/>
                <a:gd name="connsiteY17" fmla="*/ 64398 h 109933"/>
                <a:gd name="connsiteX18" fmla="*/ 18301 w 164702"/>
                <a:gd name="connsiteY18" fmla="*/ 75617 h 109933"/>
                <a:gd name="connsiteX19" fmla="*/ 617 w 164702"/>
                <a:gd name="connsiteY19" fmla="*/ 74476 h 109933"/>
                <a:gd name="connsiteX20" fmla="*/ 15639 w 164702"/>
                <a:gd name="connsiteY20" fmla="*/ 104330 h 109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4702" h="109933">
                  <a:moveTo>
                    <a:pt x="15639" y="104330"/>
                  </a:moveTo>
                  <a:cubicBezTo>
                    <a:pt x="24577" y="113838"/>
                    <a:pt x="31232" y="108703"/>
                    <a:pt x="41881" y="107182"/>
                  </a:cubicBezTo>
                  <a:cubicBezTo>
                    <a:pt x="52529" y="105661"/>
                    <a:pt x="62798" y="109844"/>
                    <a:pt x="73636" y="104710"/>
                  </a:cubicBezTo>
                  <a:cubicBezTo>
                    <a:pt x="84475" y="99576"/>
                    <a:pt x="95504" y="102999"/>
                    <a:pt x="109766" y="100527"/>
                  </a:cubicBezTo>
                  <a:cubicBezTo>
                    <a:pt x="121916" y="98119"/>
                    <a:pt x="133117" y="92318"/>
                    <a:pt x="142092" y="83793"/>
                  </a:cubicBezTo>
                  <a:cubicBezTo>
                    <a:pt x="145514" y="79800"/>
                    <a:pt x="146085" y="74666"/>
                    <a:pt x="149317" y="70482"/>
                  </a:cubicBezTo>
                  <a:cubicBezTo>
                    <a:pt x="152550" y="66299"/>
                    <a:pt x="156923" y="66870"/>
                    <a:pt x="157875" y="60595"/>
                  </a:cubicBezTo>
                  <a:cubicBezTo>
                    <a:pt x="158825" y="54319"/>
                    <a:pt x="154451" y="51277"/>
                    <a:pt x="155592" y="46903"/>
                  </a:cubicBezTo>
                  <a:cubicBezTo>
                    <a:pt x="156733" y="42530"/>
                    <a:pt x="161107" y="43481"/>
                    <a:pt x="163009" y="39868"/>
                  </a:cubicBezTo>
                  <a:cubicBezTo>
                    <a:pt x="168713" y="29029"/>
                    <a:pt x="158635" y="17430"/>
                    <a:pt x="153121" y="8682"/>
                  </a:cubicBezTo>
                  <a:cubicBezTo>
                    <a:pt x="147606" y="-65"/>
                    <a:pt x="144184" y="-3487"/>
                    <a:pt x="134105" y="4499"/>
                  </a:cubicBezTo>
                  <a:cubicBezTo>
                    <a:pt x="130492" y="7542"/>
                    <a:pt x="130492" y="10204"/>
                    <a:pt x="125358" y="11154"/>
                  </a:cubicBezTo>
                  <a:cubicBezTo>
                    <a:pt x="120224" y="12105"/>
                    <a:pt x="116801" y="7161"/>
                    <a:pt x="111287" y="9633"/>
                  </a:cubicBezTo>
                  <a:cubicBezTo>
                    <a:pt x="103852" y="15307"/>
                    <a:pt x="97424" y="22185"/>
                    <a:pt x="92271" y="29980"/>
                  </a:cubicBezTo>
                  <a:cubicBezTo>
                    <a:pt x="86186" y="37966"/>
                    <a:pt x="83904" y="55080"/>
                    <a:pt x="70784" y="43481"/>
                  </a:cubicBezTo>
                  <a:cubicBezTo>
                    <a:pt x="61086" y="34734"/>
                    <a:pt x="65460" y="31121"/>
                    <a:pt x="53290" y="42340"/>
                  </a:cubicBezTo>
                  <a:cubicBezTo>
                    <a:pt x="50057" y="45192"/>
                    <a:pt x="42641" y="48044"/>
                    <a:pt x="40169" y="51087"/>
                  </a:cubicBezTo>
                  <a:cubicBezTo>
                    <a:pt x="37697" y="54129"/>
                    <a:pt x="38838" y="59644"/>
                    <a:pt x="37317" y="64398"/>
                  </a:cubicBezTo>
                  <a:cubicBezTo>
                    <a:pt x="34027" y="71812"/>
                    <a:pt x="26383" y="76316"/>
                    <a:pt x="18301" y="75617"/>
                  </a:cubicBezTo>
                  <a:cubicBezTo>
                    <a:pt x="18301" y="75617"/>
                    <a:pt x="-3946" y="62116"/>
                    <a:pt x="617" y="74476"/>
                  </a:cubicBezTo>
                  <a:cubicBezTo>
                    <a:pt x="4135" y="85111"/>
                    <a:pt x="9193" y="95170"/>
                    <a:pt x="15639" y="104330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69" name="Полилиния: фигура 368">
              <a:extLst>
                <a:ext uri="{FF2B5EF4-FFF2-40B4-BE49-F238E27FC236}">
                  <a16:creationId xmlns:a16="http://schemas.microsoft.com/office/drawing/2014/main" id="{F1F528DC-99D2-36B3-BBBD-66C359F3EB1B}"/>
                </a:ext>
              </a:extLst>
            </p:cNvPr>
            <p:cNvSpPr/>
            <p:nvPr/>
          </p:nvSpPr>
          <p:spPr>
            <a:xfrm>
              <a:off x="6515227" y="1914704"/>
              <a:ext cx="18648" cy="35268"/>
            </a:xfrm>
            <a:custGeom>
              <a:avLst/>
              <a:gdLst>
                <a:gd name="connsiteX0" fmla="*/ 14612 w 19499"/>
                <a:gd name="connsiteY0" fmla="*/ 18599 h 36770"/>
                <a:gd name="connsiteX1" fmla="*/ 17844 w 19499"/>
                <a:gd name="connsiteY1" fmla="*/ 5858 h 36770"/>
                <a:gd name="connsiteX2" fmla="*/ 4914 w 19499"/>
                <a:gd name="connsiteY2" fmla="*/ 14986 h 36770"/>
                <a:gd name="connsiteX3" fmla="*/ 350 w 19499"/>
                <a:gd name="connsiteY3" fmla="*/ 34001 h 36770"/>
                <a:gd name="connsiteX4" fmla="*/ 14612 w 19499"/>
                <a:gd name="connsiteY4" fmla="*/ 18599 h 36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99" h="36770">
                  <a:moveTo>
                    <a:pt x="14612" y="18599"/>
                  </a:moveTo>
                  <a:cubicBezTo>
                    <a:pt x="18985" y="14986"/>
                    <a:pt x="21267" y="12133"/>
                    <a:pt x="17844" y="5858"/>
                  </a:cubicBezTo>
                  <a:cubicBezTo>
                    <a:pt x="10048" y="-8784"/>
                    <a:pt x="6245" y="7760"/>
                    <a:pt x="4914" y="14986"/>
                  </a:cubicBezTo>
                  <a:cubicBezTo>
                    <a:pt x="4914" y="19169"/>
                    <a:pt x="-1552" y="30198"/>
                    <a:pt x="350" y="34001"/>
                  </a:cubicBezTo>
                  <a:cubicBezTo>
                    <a:pt x="7766" y="44840"/>
                    <a:pt x="12520" y="20500"/>
                    <a:pt x="14612" y="18599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70" name="Полилиния: фигура 369">
              <a:extLst>
                <a:ext uri="{FF2B5EF4-FFF2-40B4-BE49-F238E27FC236}">
                  <a16:creationId xmlns:a16="http://schemas.microsoft.com/office/drawing/2014/main" id="{206E4734-1547-5F3B-4EA2-A1661247FA70}"/>
                </a:ext>
              </a:extLst>
            </p:cNvPr>
            <p:cNvSpPr/>
            <p:nvPr/>
          </p:nvSpPr>
          <p:spPr>
            <a:xfrm>
              <a:off x="5678922" y="2790941"/>
              <a:ext cx="58675" cy="52856"/>
            </a:xfrm>
            <a:custGeom>
              <a:avLst/>
              <a:gdLst>
                <a:gd name="connsiteX0" fmla="*/ 13803 w 61353"/>
                <a:gd name="connsiteY0" fmla="*/ 5238 h 55107"/>
                <a:gd name="connsiteX1" fmla="*/ 7528 w 61353"/>
                <a:gd name="connsiteY1" fmla="*/ 10182 h 55107"/>
                <a:gd name="connsiteX2" fmla="*/ 3725 w 61353"/>
                <a:gd name="connsiteY2" fmla="*/ 14366 h 55107"/>
                <a:gd name="connsiteX3" fmla="*/ 6768 w 61353"/>
                <a:gd name="connsiteY3" fmla="*/ 30719 h 55107"/>
                <a:gd name="connsiteX4" fmla="*/ 492 w 61353"/>
                <a:gd name="connsiteY4" fmla="*/ 36804 h 55107"/>
                <a:gd name="connsiteX5" fmla="*/ 3725 w 61353"/>
                <a:gd name="connsiteY5" fmla="*/ 45741 h 55107"/>
                <a:gd name="connsiteX6" fmla="*/ 13993 w 61353"/>
                <a:gd name="connsiteY6" fmla="*/ 47452 h 55107"/>
                <a:gd name="connsiteX7" fmla="*/ 24262 w 61353"/>
                <a:gd name="connsiteY7" fmla="*/ 48784 h 55107"/>
                <a:gd name="connsiteX8" fmla="*/ 29396 w 61353"/>
                <a:gd name="connsiteY8" fmla="*/ 52206 h 55107"/>
                <a:gd name="connsiteX9" fmla="*/ 46129 w 61353"/>
                <a:gd name="connsiteY9" fmla="*/ 53918 h 55107"/>
                <a:gd name="connsiteX10" fmla="*/ 46890 w 61353"/>
                <a:gd name="connsiteY10" fmla="*/ 53347 h 55107"/>
                <a:gd name="connsiteX11" fmla="*/ 46890 w 61353"/>
                <a:gd name="connsiteY11" fmla="*/ 50115 h 55107"/>
                <a:gd name="connsiteX12" fmla="*/ 59440 w 61353"/>
                <a:gd name="connsiteY12" fmla="*/ 34902 h 55107"/>
                <a:gd name="connsiteX13" fmla="*/ 60771 w 61353"/>
                <a:gd name="connsiteY13" fmla="*/ 24063 h 55107"/>
                <a:gd name="connsiteX14" fmla="*/ 52975 w 61353"/>
                <a:gd name="connsiteY14" fmla="*/ 3717 h 55107"/>
                <a:gd name="connsiteX15" fmla="*/ 50883 w 61353"/>
                <a:gd name="connsiteY15" fmla="*/ 1055 h 55107"/>
                <a:gd name="connsiteX16" fmla="*/ 39474 w 61353"/>
                <a:gd name="connsiteY16" fmla="*/ 2386 h 55107"/>
                <a:gd name="connsiteX17" fmla="*/ 28255 w 61353"/>
                <a:gd name="connsiteY17" fmla="*/ 5428 h 55107"/>
                <a:gd name="connsiteX18" fmla="*/ 23311 w 61353"/>
                <a:gd name="connsiteY18" fmla="*/ 2386 h 55107"/>
                <a:gd name="connsiteX19" fmla="*/ 13803 w 61353"/>
                <a:gd name="connsiteY19" fmla="*/ 5238 h 5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1353" h="55107">
                  <a:moveTo>
                    <a:pt x="13803" y="5238"/>
                  </a:moveTo>
                  <a:lnTo>
                    <a:pt x="7528" y="10182"/>
                  </a:lnTo>
                  <a:cubicBezTo>
                    <a:pt x="5893" y="11186"/>
                    <a:pt x="4562" y="12637"/>
                    <a:pt x="3725" y="14366"/>
                  </a:cubicBezTo>
                  <a:cubicBezTo>
                    <a:pt x="1824" y="19880"/>
                    <a:pt x="9430" y="25585"/>
                    <a:pt x="6768" y="30719"/>
                  </a:cubicBezTo>
                  <a:cubicBezTo>
                    <a:pt x="4105" y="35853"/>
                    <a:pt x="2014" y="34332"/>
                    <a:pt x="492" y="36804"/>
                  </a:cubicBezTo>
                  <a:cubicBezTo>
                    <a:pt x="-820" y="40170"/>
                    <a:pt x="568" y="43992"/>
                    <a:pt x="3725" y="45741"/>
                  </a:cubicBezTo>
                  <a:cubicBezTo>
                    <a:pt x="6958" y="47167"/>
                    <a:pt x="10475" y="47757"/>
                    <a:pt x="13993" y="47452"/>
                  </a:cubicBezTo>
                  <a:cubicBezTo>
                    <a:pt x="17473" y="47015"/>
                    <a:pt x="21010" y="47471"/>
                    <a:pt x="24262" y="48784"/>
                  </a:cubicBezTo>
                  <a:cubicBezTo>
                    <a:pt x="26049" y="49810"/>
                    <a:pt x="27760" y="50951"/>
                    <a:pt x="29396" y="52206"/>
                  </a:cubicBezTo>
                  <a:cubicBezTo>
                    <a:pt x="34397" y="55344"/>
                    <a:pt x="40596" y="55971"/>
                    <a:pt x="46129" y="53918"/>
                  </a:cubicBezTo>
                  <a:cubicBezTo>
                    <a:pt x="46396" y="53747"/>
                    <a:pt x="46662" y="53556"/>
                    <a:pt x="46890" y="53347"/>
                  </a:cubicBezTo>
                  <a:cubicBezTo>
                    <a:pt x="46890" y="53347"/>
                    <a:pt x="46890" y="51255"/>
                    <a:pt x="46890" y="50115"/>
                  </a:cubicBezTo>
                  <a:cubicBezTo>
                    <a:pt x="46890" y="44790"/>
                    <a:pt x="56398" y="38895"/>
                    <a:pt x="59440" y="34902"/>
                  </a:cubicBezTo>
                  <a:cubicBezTo>
                    <a:pt x="61399" y="31637"/>
                    <a:pt x="61874" y="27703"/>
                    <a:pt x="60771" y="24063"/>
                  </a:cubicBezTo>
                  <a:cubicBezTo>
                    <a:pt x="59421" y="16864"/>
                    <a:pt x="56797" y="9969"/>
                    <a:pt x="52975" y="3717"/>
                  </a:cubicBezTo>
                  <a:cubicBezTo>
                    <a:pt x="52442" y="2709"/>
                    <a:pt x="51739" y="1808"/>
                    <a:pt x="50883" y="1055"/>
                  </a:cubicBezTo>
                  <a:cubicBezTo>
                    <a:pt x="47651" y="-1417"/>
                    <a:pt x="43087" y="1055"/>
                    <a:pt x="39474" y="2386"/>
                  </a:cubicBezTo>
                  <a:cubicBezTo>
                    <a:pt x="35861" y="3717"/>
                    <a:pt x="31868" y="6950"/>
                    <a:pt x="28255" y="5428"/>
                  </a:cubicBezTo>
                  <a:cubicBezTo>
                    <a:pt x="24642" y="3907"/>
                    <a:pt x="25022" y="2956"/>
                    <a:pt x="23311" y="2386"/>
                  </a:cubicBezTo>
                  <a:cubicBezTo>
                    <a:pt x="21600" y="1816"/>
                    <a:pt x="16846" y="2766"/>
                    <a:pt x="13803" y="5238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71" name="Полилиния: фигура 370">
              <a:extLst>
                <a:ext uri="{FF2B5EF4-FFF2-40B4-BE49-F238E27FC236}">
                  <a16:creationId xmlns:a16="http://schemas.microsoft.com/office/drawing/2014/main" id="{17B7A53D-B609-4F7F-F39F-571FD19E2891}"/>
                </a:ext>
              </a:extLst>
            </p:cNvPr>
            <p:cNvSpPr/>
            <p:nvPr/>
          </p:nvSpPr>
          <p:spPr>
            <a:xfrm>
              <a:off x="7976477" y="4303301"/>
              <a:ext cx="25100" cy="43108"/>
            </a:xfrm>
            <a:custGeom>
              <a:avLst/>
              <a:gdLst>
                <a:gd name="connsiteX0" fmla="*/ 25780 w 26245"/>
                <a:gd name="connsiteY0" fmla="*/ 6947 h 44944"/>
                <a:gd name="connsiteX1" fmla="*/ 23879 w 26245"/>
                <a:gd name="connsiteY1" fmla="*/ 2003 h 44944"/>
                <a:gd name="connsiteX2" fmla="*/ 17794 w 26245"/>
                <a:gd name="connsiteY2" fmla="*/ 101 h 44944"/>
                <a:gd name="connsiteX3" fmla="*/ 4103 w 26245"/>
                <a:gd name="connsiteY3" fmla="*/ 14553 h 44944"/>
                <a:gd name="connsiteX4" fmla="*/ 2582 w 26245"/>
                <a:gd name="connsiteY4" fmla="*/ 23110 h 44944"/>
                <a:gd name="connsiteX5" fmla="*/ 300 w 26245"/>
                <a:gd name="connsiteY5" fmla="*/ 25392 h 44944"/>
                <a:gd name="connsiteX6" fmla="*/ 300 w 26245"/>
                <a:gd name="connsiteY6" fmla="*/ 28815 h 44944"/>
                <a:gd name="connsiteX7" fmla="*/ 300 w 26245"/>
                <a:gd name="connsiteY7" fmla="*/ 34899 h 44944"/>
                <a:gd name="connsiteX8" fmla="*/ 300 w 26245"/>
                <a:gd name="connsiteY8" fmla="*/ 39083 h 44944"/>
                <a:gd name="connsiteX9" fmla="*/ 3723 w 26245"/>
                <a:gd name="connsiteY9" fmla="*/ 42315 h 44944"/>
                <a:gd name="connsiteX10" fmla="*/ 13230 w 26245"/>
                <a:gd name="connsiteY10" fmla="*/ 44787 h 44944"/>
                <a:gd name="connsiteX11" fmla="*/ 15132 w 26245"/>
                <a:gd name="connsiteY11" fmla="*/ 44787 h 44944"/>
                <a:gd name="connsiteX12" fmla="*/ 16653 w 26245"/>
                <a:gd name="connsiteY12" fmla="*/ 43076 h 44944"/>
                <a:gd name="connsiteX13" fmla="*/ 20646 w 26245"/>
                <a:gd name="connsiteY13" fmla="*/ 34899 h 44944"/>
                <a:gd name="connsiteX14" fmla="*/ 19505 w 26245"/>
                <a:gd name="connsiteY14" fmla="*/ 24441 h 44944"/>
                <a:gd name="connsiteX15" fmla="*/ 25020 w 26245"/>
                <a:gd name="connsiteY15" fmla="*/ 15314 h 44944"/>
                <a:gd name="connsiteX16" fmla="*/ 25780 w 26245"/>
                <a:gd name="connsiteY16" fmla="*/ 6947 h 44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245" h="44944">
                  <a:moveTo>
                    <a:pt x="25780" y="6947"/>
                  </a:moveTo>
                  <a:cubicBezTo>
                    <a:pt x="25723" y="5121"/>
                    <a:pt x="25057" y="3391"/>
                    <a:pt x="23879" y="2003"/>
                  </a:cubicBezTo>
                  <a:cubicBezTo>
                    <a:pt x="22263" y="424"/>
                    <a:pt x="20019" y="-279"/>
                    <a:pt x="17794" y="101"/>
                  </a:cubicBezTo>
                  <a:cubicBezTo>
                    <a:pt x="10321" y="919"/>
                    <a:pt x="4521" y="7042"/>
                    <a:pt x="4103" y="14553"/>
                  </a:cubicBezTo>
                  <a:cubicBezTo>
                    <a:pt x="4103" y="17595"/>
                    <a:pt x="4103" y="21018"/>
                    <a:pt x="2582" y="23110"/>
                  </a:cubicBezTo>
                  <a:cubicBezTo>
                    <a:pt x="1726" y="23776"/>
                    <a:pt x="965" y="24536"/>
                    <a:pt x="300" y="25392"/>
                  </a:cubicBezTo>
                  <a:cubicBezTo>
                    <a:pt x="-100" y="26495"/>
                    <a:pt x="-100" y="27712"/>
                    <a:pt x="300" y="28815"/>
                  </a:cubicBezTo>
                  <a:cubicBezTo>
                    <a:pt x="300" y="30716"/>
                    <a:pt x="300" y="32808"/>
                    <a:pt x="300" y="34899"/>
                  </a:cubicBezTo>
                  <a:cubicBezTo>
                    <a:pt x="-5" y="36269"/>
                    <a:pt x="-5" y="37714"/>
                    <a:pt x="300" y="39083"/>
                  </a:cubicBezTo>
                  <a:cubicBezTo>
                    <a:pt x="1098" y="40471"/>
                    <a:pt x="2277" y="41612"/>
                    <a:pt x="3723" y="42315"/>
                  </a:cubicBezTo>
                  <a:cubicBezTo>
                    <a:pt x="6651" y="43894"/>
                    <a:pt x="9902" y="44730"/>
                    <a:pt x="13230" y="44787"/>
                  </a:cubicBezTo>
                  <a:cubicBezTo>
                    <a:pt x="13838" y="44997"/>
                    <a:pt x="14523" y="44997"/>
                    <a:pt x="15132" y="44787"/>
                  </a:cubicBezTo>
                  <a:cubicBezTo>
                    <a:pt x="15778" y="44369"/>
                    <a:pt x="16310" y="43780"/>
                    <a:pt x="16653" y="43076"/>
                  </a:cubicBezTo>
                  <a:cubicBezTo>
                    <a:pt x="18326" y="40528"/>
                    <a:pt x="19657" y="37790"/>
                    <a:pt x="20646" y="34899"/>
                  </a:cubicBezTo>
                  <a:cubicBezTo>
                    <a:pt x="21597" y="30906"/>
                    <a:pt x="19505" y="28054"/>
                    <a:pt x="19505" y="24441"/>
                  </a:cubicBezTo>
                  <a:cubicBezTo>
                    <a:pt x="19505" y="20828"/>
                    <a:pt x="22928" y="18546"/>
                    <a:pt x="25020" y="15314"/>
                  </a:cubicBezTo>
                  <a:cubicBezTo>
                    <a:pt x="26332" y="12727"/>
                    <a:pt x="26598" y="9723"/>
                    <a:pt x="25780" y="6947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" panose="020B0604020202020204"/>
              </a:endParaRPr>
            </a:p>
          </p:txBody>
        </p:sp>
        <p:sp>
          <p:nvSpPr>
            <p:cNvPr id="372" name="Полилиния: фигура 371">
              <a:extLst>
                <a:ext uri="{FF2B5EF4-FFF2-40B4-BE49-F238E27FC236}">
                  <a16:creationId xmlns:a16="http://schemas.microsoft.com/office/drawing/2014/main" id="{71243B2F-6D84-D8C4-591D-7BD0724ED7FF}"/>
                </a:ext>
              </a:extLst>
            </p:cNvPr>
            <p:cNvSpPr/>
            <p:nvPr/>
          </p:nvSpPr>
          <p:spPr>
            <a:xfrm>
              <a:off x="5570821" y="4729404"/>
              <a:ext cx="1163899" cy="1034200"/>
            </a:xfrm>
            <a:custGeom>
              <a:avLst/>
              <a:gdLst>
                <a:gd name="connsiteX0" fmla="*/ 768417 w 1217015"/>
                <a:gd name="connsiteY0" fmla="*/ 979726 h 1078238"/>
                <a:gd name="connsiteX1" fmla="*/ 784390 w 1217015"/>
                <a:gd name="connsiteY1" fmla="*/ 965464 h 1078238"/>
                <a:gd name="connsiteX2" fmla="*/ 784390 w 1217015"/>
                <a:gd name="connsiteY2" fmla="*/ 960901 h 1078238"/>
                <a:gd name="connsiteX3" fmla="*/ 768417 w 1217015"/>
                <a:gd name="connsiteY3" fmla="*/ 957478 h 1078238"/>
                <a:gd name="connsiteX4" fmla="*/ 763283 w 1217015"/>
                <a:gd name="connsiteY4" fmla="*/ 957478 h 1078238"/>
                <a:gd name="connsiteX5" fmla="*/ 740559 w 1217015"/>
                <a:gd name="connsiteY5" fmla="*/ 943083 h 1078238"/>
                <a:gd name="connsiteX6" fmla="*/ 744268 w 1217015"/>
                <a:gd name="connsiteY6" fmla="*/ 927053 h 1078238"/>
                <a:gd name="connsiteX7" fmla="*/ 746169 w 1217015"/>
                <a:gd name="connsiteY7" fmla="*/ 919637 h 1078238"/>
                <a:gd name="connsiteX8" fmla="*/ 753395 w 1217015"/>
                <a:gd name="connsiteY8" fmla="*/ 901953 h 1078238"/>
                <a:gd name="connsiteX9" fmla="*/ 759100 w 1217015"/>
                <a:gd name="connsiteY9" fmla="*/ 896819 h 1078238"/>
                <a:gd name="connsiteX10" fmla="*/ 763663 w 1217015"/>
                <a:gd name="connsiteY10" fmla="*/ 892445 h 1078238"/>
                <a:gd name="connsiteX11" fmla="*/ 757388 w 1217015"/>
                <a:gd name="connsiteY11" fmla="*/ 878374 h 1078238"/>
                <a:gd name="connsiteX12" fmla="*/ 749972 w 1217015"/>
                <a:gd name="connsiteY12" fmla="*/ 865634 h 1078238"/>
                <a:gd name="connsiteX13" fmla="*/ 749972 w 1217015"/>
                <a:gd name="connsiteY13" fmla="*/ 849470 h 1078238"/>
                <a:gd name="connsiteX14" fmla="*/ 768987 w 1217015"/>
                <a:gd name="connsiteY14" fmla="*/ 840533 h 1078238"/>
                <a:gd name="connsiteX15" fmla="*/ 779446 w 1217015"/>
                <a:gd name="connsiteY15" fmla="*/ 837491 h 1078238"/>
                <a:gd name="connsiteX16" fmla="*/ 783629 w 1217015"/>
                <a:gd name="connsiteY16" fmla="*/ 834638 h 1078238"/>
                <a:gd name="connsiteX17" fmla="*/ 799412 w 1217015"/>
                <a:gd name="connsiteY17" fmla="*/ 829314 h 1078238"/>
                <a:gd name="connsiteX18" fmla="*/ 808729 w 1217015"/>
                <a:gd name="connsiteY18" fmla="*/ 833117 h 1078238"/>
                <a:gd name="connsiteX19" fmla="*/ 815195 w 1217015"/>
                <a:gd name="connsiteY19" fmla="*/ 835779 h 1078238"/>
                <a:gd name="connsiteX20" fmla="*/ 841436 w 1217015"/>
                <a:gd name="connsiteY20" fmla="*/ 821138 h 1078238"/>
                <a:gd name="connsiteX21" fmla="*/ 848852 w 1217015"/>
                <a:gd name="connsiteY21" fmla="*/ 812581 h 1078238"/>
                <a:gd name="connsiteX22" fmla="*/ 872241 w 1217015"/>
                <a:gd name="connsiteY22" fmla="*/ 793565 h 1078238"/>
                <a:gd name="connsiteX23" fmla="*/ 892967 w 1217015"/>
                <a:gd name="connsiteY23" fmla="*/ 796228 h 1078238"/>
                <a:gd name="connsiteX24" fmla="*/ 904567 w 1217015"/>
                <a:gd name="connsiteY24" fmla="*/ 798890 h 1078238"/>
                <a:gd name="connsiteX25" fmla="*/ 919399 w 1217015"/>
                <a:gd name="connsiteY25" fmla="*/ 778924 h 1078238"/>
                <a:gd name="connsiteX26" fmla="*/ 921110 w 1217015"/>
                <a:gd name="connsiteY26" fmla="*/ 774930 h 1078238"/>
                <a:gd name="connsiteX27" fmla="*/ 946972 w 1217015"/>
                <a:gd name="connsiteY27" fmla="*/ 739372 h 1078238"/>
                <a:gd name="connsiteX28" fmla="*/ 970741 w 1217015"/>
                <a:gd name="connsiteY28" fmla="*/ 709517 h 1078238"/>
                <a:gd name="connsiteX29" fmla="*/ 973023 w 1217015"/>
                <a:gd name="connsiteY29" fmla="*/ 702101 h 1078238"/>
                <a:gd name="connsiteX30" fmla="*/ 987474 w 1217015"/>
                <a:gd name="connsiteY30" fmla="*/ 674339 h 1078238"/>
                <a:gd name="connsiteX31" fmla="*/ 1002306 w 1217015"/>
                <a:gd name="connsiteY31" fmla="*/ 668824 h 1078238"/>
                <a:gd name="connsiteX32" fmla="*/ 1007060 w 1217015"/>
                <a:gd name="connsiteY32" fmla="*/ 668824 h 1078238"/>
                <a:gd name="connsiteX33" fmla="*/ 1017138 w 1217015"/>
                <a:gd name="connsiteY33" fmla="*/ 663310 h 1078238"/>
                <a:gd name="connsiteX34" fmla="*/ 1021892 w 1217015"/>
                <a:gd name="connsiteY34" fmla="*/ 659127 h 1078238"/>
                <a:gd name="connsiteX35" fmla="*/ 1033871 w 1217015"/>
                <a:gd name="connsiteY35" fmla="*/ 651140 h 1078238"/>
                <a:gd name="connsiteX36" fmla="*/ 1049274 w 1217015"/>
                <a:gd name="connsiteY36" fmla="*/ 639541 h 1078238"/>
                <a:gd name="connsiteX37" fmla="*/ 1070001 w 1217015"/>
                <a:gd name="connsiteY37" fmla="*/ 625660 h 1078238"/>
                <a:gd name="connsiteX38" fmla="*/ 1083502 w 1217015"/>
                <a:gd name="connsiteY38" fmla="*/ 617863 h 1078238"/>
                <a:gd name="connsiteX39" fmla="*/ 1099475 w 1217015"/>
                <a:gd name="connsiteY39" fmla="*/ 595996 h 1078238"/>
                <a:gd name="connsiteX40" fmla="*/ 1104989 w 1217015"/>
                <a:gd name="connsiteY40" fmla="*/ 586868 h 1078238"/>
                <a:gd name="connsiteX41" fmla="*/ 1104989 w 1217015"/>
                <a:gd name="connsiteY41" fmla="*/ 528491 h 1078238"/>
                <a:gd name="connsiteX42" fmla="*/ 1091678 w 1217015"/>
                <a:gd name="connsiteY42" fmla="*/ 521835 h 1078238"/>
                <a:gd name="connsiteX43" fmla="*/ 1072663 w 1217015"/>
                <a:gd name="connsiteY43" fmla="*/ 509856 h 1078238"/>
                <a:gd name="connsiteX44" fmla="*/ 1066388 w 1217015"/>
                <a:gd name="connsiteY44" fmla="*/ 465360 h 1078238"/>
                <a:gd name="connsiteX45" fmla="*/ 1083312 w 1217015"/>
                <a:gd name="connsiteY45" fmla="*/ 447295 h 1078238"/>
                <a:gd name="connsiteX46" fmla="*/ 1093960 w 1217015"/>
                <a:gd name="connsiteY46" fmla="*/ 437787 h 1078238"/>
                <a:gd name="connsiteX47" fmla="*/ 1103468 w 1217015"/>
                <a:gd name="connsiteY47" fmla="*/ 427329 h 1078238"/>
                <a:gd name="connsiteX48" fmla="*/ 1119441 w 1217015"/>
                <a:gd name="connsiteY48" fmla="*/ 408314 h 1078238"/>
                <a:gd name="connsiteX49" fmla="*/ 1126287 w 1217015"/>
                <a:gd name="connsiteY49" fmla="*/ 392151 h 1078238"/>
                <a:gd name="connsiteX50" fmla="*/ 1137315 w 1217015"/>
                <a:gd name="connsiteY50" fmla="*/ 369522 h 1078238"/>
                <a:gd name="connsiteX51" fmla="*/ 1147393 w 1217015"/>
                <a:gd name="connsiteY51" fmla="*/ 352218 h 1078238"/>
                <a:gd name="connsiteX52" fmla="*/ 1156141 w 1217015"/>
                <a:gd name="connsiteY52" fmla="*/ 336435 h 1078238"/>
                <a:gd name="connsiteX53" fmla="*/ 1186755 w 1217015"/>
                <a:gd name="connsiteY53" fmla="*/ 312286 h 1078238"/>
                <a:gd name="connsiteX54" fmla="*/ 1213757 w 1217015"/>
                <a:gd name="connsiteY54" fmla="*/ 290989 h 1078238"/>
                <a:gd name="connsiteX55" fmla="*/ 1194742 w 1217015"/>
                <a:gd name="connsiteY55" fmla="*/ 235464 h 1078238"/>
                <a:gd name="connsiteX56" fmla="*/ 1188847 w 1217015"/>
                <a:gd name="connsiteY56" fmla="*/ 233372 h 1078238"/>
                <a:gd name="connsiteX57" fmla="*/ 1176677 w 1217015"/>
                <a:gd name="connsiteY57" fmla="*/ 227858 h 1078238"/>
                <a:gd name="connsiteX58" fmla="*/ 1171353 w 1217015"/>
                <a:gd name="connsiteY58" fmla="*/ 223294 h 1078238"/>
                <a:gd name="connsiteX59" fmla="*/ 1164127 w 1217015"/>
                <a:gd name="connsiteY59" fmla="*/ 219301 h 1078238"/>
                <a:gd name="connsiteX60" fmla="*/ 1151387 w 1217015"/>
                <a:gd name="connsiteY60" fmla="*/ 219301 h 1078238"/>
                <a:gd name="connsiteX61" fmla="*/ 1124955 w 1217015"/>
                <a:gd name="connsiteY61" fmla="*/ 214547 h 1078238"/>
                <a:gd name="connsiteX62" fmla="*/ 1108602 w 1217015"/>
                <a:gd name="connsiteY62" fmla="*/ 187355 h 1078238"/>
                <a:gd name="connsiteX63" fmla="*/ 1104609 w 1217015"/>
                <a:gd name="connsiteY63" fmla="*/ 177467 h 1078238"/>
                <a:gd name="connsiteX64" fmla="*/ 1085593 w 1217015"/>
                <a:gd name="connsiteY64" fmla="*/ 147422 h 1078238"/>
                <a:gd name="connsiteX65" fmla="*/ 1079128 w 1217015"/>
                <a:gd name="connsiteY65" fmla="*/ 137725 h 1078238"/>
                <a:gd name="connsiteX66" fmla="*/ 1071332 w 1217015"/>
                <a:gd name="connsiteY66" fmla="*/ 118709 h 1078238"/>
                <a:gd name="connsiteX67" fmla="*/ 1063726 w 1217015"/>
                <a:gd name="connsiteY67" fmla="*/ 101596 h 1078238"/>
                <a:gd name="connsiteX68" fmla="*/ 1056120 w 1217015"/>
                <a:gd name="connsiteY68" fmla="*/ 96842 h 1078238"/>
                <a:gd name="connsiteX69" fmla="*/ 1042619 w 1217015"/>
                <a:gd name="connsiteY69" fmla="*/ 82200 h 1078238"/>
                <a:gd name="connsiteX70" fmla="*/ 1041097 w 1217015"/>
                <a:gd name="connsiteY70" fmla="*/ 72502 h 1078238"/>
                <a:gd name="connsiteX71" fmla="*/ 1039957 w 1217015"/>
                <a:gd name="connsiteY71" fmla="*/ 64515 h 1078238"/>
                <a:gd name="connsiteX72" fmla="*/ 1039957 w 1217015"/>
                <a:gd name="connsiteY72" fmla="*/ 62044 h 1078238"/>
                <a:gd name="connsiteX73" fmla="*/ 1039957 w 1217015"/>
                <a:gd name="connsiteY73" fmla="*/ 47972 h 1078238"/>
                <a:gd name="connsiteX74" fmla="*/ 1048133 w 1217015"/>
                <a:gd name="connsiteY74" fmla="*/ 39225 h 1078238"/>
                <a:gd name="connsiteX75" fmla="*/ 1059352 w 1217015"/>
                <a:gd name="connsiteY75" fmla="*/ 19069 h 1078238"/>
                <a:gd name="connsiteX76" fmla="*/ 1068289 w 1217015"/>
                <a:gd name="connsiteY76" fmla="*/ 5378 h 1078238"/>
                <a:gd name="connsiteX77" fmla="*/ 1065627 w 1217015"/>
                <a:gd name="connsiteY77" fmla="*/ 53 h 1078238"/>
                <a:gd name="connsiteX78" fmla="*/ 1037104 w 1217015"/>
                <a:gd name="connsiteY78" fmla="*/ 25154 h 1078238"/>
                <a:gd name="connsiteX79" fmla="*/ 1020180 w 1217015"/>
                <a:gd name="connsiteY79" fmla="*/ 38274 h 1078238"/>
                <a:gd name="connsiteX80" fmla="*/ 1011053 w 1217015"/>
                <a:gd name="connsiteY80" fmla="*/ 43789 h 1078238"/>
                <a:gd name="connsiteX81" fmla="*/ 1003447 w 1217015"/>
                <a:gd name="connsiteY81" fmla="*/ 65847 h 1078238"/>
                <a:gd name="connsiteX82" fmla="*/ 1003447 w 1217015"/>
                <a:gd name="connsiteY82" fmla="*/ 71741 h 1078238"/>
                <a:gd name="connsiteX83" fmla="*/ 991657 w 1217015"/>
                <a:gd name="connsiteY83" fmla="*/ 101786 h 1078238"/>
                <a:gd name="connsiteX84" fmla="*/ 976636 w 1217015"/>
                <a:gd name="connsiteY84" fmla="*/ 110343 h 1078238"/>
                <a:gd name="connsiteX85" fmla="*/ 964465 w 1217015"/>
                <a:gd name="connsiteY85" fmla="*/ 117188 h 1078238"/>
                <a:gd name="connsiteX86" fmla="*/ 959902 w 1217015"/>
                <a:gd name="connsiteY86" fmla="*/ 123844 h 1078238"/>
                <a:gd name="connsiteX87" fmla="*/ 939746 w 1217015"/>
                <a:gd name="connsiteY87" fmla="*/ 136013 h 1078238"/>
                <a:gd name="connsiteX88" fmla="*/ 928527 w 1217015"/>
                <a:gd name="connsiteY88" fmla="*/ 133351 h 1078238"/>
                <a:gd name="connsiteX89" fmla="*/ 913695 w 1217015"/>
                <a:gd name="connsiteY89" fmla="*/ 134682 h 1078238"/>
                <a:gd name="connsiteX90" fmla="*/ 861022 w 1217015"/>
                <a:gd name="connsiteY90" fmla="*/ 132400 h 1078238"/>
                <a:gd name="connsiteX91" fmla="*/ 858930 w 1217015"/>
                <a:gd name="connsiteY91" fmla="*/ 131069 h 1078238"/>
                <a:gd name="connsiteX92" fmla="*/ 828315 w 1217015"/>
                <a:gd name="connsiteY92" fmla="*/ 129928 h 1078238"/>
                <a:gd name="connsiteX93" fmla="*/ 797701 w 1217015"/>
                <a:gd name="connsiteY93" fmla="*/ 131830 h 1078238"/>
                <a:gd name="connsiteX94" fmla="*/ 792757 w 1217015"/>
                <a:gd name="connsiteY94" fmla="*/ 130499 h 1078238"/>
                <a:gd name="connsiteX95" fmla="*/ 769558 w 1217015"/>
                <a:gd name="connsiteY95" fmla="*/ 132781 h 1078238"/>
                <a:gd name="connsiteX96" fmla="*/ 765565 w 1217015"/>
                <a:gd name="connsiteY96" fmla="*/ 144760 h 1078238"/>
                <a:gd name="connsiteX97" fmla="*/ 759670 w 1217015"/>
                <a:gd name="connsiteY97" fmla="*/ 161874 h 1078238"/>
                <a:gd name="connsiteX98" fmla="*/ 711751 w 1217015"/>
                <a:gd name="connsiteY98" fmla="*/ 168720 h 1078238"/>
                <a:gd name="connsiteX99" fmla="*/ 694447 w 1217015"/>
                <a:gd name="connsiteY99" fmla="*/ 166058 h 1078238"/>
                <a:gd name="connsiteX100" fmla="*/ 679425 w 1217015"/>
                <a:gd name="connsiteY100" fmla="*/ 179559 h 1078238"/>
                <a:gd name="connsiteX101" fmla="*/ 670297 w 1217015"/>
                <a:gd name="connsiteY101" fmla="*/ 202947 h 1078238"/>
                <a:gd name="connsiteX102" fmla="*/ 652423 w 1217015"/>
                <a:gd name="connsiteY102" fmla="*/ 212075 h 1078238"/>
                <a:gd name="connsiteX103" fmla="*/ 643676 w 1217015"/>
                <a:gd name="connsiteY103" fmla="*/ 215308 h 1078238"/>
                <a:gd name="connsiteX104" fmla="*/ 618766 w 1217015"/>
                <a:gd name="connsiteY104" fmla="*/ 236034 h 1078238"/>
                <a:gd name="connsiteX105" fmla="*/ 615914 w 1217015"/>
                <a:gd name="connsiteY105" fmla="*/ 258853 h 1078238"/>
                <a:gd name="connsiteX106" fmla="*/ 625992 w 1217015"/>
                <a:gd name="connsiteY106" fmla="*/ 265318 h 1078238"/>
                <a:gd name="connsiteX107" fmla="*/ 637972 w 1217015"/>
                <a:gd name="connsiteY107" fmla="*/ 272354 h 1078238"/>
                <a:gd name="connsiteX108" fmla="*/ 641965 w 1217015"/>
                <a:gd name="connsiteY108" fmla="*/ 277488 h 1078238"/>
                <a:gd name="connsiteX109" fmla="*/ 644246 w 1217015"/>
                <a:gd name="connsiteY109" fmla="*/ 280530 h 1078238"/>
                <a:gd name="connsiteX110" fmla="*/ 648050 w 1217015"/>
                <a:gd name="connsiteY110" fmla="*/ 281861 h 1078238"/>
                <a:gd name="connsiteX111" fmla="*/ 663262 w 1217015"/>
                <a:gd name="connsiteY111" fmla="*/ 292890 h 1078238"/>
                <a:gd name="connsiteX112" fmla="*/ 652993 w 1217015"/>
                <a:gd name="connsiteY112" fmla="*/ 311906 h 1078238"/>
                <a:gd name="connsiteX113" fmla="*/ 647289 w 1217015"/>
                <a:gd name="connsiteY113" fmla="*/ 317420 h 1078238"/>
                <a:gd name="connsiteX114" fmla="*/ 645767 w 1217015"/>
                <a:gd name="connsiteY114" fmla="*/ 339668 h 1078238"/>
                <a:gd name="connsiteX115" fmla="*/ 645767 w 1217015"/>
                <a:gd name="connsiteY115" fmla="*/ 353169 h 1078238"/>
                <a:gd name="connsiteX116" fmla="*/ 654895 w 1217015"/>
                <a:gd name="connsiteY116" fmla="*/ 382263 h 1078238"/>
                <a:gd name="connsiteX117" fmla="*/ 656226 w 1217015"/>
                <a:gd name="connsiteY117" fmla="*/ 384544 h 1078238"/>
                <a:gd name="connsiteX118" fmla="*/ 665353 w 1217015"/>
                <a:gd name="connsiteY118" fmla="*/ 425047 h 1078238"/>
                <a:gd name="connsiteX119" fmla="*/ 667255 w 1217015"/>
                <a:gd name="connsiteY119" fmla="*/ 445584 h 1078238"/>
                <a:gd name="connsiteX120" fmla="*/ 675812 w 1217015"/>
                <a:gd name="connsiteY120" fmla="*/ 465740 h 1078238"/>
                <a:gd name="connsiteX121" fmla="*/ 684939 w 1217015"/>
                <a:gd name="connsiteY121" fmla="*/ 469543 h 1078238"/>
                <a:gd name="connsiteX122" fmla="*/ 702433 w 1217015"/>
                <a:gd name="connsiteY122" fmla="*/ 482664 h 1078238"/>
                <a:gd name="connsiteX123" fmla="*/ 698440 w 1217015"/>
                <a:gd name="connsiteY123" fmla="*/ 510046 h 1078238"/>
                <a:gd name="connsiteX124" fmla="*/ 696159 w 1217015"/>
                <a:gd name="connsiteY124" fmla="*/ 515941 h 1078238"/>
                <a:gd name="connsiteX125" fmla="*/ 688172 w 1217015"/>
                <a:gd name="connsiteY125" fmla="*/ 550359 h 1078238"/>
                <a:gd name="connsiteX126" fmla="*/ 686841 w 1217015"/>
                <a:gd name="connsiteY126" fmla="*/ 557394 h 1078238"/>
                <a:gd name="connsiteX127" fmla="*/ 679235 w 1217015"/>
                <a:gd name="connsiteY127" fmla="*/ 602270 h 1078238"/>
                <a:gd name="connsiteX128" fmla="*/ 677903 w 1217015"/>
                <a:gd name="connsiteY128" fmla="*/ 617483 h 1078238"/>
                <a:gd name="connsiteX129" fmla="*/ 672960 w 1217015"/>
                <a:gd name="connsiteY129" fmla="*/ 649238 h 1078238"/>
                <a:gd name="connsiteX130" fmla="*/ 649761 w 1217015"/>
                <a:gd name="connsiteY130" fmla="*/ 679853 h 1078238"/>
                <a:gd name="connsiteX131" fmla="*/ 647859 w 1217015"/>
                <a:gd name="connsiteY131" fmla="*/ 681565 h 1078238"/>
                <a:gd name="connsiteX132" fmla="*/ 618576 w 1217015"/>
                <a:gd name="connsiteY132" fmla="*/ 713701 h 1078238"/>
                <a:gd name="connsiteX133" fmla="*/ 609638 w 1217015"/>
                <a:gd name="connsiteY133" fmla="*/ 724730 h 1078238"/>
                <a:gd name="connsiteX134" fmla="*/ 591574 w 1217015"/>
                <a:gd name="connsiteY134" fmla="*/ 746788 h 1078238"/>
                <a:gd name="connsiteX135" fmla="*/ 577693 w 1217015"/>
                <a:gd name="connsiteY135" fmla="*/ 760098 h 1078238"/>
                <a:gd name="connsiteX136" fmla="*/ 562481 w 1217015"/>
                <a:gd name="connsiteY136" fmla="*/ 775691 h 1078238"/>
                <a:gd name="connsiteX137" fmla="*/ 544416 w 1217015"/>
                <a:gd name="connsiteY137" fmla="*/ 813722 h 1078238"/>
                <a:gd name="connsiteX138" fmla="*/ 526732 w 1217015"/>
                <a:gd name="connsiteY138" fmla="*/ 852893 h 1078238"/>
                <a:gd name="connsiteX139" fmla="*/ 501251 w 1217015"/>
                <a:gd name="connsiteY139" fmla="*/ 880656 h 1078238"/>
                <a:gd name="connsiteX140" fmla="*/ 489271 w 1217015"/>
                <a:gd name="connsiteY140" fmla="*/ 888262 h 1078238"/>
                <a:gd name="connsiteX141" fmla="*/ 473678 w 1217015"/>
                <a:gd name="connsiteY141" fmla="*/ 899861 h 1078238"/>
                <a:gd name="connsiteX142" fmla="*/ 471967 w 1217015"/>
                <a:gd name="connsiteY142" fmla="*/ 914503 h 1078238"/>
                <a:gd name="connsiteX143" fmla="*/ 471967 w 1217015"/>
                <a:gd name="connsiteY143" fmla="*/ 931617 h 1078238"/>
                <a:gd name="connsiteX144" fmla="*/ 454093 w 1217015"/>
                <a:gd name="connsiteY144" fmla="*/ 947210 h 1078238"/>
                <a:gd name="connsiteX145" fmla="*/ 446106 w 1217015"/>
                <a:gd name="connsiteY145" fmla="*/ 950823 h 1078238"/>
                <a:gd name="connsiteX146" fmla="*/ 438690 w 1217015"/>
                <a:gd name="connsiteY146" fmla="*/ 956717 h 1078238"/>
                <a:gd name="connsiteX147" fmla="*/ 418534 w 1217015"/>
                <a:gd name="connsiteY147" fmla="*/ 967556 h 1078238"/>
                <a:gd name="connsiteX148" fmla="*/ 415111 w 1217015"/>
                <a:gd name="connsiteY148" fmla="*/ 967556 h 1078238"/>
                <a:gd name="connsiteX149" fmla="*/ 402561 w 1217015"/>
                <a:gd name="connsiteY149" fmla="*/ 953295 h 1078238"/>
                <a:gd name="connsiteX150" fmla="*/ 377651 w 1217015"/>
                <a:gd name="connsiteY150" fmla="*/ 939794 h 1078238"/>
                <a:gd name="connsiteX151" fmla="*/ 358636 w 1217015"/>
                <a:gd name="connsiteY151" fmla="*/ 937131 h 1078238"/>
                <a:gd name="connsiteX152" fmla="*/ 349128 w 1217015"/>
                <a:gd name="connsiteY152" fmla="*/ 919447 h 1078238"/>
                <a:gd name="connsiteX153" fmla="*/ 332774 w 1217015"/>
                <a:gd name="connsiteY153" fmla="*/ 895868 h 1078238"/>
                <a:gd name="connsiteX154" fmla="*/ 305392 w 1217015"/>
                <a:gd name="connsiteY154" fmla="*/ 878564 h 1078238"/>
                <a:gd name="connsiteX155" fmla="*/ 299497 w 1217015"/>
                <a:gd name="connsiteY155" fmla="*/ 872860 h 1078238"/>
                <a:gd name="connsiteX156" fmla="*/ 276869 w 1217015"/>
                <a:gd name="connsiteY156" fmla="*/ 859549 h 1078238"/>
                <a:gd name="connsiteX157" fmla="*/ 265840 w 1217015"/>
                <a:gd name="connsiteY157" fmla="*/ 860880 h 1078238"/>
                <a:gd name="connsiteX158" fmla="*/ 240170 w 1217015"/>
                <a:gd name="connsiteY158" fmla="*/ 859549 h 1078238"/>
                <a:gd name="connsiteX159" fmla="*/ 215640 w 1217015"/>
                <a:gd name="connsiteY159" fmla="*/ 841864 h 1078238"/>
                <a:gd name="connsiteX160" fmla="*/ 207083 w 1217015"/>
                <a:gd name="connsiteY160" fmla="*/ 834258 h 1078238"/>
                <a:gd name="connsiteX161" fmla="*/ 169052 w 1217015"/>
                <a:gd name="connsiteY161" fmla="*/ 815243 h 1078238"/>
                <a:gd name="connsiteX162" fmla="*/ 134824 w 1217015"/>
                <a:gd name="connsiteY162" fmla="*/ 799080 h 1078238"/>
                <a:gd name="connsiteX163" fmla="*/ 133493 w 1217015"/>
                <a:gd name="connsiteY163" fmla="*/ 798129 h 1078238"/>
                <a:gd name="connsiteX164" fmla="*/ 109344 w 1217015"/>
                <a:gd name="connsiteY164" fmla="*/ 775501 h 1078238"/>
                <a:gd name="connsiteX165" fmla="*/ 106111 w 1217015"/>
                <a:gd name="connsiteY165" fmla="*/ 767514 h 1078238"/>
                <a:gd name="connsiteX166" fmla="*/ 97174 w 1217015"/>
                <a:gd name="connsiteY166" fmla="*/ 754394 h 1078238"/>
                <a:gd name="connsiteX167" fmla="*/ 69601 w 1217015"/>
                <a:gd name="connsiteY167" fmla="*/ 773409 h 1078238"/>
                <a:gd name="connsiteX168" fmla="*/ 62756 w 1217015"/>
                <a:gd name="connsiteY168" fmla="*/ 780825 h 1078238"/>
                <a:gd name="connsiteX169" fmla="*/ 30430 w 1217015"/>
                <a:gd name="connsiteY169" fmla="*/ 808588 h 1078238"/>
                <a:gd name="connsiteX170" fmla="*/ 26817 w 1217015"/>
                <a:gd name="connsiteY170" fmla="*/ 811060 h 1078238"/>
                <a:gd name="connsiteX171" fmla="*/ 26817 w 1217015"/>
                <a:gd name="connsiteY171" fmla="*/ 811060 h 1078238"/>
                <a:gd name="connsiteX172" fmla="*/ 23774 w 1217015"/>
                <a:gd name="connsiteY172" fmla="*/ 812771 h 1078238"/>
                <a:gd name="connsiteX173" fmla="*/ 17500 w 1217015"/>
                <a:gd name="connsiteY173" fmla="*/ 816764 h 1078238"/>
                <a:gd name="connsiteX174" fmla="*/ 11414 w 1217015"/>
                <a:gd name="connsiteY174" fmla="*/ 827032 h 1078238"/>
                <a:gd name="connsiteX175" fmla="*/ 11414 w 1217015"/>
                <a:gd name="connsiteY175" fmla="*/ 833308 h 1078238"/>
                <a:gd name="connsiteX176" fmla="*/ 11414 w 1217015"/>
                <a:gd name="connsiteY176" fmla="*/ 843386 h 1078238"/>
                <a:gd name="connsiteX177" fmla="*/ 5900 w 1217015"/>
                <a:gd name="connsiteY177" fmla="*/ 857647 h 1078238"/>
                <a:gd name="connsiteX178" fmla="*/ 3428 w 1217015"/>
                <a:gd name="connsiteY178" fmla="*/ 862401 h 1078238"/>
                <a:gd name="connsiteX179" fmla="*/ 4949 w 1217015"/>
                <a:gd name="connsiteY179" fmla="*/ 889213 h 1078238"/>
                <a:gd name="connsiteX180" fmla="*/ 23965 w 1217015"/>
                <a:gd name="connsiteY180" fmla="*/ 910320 h 1078238"/>
                <a:gd name="connsiteX181" fmla="*/ 31761 w 1217015"/>
                <a:gd name="connsiteY181" fmla="*/ 905186 h 1078238"/>
                <a:gd name="connsiteX182" fmla="*/ 61425 w 1217015"/>
                <a:gd name="connsiteY182" fmla="*/ 911841 h 1078238"/>
                <a:gd name="connsiteX183" fmla="*/ 65418 w 1217015"/>
                <a:gd name="connsiteY183" fmla="*/ 913933 h 1078238"/>
                <a:gd name="connsiteX184" fmla="*/ 103449 w 1217015"/>
                <a:gd name="connsiteY184" fmla="*/ 929145 h 1078238"/>
                <a:gd name="connsiteX185" fmla="*/ 140148 w 1217015"/>
                <a:gd name="connsiteY185" fmla="*/ 933899 h 1078238"/>
                <a:gd name="connsiteX186" fmla="*/ 190159 w 1217015"/>
                <a:gd name="connsiteY186" fmla="*/ 943597 h 1078238"/>
                <a:gd name="connsiteX187" fmla="*/ 223056 w 1217015"/>
                <a:gd name="connsiteY187" fmla="*/ 953295 h 1078238"/>
                <a:gd name="connsiteX188" fmla="*/ 238838 w 1217015"/>
                <a:gd name="connsiteY188" fmla="*/ 953295 h 1078238"/>
                <a:gd name="connsiteX189" fmla="*/ 268122 w 1217015"/>
                <a:gd name="connsiteY189" fmla="*/ 953295 h 1078238"/>
                <a:gd name="connsiteX190" fmla="*/ 308055 w 1217015"/>
                <a:gd name="connsiteY190" fmla="*/ 1010340 h 1078238"/>
                <a:gd name="connsiteX191" fmla="*/ 335627 w 1217015"/>
                <a:gd name="connsiteY191" fmla="*/ 1059971 h 1078238"/>
                <a:gd name="connsiteX192" fmla="*/ 395525 w 1217015"/>
                <a:gd name="connsiteY192" fmla="*/ 1074232 h 1078238"/>
                <a:gd name="connsiteX193" fmla="*/ 419104 w 1217015"/>
                <a:gd name="connsiteY193" fmla="*/ 1077275 h 1078238"/>
                <a:gd name="connsiteX194" fmla="*/ 486229 w 1217015"/>
                <a:gd name="connsiteY194" fmla="*/ 1051794 h 1078238"/>
                <a:gd name="connsiteX195" fmla="*/ 559628 w 1217015"/>
                <a:gd name="connsiteY195" fmla="*/ 1018327 h 1078238"/>
                <a:gd name="connsiteX196" fmla="*/ 586440 w 1217015"/>
                <a:gd name="connsiteY196" fmla="*/ 1017377 h 1078238"/>
                <a:gd name="connsiteX197" fmla="*/ 599370 w 1217015"/>
                <a:gd name="connsiteY197" fmla="*/ 1017377 h 1078238"/>
                <a:gd name="connsiteX198" fmla="*/ 625231 w 1217015"/>
                <a:gd name="connsiteY198" fmla="*/ 1013003 h 1078238"/>
                <a:gd name="connsiteX199" fmla="*/ 639302 w 1217015"/>
                <a:gd name="connsiteY199" fmla="*/ 1009770 h 1078238"/>
                <a:gd name="connsiteX200" fmla="*/ 676383 w 1217015"/>
                <a:gd name="connsiteY200" fmla="*/ 1013003 h 1078238"/>
                <a:gd name="connsiteX201" fmla="*/ 690074 w 1217015"/>
                <a:gd name="connsiteY201" fmla="*/ 1024412 h 1078238"/>
                <a:gd name="connsiteX202" fmla="*/ 726773 w 1217015"/>
                <a:gd name="connsiteY202" fmla="*/ 1035441 h 1078238"/>
                <a:gd name="connsiteX203" fmla="*/ 734570 w 1217015"/>
                <a:gd name="connsiteY203" fmla="*/ 1034300 h 1078238"/>
                <a:gd name="connsiteX204" fmla="*/ 758148 w 1217015"/>
                <a:gd name="connsiteY204" fmla="*/ 983529 h 1078238"/>
                <a:gd name="connsiteX205" fmla="*/ 768417 w 1217015"/>
                <a:gd name="connsiteY205" fmla="*/ 979726 h 107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</a:cxnLst>
              <a:rect l="l" t="t" r="r" b="b"/>
              <a:pathLst>
                <a:path w="1217015" h="1078238">
                  <a:moveTo>
                    <a:pt x="768417" y="979726"/>
                  </a:moveTo>
                  <a:cubicBezTo>
                    <a:pt x="774882" y="975733"/>
                    <a:pt x="783059" y="970789"/>
                    <a:pt x="784390" y="965464"/>
                  </a:cubicBezTo>
                  <a:cubicBezTo>
                    <a:pt x="784979" y="964000"/>
                    <a:pt x="784979" y="962365"/>
                    <a:pt x="784390" y="960901"/>
                  </a:cubicBezTo>
                  <a:cubicBezTo>
                    <a:pt x="782298" y="958048"/>
                    <a:pt x="773741" y="957668"/>
                    <a:pt x="768417" y="957478"/>
                  </a:cubicBezTo>
                  <a:lnTo>
                    <a:pt x="763283" y="957478"/>
                  </a:lnTo>
                  <a:cubicBezTo>
                    <a:pt x="753034" y="959779"/>
                    <a:pt x="742860" y="953333"/>
                    <a:pt x="740559" y="943083"/>
                  </a:cubicBezTo>
                  <a:cubicBezTo>
                    <a:pt x="739304" y="937455"/>
                    <a:pt x="740673" y="931560"/>
                    <a:pt x="744268" y="927053"/>
                  </a:cubicBezTo>
                  <a:cubicBezTo>
                    <a:pt x="744268" y="924581"/>
                    <a:pt x="745598" y="922109"/>
                    <a:pt x="746169" y="919637"/>
                  </a:cubicBezTo>
                  <a:cubicBezTo>
                    <a:pt x="747215" y="913267"/>
                    <a:pt x="749687" y="907220"/>
                    <a:pt x="753395" y="901953"/>
                  </a:cubicBezTo>
                  <a:cubicBezTo>
                    <a:pt x="755068" y="899995"/>
                    <a:pt x="756988" y="898283"/>
                    <a:pt x="759100" y="896819"/>
                  </a:cubicBezTo>
                  <a:cubicBezTo>
                    <a:pt x="760887" y="895659"/>
                    <a:pt x="762427" y="894176"/>
                    <a:pt x="763663" y="892445"/>
                  </a:cubicBezTo>
                  <a:cubicBezTo>
                    <a:pt x="764994" y="888832"/>
                    <a:pt x="761952" y="884649"/>
                    <a:pt x="757388" y="878374"/>
                  </a:cubicBezTo>
                  <a:cubicBezTo>
                    <a:pt x="754175" y="874609"/>
                    <a:pt x="751664" y="870292"/>
                    <a:pt x="749972" y="865634"/>
                  </a:cubicBezTo>
                  <a:cubicBezTo>
                    <a:pt x="747576" y="860519"/>
                    <a:pt x="747576" y="854586"/>
                    <a:pt x="749972" y="849470"/>
                  </a:cubicBezTo>
                  <a:cubicBezTo>
                    <a:pt x="754726" y="843899"/>
                    <a:pt x="761666" y="840648"/>
                    <a:pt x="768987" y="840533"/>
                  </a:cubicBezTo>
                  <a:cubicBezTo>
                    <a:pt x="772600" y="840020"/>
                    <a:pt x="776118" y="838993"/>
                    <a:pt x="779446" y="837491"/>
                  </a:cubicBezTo>
                  <a:cubicBezTo>
                    <a:pt x="780910" y="836654"/>
                    <a:pt x="782317" y="835703"/>
                    <a:pt x="783629" y="834638"/>
                  </a:cubicBezTo>
                  <a:cubicBezTo>
                    <a:pt x="787794" y="830531"/>
                    <a:pt x="793613" y="828573"/>
                    <a:pt x="799412" y="829314"/>
                  </a:cubicBezTo>
                  <a:cubicBezTo>
                    <a:pt x="802759" y="829885"/>
                    <a:pt x="805934" y="831197"/>
                    <a:pt x="808729" y="833117"/>
                  </a:cubicBezTo>
                  <a:cubicBezTo>
                    <a:pt x="810612" y="834582"/>
                    <a:pt x="812837" y="835494"/>
                    <a:pt x="815195" y="835779"/>
                  </a:cubicBezTo>
                  <a:cubicBezTo>
                    <a:pt x="825425" y="834258"/>
                    <a:pt x="834762" y="829048"/>
                    <a:pt x="841436" y="821138"/>
                  </a:cubicBezTo>
                  <a:cubicBezTo>
                    <a:pt x="843908" y="818666"/>
                    <a:pt x="846380" y="815623"/>
                    <a:pt x="848852" y="812581"/>
                  </a:cubicBezTo>
                  <a:cubicBezTo>
                    <a:pt x="854500" y="803986"/>
                    <a:pt x="862676" y="797349"/>
                    <a:pt x="872241" y="793565"/>
                  </a:cubicBezTo>
                  <a:cubicBezTo>
                    <a:pt x="879258" y="792044"/>
                    <a:pt x="886578" y="792976"/>
                    <a:pt x="892967" y="796228"/>
                  </a:cubicBezTo>
                  <a:cubicBezTo>
                    <a:pt x="896562" y="798015"/>
                    <a:pt x="900536" y="798928"/>
                    <a:pt x="904567" y="798890"/>
                  </a:cubicBezTo>
                  <a:cubicBezTo>
                    <a:pt x="911983" y="797749"/>
                    <a:pt x="916166" y="787290"/>
                    <a:pt x="919399" y="778924"/>
                  </a:cubicBezTo>
                  <a:lnTo>
                    <a:pt x="921110" y="774930"/>
                  </a:lnTo>
                  <a:cubicBezTo>
                    <a:pt x="926359" y="760954"/>
                    <a:pt x="935296" y="748670"/>
                    <a:pt x="946972" y="739372"/>
                  </a:cubicBezTo>
                  <a:cubicBezTo>
                    <a:pt x="957810" y="732127"/>
                    <a:pt x="966101" y="721687"/>
                    <a:pt x="970741" y="709517"/>
                  </a:cubicBezTo>
                  <a:cubicBezTo>
                    <a:pt x="970741" y="707235"/>
                    <a:pt x="972262" y="704573"/>
                    <a:pt x="973023" y="702101"/>
                  </a:cubicBezTo>
                  <a:cubicBezTo>
                    <a:pt x="974753" y="691548"/>
                    <a:pt x="979811" y="681812"/>
                    <a:pt x="987474" y="674339"/>
                  </a:cubicBezTo>
                  <a:cubicBezTo>
                    <a:pt x="991639" y="670840"/>
                    <a:pt x="996868" y="668901"/>
                    <a:pt x="1002306" y="668824"/>
                  </a:cubicBezTo>
                  <a:lnTo>
                    <a:pt x="1007060" y="668824"/>
                  </a:lnTo>
                  <a:cubicBezTo>
                    <a:pt x="1010958" y="668197"/>
                    <a:pt x="1014514" y="666257"/>
                    <a:pt x="1017138" y="663310"/>
                  </a:cubicBezTo>
                  <a:lnTo>
                    <a:pt x="1021892" y="659127"/>
                  </a:lnTo>
                  <a:cubicBezTo>
                    <a:pt x="1025885" y="656084"/>
                    <a:pt x="1029878" y="653612"/>
                    <a:pt x="1033871" y="651140"/>
                  </a:cubicBezTo>
                  <a:cubicBezTo>
                    <a:pt x="1039481" y="647946"/>
                    <a:pt x="1044654" y="644047"/>
                    <a:pt x="1049274" y="639541"/>
                  </a:cubicBezTo>
                  <a:cubicBezTo>
                    <a:pt x="1055340" y="633760"/>
                    <a:pt x="1062357" y="629063"/>
                    <a:pt x="1070001" y="625660"/>
                  </a:cubicBezTo>
                  <a:cubicBezTo>
                    <a:pt x="1074736" y="623511"/>
                    <a:pt x="1079261" y="620887"/>
                    <a:pt x="1083502" y="617863"/>
                  </a:cubicBezTo>
                  <a:cubicBezTo>
                    <a:pt x="1090234" y="611721"/>
                    <a:pt x="1095672" y="604286"/>
                    <a:pt x="1099475" y="595996"/>
                  </a:cubicBezTo>
                  <a:cubicBezTo>
                    <a:pt x="1101376" y="592763"/>
                    <a:pt x="1103088" y="589721"/>
                    <a:pt x="1104989" y="586868"/>
                  </a:cubicBezTo>
                  <a:cubicBezTo>
                    <a:pt x="1114497" y="571846"/>
                    <a:pt x="1122293" y="544083"/>
                    <a:pt x="1104989" y="528491"/>
                  </a:cubicBezTo>
                  <a:cubicBezTo>
                    <a:pt x="1100939" y="525562"/>
                    <a:pt x="1096451" y="523319"/>
                    <a:pt x="1091678" y="521835"/>
                  </a:cubicBezTo>
                  <a:cubicBezTo>
                    <a:pt x="1084396" y="519573"/>
                    <a:pt x="1077835" y="515446"/>
                    <a:pt x="1072663" y="509856"/>
                  </a:cubicBezTo>
                  <a:cubicBezTo>
                    <a:pt x="1063022" y="497115"/>
                    <a:pt x="1060646" y="480287"/>
                    <a:pt x="1066388" y="465360"/>
                  </a:cubicBezTo>
                  <a:cubicBezTo>
                    <a:pt x="1070476" y="458058"/>
                    <a:pt x="1076295" y="451859"/>
                    <a:pt x="1083312" y="447295"/>
                  </a:cubicBezTo>
                  <a:cubicBezTo>
                    <a:pt x="1087153" y="444462"/>
                    <a:pt x="1090709" y="441286"/>
                    <a:pt x="1093960" y="437787"/>
                  </a:cubicBezTo>
                  <a:cubicBezTo>
                    <a:pt x="1096812" y="434365"/>
                    <a:pt x="1100045" y="430752"/>
                    <a:pt x="1103468" y="427329"/>
                  </a:cubicBezTo>
                  <a:cubicBezTo>
                    <a:pt x="1109325" y="421472"/>
                    <a:pt x="1114668" y="415102"/>
                    <a:pt x="1119441" y="408314"/>
                  </a:cubicBezTo>
                  <a:cubicBezTo>
                    <a:pt x="1122388" y="403237"/>
                    <a:pt x="1124689" y="397798"/>
                    <a:pt x="1126287" y="392151"/>
                  </a:cubicBezTo>
                  <a:cubicBezTo>
                    <a:pt x="1128378" y="383936"/>
                    <a:pt x="1132143" y="376235"/>
                    <a:pt x="1137315" y="369522"/>
                  </a:cubicBezTo>
                  <a:cubicBezTo>
                    <a:pt x="1141327" y="364160"/>
                    <a:pt x="1144712" y="358360"/>
                    <a:pt x="1147393" y="352218"/>
                  </a:cubicBezTo>
                  <a:cubicBezTo>
                    <a:pt x="1149865" y="346723"/>
                    <a:pt x="1152794" y="341437"/>
                    <a:pt x="1156141" y="336435"/>
                  </a:cubicBezTo>
                  <a:cubicBezTo>
                    <a:pt x="1163633" y="325426"/>
                    <a:pt x="1174319" y="317002"/>
                    <a:pt x="1186755" y="312286"/>
                  </a:cubicBezTo>
                  <a:cubicBezTo>
                    <a:pt x="1198735" y="306962"/>
                    <a:pt x="1209004" y="302588"/>
                    <a:pt x="1213757" y="290989"/>
                  </a:cubicBezTo>
                  <a:cubicBezTo>
                    <a:pt x="1222086" y="270319"/>
                    <a:pt x="1213986" y="246683"/>
                    <a:pt x="1194742" y="235464"/>
                  </a:cubicBezTo>
                  <a:cubicBezTo>
                    <a:pt x="1192821" y="234627"/>
                    <a:pt x="1190863" y="233924"/>
                    <a:pt x="1188847" y="233372"/>
                  </a:cubicBezTo>
                  <a:cubicBezTo>
                    <a:pt x="1184511" y="232231"/>
                    <a:pt x="1180404" y="230368"/>
                    <a:pt x="1176677" y="227858"/>
                  </a:cubicBezTo>
                  <a:cubicBezTo>
                    <a:pt x="1174738" y="226527"/>
                    <a:pt x="1172969" y="225005"/>
                    <a:pt x="1171353" y="223294"/>
                  </a:cubicBezTo>
                  <a:cubicBezTo>
                    <a:pt x="1169527" y="221107"/>
                    <a:pt x="1166941" y="219681"/>
                    <a:pt x="1164127" y="219301"/>
                  </a:cubicBezTo>
                  <a:cubicBezTo>
                    <a:pt x="1159906" y="218540"/>
                    <a:pt x="1155608" y="218540"/>
                    <a:pt x="1151387" y="219301"/>
                  </a:cubicBezTo>
                  <a:cubicBezTo>
                    <a:pt x="1142297" y="221678"/>
                    <a:pt x="1132637" y="219928"/>
                    <a:pt x="1124955" y="214547"/>
                  </a:cubicBezTo>
                  <a:cubicBezTo>
                    <a:pt x="1117292" y="207017"/>
                    <a:pt x="1111664" y="197661"/>
                    <a:pt x="1108602" y="187355"/>
                  </a:cubicBezTo>
                  <a:cubicBezTo>
                    <a:pt x="1107271" y="183742"/>
                    <a:pt x="1105940" y="180319"/>
                    <a:pt x="1104609" y="177467"/>
                  </a:cubicBezTo>
                  <a:cubicBezTo>
                    <a:pt x="1099076" y="166970"/>
                    <a:pt x="1092724" y="156911"/>
                    <a:pt x="1085593" y="147422"/>
                  </a:cubicBezTo>
                  <a:lnTo>
                    <a:pt x="1079128" y="137725"/>
                  </a:lnTo>
                  <a:cubicBezTo>
                    <a:pt x="1075743" y="131735"/>
                    <a:pt x="1073119" y="125346"/>
                    <a:pt x="1071332" y="118709"/>
                  </a:cubicBezTo>
                  <a:cubicBezTo>
                    <a:pt x="1069944" y="112567"/>
                    <a:pt x="1067358" y="106749"/>
                    <a:pt x="1063726" y="101596"/>
                  </a:cubicBezTo>
                  <a:cubicBezTo>
                    <a:pt x="1061672" y="99352"/>
                    <a:pt x="1059048" y="97697"/>
                    <a:pt x="1056120" y="96842"/>
                  </a:cubicBezTo>
                  <a:cubicBezTo>
                    <a:pt x="1049217" y="94902"/>
                    <a:pt x="1044007" y="89235"/>
                    <a:pt x="1042619" y="82200"/>
                  </a:cubicBezTo>
                  <a:cubicBezTo>
                    <a:pt x="1041896" y="79005"/>
                    <a:pt x="1041383" y="75773"/>
                    <a:pt x="1041097" y="72502"/>
                  </a:cubicBezTo>
                  <a:cubicBezTo>
                    <a:pt x="1041097" y="69840"/>
                    <a:pt x="1041097" y="66987"/>
                    <a:pt x="1039957" y="64515"/>
                  </a:cubicBezTo>
                  <a:lnTo>
                    <a:pt x="1039957" y="62044"/>
                  </a:lnTo>
                  <a:cubicBezTo>
                    <a:pt x="1038150" y="57518"/>
                    <a:pt x="1038150" y="52498"/>
                    <a:pt x="1039957" y="47972"/>
                  </a:cubicBezTo>
                  <a:cubicBezTo>
                    <a:pt x="1041725" y="44302"/>
                    <a:pt x="1044578" y="41241"/>
                    <a:pt x="1048133" y="39225"/>
                  </a:cubicBezTo>
                  <a:cubicBezTo>
                    <a:pt x="1049255" y="31353"/>
                    <a:pt x="1053248" y="24165"/>
                    <a:pt x="1059352" y="19069"/>
                  </a:cubicBezTo>
                  <a:cubicBezTo>
                    <a:pt x="1063155" y="14695"/>
                    <a:pt x="1068860" y="8420"/>
                    <a:pt x="1068289" y="5378"/>
                  </a:cubicBezTo>
                  <a:cubicBezTo>
                    <a:pt x="1067719" y="2335"/>
                    <a:pt x="1066388" y="244"/>
                    <a:pt x="1065627" y="53"/>
                  </a:cubicBezTo>
                  <a:cubicBezTo>
                    <a:pt x="1064867" y="-137"/>
                    <a:pt x="1058021" y="-1088"/>
                    <a:pt x="1037104" y="25154"/>
                  </a:cubicBezTo>
                  <a:cubicBezTo>
                    <a:pt x="1032579" y="30801"/>
                    <a:pt x="1026779" y="35289"/>
                    <a:pt x="1020180" y="38274"/>
                  </a:cubicBezTo>
                  <a:cubicBezTo>
                    <a:pt x="1017024" y="39910"/>
                    <a:pt x="1013962" y="41735"/>
                    <a:pt x="1011053" y="43789"/>
                  </a:cubicBezTo>
                  <a:cubicBezTo>
                    <a:pt x="1004588" y="48733"/>
                    <a:pt x="1003827" y="55388"/>
                    <a:pt x="1003447" y="65847"/>
                  </a:cubicBezTo>
                  <a:cubicBezTo>
                    <a:pt x="1003447" y="67748"/>
                    <a:pt x="1003447" y="69650"/>
                    <a:pt x="1003447" y="71741"/>
                  </a:cubicBezTo>
                  <a:cubicBezTo>
                    <a:pt x="1003732" y="82941"/>
                    <a:pt x="999492" y="93780"/>
                    <a:pt x="991657" y="101786"/>
                  </a:cubicBezTo>
                  <a:cubicBezTo>
                    <a:pt x="987227" y="105532"/>
                    <a:pt x="982131" y="108441"/>
                    <a:pt x="976636" y="110343"/>
                  </a:cubicBezTo>
                  <a:cubicBezTo>
                    <a:pt x="972129" y="111731"/>
                    <a:pt x="967983" y="114070"/>
                    <a:pt x="964465" y="117188"/>
                  </a:cubicBezTo>
                  <a:cubicBezTo>
                    <a:pt x="962621" y="119166"/>
                    <a:pt x="961081" y="121410"/>
                    <a:pt x="959902" y="123844"/>
                  </a:cubicBezTo>
                  <a:cubicBezTo>
                    <a:pt x="956803" y="132077"/>
                    <a:pt x="948473" y="137097"/>
                    <a:pt x="939746" y="136013"/>
                  </a:cubicBezTo>
                  <a:cubicBezTo>
                    <a:pt x="935923" y="135481"/>
                    <a:pt x="932177" y="134587"/>
                    <a:pt x="928527" y="133351"/>
                  </a:cubicBezTo>
                  <a:cubicBezTo>
                    <a:pt x="923735" y="130879"/>
                    <a:pt x="917954" y="131392"/>
                    <a:pt x="913695" y="134682"/>
                  </a:cubicBezTo>
                  <a:cubicBezTo>
                    <a:pt x="890306" y="149324"/>
                    <a:pt x="880418" y="143619"/>
                    <a:pt x="861022" y="132400"/>
                  </a:cubicBezTo>
                  <a:lnTo>
                    <a:pt x="858930" y="131069"/>
                  </a:lnTo>
                  <a:cubicBezTo>
                    <a:pt x="849251" y="126772"/>
                    <a:pt x="838280" y="126373"/>
                    <a:pt x="828315" y="129928"/>
                  </a:cubicBezTo>
                  <a:cubicBezTo>
                    <a:pt x="818371" y="132781"/>
                    <a:pt x="807931" y="133427"/>
                    <a:pt x="797701" y="131830"/>
                  </a:cubicBezTo>
                  <a:lnTo>
                    <a:pt x="792757" y="130499"/>
                  </a:lnTo>
                  <a:cubicBezTo>
                    <a:pt x="781728" y="127837"/>
                    <a:pt x="773741" y="126506"/>
                    <a:pt x="769558" y="132781"/>
                  </a:cubicBezTo>
                  <a:cubicBezTo>
                    <a:pt x="767162" y="136337"/>
                    <a:pt x="765774" y="140482"/>
                    <a:pt x="765565" y="144760"/>
                  </a:cubicBezTo>
                  <a:cubicBezTo>
                    <a:pt x="765203" y="150902"/>
                    <a:pt x="763169" y="156816"/>
                    <a:pt x="759670" y="161874"/>
                  </a:cubicBezTo>
                  <a:cubicBezTo>
                    <a:pt x="747881" y="176516"/>
                    <a:pt x="727914" y="172143"/>
                    <a:pt x="711751" y="168720"/>
                  </a:cubicBezTo>
                  <a:cubicBezTo>
                    <a:pt x="706084" y="167313"/>
                    <a:pt x="700285" y="166419"/>
                    <a:pt x="694447" y="166058"/>
                  </a:cubicBezTo>
                  <a:cubicBezTo>
                    <a:pt x="680566" y="166058"/>
                    <a:pt x="680185" y="169670"/>
                    <a:pt x="679425" y="179559"/>
                  </a:cubicBezTo>
                  <a:cubicBezTo>
                    <a:pt x="679482" y="188230"/>
                    <a:pt x="676211" y="196596"/>
                    <a:pt x="670297" y="202947"/>
                  </a:cubicBezTo>
                  <a:cubicBezTo>
                    <a:pt x="665163" y="207378"/>
                    <a:pt x="659022" y="210516"/>
                    <a:pt x="652423" y="212075"/>
                  </a:cubicBezTo>
                  <a:cubicBezTo>
                    <a:pt x="649419" y="212911"/>
                    <a:pt x="646509" y="213995"/>
                    <a:pt x="643676" y="215308"/>
                  </a:cubicBezTo>
                  <a:cubicBezTo>
                    <a:pt x="633731" y="219966"/>
                    <a:pt x="625155" y="227097"/>
                    <a:pt x="618766" y="236034"/>
                  </a:cubicBezTo>
                  <a:cubicBezTo>
                    <a:pt x="613575" y="242481"/>
                    <a:pt x="612472" y="251323"/>
                    <a:pt x="615914" y="258853"/>
                  </a:cubicBezTo>
                  <a:cubicBezTo>
                    <a:pt x="618690" y="261800"/>
                    <a:pt x="622151" y="264006"/>
                    <a:pt x="625992" y="265318"/>
                  </a:cubicBezTo>
                  <a:cubicBezTo>
                    <a:pt x="630384" y="266915"/>
                    <a:pt x="634435" y="269292"/>
                    <a:pt x="637972" y="272354"/>
                  </a:cubicBezTo>
                  <a:cubicBezTo>
                    <a:pt x="639530" y="273875"/>
                    <a:pt x="640881" y="275605"/>
                    <a:pt x="641965" y="277488"/>
                  </a:cubicBezTo>
                  <a:lnTo>
                    <a:pt x="644246" y="280530"/>
                  </a:lnTo>
                  <a:lnTo>
                    <a:pt x="648050" y="281861"/>
                  </a:lnTo>
                  <a:cubicBezTo>
                    <a:pt x="653184" y="283383"/>
                    <a:pt x="660980" y="285854"/>
                    <a:pt x="663262" y="292890"/>
                  </a:cubicBezTo>
                  <a:cubicBezTo>
                    <a:pt x="665544" y="299926"/>
                    <a:pt x="658508" y="307722"/>
                    <a:pt x="652993" y="311906"/>
                  </a:cubicBezTo>
                  <a:cubicBezTo>
                    <a:pt x="650826" y="313446"/>
                    <a:pt x="648905" y="315310"/>
                    <a:pt x="647289" y="317420"/>
                  </a:cubicBezTo>
                  <a:cubicBezTo>
                    <a:pt x="645882" y="324741"/>
                    <a:pt x="645368" y="332214"/>
                    <a:pt x="645767" y="339668"/>
                  </a:cubicBezTo>
                  <a:cubicBezTo>
                    <a:pt x="646053" y="344156"/>
                    <a:pt x="646053" y="348681"/>
                    <a:pt x="645767" y="353169"/>
                  </a:cubicBezTo>
                  <a:cubicBezTo>
                    <a:pt x="645197" y="363646"/>
                    <a:pt x="648449" y="373991"/>
                    <a:pt x="654895" y="382263"/>
                  </a:cubicBezTo>
                  <a:lnTo>
                    <a:pt x="656226" y="384544"/>
                  </a:lnTo>
                  <a:cubicBezTo>
                    <a:pt x="662615" y="397075"/>
                    <a:pt x="665753" y="410995"/>
                    <a:pt x="665353" y="425047"/>
                  </a:cubicBezTo>
                  <a:cubicBezTo>
                    <a:pt x="665411" y="431931"/>
                    <a:pt x="666057" y="438795"/>
                    <a:pt x="667255" y="445584"/>
                  </a:cubicBezTo>
                  <a:cubicBezTo>
                    <a:pt x="667883" y="453038"/>
                    <a:pt x="670887" y="460111"/>
                    <a:pt x="675812" y="465740"/>
                  </a:cubicBezTo>
                  <a:cubicBezTo>
                    <a:pt x="678550" y="467642"/>
                    <a:pt x="681668" y="468935"/>
                    <a:pt x="684939" y="469543"/>
                  </a:cubicBezTo>
                  <a:cubicBezTo>
                    <a:pt x="692698" y="470475"/>
                    <a:pt x="699372" y="475476"/>
                    <a:pt x="702433" y="482664"/>
                  </a:cubicBezTo>
                  <a:cubicBezTo>
                    <a:pt x="704373" y="491981"/>
                    <a:pt x="702966" y="501679"/>
                    <a:pt x="698440" y="510046"/>
                  </a:cubicBezTo>
                  <a:cubicBezTo>
                    <a:pt x="697584" y="511967"/>
                    <a:pt x="696824" y="513944"/>
                    <a:pt x="696159" y="515941"/>
                  </a:cubicBezTo>
                  <a:cubicBezTo>
                    <a:pt x="692735" y="527217"/>
                    <a:pt x="690074" y="538721"/>
                    <a:pt x="688172" y="550359"/>
                  </a:cubicBezTo>
                  <a:lnTo>
                    <a:pt x="686841" y="557394"/>
                  </a:lnTo>
                  <a:cubicBezTo>
                    <a:pt x="683608" y="573747"/>
                    <a:pt x="681136" y="588389"/>
                    <a:pt x="679235" y="602270"/>
                  </a:cubicBezTo>
                  <a:cubicBezTo>
                    <a:pt x="679235" y="607215"/>
                    <a:pt x="679235" y="612349"/>
                    <a:pt x="677903" y="617483"/>
                  </a:cubicBezTo>
                  <a:cubicBezTo>
                    <a:pt x="677409" y="628208"/>
                    <a:pt x="675736" y="638856"/>
                    <a:pt x="672960" y="649238"/>
                  </a:cubicBezTo>
                  <a:cubicBezTo>
                    <a:pt x="668187" y="661370"/>
                    <a:pt x="660162" y="671962"/>
                    <a:pt x="649761" y="679853"/>
                  </a:cubicBezTo>
                  <a:lnTo>
                    <a:pt x="647859" y="681565"/>
                  </a:lnTo>
                  <a:cubicBezTo>
                    <a:pt x="637268" y="691491"/>
                    <a:pt x="627475" y="702234"/>
                    <a:pt x="618576" y="713701"/>
                  </a:cubicBezTo>
                  <a:cubicBezTo>
                    <a:pt x="615533" y="717314"/>
                    <a:pt x="612491" y="720927"/>
                    <a:pt x="609638" y="724730"/>
                  </a:cubicBezTo>
                  <a:cubicBezTo>
                    <a:pt x="603744" y="732146"/>
                    <a:pt x="597849" y="739562"/>
                    <a:pt x="591574" y="746788"/>
                  </a:cubicBezTo>
                  <a:cubicBezTo>
                    <a:pt x="587276" y="751561"/>
                    <a:pt x="582637" y="756010"/>
                    <a:pt x="577693" y="760098"/>
                  </a:cubicBezTo>
                  <a:cubicBezTo>
                    <a:pt x="572102" y="764757"/>
                    <a:pt x="567006" y="769986"/>
                    <a:pt x="562481" y="775691"/>
                  </a:cubicBezTo>
                  <a:cubicBezTo>
                    <a:pt x="554646" y="787423"/>
                    <a:pt x="548561" y="800240"/>
                    <a:pt x="544416" y="813722"/>
                  </a:cubicBezTo>
                  <a:cubicBezTo>
                    <a:pt x="540137" y="827451"/>
                    <a:pt x="534205" y="840610"/>
                    <a:pt x="526732" y="852893"/>
                  </a:cubicBezTo>
                  <a:cubicBezTo>
                    <a:pt x="519677" y="863371"/>
                    <a:pt x="511082" y="872726"/>
                    <a:pt x="501251" y="880656"/>
                  </a:cubicBezTo>
                  <a:cubicBezTo>
                    <a:pt x="497448" y="883470"/>
                    <a:pt x="493435" y="886018"/>
                    <a:pt x="489271" y="888262"/>
                  </a:cubicBezTo>
                  <a:cubicBezTo>
                    <a:pt x="483338" y="891038"/>
                    <a:pt x="478033" y="894974"/>
                    <a:pt x="473678" y="899861"/>
                  </a:cubicBezTo>
                  <a:cubicBezTo>
                    <a:pt x="470636" y="903854"/>
                    <a:pt x="471206" y="908038"/>
                    <a:pt x="471967" y="914503"/>
                  </a:cubicBezTo>
                  <a:cubicBezTo>
                    <a:pt x="473374" y="920113"/>
                    <a:pt x="473374" y="926008"/>
                    <a:pt x="471967" y="931617"/>
                  </a:cubicBezTo>
                  <a:cubicBezTo>
                    <a:pt x="468734" y="939299"/>
                    <a:pt x="462136" y="945042"/>
                    <a:pt x="454093" y="947210"/>
                  </a:cubicBezTo>
                  <a:cubicBezTo>
                    <a:pt x="451278" y="948027"/>
                    <a:pt x="448578" y="949244"/>
                    <a:pt x="446106" y="950823"/>
                  </a:cubicBezTo>
                  <a:cubicBezTo>
                    <a:pt x="443501" y="952610"/>
                    <a:pt x="441029" y="954588"/>
                    <a:pt x="438690" y="956717"/>
                  </a:cubicBezTo>
                  <a:cubicBezTo>
                    <a:pt x="433366" y="962460"/>
                    <a:pt x="426273" y="966282"/>
                    <a:pt x="418534" y="967556"/>
                  </a:cubicBezTo>
                  <a:lnTo>
                    <a:pt x="415111" y="967556"/>
                  </a:lnTo>
                  <a:cubicBezTo>
                    <a:pt x="408855" y="965141"/>
                    <a:pt x="404158" y="959817"/>
                    <a:pt x="402561" y="953295"/>
                  </a:cubicBezTo>
                  <a:cubicBezTo>
                    <a:pt x="396286" y="936751"/>
                    <a:pt x="396286" y="936371"/>
                    <a:pt x="377651" y="939794"/>
                  </a:cubicBezTo>
                  <a:cubicBezTo>
                    <a:pt x="371224" y="941752"/>
                    <a:pt x="364283" y="940764"/>
                    <a:pt x="358636" y="937131"/>
                  </a:cubicBezTo>
                  <a:cubicBezTo>
                    <a:pt x="353140" y="932815"/>
                    <a:pt x="349698" y="926407"/>
                    <a:pt x="349128" y="919447"/>
                  </a:cubicBezTo>
                  <a:cubicBezTo>
                    <a:pt x="346846" y="905756"/>
                    <a:pt x="345705" y="901953"/>
                    <a:pt x="332774" y="895868"/>
                  </a:cubicBezTo>
                  <a:cubicBezTo>
                    <a:pt x="322715" y="891704"/>
                    <a:pt x="313455" y="885847"/>
                    <a:pt x="305392" y="878564"/>
                  </a:cubicBezTo>
                  <a:lnTo>
                    <a:pt x="299497" y="872860"/>
                  </a:lnTo>
                  <a:cubicBezTo>
                    <a:pt x="294268" y="865329"/>
                    <a:pt x="285997" y="860461"/>
                    <a:pt x="276869" y="859549"/>
                  </a:cubicBezTo>
                  <a:cubicBezTo>
                    <a:pt x="273161" y="859682"/>
                    <a:pt x="269472" y="860138"/>
                    <a:pt x="265840" y="860880"/>
                  </a:cubicBezTo>
                  <a:cubicBezTo>
                    <a:pt x="257340" y="862972"/>
                    <a:pt x="248403" y="862515"/>
                    <a:pt x="240170" y="859549"/>
                  </a:cubicBezTo>
                  <a:cubicBezTo>
                    <a:pt x="231061" y="855061"/>
                    <a:pt x="222770" y="849090"/>
                    <a:pt x="215640" y="841864"/>
                  </a:cubicBezTo>
                  <a:cubicBezTo>
                    <a:pt x="212787" y="839202"/>
                    <a:pt x="209935" y="836540"/>
                    <a:pt x="207083" y="834258"/>
                  </a:cubicBezTo>
                  <a:cubicBezTo>
                    <a:pt x="195464" y="826006"/>
                    <a:pt x="182629" y="819597"/>
                    <a:pt x="169052" y="815243"/>
                  </a:cubicBezTo>
                  <a:cubicBezTo>
                    <a:pt x="157148" y="810945"/>
                    <a:pt x="145701" y="805545"/>
                    <a:pt x="134824" y="799080"/>
                  </a:cubicBezTo>
                  <a:lnTo>
                    <a:pt x="133493" y="798129"/>
                  </a:lnTo>
                  <a:cubicBezTo>
                    <a:pt x="123624" y="792786"/>
                    <a:pt x="115314" y="784989"/>
                    <a:pt x="109344" y="775501"/>
                  </a:cubicBezTo>
                  <a:cubicBezTo>
                    <a:pt x="108088" y="772915"/>
                    <a:pt x="107005" y="770252"/>
                    <a:pt x="106111" y="767514"/>
                  </a:cubicBezTo>
                  <a:cubicBezTo>
                    <a:pt x="103449" y="760479"/>
                    <a:pt x="101357" y="755725"/>
                    <a:pt x="97174" y="754394"/>
                  </a:cubicBezTo>
                  <a:cubicBezTo>
                    <a:pt x="88427" y="752112"/>
                    <a:pt x="78159" y="764282"/>
                    <a:pt x="69601" y="773409"/>
                  </a:cubicBezTo>
                  <a:cubicBezTo>
                    <a:pt x="67453" y="775995"/>
                    <a:pt x="65171" y="778486"/>
                    <a:pt x="62756" y="780825"/>
                  </a:cubicBezTo>
                  <a:cubicBezTo>
                    <a:pt x="52735" y="790922"/>
                    <a:pt x="41915" y="800202"/>
                    <a:pt x="30430" y="808588"/>
                  </a:cubicBezTo>
                  <a:lnTo>
                    <a:pt x="26817" y="811060"/>
                  </a:lnTo>
                  <a:lnTo>
                    <a:pt x="26817" y="811060"/>
                  </a:lnTo>
                  <a:cubicBezTo>
                    <a:pt x="25714" y="811440"/>
                    <a:pt x="24668" y="812029"/>
                    <a:pt x="23774" y="812771"/>
                  </a:cubicBezTo>
                  <a:cubicBezTo>
                    <a:pt x="21625" y="813988"/>
                    <a:pt x="19515" y="815338"/>
                    <a:pt x="17500" y="816764"/>
                  </a:cubicBezTo>
                  <a:cubicBezTo>
                    <a:pt x="13867" y="818951"/>
                    <a:pt x="11586" y="822811"/>
                    <a:pt x="11414" y="827032"/>
                  </a:cubicBezTo>
                  <a:cubicBezTo>
                    <a:pt x="11148" y="829124"/>
                    <a:pt x="11148" y="831216"/>
                    <a:pt x="11414" y="833308"/>
                  </a:cubicBezTo>
                  <a:cubicBezTo>
                    <a:pt x="11909" y="836654"/>
                    <a:pt x="11909" y="840039"/>
                    <a:pt x="11414" y="843386"/>
                  </a:cubicBezTo>
                  <a:cubicBezTo>
                    <a:pt x="10482" y="848444"/>
                    <a:pt x="8619" y="853274"/>
                    <a:pt x="5900" y="857647"/>
                  </a:cubicBezTo>
                  <a:cubicBezTo>
                    <a:pt x="4968" y="859169"/>
                    <a:pt x="4132" y="860766"/>
                    <a:pt x="3428" y="862401"/>
                  </a:cubicBezTo>
                  <a:cubicBezTo>
                    <a:pt x="-1649" y="870787"/>
                    <a:pt x="-1041" y="881454"/>
                    <a:pt x="4949" y="889213"/>
                  </a:cubicBezTo>
                  <a:cubicBezTo>
                    <a:pt x="10217" y="897142"/>
                    <a:pt x="16624" y="904254"/>
                    <a:pt x="23965" y="910320"/>
                  </a:cubicBezTo>
                  <a:cubicBezTo>
                    <a:pt x="26094" y="907981"/>
                    <a:pt x="28775" y="906231"/>
                    <a:pt x="31761" y="905186"/>
                  </a:cubicBezTo>
                  <a:cubicBezTo>
                    <a:pt x="42143" y="903189"/>
                    <a:pt x="52887" y="905604"/>
                    <a:pt x="61425" y="911841"/>
                  </a:cubicBezTo>
                  <a:lnTo>
                    <a:pt x="65418" y="913933"/>
                  </a:lnTo>
                  <a:cubicBezTo>
                    <a:pt x="77626" y="920094"/>
                    <a:pt x="90347" y="925190"/>
                    <a:pt x="103449" y="929145"/>
                  </a:cubicBezTo>
                  <a:cubicBezTo>
                    <a:pt x="115429" y="932264"/>
                    <a:pt x="127769" y="933861"/>
                    <a:pt x="140148" y="933899"/>
                  </a:cubicBezTo>
                  <a:cubicBezTo>
                    <a:pt x="157300" y="933728"/>
                    <a:pt x="174319" y="937017"/>
                    <a:pt x="190159" y="943597"/>
                  </a:cubicBezTo>
                  <a:cubicBezTo>
                    <a:pt x="200180" y="949454"/>
                    <a:pt x="211456" y="952781"/>
                    <a:pt x="223056" y="953295"/>
                  </a:cubicBezTo>
                  <a:cubicBezTo>
                    <a:pt x="227810" y="953295"/>
                    <a:pt x="233324" y="953295"/>
                    <a:pt x="238838" y="953295"/>
                  </a:cubicBezTo>
                  <a:cubicBezTo>
                    <a:pt x="248536" y="951678"/>
                    <a:pt x="258424" y="951678"/>
                    <a:pt x="268122" y="953295"/>
                  </a:cubicBezTo>
                  <a:cubicBezTo>
                    <a:pt x="299117" y="960711"/>
                    <a:pt x="304442" y="991325"/>
                    <a:pt x="308055" y="1010340"/>
                  </a:cubicBezTo>
                  <a:cubicBezTo>
                    <a:pt x="309138" y="1030250"/>
                    <a:pt x="319293" y="1048542"/>
                    <a:pt x="335627" y="1059971"/>
                  </a:cubicBezTo>
                  <a:cubicBezTo>
                    <a:pt x="354490" y="1068528"/>
                    <a:pt x="374836" y="1073377"/>
                    <a:pt x="395525" y="1074232"/>
                  </a:cubicBezTo>
                  <a:cubicBezTo>
                    <a:pt x="403702" y="1075183"/>
                    <a:pt x="411688" y="1075944"/>
                    <a:pt x="419104" y="1077275"/>
                  </a:cubicBezTo>
                  <a:cubicBezTo>
                    <a:pt x="446296" y="1081839"/>
                    <a:pt x="464171" y="1069669"/>
                    <a:pt x="486229" y="1051794"/>
                  </a:cubicBezTo>
                  <a:cubicBezTo>
                    <a:pt x="506822" y="1033597"/>
                    <a:pt x="532379" y="1021940"/>
                    <a:pt x="559628" y="1018327"/>
                  </a:cubicBezTo>
                  <a:cubicBezTo>
                    <a:pt x="568546" y="1017548"/>
                    <a:pt x="577484" y="1017224"/>
                    <a:pt x="586440" y="1017377"/>
                  </a:cubicBezTo>
                  <a:lnTo>
                    <a:pt x="599370" y="1017377"/>
                  </a:lnTo>
                  <a:cubicBezTo>
                    <a:pt x="608117" y="1016844"/>
                    <a:pt x="616788" y="1015380"/>
                    <a:pt x="625231" y="1013003"/>
                  </a:cubicBezTo>
                  <a:lnTo>
                    <a:pt x="639302" y="1009770"/>
                  </a:lnTo>
                  <a:cubicBezTo>
                    <a:pt x="651644" y="1006291"/>
                    <a:pt x="664821" y="1007451"/>
                    <a:pt x="676383" y="1013003"/>
                  </a:cubicBezTo>
                  <a:cubicBezTo>
                    <a:pt x="681516" y="1016065"/>
                    <a:pt x="686137" y="1019925"/>
                    <a:pt x="690074" y="1024412"/>
                  </a:cubicBezTo>
                  <a:cubicBezTo>
                    <a:pt x="698497" y="1035840"/>
                    <a:pt x="713444" y="1040328"/>
                    <a:pt x="726773" y="1035441"/>
                  </a:cubicBezTo>
                  <a:lnTo>
                    <a:pt x="734570" y="1034300"/>
                  </a:lnTo>
                  <a:cubicBezTo>
                    <a:pt x="734665" y="1014753"/>
                    <a:pt x="743279" y="996212"/>
                    <a:pt x="758148" y="983529"/>
                  </a:cubicBezTo>
                  <a:cubicBezTo>
                    <a:pt x="761495" y="982046"/>
                    <a:pt x="764918" y="980772"/>
                    <a:pt x="768417" y="979726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373" name="Полилиния: фигура 372">
              <a:extLst>
                <a:ext uri="{FF2B5EF4-FFF2-40B4-BE49-F238E27FC236}">
                  <a16:creationId xmlns:a16="http://schemas.microsoft.com/office/drawing/2014/main" id="{1D9A9B9A-7D32-0A89-D20E-33E91BD76AE5}"/>
                </a:ext>
              </a:extLst>
            </p:cNvPr>
            <p:cNvSpPr/>
            <p:nvPr/>
          </p:nvSpPr>
          <p:spPr>
            <a:xfrm>
              <a:off x="6285333" y="4553815"/>
              <a:ext cx="833985" cy="1219318"/>
            </a:xfrm>
            <a:custGeom>
              <a:avLst/>
              <a:gdLst>
                <a:gd name="connsiteX0" fmla="*/ 399981 w 833985"/>
                <a:gd name="connsiteY0" fmla="*/ 998699 h 1219318"/>
                <a:gd name="connsiteX1" fmla="*/ 391692 w 833985"/>
                <a:gd name="connsiteY1" fmla="*/ 1001640 h 1219318"/>
                <a:gd name="connsiteX2" fmla="*/ 390029 w 833985"/>
                <a:gd name="connsiteY2" fmla="*/ 1003027 h 1219318"/>
                <a:gd name="connsiteX3" fmla="*/ 383145 w 833985"/>
                <a:gd name="connsiteY3" fmla="*/ 1003203 h 1219318"/>
                <a:gd name="connsiteX4" fmla="*/ 387879 w 833985"/>
                <a:gd name="connsiteY4" fmla="*/ 1004818 h 1219318"/>
                <a:gd name="connsiteX5" fmla="*/ 390029 w 833985"/>
                <a:gd name="connsiteY5" fmla="*/ 1003027 h 1219318"/>
                <a:gd name="connsiteX6" fmla="*/ 393161 w 833985"/>
                <a:gd name="connsiteY6" fmla="*/ 1002946 h 1219318"/>
                <a:gd name="connsiteX7" fmla="*/ 442077 w 833985"/>
                <a:gd name="connsiteY7" fmla="*/ 986722 h 1219318"/>
                <a:gd name="connsiteX8" fmla="*/ 436433 w 833985"/>
                <a:gd name="connsiteY8" fmla="*/ 987971 h 1219318"/>
                <a:gd name="connsiteX9" fmla="*/ 439725 w 833985"/>
                <a:gd name="connsiteY9" fmla="*/ 988175 h 1219318"/>
                <a:gd name="connsiteX10" fmla="*/ 428995 w 833985"/>
                <a:gd name="connsiteY10" fmla="*/ 0 h 1219318"/>
                <a:gd name="connsiteX11" fmla="*/ 437724 w 833985"/>
                <a:gd name="connsiteY11" fmla="*/ 23528 h 1219318"/>
                <a:gd name="connsiteX12" fmla="*/ 443362 w 833985"/>
                <a:gd name="connsiteY12" fmla="*/ 39213 h 1219318"/>
                <a:gd name="connsiteX13" fmla="*/ 477187 w 833985"/>
                <a:gd name="connsiteY13" fmla="*/ 66753 h 1219318"/>
                <a:gd name="connsiteX14" fmla="*/ 502101 w 833985"/>
                <a:gd name="connsiteY14" fmla="*/ 88275 h 1219318"/>
                <a:gd name="connsiteX15" fmla="*/ 515013 w 833985"/>
                <a:gd name="connsiteY15" fmla="*/ 102866 h 1219318"/>
                <a:gd name="connsiteX16" fmla="*/ 529198 w 833985"/>
                <a:gd name="connsiteY16" fmla="*/ 119828 h 1219318"/>
                <a:gd name="connsiteX17" fmla="*/ 530834 w 833985"/>
                <a:gd name="connsiteY17" fmla="*/ 122929 h 1219318"/>
                <a:gd name="connsiteX18" fmla="*/ 534471 w 833985"/>
                <a:gd name="connsiteY18" fmla="*/ 130589 h 1219318"/>
                <a:gd name="connsiteX19" fmla="*/ 535380 w 833985"/>
                <a:gd name="connsiteY19" fmla="*/ 132596 h 1219318"/>
                <a:gd name="connsiteX20" fmla="*/ 549383 w 833985"/>
                <a:gd name="connsiteY20" fmla="*/ 152658 h 1219318"/>
                <a:gd name="connsiteX21" fmla="*/ 580299 w 833985"/>
                <a:gd name="connsiteY21" fmla="*/ 162325 h 1219318"/>
                <a:gd name="connsiteX22" fmla="*/ 604303 w 833985"/>
                <a:gd name="connsiteY22" fmla="*/ 169438 h 1219318"/>
                <a:gd name="connsiteX23" fmla="*/ 606667 w 833985"/>
                <a:gd name="connsiteY23" fmla="*/ 172903 h 1219318"/>
                <a:gd name="connsiteX24" fmla="*/ 600848 w 833985"/>
                <a:gd name="connsiteY24" fmla="*/ 177828 h 1219318"/>
                <a:gd name="connsiteX25" fmla="*/ 596483 w 833985"/>
                <a:gd name="connsiteY25" fmla="*/ 180928 h 1219318"/>
                <a:gd name="connsiteX26" fmla="*/ 590300 w 833985"/>
                <a:gd name="connsiteY26" fmla="*/ 206462 h 1219318"/>
                <a:gd name="connsiteX27" fmla="*/ 608486 w 833985"/>
                <a:gd name="connsiteY27" fmla="*/ 221418 h 1219318"/>
                <a:gd name="connsiteX28" fmla="*/ 636855 w 833985"/>
                <a:gd name="connsiteY28" fmla="*/ 199714 h 1219318"/>
                <a:gd name="connsiteX29" fmla="*/ 667589 w 833985"/>
                <a:gd name="connsiteY29" fmla="*/ 184211 h 1219318"/>
                <a:gd name="connsiteX30" fmla="*/ 677772 w 833985"/>
                <a:gd name="connsiteY30" fmla="*/ 202450 h 1219318"/>
                <a:gd name="connsiteX31" fmla="*/ 685046 w 833985"/>
                <a:gd name="connsiteY31" fmla="*/ 218865 h 1219318"/>
                <a:gd name="connsiteX32" fmla="*/ 713234 w 833985"/>
                <a:gd name="connsiteY32" fmla="*/ 223242 h 1219318"/>
                <a:gd name="connsiteX33" fmla="*/ 718872 w 833985"/>
                <a:gd name="connsiteY33" fmla="*/ 220688 h 1219318"/>
                <a:gd name="connsiteX34" fmla="*/ 738512 w 833985"/>
                <a:gd name="connsiteY34" fmla="*/ 236009 h 1219318"/>
                <a:gd name="connsiteX35" fmla="*/ 741058 w 833985"/>
                <a:gd name="connsiteY35" fmla="*/ 241663 h 1219318"/>
                <a:gd name="connsiteX36" fmla="*/ 748514 w 833985"/>
                <a:gd name="connsiteY36" fmla="*/ 252059 h 1219318"/>
                <a:gd name="connsiteX37" fmla="*/ 753606 w 833985"/>
                <a:gd name="connsiteY37" fmla="*/ 258807 h 1219318"/>
                <a:gd name="connsiteX38" fmla="*/ 753606 w 833985"/>
                <a:gd name="connsiteY38" fmla="*/ 267562 h 1219318"/>
                <a:gd name="connsiteX39" fmla="*/ 752151 w 833985"/>
                <a:gd name="connsiteY39" fmla="*/ 275404 h 1219318"/>
                <a:gd name="connsiteX40" fmla="*/ 774519 w 833985"/>
                <a:gd name="connsiteY40" fmla="*/ 304405 h 1219318"/>
                <a:gd name="connsiteX41" fmla="*/ 787976 w 833985"/>
                <a:gd name="connsiteY41" fmla="*/ 316807 h 1219318"/>
                <a:gd name="connsiteX42" fmla="*/ 785248 w 833985"/>
                <a:gd name="connsiteY42" fmla="*/ 321913 h 1219318"/>
                <a:gd name="connsiteX43" fmla="*/ 781611 w 833985"/>
                <a:gd name="connsiteY43" fmla="*/ 324832 h 1219318"/>
                <a:gd name="connsiteX44" fmla="*/ 772883 w 833985"/>
                <a:gd name="connsiteY44" fmla="*/ 339605 h 1219318"/>
                <a:gd name="connsiteX45" fmla="*/ 778520 w 833985"/>
                <a:gd name="connsiteY45" fmla="*/ 349819 h 1219318"/>
                <a:gd name="connsiteX46" fmla="*/ 781248 w 833985"/>
                <a:gd name="connsiteY46" fmla="*/ 353466 h 1219318"/>
                <a:gd name="connsiteX47" fmla="*/ 781248 w 833985"/>
                <a:gd name="connsiteY47" fmla="*/ 359303 h 1219318"/>
                <a:gd name="connsiteX48" fmla="*/ 782703 w 833985"/>
                <a:gd name="connsiteY48" fmla="*/ 369335 h 1219318"/>
                <a:gd name="connsiteX49" fmla="*/ 796342 w 833985"/>
                <a:gd name="connsiteY49" fmla="*/ 381007 h 1219318"/>
                <a:gd name="connsiteX50" fmla="*/ 799616 w 833985"/>
                <a:gd name="connsiteY50" fmla="*/ 382467 h 1219318"/>
                <a:gd name="connsiteX51" fmla="*/ 824711 w 833985"/>
                <a:gd name="connsiteY51" fmla="*/ 410371 h 1219318"/>
                <a:gd name="connsiteX52" fmla="*/ 827439 w 833985"/>
                <a:gd name="connsiteY52" fmla="*/ 414749 h 1219318"/>
                <a:gd name="connsiteX53" fmla="*/ 833985 w 833985"/>
                <a:gd name="connsiteY53" fmla="*/ 424962 h 1219318"/>
                <a:gd name="connsiteX54" fmla="*/ 792705 w 833985"/>
                <a:gd name="connsiteY54" fmla="*/ 461986 h 1219318"/>
                <a:gd name="connsiteX55" fmla="*/ 755061 w 833985"/>
                <a:gd name="connsiteY55" fmla="*/ 553180 h 1219318"/>
                <a:gd name="connsiteX56" fmla="*/ 778338 w 833985"/>
                <a:gd name="connsiteY56" fmla="*/ 563030 h 1219318"/>
                <a:gd name="connsiteX57" fmla="*/ 781611 w 833985"/>
                <a:gd name="connsiteY57" fmla="*/ 563030 h 1219318"/>
                <a:gd name="connsiteX58" fmla="*/ 802343 w 833985"/>
                <a:gd name="connsiteY58" fmla="*/ 567407 h 1219318"/>
                <a:gd name="connsiteX59" fmla="*/ 820528 w 833985"/>
                <a:gd name="connsiteY59" fmla="*/ 598413 h 1219318"/>
                <a:gd name="connsiteX60" fmla="*/ 815254 w 833985"/>
                <a:gd name="connsiteY60" fmla="*/ 646745 h 1219318"/>
                <a:gd name="connsiteX61" fmla="*/ 806890 w 833985"/>
                <a:gd name="connsiteY61" fmla="*/ 678116 h 1219318"/>
                <a:gd name="connsiteX62" fmla="*/ 804343 w 833985"/>
                <a:gd name="connsiteY62" fmla="*/ 728638 h 1219318"/>
                <a:gd name="connsiteX63" fmla="*/ 802525 w 833985"/>
                <a:gd name="connsiteY63" fmla="*/ 769310 h 1219318"/>
                <a:gd name="connsiteX64" fmla="*/ 804889 w 833985"/>
                <a:gd name="connsiteY64" fmla="*/ 821108 h 1219318"/>
                <a:gd name="connsiteX65" fmla="*/ 812163 w 833985"/>
                <a:gd name="connsiteY65" fmla="*/ 837523 h 1219318"/>
                <a:gd name="connsiteX66" fmla="*/ 818892 w 833985"/>
                <a:gd name="connsiteY66" fmla="*/ 852661 h 1219318"/>
                <a:gd name="connsiteX67" fmla="*/ 798888 w 833985"/>
                <a:gd name="connsiteY67" fmla="*/ 891692 h 1219318"/>
                <a:gd name="connsiteX68" fmla="*/ 782339 w 833985"/>
                <a:gd name="connsiteY68" fmla="*/ 908654 h 1219318"/>
                <a:gd name="connsiteX69" fmla="*/ 769973 w 833985"/>
                <a:gd name="connsiteY69" fmla="*/ 932912 h 1219318"/>
                <a:gd name="connsiteX70" fmla="*/ 744695 w 833985"/>
                <a:gd name="connsiteY70" fmla="*/ 964282 h 1219318"/>
                <a:gd name="connsiteX71" fmla="*/ 669407 w 833985"/>
                <a:gd name="connsiteY71" fmla="*/ 971213 h 1219318"/>
                <a:gd name="connsiteX72" fmla="*/ 665952 w 833985"/>
                <a:gd name="connsiteY72" fmla="*/ 969572 h 1219318"/>
                <a:gd name="connsiteX73" fmla="*/ 660497 w 833985"/>
                <a:gd name="connsiteY73" fmla="*/ 966835 h 1219318"/>
                <a:gd name="connsiteX74" fmla="*/ 655768 w 833985"/>
                <a:gd name="connsiteY74" fmla="*/ 964282 h 1219318"/>
                <a:gd name="connsiteX75" fmla="*/ 634127 w 833985"/>
                <a:gd name="connsiteY75" fmla="*/ 958446 h 1219318"/>
                <a:gd name="connsiteX76" fmla="*/ 600666 w 833985"/>
                <a:gd name="connsiteY76" fmla="*/ 971761 h 1219318"/>
                <a:gd name="connsiteX77" fmla="*/ 535562 w 833985"/>
                <a:gd name="connsiteY77" fmla="*/ 982156 h 1219318"/>
                <a:gd name="connsiteX78" fmla="*/ 458273 w 833985"/>
                <a:gd name="connsiteY78" fmla="*/ 994194 h 1219318"/>
                <a:gd name="connsiteX79" fmla="*/ 458268 w 833985"/>
                <a:gd name="connsiteY79" fmla="*/ 994200 h 1219318"/>
                <a:gd name="connsiteX80" fmla="*/ 458367 w 833985"/>
                <a:gd name="connsiteY80" fmla="*/ 994497 h 1219318"/>
                <a:gd name="connsiteX81" fmla="*/ 457094 w 833985"/>
                <a:gd name="connsiteY81" fmla="*/ 995377 h 1219318"/>
                <a:gd name="connsiteX82" fmla="*/ 430214 w 833985"/>
                <a:gd name="connsiteY82" fmla="*/ 1022350 h 1219318"/>
                <a:gd name="connsiteX83" fmla="*/ 411537 w 833985"/>
                <a:gd name="connsiteY83" fmla="*/ 1057483 h 1219318"/>
                <a:gd name="connsiteX84" fmla="*/ 408628 w 833985"/>
                <a:gd name="connsiteY84" fmla="*/ 1066054 h 1219318"/>
                <a:gd name="connsiteX85" fmla="*/ 380076 w 833985"/>
                <a:gd name="connsiteY85" fmla="*/ 1105085 h 1219318"/>
                <a:gd name="connsiteX86" fmla="*/ 346798 w 833985"/>
                <a:gd name="connsiteY86" fmla="*/ 1125330 h 1219318"/>
                <a:gd name="connsiteX87" fmla="*/ 320973 w 833985"/>
                <a:gd name="connsiteY87" fmla="*/ 1141563 h 1219318"/>
                <a:gd name="connsiteX88" fmla="*/ 307880 w 833985"/>
                <a:gd name="connsiteY88" fmla="*/ 1147946 h 1219318"/>
                <a:gd name="connsiteX89" fmla="*/ 284966 w 833985"/>
                <a:gd name="connsiteY89" fmla="*/ 1160166 h 1219318"/>
                <a:gd name="connsiteX90" fmla="*/ 270963 w 833985"/>
                <a:gd name="connsiteY90" fmla="*/ 1171292 h 1219318"/>
                <a:gd name="connsiteX91" fmla="*/ 253687 w 833985"/>
                <a:gd name="connsiteY91" fmla="*/ 1184424 h 1219318"/>
                <a:gd name="connsiteX92" fmla="*/ 177126 w 833985"/>
                <a:gd name="connsiteY92" fmla="*/ 1207952 h 1219318"/>
                <a:gd name="connsiteX93" fmla="*/ 132390 w 833985"/>
                <a:gd name="connsiteY93" fmla="*/ 1213789 h 1219318"/>
                <a:gd name="connsiteX94" fmla="*/ 92927 w 833985"/>
                <a:gd name="connsiteY94" fmla="*/ 1219077 h 1219318"/>
                <a:gd name="connsiteX95" fmla="*/ 28732 w 833985"/>
                <a:gd name="connsiteY95" fmla="*/ 1183512 h 1219318"/>
                <a:gd name="connsiteX96" fmla="*/ 0 w 833985"/>
                <a:gd name="connsiteY96" fmla="*/ 1165274 h 1219318"/>
                <a:gd name="connsiteX97" fmla="*/ 18185 w 833985"/>
                <a:gd name="connsiteY97" fmla="*/ 1124966 h 1219318"/>
                <a:gd name="connsiteX98" fmla="*/ 25095 w 833985"/>
                <a:gd name="connsiteY98" fmla="*/ 1120588 h 1219318"/>
                <a:gd name="connsiteX99" fmla="*/ 45100 w 833985"/>
                <a:gd name="connsiteY99" fmla="*/ 1100708 h 1219318"/>
                <a:gd name="connsiteX100" fmla="*/ 43462 w 833985"/>
                <a:gd name="connsiteY100" fmla="*/ 1087576 h 1219318"/>
                <a:gd name="connsiteX101" fmla="*/ 20367 w 833985"/>
                <a:gd name="connsiteY101" fmla="*/ 1079916 h 1219318"/>
                <a:gd name="connsiteX102" fmla="*/ 18003 w 833985"/>
                <a:gd name="connsiteY102" fmla="*/ 1079916 h 1219318"/>
                <a:gd name="connsiteX103" fmla="*/ 7092 w 833985"/>
                <a:gd name="connsiteY103" fmla="*/ 1076451 h 1219318"/>
                <a:gd name="connsiteX104" fmla="*/ 9093 w 833985"/>
                <a:gd name="connsiteY104" fmla="*/ 1064231 h 1219318"/>
                <a:gd name="connsiteX105" fmla="*/ 11274 w 833985"/>
                <a:gd name="connsiteY105" fmla="*/ 1056206 h 1219318"/>
                <a:gd name="connsiteX106" fmla="*/ 16367 w 833985"/>
                <a:gd name="connsiteY106" fmla="*/ 1043256 h 1219318"/>
                <a:gd name="connsiteX107" fmla="*/ 19822 w 833985"/>
                <a:gd name="connsiteY107" fmla="*/ 1040338 h 1219318"/>
                <a:gd name="connsiteX108" fmla="*/ 27641 w 833985"/>
                <a:gd name="connsiteY108" fmla="*/ 1031401 h 1219318"/>
                <a:gd name="connsiteX109" fmla="*/ 20186 w 833985"/>
                <a:gd name="connsiteY109" fmla="*/ 1008055 h 1219318"/>
                <a:gd name="connsiteX110" fmla="*/ 14730 w 833985"/>
                <a:gd name="connsiteY110" fmla="*/ 999301 h 1219318"/>
                <a:gd name="connsiteX111" fmla="*/ 14730 w 833985"/>
                <a:gd name="connsiteY111" fmla="*/ 992006 h 1219318"/>
                <a:gd name="connsiteX112" fmla="*/ 25095 w 833985"/>
                <a:gd name="connsiteY112" fmla="*/ 988175 h 1219318"/>
                <a:gd name="connsiteX113" fmla="*/ 38007 w 833985"/>
                <a:gd name="connsiteY113" fmla="*/ 984163 h 1219318"/>
                <a:gd name="connsiteX114" fmla="*/ 43462 w 833985"/>
                <a:gd name="connsiteY114" fmla="*/ 980515 h 1219318"/>
                <a:gd name="connsiteX115" fmla="*/ 50919 w 833985"/>
                <a:gd name="connsiteY115" fmla="*/ 977414 h 1219318"/>
                <a:gd name="connsiteX116" fmla="*/ 55829 w 833985"/>
                <a:gd name="connsiteY116" fmla="*/ 979603 h 1219318"/>
                <a:gd name="connsiteX117" fmla="*/ 66922 w 833985"/>
                <a:gd name="connsiteY117" fmla="*/ 983616 h 1219318"/>
                <a:gd name="connsiteX118" fmla="*/ 99656 w 833985"/>
                <a:gd name="connsiteY118" fmla="*/ 966835 h 1219318"/>
                <a:gd name="connsiteX119" fmla="*/ 107476 w 833985"/>
                <a:gd name="connsiteY119" fmla="*/ 957717 h 1219318"/>
                <a:gd name="connsiteX120" fmla="*/ 124571 w 833985"/>
                <a:gd name="connsiteY120" fmla="*/ 942578 h 1219318"/>
                <a:gd name="connsiteX121" fmla="*/ 137845 w 833985"/>
                <a:gd name="connsiteY121" fmla="*/ 944767 h 1219318"/>
                <a:gd name="connsiteX122" fmla="*/ 154212 w 833985"/>
                <a:gd name="connsiteY122" fmla="*/ 947868 h 1219318"/>
                <a:gd name="connsiteX123" fmla="*/ 176580 w 833985"/>
                <a:gd name="connsiteY123" fmla="*/ 922151 h 1219318"/>
                <a:gd name="connsiteX124" fmla="*/ 178036 w 833985"/>
                <a:gd name="connsiteY124" fmla="*/ 918686 h 1219318"/>
                <a:gd name="connsiteX125" fmla="*/ 199858 w 833985"/>
                <a:gd name="connsiteY125" fmla="*/ 888409 h 1219318"/>
                <a:gd name="connsiteX126" fmla="*/ 225863 w 833985"/>
                <a:gd name="connsiteY126" fmla="*/ 855215 h 1219318"/>
                <a:gd name="connsiteX127" fmla="*/ 228046 w 833985"/>
                <a:gd name="connsiteY127" fmla="*/ 847555 h 1219318"/>
                <a:gd name="connsiteX128" fmla="*/ 238593 w 833985"/>
                <a:gd name="connsiteY128" fmla="*/ 826033 h 1219318"/>
                <a:gd name="connsiteX129" fmla="*/ 247322 w 833985"/>
                <a:gd name="connsiteY129" fmla="*/ 823114 h 1219318"/>
                <a:gd name="connsiteX130" fmla="*/ 252778 w 833985"/>
                <a:gd name="connsiteY130" fmla="*/ 823114 h 1219318"/>
                <a:gd name="connsiteX131" fmla="*/ 267326 w 833985"/>
                <a:gd name="connsiteY131" fmla="*/ 815272 h 1219318"/>
                <a:gd name="connsiteX132" fmla="*/ 271327 w 833985"/>
                <a:gd name="connsiteY132" fmla="*/ 811807 h 1219318"/>
                <a:gd name="connsiteX133" fmla="*/ 281875 w 833985"/>
                <a:gd name="connsiteY133" fmla="*/ 804694 h 1219318"/>
                <a:gd name="connsiteX134" fmla="*/ 298605 w 833985"/>
                <a:gd name="connsiteY134" fmla="*/ 792109 h 1219318"/>
                <a:gd name="connsiteX135" fmla="*/ 315700 w 833985"/>
                <a:gd name="connsiteY135" fmla="*/ 780801 h 1219318"/>
                <a:gd name="connsiteX136" fmla="*/ 330066 w 833985"/>
                <a:gd name="connsiteY136" fmla="*/ 772410 h 1219318"/>
                <a:gd name="connsiteX137" fmla="*/ 348252 w 833985"/>
                <a:gd name="connsiteY137" fmla="*/ 748153 h 1219318"/>
                <a:gd name="connsiteX138" fmla="*/ 352981 w 833985"/>
                <a:gd name="connsiteY138" fmla="*/ 739945 h 1219318"/>
                <a:gd name="connsiteX139" fmla="*/ 350798 w 833985"/>
                <a:gd name="connsiteY139" fmla="*/ 670639 h 1219318"/>
                <a:gd name="connsiteX140" fmla="*/ 334794 w 833985"/>
                <a:gd name="connsiteY140" fmla="*/ 662249 h 1219318"/>
                <a:gd name="connsiteX141" fmla="*/ 320428 w 833985"/>
                <a:gd name="connsiteY141" fmla="*/ 653858 h 1219318"/>
                <a:gd name="connsiteX142" fmla="*/ 315700 w 833985"/>
                <a:gd name="connsiteY142" fmla="*/ 622306 h 1219318"/>
                <a:gd name="connsiteX143" fmla="*/ 328975 w 833985"/>
                <a:gd name="connsiteY143" fmla="*/ 608626 h 1219318"/>
                <a:gd name="connsiteX144" fmla="*/ 340796 w 833985"/>
                <a:gd name="connsiteY144" fmla="*/ 597865 h 1219318"/>
                <a:gd name="connsiteX145" fmla="*/ 349343 w 833985"/>
                <a:gd name="connsiteY145" fmla="*/ 588199 h 1219318"/>
                <a:gd name="connsiteX146" fmla="*/ 365891 w 833985"/>
                <a:gd name="connsiteY146" fmla="*/ 568136 h 1219318"/>
                <a:gd name="connsiteX147" fmla="*/ 373530 w 833985"/>
                <a:gd name="connsiteY147" fmla="*/ 549898 h 1219318"/>
                <a:gd name="connsiteX148" fmla="*/ 382258 w 833985"/>
                <a:gd name="connsiteY148" fmla="*/ 531659 h 1219318"/>
                <a:gd name="connsiteX149" fmla="*/ 393170 w 833985"/>
                <a:gd name="connsiteY149" fmla="*/ 513420 h 1219318"/>
                <a:gd name="connsiteX150" fmla="*/ 400808 w 833985"/>
                <a:gd name="connsiteY150" fmla="*/ 499559 h 1219318"/>
                <a:gd name="connsiteX151" fmla="*/ 425904 w 833985"/>
                <a:gd name="connsiteY151" fmla="*/ 482779 h 1219318"/>
                <a:gd name="connsiteX152" fmla="*/ 457365 w 833985"/>
                <a:gd name="connsiteY152" fmla="*/ 456698 h 1219318"/>
                <a:gd name="connsiteX153" fmla="*/ 433542 w 833985"/>
                <a:gd name="connsiteY153" fmla="*/ 390126 h 1219318"/>
                <a:gd name="connsiteX154" fmla="*/ 426995 w 833985"/>
                <a:gd name="connsiteY154" fmla="*/ 387755 h 1219318"/>
                <a:gd name="connsiteX155" fmla="*/ 418084 w 833985"/>
                <a:gd name="connsiteY155" fmla="*/ 383925 h 1219318"/>
                <a:gd name="connsiteX156" fmla="*/ 414265 w 833985"/>
                <a:gd name="connsiteY156" fmla="*/ 380642 h 1219318"/>
                <a:gd name="connsiteX157" fmla="*/ 402262 w 833985"/>
                <a:gd name="connsiteY157" fmla="*/ 373894 h 1219318"/>
                <a:gd name="connsiteX158" fmla="*/ 386805 w 833985"/>
                <a:gd name="connsiteY158" fmla="*/ 373894 h 1219318"/>
                <a:gd name="connsiteX159" fmla="*/ 368620 w 833985"/>
                <a:gd name="connsiteY159" fmla="*/ 371340 h 1219318"/>
                <a:gd name="connsiteX160" fmla="*/ 356253 w 833985"/>
                <a:gd name="connsiteY160" fmla="*/ 349637 h 1219318"/>
                <a:gd name="connsiteX161" fmla="*/ 352071 w 833985"/>
                <a:gd name="connsiteY161" fmla="*/ 339422 h 1219318"/>
                <a:gd name="connsiteX162" fmla="*/ 333885 w 833985"/>
                <a:gd name="connsiteY162" fmla="*/ 309329 h 1219318"/>
                <a:gd name="connsiteX163" fmla="*/ 327884 w 833985"/>
                <a:gd name="connsiteY163" fmla="*/ 300209 h 1219318"/>
                <a:gd name="connsiteX164" fmla="*/ 321519 w 833985"/>
                <a:gd name="connsiteY164" fmla="*/ 284706 h 1219318"/>
                <a:gd name="connsiteX165" fmla="*/ 312245 w 833985"/>
                <a:gd name="connsiteY165" fmla="*/ 264461 h 1219318"/>
                <a:gd name="connsiteX166" fmla="*/ 301152 w 833985"/>
                <a:gd name="connsiteY166" fmla="*/ 257166 h 1219318"/>
                <a:gd name="connsiteX167" fmla="*/ 294241 w 833985"/>
                <a:gd name="connsiteY167" fmla="*/ 250417 h 1219318"/>
                <a:gd name="connsiteX168" fmla="*/ 292968 w 833985"/>
                <a:gd name="connsiteY168" fmla="*/ 242392 h 1219318"/>
                <a:gd name="connsiteX169" fmla="*/ 291695 w 833985"/>
                <a:gd name="connsiteY169" fmla="*/ 233456 h 1219318"/>
                <a:gd name="connsiteX170" fmla="*/ 291695 w 833985"/>
                <a:gd name="connsiteY170" fmla="*/ 230902 h 1219318"/>
                <a:gd name="connsiteX171" fmla="*/ 291695 w 833985"/>
                <a:gd name="connsiteY171" fmla="*/ 224518 h 1219318"/>
                <a:gd name="connsiteX172" fmla="*/ 295332 w 833985"/>
                <a:gd name="connsiteY172" fmla="*/ 220688 h 1219318"/>
                <a:gd name="connsiteX173" fmla="*/ 303152 w 833985"/>
                <a:gd name="connsiteY173" fmla="*/ 224701 h 1219318"/>
                <a:gd name="connsiteX174" fmla="*/ 328975 w 833985"/>
                <a:gd name="connsiteY174" fmla="*/ 223607 h 1219318"/>
                <a:gd name="connsiteX175" fmla="*/ 339341 w 833985"/>
                <a:gd name="connsiteY175" fmla="*/ 221965 h 1219318"/>
                <a:gd name="connsiteX176" fmla="*/ 344797 w 833985"/>
                <a:gd name="connsiteY176" fmla="*/ 221965 h 1219318"/>
                <a:gd name="connsiteX177" fmla="*/ 378258 w 833985"/>
                <a:gd name="connsiteY177" fmla="*/ 211204 h 1219318"/>
                <a:gd name="connsiteX178" fmla="*/ 388987 w 833985"/>
                <a:gd name="connsiteY178" fmla="*/ 198802 h 1219318"/>
                <a:gd name="connsiteX179" fmla="*/ 399898 w 833985"/>
                <a:gd name="connsiteY179" fmla="*/ 186217 h 1219318"/>
                <a:gd name="connsiteX180" fmla="*/ 408628 w 833985"/>
                <a:gd name="connsiteY180" fmla="*/ 158859 h 1219318"/>
                <a:gd name="connsiteX181" fmla="*/ 405173 w 833985"/>
                <a:gd name="connsiteY181" fmla="*/ 153023 h 1219318"/>
                <a:gd name="connsiteX182" fmla="*/ 402262 w 833985"/>
                <a:gd name="connsiteY182" fmla="*/ 147551 h 1219318"/>
                <a:gd name="connsiteX183" fmla="*/ 402262 w 833985"/>
                <a:gd name="connsiteY183" fmla="*/ 143721 h 1219318"/>
                <a:gd name="connsiteX184" fmla="*/ 399717 w 833985"/>
                <a:gd name="connsiteY184" fmla="*/ 131866 h 1219318"/>
                <a:gd name="connsiteX185" fmla="*/ 381531 w 833985"/>
                <a:gd name="connsiteY185" fmla="*/ 125665 h 1219318"/>
                <a:gd name="connsiteX186" fmla="*/ 374439 w 833985"/>
                <a:gd name="connsiteY186" fmla="*/ 125665 h 1219318"/>
                <a:gd name="connsiteX187" fmla="*/ 344433 w 833985"/>
                <a:gd name="connsiteY187" fmla="*/ 86451 h 1219318"/>
                <a:gd name="connsiteX188" fmla="*/ 345706 w 833985"/>
                <a:gd name="connsiteY188" fmla="*/ 81162 h 1219318"/>
                <a:gd name="connsiteX189" fmla="*/ 347525 w 833985"/>
                <a:gd name="connsiteY189" fmla="*/ 70219 h 1219318"/>
                <a:gd name="connsiteX190" fmla="*/ 345887 w 833985"/>
                <a:gd name="connsiteY190" fmla="*/ 62559 h 1219318"/>
                <a:gd name="connsiteX191" fmla="*/ 344797 w 833985"/>
                <a:gd name="connsiteY191" fmla="*/ 56175 h 1219318"/>
                <a:gd name="connsiteX192" fmla="*/ 345887 w 833985"/>
                <a:gd name="connsiteY192" fmla="*/ 51433 h 1219318"/>
                <a:gd name="connsiteX193" fmla="*/ 347706 w 833985"/>
                <a:gd name="connsiteY193" fmla="*/ 42861 h 1219318"/>
                <a:gd name="connsiteX194" fmla="*/ 345887 w 833985"/>
                <a:gd name="connsiteY194" fmla="*/ 33559 h 1219318"/>
                <a:gd name="connsiteX195" fmla="*/ 344433 w 833985"/>
                <a:gd name="connsiteY195" fmla="*/ 28634 h 1219318"/>
                <a:gd name="connsiteX196" fmla="*/ 356981 w 833985"/>
                <a:gd name="connsiteY196" fmla="*/ 8389 h 1219318"/>
                <a:gd name="connsiteX197" fmla="*/ 380259 w 833985"/>
                <a:gd name="connsiteY197" fmla="*/ 8389 h 1219318"/>
                <a:gd name="connsiteX198" fmla="*/ 389897 w 833985"/>
                <a:gd name="connsiteY198" fmla="*/ 10396 h 1219318"/>
                <a:gd name="connsiteX199" fmla="*/ 428995 w 833985"/>
                <a:gd name="connsiteY199" fmla="*/ 0 h 121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833985" h="1219318">
                  <a:moveTo>
                    <a:pt x="399981" y="998699"/>
                  </a:moveTo>
                  <a:lnTo>
                    <a:pt x="391692" y="1001640"/>
                  </a:lnTo>
                  <a:lnTo>
                    <a:pt x="390029" y="1003027"/>
                  </a:lnTo>
                  <a:lnTo>
                    <a:pt x="383145" y="1003203"/>
                  </a:lnTo>
                  <a:lnTo>
                    <a:pt x="387879" y="1004818"/>
                  </a:lnTo>
                  <a:lnTo>
                    <a:pt x="390029" y="1003027"/>
                  </a:lnTo>
                  <a:lnTo>
                    <a:pt x="393161" y="1002946"/>
                  </a:lnTo>
                  <a:close/>
                  <a:moveTo>
                    <a:pt x="442077" y="986722"/>
                  </a:moveTo>
                  <a:lnTo>
                    <a:pt x="436433" y="987971"/>
                  </a:lnTo>
                  <a:lnTo>
                    <a:pt x="439725" y="988175"/>
                  </a:lnTo>
                  <a:close/>
                  <a:moveTo>
                    <a:pt x="428995" y="0"/>
                  </a:moveTo>
                  <a:cubicBezTo>
                    <a:pt x="432268" y="7842"/>
                    <a:pt x="435906" y="18056"/>
                    <a:pt x="437724" y="23528"/>
                  </a:cubicBezTo>
                  <a:cubicBezTo>
                    <a:pt x="439543" y="28999"/>
                    <a:pt x="441361" y="34289"/>
                    <a:pt x="443362" y="39213"/>
                  </a:cubicBezTo>
                  <a:cubicBezTo>
                    <a:pt x="448672" y="53969"/>
                    <a:pt x="461693" y="64583"/>
                    <a:pt x="477187" y="66753"/>
                  </a:cubicBezTo>
                  <a:cubicBezTo>
                    <a:pt x="487752" y="70765"/>
                    <a:pt x="496573" y="78390"/>
                    <a:pt x="502101" y="88275"/>
                  </a:cubicBezTo>
                  <a:cubicBezTo>
                    <a:pt x="506065" y="93437"/>
                    <a:pt x="510376" y="98307"/>
                    <a:pt x="515013" y="102866"/>
                  </a:cubicBezTo>
                  <a:cubicBezTo>
                    <a:pt x="520413" y="107918"/>
                    <a:pt x="525178" y="113609"/>
                    <a:pt x="529198" y="119828"/>
                  </a:cubicBezTo>
                  <a:cubicBezTo>
                    <a:pt x="529888" y="120777"/>
                    <a:pt x="530434" y="121817"/>
                    <a:pt x="530834" y="122929"/>
                  </a:cubicBezTo>
                  <a:cubicBezTo>
                    <a:pt x="532289" y="125665"/>
                    <a:pt x="533380" y="128218"/>
                    <a:pt x="534471" y="130589"/>
                  </a:cubicBezTo>
                  <a:lnTo>
                    <a:pt x="535380" y="132596"/>
                  </a:lnTo>
                  <a:cubicBezTo>
                    <a:pt x="538399" y="140292"/>
                    <a:pt x="543200" y="147168"/>
                    <a:pt x="549383" y="152658"/>
                  </a:cubicBezTo>
                  <a:cubicBezTo>
                    <a:pt x="558257" y="159369"/>
                    <a:pt x="569187" y="162798"/>
                    <a:pt x="580299" y="162325"/>
                  </a:cubicBezTo>
                  <a:cubicBezTo>
                    <a:pt x="588882" y="161777"/>
                    <a:pt x="597393" y="164295"/>
                    <a:pt x="604303" y="169438"/>
                  </a:cubicBezTo>
                  <a:cubicBezTo>
                    <a:pt x="605412" y="170350"/>
                    <a:pt x="606231" y="171554"/>
                    <a:pt x="606667" y="172903"/>
                  </a:cubicBezTo>
                  <a:cubicBezTo>
                    <a:pt x="606485" y="173998"/>
                    <a:pt x="602667" y="176551"/>
                    <a:pt x="600848" y="177828"/>
                  </a:cubicBezTo>
                  <a:cubicBezTo>
                    <a:pt x="599320" y="178758"/>
                    <a:pt x="597866" y="179797"/>
                    <a:pt x="596483" y="180928"/>
                  </a:cubicBezTo>
                  <a:cubicBezTo>
                    <a:pt x="589336" y="187330"/>
                    <a:pt x="586882" y="197488"/>
                    <a:pt x="590300" y="206462"/>
                  </a:cubicBezTo>
                  <a:cubicBezTo>
                    <a:pt x="592592" y="214815"/>
                    <a:pt x="599885" y="220798"/>
                    <a:pt x="608486" y="221418"/>
                  </a:cubicBezTo>
                  <a:cubicBezTo>
                    <a:pt x="620670" y="221418"/>
                    <a:pt x="628854" y="210474"/>
                    <a:pt x="636855" y="199714"/>
                  </a:cubicBezTo>
                  <a:cubicBezTo>
                    <a:pt x="649403" y="183299"/>
                    <a:pt x="655768" y="176915"/>
                    <a:pt x="667589" y="184211"/>
                  </a:cubicBezTo>
                  <a:cubicBezTo>
                    <a:pt x="673281" y="188679"/>
                    <a:pt x="676955" y="195245"/>
                    <a:pt x="677772" y="202450"/>
                  </a:cubicBezTo>
                  <a:cubicBezTo>
                    <a:pt x="679282" y="208286"/>
                    <a:pt x="681737" y="213830"/>
                    <a:pt x="685046" y="218865"/>
                  </a:cubicBezTo>
                  <a:cubicBezTo>
                    <a:pt x="695049" y="232361"/>
                    <a:pt x="705050" y="227255"/>
                    <a:pt x="713234" y="223242"/>
                  </a:cubicBezTo>
                  <a:lnTo>
                    <a:pt x="718872" y="220688"/>
                  </a:lnTo>
                  <a:cubicBezTo>
                    <a:pt x="728692" y="216494"/>
                    <a:pt x="732148" y="221418"/>
                    <a:pt x="738512" y="236009"/>
                  </a:cubicBezTo>
                  <a:cubicBezTo>
                    <a:pt x="739422" y="237832"/>
                    <a:pt x="740149" y="239839"/>
                    <a:pt x="741058" y="241663"/>
                  </a:cubicBezTo>
                  <a:cubicBezTo>
                    <a:pt x="743058" y="245457"/>
                    <a:pt x="745567" y="248940"/>
                    <a:pt x="748514" y="252059"/>
                  </a:cubicBezTo>
                  <a:cubicBezTo>
                    <a:pt x="750478" y="254083"/>
                    <a:pt x="752187" y="256363"/>
                    <a:pt x="753606" y="258807"/>
                  </a:cubicBezTo>
                  <a:cubicBezTo>
                    <a:pt x="755243" y="261908"/>
                    <a:pt x="754697" y="263732"/>
                    <a:pt x="753606" y="267562"/>
                  </a:cubicBezTo>
                  <a:cubicBezTo>
                    <a:pt x="752860" y="270116"/>
                    <a:pt x="752370" y="272742"/>
                    <a:pt x="752151" y="275404"/>
                  </a:cubicBezTo>
                  <a:cubicBezTo>
                    <a:pt x="751242" y="289084"/>
                    <a:pt x="764153" y="297656"/>
                    <a:pt x="774519" y="304405"/>
                  </a:cubicBezTo>
                  <a:cubicBezTo>
                    <a:pt x="780702" y="308599"/>
                    <a:pt x="787976" y="313341"/>
                    <a:pt x="787976" y="316807"/>
                  </a:cubicBezTo>
                  <a:cubicBezTo>
                    <a:pt x="787795" y="318813"/>
                    <a:pt x="786812" y="320655"/>
                    <a:pt x="785248" y="321913"/>
                  </a:cubicBezTo>
                  <a:cubicBezTo>
                    <a:pt x="784175" y="323044"/>
                    <a:pt x="782940" y="324011"/>
                    <a:pt x="781611" y="324832"/>
                  </a:cubicBezTo>
                  <a:cubicBezTo>
                    <a:pt x="776065" y="327622"/>
                    <a:pt x="772646" y="333386"/>
                    <a:pt x="772883" y="339605"/>
                  </a:cubicBezTo>
                  <a:cubicBezTo>
                    <a:pt x="773591" y="343545"/>
                    <a:pt x="775574" y="347120"/>
                    <a:pt x="778520" y="349819"/>
                  </a:cubicBezTo>
                  <a:cubicBezTo>
                    <a:pt x="779630" y="350877"/>
                    <a:pt x="780557" y="352099"/>
                    <a:pt x="781248" y="353466"/>
                  </a:cubicBezTo>
                  <a:cubicBezTo>
                    <a:pt x="781666" y="355382"/>
                    <a:pt x="781666" y="357388"/>
                    <a:pt x="781248" y="359303"/>
                  </a:cubicBezTo>
                  <a:cubicBezTo>
                    <a:pt x="780866" y="362714"/>
                    <a:pt x="781357" y="366179"/>
                    <a:pt x="782703" y="369335"/>
                  </a:cubicBezTo>
                  <a:cubicBezTo>
                    <a:pt x="785412" y="374970"/>
                    <a:pt x="790359" y="379220"/>
                    <a:pt x="796342" y="381007"/>
                  </a:cubicBezTo>
                  <a:lnTo>
                    <a:pt x="799616" y="382467"/>
                  </a:lnTo>
                  <a:cubicBezTo>
                    <a:pt x="810563" y="389068"/>
                    <a:pt x="819292" y="398771"/>
                    <a:pt x="824711" y="410371"/>
                  </a:cubicBezTo>
                  <a:lnTo>
                    <a:pt x="827439" y="414749"/>
                  </a:lnTo>
                  <a:lnTo>
                    <a:pt x="833985" y="424962"/>
                  </a:lnTo>
                  <a:cubicBezTo>
                    <a:pt x="819165" y="436070"/>
                    <a:pt x="805361" y="448454"/>
                    <a:pt x="792705" y="461986"/>
                  </a:cubicBezTo>
                  <a:cubicBezTo>
                    <a:pt x="791431" y="463629"/>
                    <a:pt x="741786" y="527464"/>
                    <a:pt x="755061" y="553180"/>
                  </a:cubicBezTo>
                  <a:cubicBezTo>
                    <a:pt x="759825" y="561224"/>
                    <a:pt x="769264" y="565219"/>
                    <a:pt x="778338" y="563030"/>
                  </a:cubicBezTo>
                  <a:lnTo>
                    <a:pt x="781611" y="563030"/>
                  </a:lnTo>
                  <a:cubicBezTo>
                    <a:pt x="790523" y="562300"/>
                    <a:pt x="796342" y="561753"/>
                    <a:pt x="802343" y="567407"/>
                  </a:cubicBezTo>
                  <a:cubicBezTo>
                    <a:pt x="810563" y="576307"/>
                    <a:pt x="816764" y="586886"/>
                    <a:pt x="820528" y="598413"/>
                  </a:cubicBezTo>
                  <a:cubicBezTo>
                    <a:pt x="824492" y="614645"/>
                    <a:pt x="822620" y="631753"/>
                    <a:pt x="815254" y="646745"/>
                  </a:cubicBezTo>
                  <a:cubicBezTo>
                    <a:pt x="811344" y="656868"/>
                    <a:pt x="808544" y="667392"/>
                    <a:pt x="806890" y="678116"/>
                  </a:cubicBezTo>
                  <a:cubicBezTo>
                    <a:pt x="804343" y="694896"/>
                    <a:pt x="804343" y="712041"/>
                    <a:pt x="804343" y="728638"/>
                  </a:cubicBezTo>
                  <a:cubicBezTo>
                    <a:pt x="803980" y="742134"/>
                    <a:pt x="803616" y="755813"/>
                    <a:pt x="802525" y="769310"/>
                  </a:cubicBezTo>
                  <a:cubicBezTo>
                    <a:pt x="800179" y="786583"/>
                    <a:pt x="800979" y="804128"/>
                    <a:pt x="804889" y="821108"/>
                  </a:cubicBezTo>
                  <a:cubicBezTo>
                    <a:pt x="806763" y="826817"/>
                    <a:pt x="809199" y="832307"/>
                    <a:pt x="812163" y="837523"/>
                  </a:cubicBezTo>
                  <a:cubicBezTo>
                    <a:pt x="814927" y="842321"/>
                    <a:pt x="817182" y="847391"/>
                    <a:pt x="818892" y="852661"/>
                  </a:cubicBezTo>
                  <a:cubicBezTo>
                    <a:pt x="823439" y="869988"/>
                    <a:pt x="812163" y="880019"/>
                    <a:pt x="798888" y="891692"/>
                  </a:cubicBezTo>
                  <a:cubicBezTo>
                    <a:pt x="792831" y="896799"/>
                    <a:pt x="787285" y="902471"/>
                    <a:pt x="782339" y="908654"/>
                  </a:cubicBezTo>
                  <a:cubicBezTo>
                    <a:pt x="777119" y="916133"/>
                    <a:pt x="772955" y="924284"/>
                    <a:pt x="769973" y="932912"/>
                  </a:cubicBezTo>
                  <a:cubicBezTo>
                    <a:pt x="764517" y="946044"/>
                    <a:pt x="759789" y="958629"/>
                    <a:pt x="744695" y="964282"/>
                  </a:cubicBezTo>
                  <a:cubicBezTo>
                    <a:pt x="721036" y="974788"/>
                    <a:pt x="694576" y="977214"/>
                    <a:pt x="669407" y="971213"/>
                  </a:cubicBezTo>
                  <a:lnTo>
                    <a:pt x="665952" y="969572"/>
                  </a:lnTo>
                  <a:lnTo>
                    <a:pt x="660497" y="966835"/>
                  </a:lnTo>
                  <a:lnTo>
                    <a:pt x="655768" y="964282"/>
                  </a:lnTo>
                  <a:cubicBezTo>
                    <a:pt x="649185" y="960452"/>
                    <a:pt x="641729" y="958446"/>
                    <a:pt x="634127" y="958446"/>
                  </a:cubicBezTo>
                  <a:cubicBezTo>
                    <a:pt x="621925" y="959558"/>
                    <a:pt x="610304" y="964191"/>
                    <a:pt x="600666" y="971761"/>
                  </a:cubicBezTo>
                  <a:cubicBezTo>
                    <a:pt x="582408" y="986734"/>
                    <a:pt x="557549" y="990711"/>
                    <a:pt x="535562" y="982156"/>
                  </a:cubicBezTo>
                  <a:cubicBezTo>
                    <a:pt x="509521" y="971961"/>
                    <a:pt x="480006" y="976539"/>
                    <a:pt x="458273" y="994194"/>
                  </a:cubicBezTo>
                  <a:lnTo>
                    <a:pt x="458268" y="994200"/>
                  </a:lnTo>
                  <a:lnTo>
                    <a:pt x="458367" y="994497"/>
                  </a:lnTo>
                  <a:lnTo>
                    <a:pt x="457094" y="995377"/>
                  </a:lnTo>
                  <a:lnTo>
                    <a:pt x="430214" y="1022350"/>
                  </a:lnTo>
                  <a:cubicBezTo>
                    <a:pt x="422340" y="1033016"/>
                    <a:pt x="416029" y="1044843"/>
                    <a:pt x="411537" y="1057483"/>
                  </a:cubicBezTo>
                  <a:cubicBezTo>
                    <a:pt x="410446" y="1060401"/>
                    <a:pt x="408628" y="1063319"/>
                    <a:pt x="408628" y="1066054"/>
                  </a:cubicBezTo>
                  <a:cubicBezTo>
                    <a:pt x="405900" y="1082907"/>
                    <a:pt x="395279" y="1097407"/>
                    <a:pt x="380076" y="1105085"/>
                  </a:cubicBezTo>
                  <a:cubicBezTo>
                    <a:pt x="368493" y="1110995"/>
                    <a:pt x="357382" y="1117762"/>
                    <a:pt x="346798" y="1125330"/>
                  </a:cubicBezTo>
                  <a:cubicBezTo>
                    <a:pt x="339159" y="1130802"/>
                    <a:pt x="330066" y="1136639"/>
                    <a:pt x="320973" y="1141563"/>
                  </a:cubicBezTo>
                  <a:lnTo>
                    <a:pt x="307880" y="1147946"/>
                  </a:lnTo>
                  <a:cubicBezTo>
                    <a:pt x="299824" y="1151175"/>
                    <a:pt x="292150" y="1155278"/>
                    <a:pt x="284966" y="1160166"/>
                  </a:cubicBezTo>
                  <a:cubicBezTo>
                    <a:pt x="280056" y="1163631"/>
                    <a:pt x="275510" y="1167461"/>
                    <a:pt x="270963" y="1171292"/>
                  </a:cubicBezTo>
                  <a:cubicBezTo>
                    <a:pt x="265453" y="1175998"/>
                    <a:pt x="259689" y="1180375"/>
                    <a:pt x="253687" y="1184424"/>
                  </a:cubicBezTo>
                  <a:cubicBezTo>
                    <a:pt x="230664" y="1198851"/>
                    <a:pt x="204259" y="1206967"/>
                    <a:pt x="177126" y="1207952"/>
                  </a:cubicBezTo>
                  <a:cubicBezTo>
                    <a:pt x="161850" y="1209047"/>
                    <a:pt x="145302" y="1211782"/>
                    <a:pt x="132390" y="1213789"/>
                  </a:cubicBezTo>
                  <a:cubicBezTo>
                    <a:pt x="119478" y="1215795"/>
                    <a:pt x="106203" y="1217983"/>
                    <a:pt x="92927" y="1219077"/>
                  </a:cubicBezTo>
                  <a:cubicBezTo>
                    <a:pt x="65104" y="1221631"/>
                    <a:pt x="45281" y="1203575"/>
                    <a:pt x="28732" y="1183512"/>
                  </a:cubicBezTo>
                  <a:cubicBezTo>
                    <a:pt x="22404" y="1173372"/>
                    <a:pt x="11838" y="1166660"/>
                    <a:pt x="0" y="1165274"/>
                  </a:cubicBezTo>
                  <a:cubicBezTo>
                    <a:pt x="127" y="1149862"/>
                    <a:pt x="6729" y="1135234"/>
                    <a:pt x="18185" y="1124966"/>
                  </a:cubicBezTo>
                  <a:cubicBezTo>
                    <a:pt x="20385" y="1123343"/>
                    <a:pt x="22695" y="1121883"/>
                    <a:pt x="25095" y="1120588"/>
                  </a:cubicBezTo>
                  <a:cubicBezTo>
                    <a:pt x="32916" y="1115664"/>
                    <a:pt x="42735" y="1109828"/>
                    <a:pt x="45100" y="1100708"/>
                  </a:cubicBezTo>
                  <a:cubicBezTo>
                    <a:pt x="46681" y="1096313"/>
                    <a:pt x="46064" y="1091443"/>
                    <a:pt x="43462" y="1087576"/>
                  </a:cubicBezTo>
                  <a:cubicBezTo>
                    <a:pt x="38553" y="1079916"/>
                    <a:pt x="28369" y="1079916"/>
                    <a:pt x="20367" y="1079916"/>
                  </a:cubicBezTo>
                  <a:lnTo>
                    <a:pt x="18003" y="1079916"/>
                  </a:lnTo>
                  <a:cubicBezTo>
                    <a:pt x="9820" y="1079004"/>
                    <a:pt x="8547" y="1078640"/>
                    <a:pt x="7092" y="1076451"/>
                  </a:cubicBezTo>
                  <a:cubicBezTo>
                    <a:pt x="5637" y="1074262"/>
                    <a:pt x="8002" y="1067149"/>
                    <a:pt x="9093" y="1064231"/>
                  </a:cubicBezTo>
                  <a:cubicBezTo>
                    <a:pt x="10019" y="1061604"/>
                    <a:pt x="10747" y="1058923"/>
                    <a:pt x="11274" y="1056206"/>
                  </a:cubicBezTo>
                  <a:cubicBezTo>
                    <a:pt x="12020" y="1051573"/>
                    <a:pt x="13766" y="1047159"/>
                    <a:pt x="16367" y="1043256"/>
                  </a:cubicBezTo>
                  <a:cubicBezTo>
                    <a:pt x="17313" y="1042071"/>
                    <a:pt x="18495" y="1041068"/>
                    <a:pt x="19822" y="1040338"/>
                  </a:cubicBezTo>
                  <a:cubicBezTo>
                    <a:pt x="23186" y="1038132"/>
                    <a:pt x="25896" y="1035049"/>
                    <a:pt x="27641" y="1031401"/>
                  </a:cubicBezTo>
                  <a:cubicBezTo>
                    <a:pt x="29424" y="1022847"/>
                    <a:pt x="26605" y="1013983"/>
                    <a:pt x="20186" y="1008055"/>
                  </a:cubicBezTo>
                  <a:cubicBezTo>
                    <a:pt x="17912" y="1005447"/>
                    <a:pt x="16058" y="1002493"/>
                    <a:pt x="14730" y="999301"/>
                  </a:cubicBezTo>
                  <a:cubicBezTo>
                    <a:pt x="14730" y="995836"/>
                    <a:pt x="13639" y="994011"/>
                    <a:pt x="14730" y="992006"/>
                  </a:cubicBezTo>
                  <a:cubicBezTo>
                    <a:pt x="15821" y="989999"/>
                    <a:pt x="20549" y="988175"/>
                    <a:pt x="25095" y="988175"/>
                  </a:cubicBezTo>
                  <a:cubicBezTo>
                    <a:pt x="29569" y="987446"/>
                    <a:pt x="33916" y="986096"/>
                    <a:pt x="38007" y="984163"/>
                  </a:cubicBezTo>
                  <a:cubicBezTo>
                    <a:pt x="39917" y="983105"/>
                    <a:pt x="41753" y="981883"/>
                    <a:pt x="43462" y="980515"/>
                  </a:cubicBezTo>
                  <a:cubicBezTo>
                    <a:pt x="46554" y="977414"/>
                    <a:pt x="48009" y="977414"/>
                    <a:pt x="50919" y="977414"/>
                  </a:cubicBezTo>
                  <a:cubicBezTo>
                    <a:pt x="52664" y="977852"/>
                    <a:pt x="54338" y="978600"/>
                    <a:pt x="55829" y="979603"/>
                  </a:cubicBezTo>
                  <a:cubicBezTo>
                    <a:pt x="59012" y="982065"/>
                    <a:pt x="62903" y="983470"/>
                    <a:pt x="66922" y="983616"/>
                  </a:cubicBezTo>
                  <a:cubicBezTo>
                    <a:pt x="79488" y="982156"/>
                    <a:pt x="91109" y="976192"/>
                    <a:pt x="99656" y="966835"/>
                  </a:cubicBezTo>
                  <a:cubicBezTo>
                    <a:pt x="102439" y="963954"/>
                    <a:pt x="105057" y="960909"/>
                    <a:pt x="107476" y="957717"/>
                  </a:cubicBezTo>
                  <a:cubicBezTo>
                    <a:pt x="111549" y="951077"/>
                    <a:pt x="117496" y="945825"/>
                    <a:pt x="124571" y="942578"/>
                  </a:cubicBezTo>
                  <a:cubicBezTo>
                    <a:pt x="129116" y="941794"/>
                    <a:pt x="133790" y="942560"/>
                    <a:pt x="137845" y="944767"/>
                  </a:cubicBezTo>
                  <a:cubicBezTo>
                    <a:pt x="142956" y="947156"/>
                    <a:pt x="148593" y="948214"/>
                    <a:pt x="154212" y="947868"/>
                  </a:cubicBezTo>
                  <a:cubicBezTo>
                    <a:pt x="167306" y="946044"/>
                    <a:pt x="172943" y="931818"/>
                    <a:pt x="176580" y="922151"/>
                  </a:cubicBezTo>
                  <a:lnTo>
                    <a:pt x="178036" y="918686"/>
                  </a:lnTo>
                  <a:cubicBezTo>
                    <a:pt x="182418" y="906794"/>
                    <a:pt x="189964" y="896307"/>
                    <a:pt x="199858" y="888409"/>
                  </a:cubicBezTo>
                  <a:cubicBezTo>
                    <a:pt x="211715" y="880274"/>
                    <a:pt x="220790" y="868694"/>
                    <a:pt x="225863" y="855215"/>
                  </a:cubicBezTo>
                  <a:cubicBezTo>
                    <a:pt x="226591" y="852843"/>
                    <a:pt x="228046" y="850108"/>
                    <a:pt x="228046" y="847555"/>
                  </a:cubicBezTo>
                  <a:cubicBezTo>
                    <a:pt x="229373" y="839493"/>
                    <a:pt x="233028" y="831997"/>
                    <a:pt x="238593" y="826033"/>
                  </a:cubicBezTo>
                  <a:cubicBezTo>
                    <a:pt x="241085" y="824099"/>
                    <a:pt x="244177" y="823078"/>
                    <a:pt x="247322" y="823114"/>
                  </a:cubicBezTo>
                  <a:lnTo>
                    <a:pt x="252778" y="823114"/>
                  </a:lnTo>
                  <a:cubicBezTo>
                    <a:pt x="258324" y="822093"/>
                    <a:pt x="263417" y="819357"/>
                    <a:pt x="267326" y="815272"/>
                  </a:cubicBezTo>
                  <a:lnTo>
                    <a:pt x="271327" y="811807"/>
                  </a:lnTo>
                  <a:cubicBezTo>
                    <a:pt x="274691" y="809198"/>
                    <a:pt x="278201" y="806828"/>
                    <a:pt x="281875" y="804694"/>
                  </a:cubicBezTo>
                  <a:cubicBezTo>
                    <a:pt x="287967" y="801247"/>
                    <a:pt x="293604" y="797015"/>
                    <a:pt x="298605" y="792109"/>
                  </a:cubicBezTo>
                  <a:cubicBezTo>
                    <a:pt x="303534" y="787294"/>
                    <a:pt x="309335" y="783446"/>
                    <a:pt x="315700" y="780801"/>
                  </a:cubicBezTo>
                  <a:cubicBezTo>
                    <a:pt x="320719" y="778412"/>
                    <a:pt x="325520" y="775603"/>
                    <a:pt x="330066" y="772410"/>
                  </a:cubicBezTo>
                  <a:cubicBezTo>
                    <a:pt x="337649" y="765608"/>
                    <a:pt x="343833" y="757364"/>
                    <a:pt x="348252" y="748153"/>
                  </a:cubicBezTo>
                  <a:lnTo>
                    <a:pt x="352981" y="739945"/>
                  </a:lnTo>
                  <a:cubicBezTo>
                    <a:pt x="366256" y="718971"/>
                    <a:pt x="371166" y="688877"/>
                    <a:pt x="350798" y="670639"/>
                  </a:cubicBezTo>
                  <a:cubicBezTo>
                    <a:pt x="346052" y="666826"/>
                    <a:pt x="340614" y="663981"/>
                    <a:pt x="334794" y="662249"/>
                  </a:cubicBezTo>
                  <a:cubicBezTo>
                    <a:pt x="329321" y="660844"/>
                    <a:pt x="324356" y="657926"/>
                    <a:pt x="320428" y="653858"/>
                  </a:cubicBezTo>
                  <a:cubicBezTo>
                    <a:pt x="313681" y="644794"/>
                    <a:pt x="311899" y="632957"/>
                    <a:pt x="315700" y="622306"/>
                  </a:cubicBezTo>
                  <a:cubicBezTo>
                    <a:pt x="318992" y="616761"/>
                    <a:pt x="323537" y="612073"/>
                    <a:pt x="328975" y="608626"/>
                  </a:cubicBezTo>
                  <a:cubicBezTo>
                    <a:pt x="333249" y="605435"/>
                    <a:pt x="337213" y="601824"/>
                    <a:pt x="340796" y="597865"/>
                  </a:cubicBezTo>
                  <a:cubicBezTo>
                    <a:pt x="343342" y="594765"/>
                    <a:pt x="346433" y="591482"/>
                    <a:pt x="349343" y="588199"/>
                  </a:cubicBezTo>
                  <a:cubicBezTo>
                    <a:pt x="355507" y="582071"/>
                    <a:pt x="361055" y="575359"/>
                    <a:pt x="365891" y="568136"/>
                  </a:cubicBezTo>
                  <a:cubicBezTo>
                    <a:pt x="369274" y="562446"/>
                    <a:pt x="371838" y="556299"/>
                    <a:pt x="373530" y="549898"/>
                  </a:cubicBezTo>
                  <a:cubicBezTo>
                    <a:pt x="375240" y="543313"/>
                    <a:pt x="378203" y="537112"/>
                    <a:pt x="382258" y="531659"/>
                  </a:cubicBezTo>
                  <a:cubicBezTo>
                    <a:pt x="386569" y="526024"/>
                    <a:pt x="390242" y="519895"/>
                    <a:pt x="393170" y="513420"/>
                  </a:cubicBezTo>
                  <a:cubicBezTo>
                    <a:pt x="395316" y="508587"/>
                    <a:pt x="397880" y="503954"/>
                    <a:pt x="400808" y="499559"/>
                  </a:cubicBezTo>
                  <a:cubicBezTo>
                    <a:pt x="407428" y="491717"/>
                    <a:pt x="416138" y="485898"/>
                    <a:pt x="425904" y="482779"/>
                  </a:cubicBezTo>
                  <a:cubicBezTo>
                    <a:pt x="439579" y="478913"/>
                    <a:pt x="450999" y="469447"/>
                    <a:pt x="457365" y="456698"/>
                  </a:cubicBezTo>
                  <a:cubicBezTo>
                    <a:pt x="467294" y="431656"/>
                    <a:pt x="457074" y="403112"/>
                    <a:pt x="433542" y="390126"/>
                  </a:cubicBezTo>
                  <a:cubicBezTo>
                    <a:pt x="431414" y="389178"/>
                    <a:pt x="429232" y="388375"/>
                    <a:pt x="426995" y="387755"/>
                  </a:cubicBezTo>
                  <a:cubicBezTo>
                    <a:pt x="423867" y="386880"/>
                    <a:pt x="420866" y="385603"/>
                    <a:pt x="418084" y="383925"/>
                  </a:cubicBezTo>
                  <a:cubicBezTo>
                    <a:pt x="416738" y="382922"/>
                    <a:pt x="415466" y="381810"/>
                    <a:pt x="414265" y="380642"/>
                  </a:cubicBezTo>
                  <a:cubicBezTo>
                    <a:pt x="411119" y="377122"/>
                    <a:pt x="406900" y="374751"/>
                    <a:pt x="402262" y="373894"/>
                  </a:cubicBezTo>
                  <a:cubicBezTo>
                    <a:pt x="397134" y="373073"/>
                    <a:pt x="391934" y="373073"/>
                    <a:pt x="386805" y="373894"/>
                  </a:cubicBezTo>
                  <a:cubicBezTo>
                    <a:pt x="380677" y="375864"/>
                    <a:pt x="373966" y="374933"/>
                    <a:pt x="368620" y="371340"/>
                  </a:cubicBezTo>
                  <a:cubicBezTo>
                    <a:pt x="362837" y="365194"/>
                    <a:pt x="358599" y="357753"/>
                    <a:pt x="356253" y="349637"/>
                  </a:cubicBezTo>
                  <a:cubicBezTo>
                    <a:pt x="354799" y="345989"/>
                    <a:pt x="353526" y="342523"/>
                    <a:pt x="352071" y="339422"/>
                  </a:cubicBezTo>
                  <a:cubicBezTo>
                    <a:pt x="346798" y="328935"/>
                    <a:pt x="340723" y="318868"/>
                    <a:pt x="333885" y="309329"/>
                  </a:cubicBezTo>
                  <a:lnTo>
                    <a:pt x="327884" y="300209"/>
                  </a:lnTo>
                  <a:cubicBezTo>
                    <a:pt x="325156" y="295321"/>
                    <a:pt x="323010" y="290105"/>
                    <a:pt x="321519" y="284706"/>
                  </a:cubicBezTo>
                  <a:cubicBezTo>
                    <a:pt x="319846" y="277393"/>
                    <a:pt x="316682" y="270498"/>
                    <a:pt x="312245" y="264461"/>
                  </a:cubicBezTo>
                  <a:cubicBezTo>
                    <a:pt x="309154" y="261196"/>
                    <a:pt x="305352" y="258716"/>
                    <a:pt x="301152" y="257166"/>
                  </a:cubicBezTo>
                  <a:cubicBezTo>
                    <a:pt x="297150" y="255524"/>
                    <a:pt x="294241" y="254795"/>
                    <a:pt x="294241" y="250417"/>
                  </a:cubicBezTo>
                  <a:cubicBezTo>
                    <a:pt x="293622" y="247773"/>
                    <a:pt x="293204" y="245092"/>
                    <a:pt x="292968" y="242392"/>
                  </a:cubicBezTo>
                  <a:cubicBezTo>
                    <a:pt x="292731" y="239383"/>
                    <a:pt x="292313" y="236410"/>
                    <a:pt x="291695" y="233456"/>
                  </a:cubicBezTo>
                  <a:lnTo>
                    <a:pt x="291695" y="230902"/>
                  </a:lnTo>
                  <a:cubicBezTo>
                    <a:pt x="291695" y="227619"/>
                    <a:pt x="290786" y="226525"/>
                    <a:pt x="291695" y="224518"/>
                  </a:cubicBezTo>
                  <a:cubicBezTo>
                    <a:pt x="292550" y="222950"/>
                    <a:pt x="293805" y="221637"/>
                    <a:pt x="295332" y="220688"/>
                  </a:cubicBezTo>
                  <a:cubicBezTo>
                    <a:pt x="297715" y="222421"/>
                    <a:pt x="300351" y="223771"/>
                    <a:pt x="303152" y="224701"/>
                  </a:cubicBezTo>
                  <a:cubicBezTo>
                    <a:pt x="311698" y="226616"/>
                    <a:pt x="320610" y="226233"/>
                    <a:pt x="328975" y="223607"/>
                  </a:cubicBezTo>
                  <a:cubicBezTo>
                    <a:pt x="332394" y="222841"/>
                    <a:pt x="335849" y="222293"/>
                    <a:pt x="339341" y="221965"/>
                  </a:cubicBezTo>
                  <a:lnTo>
                    <a:pt x="344797" y="221965"/>
                  </a:lnTo>
                  <a:cubicBezTo>
                    <a:pt x="356890" y="222604"/>
                    <a:pt x="368802" y="218773"/>
                    <a:pt x="378258" y="211204"/>
                  </a:cubicBezTo>
                  <a:cubicBezTo>
                    <a:pt x="382186" y="207374"/>
                    <a:pt x="385768" y="203234"/>
                    <a:pt x="388987" y="198802"/>
                  </a:cubicBezTo>
                  <a:cubicBezTo>
                    <a:pt x="392206" y="194261"/>
                    <a:pt x="395862" y="190047"/>
                    <a:pt x="399898" y="186217"/>
                  </a:cubicBezTo>
                  <a:cubicBezTo>
                    <a:pt x="406809" y="179651"/>
                    <a:pt x="414629" y="172356"/>
                    <a:pt x="408628" y="158859"/>
                  </a:cubicBezTo>
                  <a:cubicBezTo>
                    <a:pt x="407700" y="156798"/>
                    <a:pt x="406536" y="154829"/>
                    <a:pt x="405173" y="153023"/>
                  </a:cubicBezTo>
                  <a:cubicBezTo>
                    <a:pt x="403900" y="151381"/>
                    <a:pt x="402918" y="149521"/>
                    <a:pt x="402262" y="147551"/>
                  </a:cubicBezTo>
                  <a:cubicBezTo>
                    <a:pt x="402081" y="146274"/>
                    <a:pt x="402081" y="144997"/>
                    <a:pt x="402262" y="143721"/>
                  </a:cubicBezTo>
                  <a:cubicBezTo>
                    <a:pt x="402936" y="139581"/>
                    <a:pt x="402026" y="135349"/>
                    <a:pt x="399717" y="131866"/>
                  </a:cubicBezTo>
                  <a:cubicBezTo>
                    <a:pt x="395061" y="126887"/>
                    <a:pt x="388241" y="124552"/>
                    <a:pt x="381531" y="125665"/>
                  </a:cubicBezTo>
                  <a:cubicBezTo>
                    <a:pt x="379167" y="125902"/>
                    <a:pt x="376803" y="125902"/>
                    <a:pt x="374439" y="125665"/>
                  </a:cubicBezTo>
                  <a:cubicBezTo>
                    <a:pt x="362619" y="122929"/>
                    <a:pt x="342978" y="97577"/>
                    <a:pt x="344433" y="86451"/>
                  </a:cubicBezTo>
                  <a:cubicBezTo>
                    <a:pt x="344632" y="84645"/>
                    <a:pt x="345070" y="82858"/>
                    <a:pt x="345706" y="81162"/>
                  </a:cubicBezTo>
                  <a:cubicBezTo>
                    <a:pt x="347161" y="77715"/>
                    <a:pt x="347779" y="73957"/>
                    <a:pt x="347525" y="70219"/>
                  </a:cubicBezTo>
                  <a:cubicBezTo>
                    <a:pt x="347306" y="67611"/>
                    <a:pt x="346742" y="65039"/>
                    <a:pt x="345887" y="62559"/>
                  </a:cubicBezTo>
                  <a:cubicBezTo>
                    <a:pt x="345106" y="60516"/>
                    <a:pt x="344742" y="58345"/>
                    <a:pt x="344797" y="56175"/>
                  </a:cubicBezTo>
                  <a:cubicBezTo>
                    <a:pt x="344923" y="54552"/>
                    <a:pt x="345288" y="52947"/>
                    <a:pt x="345887" y="51433"/>
                  </a:cubicBezTo>
                  <a:cubicBezTo>
                    <a:pt x="346997" y="48715"/>
                    <a:pt x="347615" y="45797"/>
                    <a:pt x="347706" y="42861"/>
                  </a:cubicBezTo>
                  <a:cubicBezTo>
                    <a:pt x="347525" y="39687"/>
                    <a:pt x="346906" y="36569"/>
                    <a:pt x="345887" y="33559"/>
                  </a:cubicBezTo>
                  <a:cubicBezTo>
                    <a:pt x="345269" y="31954"/>
                    <a:pt x="344778" y="30312"/>
                    <a:pt x="344433" y="28634"/>
                  </a:cubicBezTo>
                  <a:cubicBezTo>
                    <a:pt x="343669" y="19844"/>
                    <a:pt x="348779" y="11600"/>
                    <a:pt x="356981" y="8389"/>
                  </a:cubicBezTo>
                  <a:cubicBezTo>
                    <a:pt x="364473" y="5454"/>
                    <a:pt x="372766" y="5454"/>
                    <a:pt x="380259" y="8389"/>
                  </a:cubicBezTo>
                  <a:lnTo>
                    <a:pt x="389897" y="10396"/>
                  </a:lnTo>
                  <a:cubicBezTo>
                    <a:pt x="403791" y="12274"/>
                    <a:pt x="417865" y="8535"/>
                    <a:pt x="428995" y="0"/>
                  </a:cubicBezTo>
                  <a:close/>
                </a:path>
              </a:pathLst>
            </a:custGeom>
            <a:grpFill/>
            <a:ln w="1901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</p:txBody>
        </p:sp>
      </p:grpSp>
      <p:grpSp>
        <p:nvGrpSpPr>
          <p:cNvPr id="514" name="Группа 513">
            <a:extLst>
              <a:ext uri="{FF2B5EF4-FFF2-40B4-BE49-F238E27FC236}">
                <a16:creationId xmlns:a16="http://schemas.microsoft.com/office/drawing/2014/main" id="{A370452A-F968-818E-297E-69C1AD4E47B1}"/>
              </a:ext>
            </a:extLst>
          </p:cNvPr>
          <p:cNvGrpSpPr/>
          <p:nvPr/>
        </p:nvGrpSpPr>
        <p:grpSpPr>
          <a:xfrm>
            <a:off x="571500" y="1197514"/>
            <a:ext cx="878555" cy="193899"/>
            <a:chOff x="571500" y="1354458"/>
            <a:chExt cx="878555" cy="193899"/>
          </a:xfrm>
        </p:grpSpPr>
        <p:sp>
          <p:nvSpPr>
            <p:cNvPr id="515" name="Rectangle 209">
              <a:extLst>
                <a:ext uri="{FF2B5EF4-FFF2-40B4-BE49-F238E27FC236}">
                  <a16:creationId xmlns:a16="http://schemas.microsoft.com/office/drawing/2014/main" id="{E731F1C5-4C88-3C7F-6198-E4A39FBFD460}"/>
                </a:ext>
              </a:extLst>
            </p:cNvPr>
            <p:cNvSpPr/>
            <p:nvPr/>
          </p:nvSpPr>
          <p:spPr>
            <a:xfrm>
              <a:off x="828090" y="1354458"/>
              <a:ext cx="621965" cy="193899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sym typeface="Trebuchet MS" panose="020B0603020202020204" pitchFamily="34" charset="0"/>
                </a:rPr>
                <a:t>Центр</a:t>
              </a:r>
            </a:p>
          </p:txBody>
        </p:sp>
        <p:sp>
          <p:nvSpPr>
            <p:cNvPr id="516" name="Прямоугольник 515">
              <a:extLst>
                <a:ext uri="{FF2B5EF4-FFF2-40B4-BE49-F238E27FC236}">
                  <a16:creationId xmlns:a16="http://schemas.microsoft.com/office/drawing/2014/main" id="{20B2A4B6-C38D-8846-E033-2357A2130363}"/>
                </a:ext>
              </a:extLst>
            </p:cNvPr>
            <p:cNvSpPr/>
            <p:nvPr/>
          </p:nvSpPr>
          <p:spPr>
            <a:xfrm>
              <a:off x="571500" y="1397373"/>
              <a:ext cx="108068" cy="108068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20" name="Группа 519">
            <a:extLst>
              <a:ext uri="{FF2B5EF4-FFF2-40B4-BE49-F238E27FC236}">
                <a16:creationId xmlns:a16="http://schemas.microsoft.com/office/drawing/2014/main" id="{A4C85B21-8F28-EEDF-13A8-4EA1043F56AB}"/>
              </a:ext>
            </a:extLst>
          </p:cNvPr>
          <p:cNvGrpSpPr/>
          <p:nvPr/>
        </p:nvGrpSpPr>
        <p:grpSpPr>
          <a:xfrm>
            <a:off x="571500" y="2342350"/>
            <a:ext cx="859319" cy="215444"/>
            <a:chOff x="571500" y="1922444"/>
            <a:chExt cx="859319" cy="215444"/>
          </a:xfrm>
        </p:grpSpPr>
        <p:sp>
          <p:nvSpPr>
            <p:cNvPr id="521" name="Rectangle 209">
              <a:extLst>
                <a:ext uri="{FF2B5EF4-FFF2-40B4-BE49-F238E27FC236}">
                  <a16:creationId xmlns:a16="http://schemas.microsoft.com/office/drawing/2014/main" id="{B50CE24E-AA73-7909-D753-4532C911F483}"/>
                </a:ext>
              </a:extLst>
            </p:cNvPr>
            <p:cNvSpPr/>
            <p:nvPr/>
          </p:nvSpPr>
          <p:spPr>
            <a:xfrm>
              <a:off x="828090" y="1922444"/>
              <a:ext cx="602729" cy="21544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ru-RU" sz="1400" b="1" dirty="0">
                  <a:cs typeface="Arial" panose="020B0604020202020204" pitchFamily="34" charset="0"/>
                </a:rPr>
                <a:t>Волга</a:t>
              </a:r>
            </a:p>
          </p:txBody>
        </p:sp>
        <p:sp>
          <p:nvSpPr>
            <p:cNvPr id="522" name="Прямоугольник 521">
              <a:extLst>
                <a:ext uri="{FF2B5EF4-FFF2-40B4-BE49-F238E27FC236}">
                  <a16:creationId xmlns:a16="http://schemas.microsoft.com/office/drawing/2014/main" id="{AEBA9990-819B-C870-AA0F-A44FB7133422}"/>
                </a:ext>
              </a:extLst>
            </p:cNvPr>
            <p:cNvSpPr/>
            <p:nvPr/>
          </p:nvSpPr>
          <p:spPr>
            <a:xfrm>
              <a:off x="571500" y="1976131"/>
              <a:ext cx="108068" cy="108068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23" name="Группа 522">
            <a:extLst>
              <a:ext uri="{FF2B5EF4-FFF2-40B4-BE49-F238E27FC236}">
                <a16:creationId xmlns:a16="http://schemas.microsoft.com/office/drawing/2014/main" id="{8067D90F-D46E-743E-3CFF-040684BD9AA4}"/>
              </a:ext>
            </a:extLst>
          </p:cNvPr>
          <p:cNvGrpSpPr/>
          <p:nvPr/>
        </p:nvGrpSpPr>
        <p:grpSpPr>
          <a:xfrm>
            <a:off x="571500" y="2920154"/>
            <a:ext cx="567573" cy="215444"/>
            <a:chOff x="571500" y="2211823"/>
            <a:chExt cx="567573" cy="215444"/>
          </a:xfrm>
        </p:grpSpPr>
        <p:sp>
          <p:nvSpPr>
            <p:cNvPr id="524" name="Rectangle 209">
              <a:extLst>
                <a:ext uri="{FF2B5EF4-FFF2-40B4-BE49-F238E27FC236}">
                  <a16:creationId xmlns:a16="http://schemas.microsoft.com/office/drawing/2014/main" id="{63615BED-88C1-4A4B-7759-382F192D5020}"/>
                </a:ext>
              </a:extLst>
            </p:cNvPr>
            <p:cNvSpPr/>
            <p:nvPr/>
          </p:nvSpPr>
          <p:spPr>
            <a:xfrm>
              <a:off x="828090" y="2211823"/>
              <a:ext cx="310983" cy="21544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ru-RU" sz="1400" b="1" dirty="0">
                  <a:cs typeface="Arial" panose="020B0604020202020204" pitchFamily="34" charset="0"/>
                </a:rPr>
                <a:t>Юг</a:t>
              </a:r>
            </a:p>
          </p:txBody>
        </p:sp>
        <p:sp>
          <p:nvSpPr>
            <p:cNvPr id="525" name="Прямоугольник 524">
              <a:extLst>
                <a:ext uri="{FF2B5EF4-FFF2-40B4-BE49-F238E27FC236}">
                  <a16:creationId xmlns:a16="http://schemas.microsoft.com/office/drawing/2014/main" id="{0BF08F2D-8743-E54C-D794-C02915D9E424}"/>
                </a:ext>
              </a:extLst>
            </p:cNvPr>
            <p:cNvSpPr/>
            <p:nvPr/>
          </p:nvSpPr>
          <p:spPr>
            <a:xfrm>
              <a:off x="571500" y="2265510"/>
              <a:ext cx="108068" cy="108068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26" name="Группа 525">
            <a:extLst>
              <a:ext uri="{FF2B5EF4-FFF2-40B4-BE49-F238E27FC236}">
                <a16:creationId xmlns:a16="http://schemas.microsoft.com/office/drawing/2014/main" id="{5A781884-4ECD-AF5E-3D4F-C746FB5803F1}"/>
              </a:ext>
            </a:extLst>
          </p:cNvPr>
          <p:cNvGrpSpPr/>
          <p:nvPr/>
        </p:nvGrpSpPr>
        <p:grpSpPr>
          <a:xfrm>
            <a:off x="571500" y="3497958"/>
            <a:ext cx="761536" cy="215444"/>
            <a:chOff x="571500" y="2501202"/>
            <a:chExt cx="761536" cy="215444"/>
          </a:xfrm>
        </p:grpSpPr>
        <p:sp>
          <p:nvSpPr>
            <p:cNvPr id="527" name="Rectangle 209">
              <a:extLst>
                <a:ext uri="{FF2B5EF4-FFF2-40B4-BE49-F238E27FC236}">
                  <a16:creationId xmlns:a16="http://schemas.microsoft.com/office/drawing/2014/main" id="{AF6CEF53-C7DC-C31B-1D0D-33F2516D2BDE}"/>
                </a:ext>
              </a:extLst>
            </p:cNvPr>
            <p:cNvSpPr/>
            <p:nvPr/>
          </p:nvSpPr>
          <p:spPr>
            <a:xfrm>
              <a:off x="828090" y="2501202"/>
              <a:ext cx="504946" cy="21544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ru-RU" sz="1400" b="1" dirty="0">
                  <a:cs typeface="Arial" panose="020B0604020202020204" pitchFamily="34" charset="0"/>
                </a:rPr>
                <a:t>Урал</a:t>
              </a:r>
            </a:p>
          </p:txBody>
        </p:sp>
        <p:sp>
          <p:nvSpPr>
            <p:cNvPr id="528" name="Прямоугольник 527">
              <a:extLst>
                <a:ext uri="{FF2B5EF4-FFF2-40B4-BE49-F238E27FC236}">
                  <a16:creationId xmlns:a16="http://schemas.microsoft.com/office/drawing/2014/main" id="{6770CC71-4A53-CB9D-1149-8511972637FB}"/>
                </a:ext>
              </a:extLst>
            </p:cNvPr>
            <p:cNvSpPr/>
            <p:nvPr/>
          </p:nvSpPr>
          <p:spPr>
            <a:xfrm>
              <a:off x="571500" y="2554889"/>
              <a:ext cx="108068" cy="10806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29" name="Группа 528">
            <a:extLst>
              <a:ext uri="{FF2B5EF4-FFF2-40B4-BE49-F238E27FC236}">
                <a16:creationId xmlns:a16="http://schemas.microsoft.com/office/drawing/2014/main" id="{5A4B1D3D-08CF-E3B1-E853-50FD904DDAFE}"/>
              </a:ext>
            </a:extLst>
          </p:cNvPr>
          <p:cNvGrpSpPr/>
          <p:nvPr/>
        </p:nvGrpSpPr>
        <p:grpSpPr>
          <a:xfrm>
            <a:off x="571500" y="4086534"/>
            <a:ext cx="1013207" cy="193899"/>
            <a:chOff x="571500" y="2801353"/>
            <a:chExt cx="1013207" cy="193899"/>
          </a:xfrm>
        </p:grpSpPr>
        <p:sp>
          <p:nvSpPr>
            <p:cNvPr id="530" name="Rectangle 209">
              <a:extLst>
                <a:ext uri="{FF2B5EF4-FFF2-40B4-BE49-F238E27FC236}">
                  <a16:creationId xmlns:a16="http://schemas.microsoft.com/office/drawing/2014/main" id="{D944745D-3F3F-375C-F031-7F0140B80C86}"/>
                </a:ext>
              </a:extLst>
            </p:cNvPr>
            <p:cNvSpPr/>
            <p:nvPr/>
          </p:nvSpPr>
          <p:spPr>
            <a:xfrm>
              <a:off x="828090" y="2801353"/>
              <a:ext cx="756617" cy="193899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sym typeface="Trebuchet MS" panose="020B0603020202020204" pitchFamily="34" charset="0"/>
                </a:rPr>
                <a:t>Сибирь</a:t>
              </a:r>
            </a:p>
          </p:txBody>
        </p:sp>
        <p:sp>
          <p:nvSpPr>
            <p:cNvPr id="531" name="Прямоугольник 530">
              <a:extLst>
                <a:ext uri="{FF2B5EF4-FFF2-40B4-BE49-F238E27FC236}">
                  <a16:creationId xmlns:a16="http://schemas.microsoft.com/office/drawing/2014/main" id="{554EB736-927E-1E34-D1F7-447270B786D3}"/>
                </a:ext>
              </a:extLst>
            </p:cNvPr>
            <p:cNvSpPr/>
            <p:nvPr/>
          </p:nvSpPr>
          <p:spPr>
            <a:xfrm>
              <a:off x="571500" y="2844268"/>
              <a:ext cx="108068" cy="108068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88" name="Группа 587">
            <a:extLst>
              <a:ext uri="{FF2B5EF4-FFF2-40B4-BE49-F238E27FC236}">
                <a16:creationId xmlns:a16="http://schemas.microsoft.com/office/drawing/2014/main" id="{161D3F23-95D5-EAC1-5D79-8198E5C9B61F}"/>
              </a:ext>
            </a:extLst>
          </p:cNvPr>
          <p:cNvGrpSpPr/>
          <p:nvPr/>
        </p:nvGrpSpPr>
        <p:grpSpPr>
          <a:xfrm>
            <a:off x="571500" y="1775318"/>
            <a:ext cx="1700896" cy="193899"/>
            <a:chOff x="571500" y="1775318"/>
            <a:chExt cx="1700896" cy="193899"/>
          </a:xfrm>
        </p:grpSpPr>
        <p:sp>
          <p:nvSpPr>
            <p:cNvPr id="589" name="Rectangle 209">
              <a:extLst>
                <a:ext uri="{FF2B5EF4-FFF2-40B4-BE49-F238E27FC236}">
                  <a16:creationId xmlns:a16="http://schemas.microsoft.com/office/drawing/2014/main" id="{9403C901-F0CF-BBAD-EA06-5571AEE5A411}"/>
                </a:ext>
              </a:extLst>
            </p:cNvPr>
            <p:cNvSpPr/>
            <p:nvPr/>
          </p:nvSpPr>
          <p:spPr>
            <a:xfrm>
              <a:off x="828090" y="1775318"/>
              <a:ext cx="1444306" cy="193899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sym typeface="Trebuchet MS" panose="020B0603020202020204" pitchFamily="34" charset="0"/>
                </a:rPr>
                <a:t>Северо-Запад</a:t>
              </a:r>
            </a:p>
          </p:txBody>
        </p:sp>
        <p:sp>
          <p:nvSpPr>
            <p:cNvPr id="590" name="Прямоугольник 589">
              <a:extLst>
                <a:ext uri="{FF2B5EF4-FFF2-40B4-BE49-F238E27FC236}">
                  <a16:creationId xmlns:a16="http://schemas.microsoft.com/office/drawing/2014/main" id="{06875E7A-91BD-F7D7-BEDC-8154853ABD33}"/>
                </a:ext>
              </a:extLst>
            </p:cNvPr>
            <p:cNvSpPr/>
            <p:nvPr/>
          </p:nvSpPr>
          <p:spPr>
            <a:xfrm>
              <a:off x="571500" y="1818233"/>
              <a:ext cx="108068" cy="10806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11" name="TextBox 210"/>
          <p:cNvSpPr txBox="1"/>
          <p:nvPr/>
        </p:nvSpPr>
        <p:spPr>
          <a:xfrm>
            <a:off x="393223" y="5103477"/>
            <a:ext cx="2824460" cy="12926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r>
              <a:rPr lang="ru-RU" sz="1050" dirty="0" smtClean="0"/>
              <a:t>РЦ – распределительные центры.</a:t>
            </a:r>
            <a:endParaRPr lang="en-US" sz="1050" dirty="0" smtClean="0"/>
          </a:p>
          <a:p>
            <a:endParaRPr lang="en-US" sz="1050" dirty="0"/>
          </a:p>
          <a:p>
            <a:r>
              <a:rPr lang="ru-RU" sz="1050" dirty="0" smtClean="0"/>
              <a:t>ТК – торговый комплекс «Лента».</a:t>
            </a:r>
          </a:p>
          <a:p>
            <a:endParaRPr lang="ru-RU" sz="1050" dirty="0"/>
          </a:p>
          <a:p>
            <a:r>
              <a:rPr lang="ru-RU" sz="1050" dirty="0" smtClean="0"/>
              <a:t>ПР – </a:t>
            </a:r>
            <a:r>
              <a:rPr lang="ru-RU" sz="1050" dirty="0"/>
              <a:t>п</a:t>
            </a:r>
            <a:r>
              <a:rPr lang="ru-RU" sz="1050" dirty="0" smtClean="0"/>
              <a:t>рофиль распределени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/>
              <a:t>с</a:t>
            </a:r>
            <a:r>
              <a:rPr lang="ru-RU" sz="1050" dirty="0" smtClean="0"/>
              <a:t>теллажное хранение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/>
              <a:t>кросс-док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/>
              <a:t>п</a:t>
            </a:r>
            <a:r>
              <a:rPr lang="ru-RU" sz="1050" dirty="0" smtClean="0"/>
              <a:t>ик-бай-лайн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38945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направления в </a:t>
            </a:r>
            <a:r>
              <a:rPr lang="ru-RU" dirty="0" smtClean="0"/>
              <a:t>работе</a:t>
            </a:r>
            <a:endParaRPr lang="ru-RU" dirty="0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6863BC82-91CA-428C-B8DB-4FD01771815B}"/>
              </a:ext>
            </a:extLst>
          </p:cNvPr>
          <p:cNvSpPr/>
          <p:nvPr/>
        </p:nvSpPr>
        <p:spPr>
          <a:xfrm>
            <a:off x="4074460" y="1916127"/>
            <a:ext cx="4029308" cy="4029306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D8FF0F98-6196-4219-B5B5-74B06BCC448C}"/>
              </a:ext>
            </a:extLst>
          </p:cNvPr>
          <p:cNvSpPr/>
          <p:nvPr/>
        </p:nvSpPr>
        <p:spPr>
          <a:xfrm>
            <a:off x="4247408" y="4837033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1369001F-8F89-462B-8659-6B2ACD42EE71}"/>
              </a:ext>
            </a:extLst>
          </p:cNvPr>
          <p:cNvSpPr/>
          <p:nvPr/>
        </p:nvSpPr>
        <p:spPr>
          <a:xfrm>
            <a:off x="7297148" y="4837033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E746A09E-A8E3-4130-A39D-1BF44C176BA8}"/>
              </a:ext>
            </a:extLst>
          </p:cNvPr>
          <p:cNvSpPr/>
          <p:nvPr/>
        </p:nvSpPr>
        <p:spPr>
          <a:xfrm>
            <a:off x="5812003" y="1576724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E79F39FD-3584-4CD2-9352-CDADF6689926}"/>
              </a:ext>
            </a:extLst>
          </p:cNvPr>
          <p:cNvSpPr/>
          <p:nvPr/>
        </p:nvSpPr>
        <p:spPr>
          <a:xfrm>
            <a:off x="6727261" y="981911"/>
            <a:ext cx="303434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spcAft>
                <a:spcPts val="60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Жалобы покупателей</a:t>
            </a:r>
            <a:endParaRPr lang="ru-RU" sz="1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D6706DE7-A32B-4EB7-8261-954713B1BA52}"/>
              </a:ext>
            </a:extLst>
          </p:cNvPr>
          <p:cNvSpPr/>
          <p:nvPr/>
        </p:nvSpPr>
        <p:spPr>
          <a:xfrm>
            <a:off x="4812094" y="2653760"/>
            <a:ext cx="2554040" cy="2554040"/>
          </a:xfrm>
          <a:prstGeom prst="ellipse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514363"/>
            <a:r>
              <a:rPr lang="ru-RU" b="1" dirty="0" smtClean="0"/>
              <a:t>Претензион-ная работа</a:t>
            </a:r>
            <a:endParaRPr lang="ru-RU" b="1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29FBCC7-1A29-4A68-9FF0-6AF1A54DD3AD}"/>
              </a:ext>
            </a:extLst>
          </p:cNvPr>
          <p:cNvSpPr/>
          <p:nvPr/>
        </p:nvSpPr>
        <p:spPr>
          <a:xfrm>
            <a:off x="8551017" y="2738618"/>
            <a:ext cx="303434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«</a:t>
            </a:r>
            <a:r>
              <a:rPr lang="ru-RU" sz="1600" b="1" dirty="0">
                <a:solidFill>
                  <a:schemeClr val="tx1"/>
                </a:solidFill>
              </a:rPr>
              <a:t>Честный Знак</a:t>
            </a:r>
            <a:r>
              <a:rPr lang="ru-RU" sz="1600" b="1" dirty="0" smtClean="0">
                <a:solidFill>
                  <a:schemeClr val="tx1"/>
                </a:solidFill>
              </a:rPr>
              <a:t>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AD61EB6-3998-44EE-A399-6C202128D036}"/>
              </a:ext>
            </a:extLst>
          </p:cNvPr>
          <p:cNvSpPr/>
          <p:nvPr/>
        </p:nvSpPr>
        <p:spPr>
          <a:xfrm>
            <a:off x="8244434" y="4731287"/>
            <a:ext cx="303434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spcAft>
                <a:spcPts val="60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Брак в магазине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9B407E2A-EB21-44F5-B5E8-CE4B3AD87FE8}"/>
              </a:ext>
            </a:extLst>
          </p:cNvPr>
          <p:cNvSpPr/>
          <p:nvPr/>
        </p:nvSpPr>
        <p:spPr>
          <a:xfrm>
            <a:off x="7595236" y="2844364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1131B90E-FB5C-4BD8-9C42-83D34A05FF06}"/>
              </a:ext>
            </a:extLst>
          </p:cNvPr>
          <p:cNvSpPr/>
          <p:nvPr/>
        </p:nvSpPr>
        <p:spPr>
          <a:xfrm>
            <a:off x="3935546" y="2844364"/>
            <a:ext cx="647446" cy="6490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79F39FD-3584-4CD2-9352-CDADF6689926}"/>
              </a:ext>
            </a:extLst>
          </p:cNvPr>
          <p:cNvSpPr/>
          <p:nvPr/>
        </p:nvSpPr>
        <p:spPr>
          <a:xfrm>
            <a:off x="1293868" y="2131745"/>
            <a:ext cx="303434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spcAft>
                <a:spcPts val="60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Запросы </a:t>
            </a:r>
            <a:r>
              <a:rPr lang="ru-RU" sz="1600" b="1" dirty="0">
                <a:solidFill>
                  <a:schemeClr val="tx1"/>
                </a:solidFill>
              </a:rPr>
              <a:t>надзорных </a:t>
            </a:r>
            <a:r>
              <a:rPr lang="ru-RU" sz="1600" b="1" dirty="0" smtClean="0">
                <a:solidFill>
                  <a:schemeClr val="tx1"/>
                </a:solidFill>
              </a:rPr>
              <a:t>органов</a:t>
            </a:r>
            <a:endParaRPr lang="ru-RU" sz="1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79F39FD-3584-4CD2-9352-CDADF6689926}"/>
              </a:ext>
            </a:extLst>
          </p:cNvPr>
          <p:cNvSpPr/>
          <p:nvPr/>
        </p:nvSpPr>
        <p:spPr>
          <a:xfrm>
            <a:off x="2046655" y="4818904"/>
            <a:ext cx="303434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Лабораторные исследования</a:t>
            </a:r>
            <a:endParaRPr lang="ru-RU" sz="1600" b="1" dirty="0">
              <a:solidFill>
                <a:schemeClr val="tx1"/>
              </a:solidFill>
            </a:endParaRP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DD8F9E78-9BEA-4E56-BF48-C743D6F69BC9}"/>
              </a:ext>
            </a:extLst>
          </p:cNvPr>
          <p:cNvGrpSpPr/>
          <p:nvPr/>
        </p:nvGrpSpPr>
        <p:grpSpPr>
          <a:xfrm>
            <a:off x="5892809" y="1658325"/>
            <a:ext cx="485833" cy="485833"/>
            <a:chOff x="2965181" y="2333096"/>
            <a:chExt cx="485833" cy="485833"/>
          </a:xfrm>
        </p:grpSpPr>
        <p:sp>
          <p:nvSpPr>
            <p:cNvPr id="27" name="Полилиния: фигура 219">
              <a:extLst>
                <a:ext uri="{FF2B5EF4-FFF2-40B4-BE49-F238E27FC236}">
                  <a16:creationId xmlns:a16="http://schemas.microsoft.com/office/drawing/2014/main" id="{084984A9-8394-40A0-B890-D9AAE0E03490}"/>
                </a:ext>
              </a:extLst>
            </p:cNvPr>
            <p:cNvSpPr/>
            <p:nvPr/>
          </p:nvSpPr>
          <p:spPr>
            <a:xfrm>
              <a:off x="2965181" y="2333096"/>
              <a:ext cx="485833" cy="485833"/>
            </a:xfrm>
            <a:custGeom>
              <a:avLst/>
              <a:gdLst>
                <a:gd name="connsiteX0" fmla="*/ 242917 w 485833"/>
                <a:gd name="connsiteY0" fmla="*/ 0 h 485833"/>
                <a:gd name="connsiteX1" fmla="*/ 0 w 485833"/>
                <a:gd name="connsiteY1" fmla="*/ 242917 h 485833"/>
                <a:gd name="connsiteX2" fmla="*/ 242917 w 485833"/>
                <a:gd name="connsiteY2" fmla="*/ 485834 h 485833"/>
                <a:gd name="connsiteX3" fmla="*/ 485834 w 485833"/>
                <a:gd name="connsiteY3" fmla="*/ 242917 h 485833"/>
                <a:gd name="connsiteX4" fmla="*/ 242917 w 485833"/>
                <a:gd name="connsiteY4" fmla="*/ 0 h 485833"/>
                <a:gd name="connsiteX5" fmla="*/ 242917 w 485833"/>
                <a:gd name="connsiteY5" fmla="*/ 468886 h 485833"/>
                <a:gd name="connsiteX6" fmla="*/ 16948 w 485833"/>
                <a:gd name="connsiteY6" fmla="*/ 242917 h 485833"/>
                <a:gd name="connsiteX7" fmla="*/ 242917 w 485833"/>
                <a:gd name="connsiteY7" fmla="*/ 16948 h 485833"/>
                <a:gd name="connsiteX8" fmla="*/ 468886 w 485833"/>
                <a:gd name="connsiteY8" fmla="*/ 242917 h 485833"/>
                <a:gd name="connsiteX9" fmla="*/ 242917 w 485833"/>
                <a:gd name="connsiteY9" fmla="*/ 468886 h 48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5833" h="485833">
                  <a:moveTo>
                    <a:pt x="242917" y="0"/>
                  </a:moveTo>
                  <a:cubicBezTo>
                    <a:pt x="109030" y="0"/>
                    <a:pt x="0" y="109030"/>
                    <a:pt x="0" y="242917"/>
                  </a:cubicBezTo>
                  <a:cubicBezTo>
                    <a:pt x="0" y="376804"/>
                    <a:pt x="109030" y="485834"/>
                    <a:pt x="242917" y="485834"/>
                  </a:cubicBezTo>
                  <a:cubicBezTo>
                    <a:pt x="376804" y="485834"/>
                    <a:pt x="485834" y="376804"/>
                    <a:pt x="485834" y="242917"/>
                  </a:cubicBezTo>
                  <a:cubicBezTo>
                    <a:pt x="485834" y="109030"/>
                    <a:pt x="376804" y="0"/>
                    <a:pt x="242917" y="0"/>
                  </a:cubicBezTo>
                  <a:close/>
                  <a:moveTo>
                    <a:pt x="242917" y="468886"/>
                  </a:moveTo>
                  <a:cubicBezTo>
                    <a:pt x="118069" y="468886"/>
                    <a:pt x="16948" y="367765"/>
                    <a:pt x="16948" y="242917"/>
                  </a:cubicBezTo>
                  <a:cubicBezTo>
                    <a:pt x="16948" y="118069"/>
                    <a:pt x="118069" y="16948"/>
                    <a:pt x="242917" y="16948"/>
                  </a:cubicBezTo>
                  <a:cubicBezTo>
                    <a:pt x="367765" y="16948"/>
                    <a:pt x="468886" y="118069"/>
                    <a:pt x="468886" y="242917"/>
                  </a:cubicBezTo>
                  <a:cubicBezTo>
                    <a:pt x="468886" y="367765"/>
                    <a:pt x="367765" y="468886"/>
                    <a:pt x="242917" y="468886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20">
              <a:extLst>
                <a:ext uri="{FF2B5EF4-FFF2-40B4-BE49-F238E27FC236}">
                  <a16:creationId xmlns:a16="http://schemas.microsoft.com/office/drawing/2014/main" id="{1CB493CE-2C4E-4CCD-8C91-B800FA1D4CD0}"/>
                </a:ext>
              </a:extLst>
            </p:cNvPr>
            <p:cNvSpPr/>
            <p:nvPr/>
          </p:nvSpPr>
          <p:spPr>
            <a:xfrm>
              <a:off x="3089323" y="2502996"/>
              <a:ext cx="238115" cy="145891"/>
            </a:xfrm>
            <a:custGeom>
              <a:avLst/>
              <a:gdLst>
                <a:gd name="connsiteX0" fmla="*/ 102392 w 238115"/>
                <a:gd name="connsiteY0" fmla="*/ 145891 h 145891"/>
                <a:gd name="connsiteX1" fmla="*/ 95613 w 238115"/>
                <a:gd name="connsiteY1" fmla="*/ 143067 h 145891"/>
                <a:gd name="connsiteX2" fmla="*/ 2966 w 238115"/>
                <a:gd name="connsiteY2" fmla="*/ 50419 h 145891"/>
                <a:gd name="connsiteX3" fmla="*/ 2966 w 238115"/>
                <a:gd name="connsiteY3" fmla="*/ 36296 h 145891"/>
                <a:gd name="connsiteX4" fmla="*/ 17089 w 238115"/>
                <a:gd name="connsiteY4" fmla="*/ 36296 h 145891"/>
                <a:gd name="connsiteX5" fmla="*/ 102392 w 238115"/>
                <a:gd name="connsiteY5" fmla="*/ 121600 h 145891"/>
                <a:gd name="connsiteX6" fmla="*/ 221026 w 238115"/>
                <a:gd name="connsiteY6" fmla="*/ 2966 h 145891"/>
                <a:gd name="connsiteX7" fmla="*/ 235149 w 238115"/>
                <a:gd name="connsiteY7" fmla="*/ 2966 h 145891"/>
                <a:gd name="connsiteX8" fmla="*/ 235149 w 238115"/>
                <a:gd name="connsiteY8" fmla="*/ 17089 h 145891"/>
                <a:gd name="connsiteX9" fmla="*/ 109171 w 238115"/>
                <a:gd name="connsiteY9" fmla="*/ 143067 h 145891"/>
                <a:gd name="connsiteX10" fmla="*/ 102392 w 238115"/>
                <a:gd name="connsiteY10" fmla="*/ 145891 h 1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15" h="145891">
                  <a:moveTo>
                    <a:pt x="102392" y="145891"/>
                  </a:moveTo>
                  <a:cubicBezTo>
                    <a:pt x="100133" y="145891"/>
                    <a:pt x="97308" y="144762"/>
                    <a:pt x="95613" y="143067"/>
                  </a:cubicBezTo>
                  <a:lnTo>
                    <a:pt x="2966" y="50419"/>
                  </a:lnTo>
                  <a:cubicBezTo>
                    <a:pt x="-989" y="46465"/>
                    <a:pt x="-989" y="40251"/>
                    <a:pt x="2966" y="36296"/>
                  </a:cubicBezTo>
                  <a:cubicBezTo>
                    <a:pt x="6920" y="32342"/>
                    <a:pt x="13134" y="32342"/>
                    <a:pt x="17089" y="36296"/>
                  </a:cubicBezTo>
                  <a:lnTo>
                    <a:pt x="102392" y="121600"/>
                  </a:lnTo>
                  <a:lnTo>
                    <a:pt x="221026" y="2966"/>
                  </a:lnTo>
                  <a:cubicBezTo>
                    <a:pt x="224981" y="-989"/>
                    <a:pt x="231195" y="-989"/>
                    <a:pt x="235149" y="2966"/>
                  </a:cubicBezTo>
                  <a:cubicBezTo>
                    <a:pt x="239104" y="6920"/>
                    <a:pt x="239104" y="13134"/>
                    <a:pt x="235149" y="17089"/>
                  </a:cubicBezTo>
                  <a:lnTo>
                    <a:pt x="109171" y="143067"/>
                  </a:lnTo>
                  <a:cubicBezTo>
                    <a:pt x="107477" y="144762"/>
                    <a:pt x="104652" y="145891"/>
                    <a:pt x="102392" y="145891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DD8F9E78-9BEA-4E56-BF48-C743D6F69BC9}"/>
              </a:ext>
            </a:extLst>
          </p:cNvPr>
          <p:cNvGrpSpPr/>
          <p:nvPr/>
        </p:nvGrpSpPr>
        <p:grpSpPr>
          <a:xfrm>
            <a:off x="4017926" y="2924836"/>
            <a:ext cx="485833" cy="485833"/>
            <a:chOff x="2965181" y="2333096"/>
            <a:chExt cx="485833" cy="485833"/>
          </a:xfrm>
        </p:grpSpPr>
        <p:sp>
          <p:nvSpPr>
            <p:cNvPr id="30" name="Полилиния: фигура 219">
              <a:extLst>
                <a:ext uri="{FF2B5EF4-FFF2-40B4-BE49-F238E27FC236}">
                  <a16:creationId xmlns:a16="http://schemas.microsoft.com/office/drawing/2014/main" id="{084984A9-8394-40A0-B890-D9AAE0E03490}"/>
                </a:ext>
              </a:extLst>
            </p:cNvPr>
            <p:cNvSpPr/>
            <p:nvPr/>
          </p:nvSpPr>
          <p:spPr>
            <a:xfrm>
              <a:off x="2965181" y="2333096"/>
              <a:ext cx="485833" cy="485833"/>
            </a:xfrm>
            <a:custGeom>
              <a:avLst/>
              <a:gdLst>
                <a:gd name="connsiteX0" fmla="*/ 242917 w 485833"/>
                <a:gd name="connsiteY0" fmla="*/ 0 h 485833"/>
                <a:gd name="connsiteX1" fmla="*/ 0 w 485833"/>
                <a:gd name="connsiteY1" fmla="*/ 242917 h 485833"/>
                <a:gd name="connsiteX2" fmla="*/ 242917 w 485833"/>
                <a:gd name="connsiteY2" fmla="*/ 485834 h 485833"/>
                <a:gd name="connsiteX3" fmla="*/ 485834 w 485833"/>
                <a:gd name="connsiteY3" fmla="*/ 242917 h 485833"/>
                <a:gd name="connsiteX4" fmla="*/ 242917 w 485833"/>
                <a:gd name="connsiteY4" fmla="*/ 0 h 485833"/>
                <a:gd name="connsiteX5" fmla="*/ 242917 w 485833"/>
                <a:gd name="connsiteY5" fmla="*/ 468886 h 485833"/>
                <a:gd name="connsiteX6" fmla="*/ 16948 w 485833"/>
                <a:gd name="connsiteY6" fmla="*/ 242917 h 485833"/>
                <a:gd name="connsiteX7" fmla="*/ 242917 w 485833"/>
                <a:gd name="connsiteY7" fmla="*/ 16948 h 485833"/>
                <a:gd name="connsiteX8" fmla="*/ 468886 w 485833"/>
                <a:gd name="connsiteY8" fmla="*/ 242917 h 485833"/>
                <a:gd name="connsiteX9" fmla="*/ 242917 w 485833"/>
                <a:gd name="connsiteY9" fmla="*/ 468886 h 48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5833" h="485833">
                  <a:moveTo>
                    <a:pt x="242917" y="0"/>
                  </a:moveTo>
                  <a:cubicBezTo>
                    <a:pt x="109030" y="0"/>
                    <a:pt x="0" y="109030"/>
                    <a:pt x="0" y="242917"/>
                  </a:cubicBezTo>
                  <a:cubicBezTo>
                    <a:pt x="0" y="376804"/>
                    <a:pt x="109030" y="485834"/>
                    <a:pt x="242917" y="485834"/>
                  </a:cubicBezTo>
                  <a:cubicBezTo>
                    <a:pt x="376804" y="485834"/>
                    <a:pt x="485834" y="376804"/>
                    <a:pt x="485834" y="242917"/>
                  </a:cubicBezTo>
                  <a:cubicBezTo>
                    <a:pt x="485834" y="109030"/>
                    <a:pt x="376804" y="0"/>
                    <a:pt x="242917" y="0"/>
                  </a:cubicBezTo>
                  <a:close/>
                  <a:moveTo>
                    <a:pt x="242917" y="468886"/>
                  </a:moveTo>
                  <a:cubicBezTo>
                    <a:pt x="118069" y="468886"/>
                    <a:pt x="16948" y="367765"/>
                    <a:pt x="16948" y="242917"/>
                  </a:cubicBezTo>
                  <a:cubicBezTo>
                    <a:pt x="16948" y="118069"/>
                    <a:pt x="118069" y="16948"/>
                    <a:pt x="242917" y="16948"/>
                  </a:cubicBezTo>
                  <a:cubicBezTo>
                    <a:pt x="367765" y="16948"/>
                    <a:pt x="468886" y="118069"/>
                    <a:pt x="468886" y="242917"/>
                  </a:cubicBezTo>
                  <a:cubicBezTo>
                    <a:pt x="468886" y="367765"/>
                    <a:pt x="367765" y="468886"/>
                    <a:pt x="242917" y="468886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220">
              <a:extLst>
                <a:ext uri="{FF2B5EF4-FFF2-40B4-BE49-F238E27FC236}">
                  <a16:creationId xmlns:a16="http://schemas.microsoft.com/office/drawing/2014/main" id="{1CB493CE-2C4E-4CCD-8C91-B800FA1D4CD0}"/>
                </a:ext>
              </a:extLst>
            </p:cNvPr>
            <p:cNvSpPr/>
            <p:nvPr/>
          </p:nvSpPr>
          <p:spPr>
            <a:xfrm>
              <a:off x="3089323" y="2502996"/>
              <a:ext cx="238115" cy="145891"/>
            </a:xfrm>
            <a:custGeom>
              <a:avLst/>
              <a:gdLst>
                <a:gd name="connsiteX0" fmla="*/ 102392 w 238115"/>
                <a:gd name="connsiteY0" fmla="*/ 145891 h 145891"/>
                <a:gd name="connsiteX1" fmla="*/ 95613 w 238115"/>
                <a:gd name="connsiteY1" fmla="*/ 143067 h 145891"/>
                <a:gd name="connsiteX2" fmla="*/ 2966 w 238115"/>
                <a:gd name="connsiteY2" fmla="*/ 50419 h 145891"/>
                <a:gd name="connsiteX3" fmla="*/ 2966 w 238115"/>
                <a:gd name="connsiteY3" fmla="*/ 36296 h 145891"/>
                <a:gd name="connsiteX4" fmla="*/ 17089 w 238115"/>
                <a:gd name="connsiteY4" fmla="*/ 36296 h 145891"/>
                <a:gd name="connsiteX5" fmla="*/ 102392 w 238115"/>
                <a:gd name="connsiteY5" fmla="*/ 121600 h 145891"/>
                <a:gd name="connsiteX6" fmla="*/ 221026 w 238115"/>
                <a:gd name="connsiteY6" fmla="*/ 2966 h 145891"/>
                <a:gd name="connsiteX7" fmla="*/ 235149 w 238115"/>
                <a:gd name="connsiteY7" fmla="*/ 2966 h 145891"/>
                <a:gd name="connsiteX8" fmla="*/ 235149 w 238115"/>
                <a:gd name="connsiteY8" fmla="*/ 17089 h 145891"/>
                <a:gd name="connsiteX9" fmla="*/ 109171 w 238115"/>
                <a:gd name="connsiteY9" fmla="*/ 143067 h 145891"/>
                <a:gd name="connsiteX10" fmla="*/ 102392 w 238115"/>
                <a:gd name="connsiteY10" fmla="*/ 145891 h 1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15" h="145891">
                  <a:moveTo>
                    <a:pt x="102392" y="145891"/>
                  </a:moveTo>
                  <a:cubicBezTo>
                    <a:pt x="100133" y="145891"/>
                    <a:pt x="97308" y="144762"/>
                    <a:pt x="95613" y="143067"/>
                  </a:cubicBezTo>
                  <a:lnTo>
                    <a:pt x="2966" y="50419"/>
                  </a:lnTo>
                  <a:cubicBezTo>
                    <a:pt x="-989" y="46465"/>
                    <a:pt x="-989" y="40251"/>
                    <a:pt x="2966" y="36296"/>
                  </a:cubicBezTo>
                  <a:cubicBezTo>
                    <a:pt x="6920" y="32342"/>
                    <a:pt x="13134" y="32342"/>
                    <a:pt x="17089" y="36296"/>
                  </a:cubicBezTo>
                  <a:lnTo>
                    <a:pt x="102392" y="121600"/>
                  </a:lnTo>
                  <a:lnTo>
                    <a:pt x="221026" y="2966"/>
                  </a:lnTo>
                  <a:cubicBezTo>
                    <a:pt x="224981" y="-989"/>
                    <a:pt x="231195" y="-989"/>
                    <a:pt x="235149" y="2966"/>
                  </a:cubicBezTo>
                  <a:cubicBezTo>
                    <a:pt x="239104" y="6920"/>
                    <a:pt x="239104" y="13134"/>
                    <a:pt x="235149" y="17089"/>
                  </a:cubicBezTo>
                  <a:lnTo>
                    <a:pt x="109171" y="143067"/>
                  </a:lnTo>
                  <a:cubicBezTo>
                    <a:pt x="107477" y="144762"/>
                    <a:pt x="104652" y="145891"/>
                    <a:pt x="102392" y="145891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DD8F9E78-9BEA-4E56-BF48-C743D6F69BC9}"/>
              </a:ext>
            </a:extLst>
          </p:cNvPr>
          <p:cNvGrpSpPr/>
          <p:nvPr/>
        </p:nvGrpSpPr>
        <p:grpSpPr>
          <a:xfrm>
            <a:off x="4328214" y="4918559"/>
            <a:ext cx="485833" cy="485833"/>
            <a:chOff x="2965181" y="2333096"/>
            <a:chExt cx="485833" cy="485833"/>
          </a:xfrm>
        </p:grpSpPr>
        <p:sp>
          <p:nvSpPr>
            <p:cNvPr id="33" name="Полилиния: фигура 219">
              <a:extLst>
                <a:ext uri="{FF2B5EF4-FFF2-40B4-BE49-F238E27FC236}">
                  <a16:creationId xmlns:a16="http://schemas.microsoft.com/office/drawing/2014/main" id="{084984A9-8394-40A0-B890-D9AAE0E03490}"/>
                </a:ext>
              </a:extLst>
            </p:cNvPr>
            <p:cNvSpPr/>
            <p:nvPr/>
          </p:nvSpPr>
          <p:spPr>
            <a:xfrm>
              <a:off x="2965181" y="2333096"/>
              <a:ext cx="485833" cy="485833"/>
            </a:xfrm>
            <a:custGeom>
              <a:avLst/>
              <a:gdLst>
                <a:gd name="connsiteX0" fmla="*/ 242917 w 485833"/>
                <a:gd name="connsiteY0" fmla="*/ 0 h 485833"/>
                <a:gd name="connsiteX1" fmla="*/ 0 w 485833"/>
                <a:gd name="connsiteY1" fmla="*/ 242917 h 485833"/>
                <a:gd name="connsiteX2" fmla="*/ 242917 w 485833"/>
                <a:gd name="connsiteY2" fmla="*/ 485834 h 485833"/>
                <a:gd name="connsiteX3" fmla="*/ 485834 w 485833"/>
                <a:gd name="connsiteY3" fmla="*/ 242917 h 485833"/>
                <a:gd name="connsiteX4" fmla="*/ 242917 w 485833"/>
                <a:gd name="connsiteY4" fmla="*/ 0 h 485833"/>
                <a:gd name="connsiteX5" fmla="*/ 242917 w 485833"/>
                <a:gd name="connsiteY5" fmla="*/ 468886 h 485833"/>
                <a:gd name="connsiteX6" fmla="*/ 16948 w 485833"/>
                <a:gd name="connsiteY6" fmla="*/ 242917 h 485833"/>
                <a:gd name="connsiteX7" fmla="*/ 242917 w 485833"/>
                <a:gd name="connsiteY7" fmla="*/ 16948 h 485833"/>
                <a:gd name="connsiteX8" fmla="*/ 468886 w 485833"/>
                <a:gd name="connsiteY8" fmla="*/ 242917 h 485833"/>
                <a:gd name="connsiteX9" fmla="*/ 242917 w 485833"/>
                <a:gd name="connsiteY9" fmla="*/ 468886 h 48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5833" h="485833">
                  <a:moveTo>
                    <a:pt x="242917" y="0"/>
                  </a:moveTo>
                  <a:cubicBezTo>
                    <a:pt x="109030" y="0"/>
                    <a:pt x="0" y="109030"/>
                    <a:pt x="0" y="242917"/>
                  </a:cubicBezTo>
                  <a:cubicBezTo>
                    <a:pt x="0" y="376804"/>
                    <a:pt x="109030" y="485834"/>
                    <a:pt x="242917" y="485834"/>
                  </a:cubicBezTo>
                  <a:cubicBezTo>
                    <a:pt x="376804" y="485834"/>
                    <a:pt x="485834" y="376804"/>
                    <a:pt x="485834" y="242917"/>
                  </a:cubicBezTo>
                  <a:cubicBezTo>
                    <a:pt x="485834" y="109030"/>
                    <a:pt x="376804" y="0"/>
                    <a:pt x="242917" y="0"/>
                  </a:cubicBezTo>
                  <a:close/>
                  <a:moveTo>
                    <a:pt x="242917" y="468886"/>
                  </a:moveTo>
                  <a:cubicBezTo>
                    <a:pt x="118069" y="468886"/>
                    <a:pt x="16948" y="367765"/>
                    <a:pt x="16948" y="242917"/>
                  </a:cubicBezTo>
                  <a:cubicBezTo>
                    <a:pt x="16948" y="118069"/>
                    <a:pt x="118069" y="16948"/>
                    <a:pt x="242917" y="16948"/>
                  </a:cubicBezTo>
                  <a:cubicBezTo>
                    <a:pt x="367765" y="16948"/>
                    <a:pt x="468886" y="118069"/>
                    <a:pt x="468886" y="242917"/>
                  </a:cubicBezTo>
                  <a:cubicBezTo>
                    <a:pt x="468886" y="367765"/>
                    <a:pt x="367765" y="468886"/>
                    <a:pt x="242917" y="468886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220">
              <a:extLst>
                <a:ext uri="{FF2B5EF4-FFF2-40B4-BE49-F238E27FC236}">
                  <a16:creationId xmlns:a16="http://schemas.microsoft.com/office/drawing/2014/main" id="{1CB493CE-2C4E-4CCD-8C91-B800FA1D4CD0}"/>
                </a:ext>
              </a:extLst>
            </p:cNvPr>
            <p:cNvSpPr/>
            <p:nvPr/>
          </p:nvSpPr>
          <p:spPr>
            <a:xfrm>
              <a:off x="3089323" y="2502996"/>
              <a:ext cx="238115" cy="145891"/>
            </a:xfrm>
            <a:custGeom>
              <a:avLst/>
              <a:gdLst>
                <a:gd name="connsiteX0" fmla="*/ 102392 w 238115"/>
                <a:gd name="connsiteY0" fmla="*/ 145891 h 145891"/>
                <a:gd name="connsiteX1" fmla="*/ 95613 w 238115"/>
                <a:gd name="connsiteY1" fmla="*/ 143067 h 145891"/>
                <a:gd name="connsiteX2" fmla="*/ 2966 w 238115"/>
                <a:gd name="connsiteY2" fmla="*/ 50419 h 145891"/>
                <a:gd name="connsiteX3" fmla="*/ 2966 w 238115"/>
                <a:gd name="connsiteY3" fmla="*/ 36296 h 145891"/>
                <a:gd name="connsiteX4" fmla="*/ 17089 w 238115"/>
                <a:gd name="connsiteY4" fmla="*/ 36296 h 145891"/>
                <a:gd name="connsiteX5" fmla="*/ 102392 w 238115"/>
                <a:gd name="connsiteY5" fmla="*/ 121600 h 145891"/>
                <a:gd name="connsiteX6" fmla="*/ 221026 w 238115"/>
                <a:gd name="connsiteY6" fmla="*/ 2966 h 145891"/>
                <a:gd name="connsiteX7" fmla="*/ 235149 w 238115"/>
                <a:gd name="connsiteY7" fmla="*/ 2966 h 145891"/>
                <a:gd name="connsiteX8" fmla="*/ 235149 w 238115"/>
                <a:gd name="connsiteY8" fmla="*/ 17089 h 145891"/>
                <a:gd name="connsiteX9" fmla="*/ 109171 w 238115"/>
                <a:gd name="connsiteY9" fmla="*/ 143067 h 145891"/>
                <a:gd name="connsiteX10" fmla="*/ 102392 w 238115"/>
                <a:gd name="connsiteY10" fmla="*/ 145891 h 1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15" h="145891">
                  <a:moveTo>
                    <a:pt x="102392" y="145891"/>
                  </a:moveTo>
                  <a:cubicBezTo>
                    <a:pt x="100133" y="145891"/>
                    <a:pt x="97308" y="144762"/>
                    <a:pt x="95613" y="143067"/>
                  </a:cubicBezTo>
                  <a:lnTo>
                    <a:pt x="2966" y="50419"/>
                  </a:lnTo>
                  <a:cubicBezTo>
                    <a:pt x="-989" y="46465"/>
                    <a:pt x="-989" y="40251"/>
                    <a:pt x="2966" y="36296"/>
                  </a:cubicBezTo>
                  <a:cubicBezTo>
                    <a:pt x="6920" y="32342"/>
                    <a:pt x="13134" y="32342"/>
                    <a:pt x="17089" y="36296"/>
                  </a:cubicBezTo>
                  <a:lnTo>
                    <a:pt x="102392" y="121600"/>
                  </a:lnTo>
                  <a:lnTo>
                    <a:pt x="221026" y="2966"/>
                  </a:lnTo>
                  <a:cubicBezTo>
                    <a:pt x="224981" y="-989"/>
                    <a:pt x="231195" y="-989"/>
                    <a:pt x="235149" y="2966"/>
                  </a:cubicBezTo>
                  <a:cubicBezTo>
                    <a:pt x="239104" y="6920"/>
                    <a:pt x="239104" y="13134"/>
                    <a:pt x="235149" y="17089"/>
                  </a:cubicBezTo>
                  <a:lnTo>
                    <a:pt x="109171" y="143067"/>
                  </a:lnTo>
                  <a:cubicBezTo>
                    <a:pt x="107477" y="144762"/>
                    <a:pt x="104652" y="145891"/>
                    <a:pt x="102392" y="145891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DD8F9E78-9BEA-4E56-BF48-C743D6F69BC9}"/>
              </a:ext>
            </a:extLst>
          </p:cNvPr>
          <p:cNvGrpSpPr/>
          <p:nvPr/>
        </p:nvGrpSpPr>
        <p:grpSpPr>
          <a:xfrm>
            <a:off x="7377954" y="4918631"/>
            <a:ext cx="485833" cy="485833"/>
            <a:chOff x="2965181" y="2333096"/>
            <a:chExt cx="485833" cy="485833"/>
          </a:xfrm>
        </p:grpSpPr>
        <p:sp>
          <p:nvSpPr>
            <p:cNvPr id="36" name="Полилиния: фигура 219">
              <a:extLst>
                <a:ext uri="{FF2B5EF4-FFF2-40B4-BE49-F238E27FC236}">
                  <a16:creationId xmlns:a16="http://schemas.microsoft.com/office/drawing/2014/main" id="{084984A9-8394-40A0-B890-D9AAE0E03490}"/>
                </a:ext>
              </a:extLst>
            </p:cNvPr>
            <p:cNvSpPr/>
            <p:nvPr/>
          </p:nvSpPr>
          <p:spPr>
            <a:xfrm>
              <a:off x="2965181" y="2333096"/>
              <a:ext cx="485833" cy="485833"/>
            </a:xfrm>
            <a:custGeom>
              <a:avLst/>
              <a:gdLst>
                <a:gd name="connsiteX0" fmla="*/ 242917 w 485833"/>
                <a:gd name="connsiteY0" fmla="*/ 0 h 485833"/>
                <a:gd name="connsiteX1" fmla="*/ 0 w 485833"/>
                <a:gd name="connsiteY1" fmla="*/ 242917 h 485833"/>
                <a:gd name="connsiteX2" fmla="*/ 242917 w 485833"/>
                <a:gd name="connsiteY2" fmla="*/ 485834 h 485833"/>
                <a:gd name="connsiteX3" fmla="*/ 485834 w 485833"/>
                <a:gd name="connsiteY3" fmla="*/ 242917 h 485833"/>
                <a:gd name="connsiteX4" fmla="*/ 242917 w 485833"/>
                <a:gd name="connsiteY4" fmla="*/ 0 h 485833"/>
                <a:gd name="connsiteX5" fmla="*/ 242917 w 485833"/>
                <a:gd name="connsiteY5" fmla="*/ 468886 h 485833"/>
                <a:gd name="connsiteX6" fmla="*/ 16948 w 485833"/>
                <a:gd name="connsiteY6" fmla="*/ 242917 h 485833"/>
                <a:gd name="connsiteX7" fmla="*/ 242917 w 485833"/>
                <a:gd name="connsiteY7" fmla="*/ 16948 h 485833"/>
                <a:gd name="connsiteX8" fmla="*/ 468886 w 485833"/>
                <a:gd name="connsiteY8" fmla="*/ 242917 h 485833"/>
                <a:gd name="connsiteX9" fmla="*/ 242917 w 485833"/>
                <a:gd name="connsiteY9" fmla="*/ 468886 h 48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5833" h="485833">
                  <a:moveTo>
                    <a:pt x="242917" y="0"/>
                  </a:moveTo>
                  <a:cubicBezTo>
                    <a:pt x="109030" y="0"/>
                    <a:pt x="0" y="109030"/>
                    <a:pt x="0" y="242917"/>
                  </a:cubicBezTo>
                  <a:cubicBezTo>
                    <a:pt x="0" y="376804"/>
                    <a:pt x="109030" y="485834"/>
                    <a:pt x="242917" y="485834"/>
                  </a:cubicBezTo>
                  <a:cubicBezTo>
                    <a:pt x="376804" y="485834"/>
                    <a:pt x="485834" y="376804"/>
                    <a:pt x="485834" y="242917"/>
                  </a:cubicBezTo>
                  <a:cubicBezTo>
                    <a:pt x="485834" y="109030"/>
                    <a:pt x="376804" y="0"/>
                    <a:pt x="242917" y="0"/>
                  </a:cubicBezTo>
                  <a:close/>
                  <a:moveTo>
                    <a:pt x="242917" y="468886"/>
                  </a:moveTo>
                  <a:cubicBezTo>
                    <a:pt x="118069" y="468886"/>
                    <a:pt x="16948" y="367765"/>
                    <a:pt x="16948" y="242917"/>
                  </a:cubicBezTo>
                  <a:cubicBezTo>
                    <a:pt x="16948" y="118069"/>
                    <a:pt x="118069" y="16948"/>
                    <a:pt x="242917" y="16948"/>
                  </a:cubicBezTo>
                  <a:cubicBezTo>
                    <a:pt x="367765" y="16948"/>
                    <a:pt x="468886" y="118069"/>
                    <a:pt x="468886" y="242917"/>
                  </a:cubicBezTo>
                  <a:cubicBezTo>
                    <a:pt x="468886" y="367765"/>
                    <a:pt x="367765" y="468886"/>
                    <a:pt x="242917" y="468886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220">
              <a:extLst>
                <a:ext uri="{FF2B5EF4-FFF2-40B4-BE49-F238E27FC236}">
                  <a16:creationId xmlns:a16="http://schemas.microsoft.com/office/drawing/2014/main" id="{1CB493CE-2C4E-4CCD-8C91-B800FA1D4CD0}"/>
                </a:ext>
              </a:extLst>
            </p:cNvPr>
            <p:cNvSpPr/>
            <p:nvPr/>
          </p:nvSpPr>
          <p:spPr>
            <a:xfrm>
              <a:off x="3089323" y="2502996"/>
              <a:ext cx="238115" cy="145891"/>
            </a:xfrm>
            <a:custGeom>
              <a:avLst/>
              <a:gdLst>
                <a:gd name="connsiteX0" fmla="*/ 102392 w 238115"/>
                <a:gd name="connsiteY0" fmla="*/ 145891 h 145891"/>
                <a:gd name="connsiteX1" fmla="*/ 95613 w 238115"/>
                <a:gd name="connsiteY1" fmla="*/ 143067 h 145891"/>
                <a:gd name="connsiteX2" fmla="*/ 2966 w 238115"/>
                <a:gd name="connsiteY2" fmla="*/ 50419 h 145891"/>
                <a:gd name="connsiteX3" fmla="*/ 2966 w 238115"/>
                <a:gd name="connsiteY3" fmla="*/ 36296 h 145891"/>
                <a:gd name="connsiteX4" fmla="*/ 17089 w 238115"/>
                <a:gd name="connsiteY4" fmla="*/ 36296 h 145891"/>
                <a:gd name="connsiteX5" fmla="*/ 102392 w 238115"/>
                <a:gd name="connsiteY5" fmla="*/ 121600 h 145891"/>
                <a:gd name="connsiteX6" fmla="*/ 221026 w 238115"/>
                <a:gd name="connsiteY6" fmla="*/ 2966 h 145891"/>
                <a:gd name="connsiteX7" fmla="*/ 235149 w 238115"/>
                <a:gd name="connsiteY7" fmla="*/ 2966 h 145891"/>
                <a:gd name="connsiteX8" fmla="*/ 235149 w 238115"/>
                <a:gd name="connsiteY8" fmla="*/ 17089 h 145891"/>
                <a:gd name="connsiteX9" fmla="*/ 109171 w 238115"/>
                <a:gd name="connsiteY9" fmla="*/ 143067 h 145891"/>
                <a:gd name="connsiteX10" fmla="*/ 102392 w 238115"/>
                <a:gd name="connsiteY10" fmla="*/ 145891 h 1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15" h="145891">
                  <a:moveTo>
                    <a:pt x="102392" y="145891"/>
                  </a:moveTo>
                  <a:cubicBezTo>
                    <a:pt x="100133" y="145891"/>
                    <a:pt x="97308" y="144762"/>
                    <a:pt x="95613" y="143067"/>
                  </a:cubicBezTo>
                  <a:lnTo>
                    <a:pt x="2966" y="50419"/>
                  </a:lnTo>
                  <a:cubicBezTo>
                    <a:pt x="-989" y="46465"/>
                    <a:pt x="-989" y="40251"/>
                    <a:pt x="2966" y="36296"/>
                  </a:cubicBezTo>
                  <a:cubicBezTo>
                    <a:pt x="6920" y="32342"/>
                    <a:pt x="13134" y="32342"/>
                    <a:pt x="17089" y="36296"/>
                  </a:cubicBezTo>
                  <a:lnTo>
                    <a:pt x="102392" y="121600"/>
                  </a:lnTo>
                  <a:lnTo>
                    <a:pt x="221026" y="2966"/>
                  </a:lnTo>
                  <a:cubicBezTo>
                    <a:pt x="224981" y="-989"/>
                    <a:pt x="231195" y="-989"/>
                    <a:pt x="235149" y="2966"/>
                  </a:cubicBezTo>
                  <a:cubicBezTo>
                    <a:pt x="239104" y="6920"/>
                    <a:pt x="239104" y="13134"/>
                    <a:pt x="235149" y="17089"/>
                  </a:cubicBezTo>
                  <a:lnTo>
                    <a:pt x="109171" y="143067"/>
                  </a:lnTo>
                  <a:cubicBezTo>
                    <a:pt x="107477" y="144762"/>
                    <a:pt x="104652" y="145891"/>
                    <a:pt x="102392" y="145891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DD8F9E78-9BEA-4E56-BF48-C743D6F69BC9}"/>
              </a:ext>
            </a:extLst>
          </p:cNvPr>
          <p:cNvGrpSpPr/>
          <p:nvPr/>
        </p:nvGrpSpPr>
        <p:grpSpPr>
          <a:xfrm>
            <a:off x="7678746" y="2925962"/>
            <a:ext cx="485833" cy="485833"/>
            <a:chOff x="2965181" y="2333096"/>
            <a:chExt cx="485833" cy="485833"/>
          </a:xfrm>
        </p:grpSpPr>
        <p:sp>
          <p:nvSpPr>
            <p:cNvPr id="39" name="Полилиния: фигура 219">
              <a:extLst>
                <a:ext uri="{FF2B5EF4-FFF2-40B4-BE49-F238E27FC236}">
                  <a16:creationId xmlns:a16="http://schemas.microsoft.com/office/drawing/2014/main" id="{084984A9-8394-40A0-B890-D9AAE0E03490}"/>
                </a:ext>
              </a:extLst>
            </p:cNvPr>
            <p:cNvSpPr/>
            <p:nvPr/>
          </p:nvSpPr>
          <p:spPr>
            <a:xfrm>
              <a:off x="2965181" y="2333096"/>
              <a:ext cx="485833" cy="485833"/>
            </a:xfrm>
            <a:custGeom>
              <a:avLst/>
              <a:gdLst>
                <a:gd name="connsiteX0" fmla="*/ 242917 w 485833"/>
                <a:gd name="connsiteY0" fmla="*/ 0 h 485833"/>
                <a:gd name="connsiteX1" fmla="*/ 0 w 485833"/>
                <a:gd name="connsiteY1" fmla="*/ 242917 h 485833"/>
                <a:gd name="connsiteX2" fmla="*/ 242917 w 485833"/>
                <a:gd name="connsiteY2" fmla="*/ 485834 h 485833"/>
                <a:gd name="connsiteX3" fmla="*/ 485834 w 485833"/>
                <a:gd name="connsiteY3" fmla="*/ 242917 h 485833"/>
                <a:gd name="connsiteX4" fmla="*/ 242917 w 485833"/>
                <a:gd name="connsiteY4" fmla="*/ 0 h 485833"/>
                <a:gd name="connsiteX5" fmla="*/ 242917 w 485833"/>
                <a:gd name="connsiteY5" fmla="*/ 468886 h 485833"/>
                <a:gd name="connsiteX6" fmla="*/ 16948 w 485833"/>
                <a:gd name="connsiteY6" fmla="*/ 242917 h 485833"/>
                <a:gd name="connsiteX7" fmla="*/ 242917 w 485833"/>
                <a:gd name="connsiteY7" fmla="*/ 16948 h 485833"/>
                <a:gd name="connsiteX8" fmla="*/ 468886 w 485833"/>
                <a:gd name="connsiteY8" fmla="*/ 242917 h 485833"/>
                <a:gd name="connsiteX9" fmla="*/ 242917 w 485833"/>
                <a:gd name="connsiteY9" fmla="*/ 468886 h 48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5833" h="485833">
                  <a:moveTo>
                    <a:pt x="242917" y="0"/>
                  </a:moveTo>
                  <a:cubicBezTo>
                    <a:pt x="109030" y="0"/>
                    <a:pt x="0" y="109030"/>
                    <a:pt x="0" y="242917"/>
                  </a:cubicBezTo>
                  <a:cubicBezTo>
                    <a:pt x="0" y="376804"/>
                    <a:pt x="109030" y="485834"/>
                    <a:pt x="242917" y="485834"/>
                  </a:cubicBezTo>
                  <a:cubicBezTo>
                    <a:pt x="376804" y="485834"/>
                    <a:pt x="485834" y="376804"/>
                    <a:pt x="485834" y="242917"/>
                  </a:cubicBezTo>
                  <a:cubicBezTo>
                    <a:pt x="485834" y="109030"/>
                    <a:pt x="376804" y="0"/>
                    <a:pt x="242917" y="0"/>
                  </a:cubicBezTo>
                  <a:close/>
                  <a:moveTo>
                    <a:pt x="242917" y="468886"/>
                  </a:moveTo>
                  <a:cubicBezTo>
                    <a:pt x="118069" y="468886"/>
                    <a:pt x="16948" y="367765"/>
                    <a:pt x="16948" y="242917"/>
                  </a:cubicBezTo>
                  <a:cubicBezTo>
                    <a:pt x="16948" y="118069"/>
                    <a:pt x="118069" y="16948"/>
                    <a:pt x="242917" y="16948"/>
                  </a:cubicBezTo>
                  <a:cubicBezTo>
                    <a:pt x="367765" y="16948"/>
                    <a:pt x="468886" y="118069"/>
                    <a:pt x="468886" y="242917"/>
                  </a:cubicBezTo>
                  <a:cubicBezTo>
                    <a:pt x="468886" y="367765"/>
                    <a:pt x="367765" y="468886"/>
                    <a:pt x="242917" y="468886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220">
              <a:extLst>
                <a:ext uri="{FF2B5EF4-FFF2-40B4-BE49-F238E27FC236}">
                  <a16:creationId xmlns:a16="http://schemas.microsoft.com/office/drawing/2014/main" id="{1CB493CE-2C4E-4CCD-8C91-B800FA1D4CD0}"/>
                </a:ext>
              </a:extLst>
            </p:cNvPr>
            <p:cNvSpPr/>
            <p:nvPr/>
          </p:nvSpPr>
          <p:spPr>
            <a:xfrm>
              <a:off x="3089323" y="2502996"/>
              <a:ext cx="238115" cy="145891"/>
            </a:xfrm>
            <a:custGeom>
              <a:avLst/>
              <a:gdLst>
                <a:gd name="connsiteX0" fmla="*/ 102392 w 238115"/>
                <a:gd name="connsiteY0" fmla="*/ 145891 h 145891"/>
                <a:gd name="connsiteX1" fmla="*/ 95613 w 238115"/>
                <a:gd name="connsiteY1" fmla="*/ 143067 h 145891"/>
                <a:gd name="connsiteX2" fmla="*/ 2966 w 238115"/>
                <a:gd name="connsiteY2" fmla="*/ 50419 h 145891"/>
                <a:gd name="connsiteX3" fmla="*/ 2966 w 238115"/>
                <a:gd name="connsiteY3" fmla="*/ 36296 h 145891"/>
                <a:gd name="connsiteX4" fmla="*/ 17089 w 238115"/>
                <a:gd name="connsiteY4" fmla="*/ 36296 h 145891"/>
                <a:gd name="connsiteX5" fmla="*/ 102392 w 238115"/>
                <a:gd name="connsiteY5" fmla="*/ 121600 h 145891"/>
                <a:gd name="connsiteX6" fmla="*/ 221026 w 238115"/>
                <a:gd name="connsiteY6" fmla="*/ 2966 h 145891"/>
                <a:gd name="connsiteX7" fmla="*/ 235149 w 238115"/>
                <a:gd name="connsiteY7" fmla="*/ 2966 h 145891"/>
                <a:gd name="connsiteX8" fmla="*/ 235149 w 238115"/>
                <a:gd name="connsiteY8" fmla="*/ 17089 h 145891"/>
                <a:gd name="connsiteX9" fmla="*/ 109171 w 238115"/>
                <a:gd name="connsiteY9" fmla="*/ 143067 h 145891"/>
                <a:gd name="connsiteX10" fmla="*/ 102392 w 238115"/>
                <a:gd name="connsiteY10" fmla="*/ 145891 h 1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115" h="145891">
                  <a:moveTo>
                    <a:pt x="102392" y="145891"/>
                  </a:moveTo>
                  <a:cubicBezTo>
                    <a:pt x="100133" y="145891"/>
                    <a:pt x="97308" y="144762"/>
                    <a:pt x="95613" y="143067"/>
                  </a:cubicBezTo>
                  <a:lnTo>
                    <a:pt x="2966" y="50419"/>
                  </a:lnTo>
                  <a:cubicBezTo>
                    <a:pt x="-989" y="46465"/>
                    <a:pt x="-989" y="40251"/>
                    <a:pt x="2966" y="36296"/>
                  </a:cubicBezTo>
                  <a:cubicBezTo>
                    <a:pt x="6920" y="32342"/>
                    <a:pt x="13134" y="32342"/>
                    <a:pt x="17089" y="36296"/>
                  </a:cubicBezTo>
                  <a:lnTo>
                    <a:pt x="102392" y="121600"/>
                  </a:lnTo>
                  <a:lnTo>
                    <a:pt x="221026" y="2966"/>
                  </a:lnTo>
                  <a:cubicBezTo>
                    <a:pt x="224981" y="-989"/>
                    <a:pt x="231195" y="-989"/>
                    <a:pt x="235149" y="2966"/>
                  </a:cubicBezTo>
                  <a:cubicBezTo>
                    <a:pt x="239104" y="6920"/>
                    <a:pt x="239104" y="13134"/>
                    <a:pt x="235149" y="17089"/>
                  </a:cubicBezTo>
                  <a:lnTo>
                    <a:pt x="109171" y="143067"/>
                  </a:lnTo>
                  <a:cubicBezTo>
                    <a:pt x="107477" y="144762"/>
                    <a:pt x="104652" y="145891"/>
                    <a:pt x="102392" y="145891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228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2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Заголовок 33">
            <a:extLst>
              <a:ext uri="{FF2B5EF4-FFF2-40B4-BE49-F238E27FC236}">
                <a16:creationId xmlns:a16="http://schemas.microsoft.com/office/drawing/2014/main" id="{DFE19F94-644B-42C1-AD3F-8528C51CFA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ru-RU" dirty="0"/>
              <a:t>Каждая жалоба </a:t>
            </a:r>
            <a:r>
              <a:rPr lang="ru-RU" dirty="0" smtClean="0"/>
              <a:t>важна</a:t>
            </a:r>
            <a:r>
              <a:rPr lang="ru-RU" dirty="0"/>
              <a:t>! Путь от покупателя к изготовителю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C8C12EE-F6E3-DC38-EC5D-561226AB2A87}"/>
              </a:ext>
            </a:extLst>
          </p:cNvPr>
          <p:cNvGrpSpPr/>
          <p:nvPr/>
        </p:nvGrpSpPr>
        <p:grpSpPr>
          <a:xfrm>
            <a:off x="0" y="4895068"/>
            <a:ext cx="5700035" cy="1962956"/>
            <a:chOff x="0" y="4895068"/>
            <a:chExt cx="5700035" cy="1962956"/>
          </a:xfrm>
        </p:grpSpPr>
        <p:sp>
          <p:nvSpPr>
            <p:cNvPr id="125" name="Полилиния: фигура 7">
              <a:extLst>
                <a:ext uri="{FF2B5EF4-FFF2-40B4-BE49-F238E27FC236}">
                  <a16:creationId xmlns:a16="http://schemas.microsoft.com/office/drawing/2014/main" id="{3789CB51-94F1-F8FA-A79F-06A57F1C8DF4}"/>
                </a:ext>
              </a:extLst>
            </p:cNvPr>
            <p:cNvSpPr/>
            <p:nvPr userDrawn="1"/>
          </p:nvSpPr>
          <p:spPr>
            <a:xfrm rot="16200000">
              <a:off x="979714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Полилиния: фигура 8">
              <a:extLst>
                <a:ext uri="{FF2B5EF4-FFF2-40B4-BE49-F238E27FC236}">
                  <a16:creationId xmlns:a16="http://schemas.microsoft.com/office/drawing/2014/main" id="{A6ACED56-6CF8-39E8-A8FB-2A87C0231D3C}"/>
                </a:ext>
              </a:extLst>
            </p:cNvPr>
            <p:cNvSpPr/>
            <p:nvPr userDrawn="1"/>
          </p:nvSpPr>
          <p:spPr>
            <a:xfrm>
              <a:off x="1224642" y="6123239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Полилиния: фигура 11">
              <a:extLst>
                <a:ext uri="{FF2B5EF4-FFF2-40B4-BE49-F238E27FC236}">
                  <a16:creationId xmlns:a16="http://schemas.microsoft.com/office/drawing/2014/main" id="{5DB7683A-9BD5-4464-68F8-5EDE8AF6796A}"/>
                </a:ext>
              </a:extLst>
            </p:cNvPr>
            <p:cNvSpPr/>
            <p:nvPr userDrawn="1"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Полилиния: фигура 12">
              <a:extLst>
                <a:ext uri="{FF2B5EF4-FFF2-40B4-BE49-F238E27FC236}">
                  <a16:creationId xmlns:a16="http://schemas.microsoft.com/office/drawing/2014/main" id="{F57E5213-5C20-6A07-918A-83451D3052F3}"/>
                </a:ext>
              </a:extLst>
            </p:cNvPr>
            <p:cNvSpPr/>
            <p:nvPr userDrawn="1"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Полилиния: фигура 13">
              <a:extLst>
                <a:ext uri="{FF2B5EF4-FFF2-40B4-BE49-F238E27FC236}">
                  <a16:creationId xmlns:a16="http://schemas.microsoft.com/office/drawing/2014/main" id="{EEC48DA5-7A77-6D8F-679C-6B23C76D5E64}"/>
                </a:ext>
              </a:extLst>
            </p:cNvPr>
            <p:cNvSpPr/>
            <p:nvPr userDrawn="1"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Полилиния: фигура 14">
              <a:extLst>
                <a:ext uri="{FF2B5EF4-FFF2-40B4-BE49-F238E27FC236}">
                  <a16:creationId xmlns:a16="http://schemas.microsoft.com/office/drawing/2014/main" id="{1613629D-47BB-7796-0553-499C6821CA59}"/>
                </a:ext>
              </a:extLst>
            </p:cNvPr>
            <p:cNvSpPr/>
            <p:nvPr userDrawn="1"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Полилиния: фигура 15">
              <a:extLst>
                <a:ext uri="{FF2B5EF4-FFF2-40B4-BE49-F238E27FC236}">
                  <a16:creationId xmlns:a16="http://schemas.microsoft.com/office/drawing/2014/main" id="{C85BD5F8-F7C8-28E1-BFDB-DDC8307360F7}"/>
                </a:ext>
              </a:extLst>
            </p:cNvPr>
            <p:cNvSpPr/>
            <p:nvPr userDrawn="1"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17">
              <a:extLst>
                <a:ext uri="{FF2B5EF4-FFF2-40B4-BE49-F238E27FC236}">
                  <a16:creationId xmlns:a16="http://schemas.microsoft.com/office/drawing/2014/main" id="{0355DC7A-A024-569E-0B8D-DDEEE1CADB03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Полилиния: фигура 18">
              <a:extLst>
                <a:ext uri="{FF2B5EF4-FFF2-40B4-BE49-F238E27FC236}">
                  <a16:creationId xmlns:a16="http://schemas.microsoft.com/office/drawing/2014/main" id="{26A08EE6-873F-5FF3-69E5-49E927186F08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Полилиния: фигура 19">
              <a:extLst>
                <a:ext uri="{FF2B5EF4-FFF2-40B4-BE49-F238E27FC236}">
                  <a16:creationId xmlns:a16="http://schemas.microsoft.com/office/drawing/2014/main" id="{18ED321C-6A84-4D58-AD6B-4E8876929C0F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Полилиния: фигура 21">
              <a:extLst>
                <a:ext uri="{FF2B5EF4-FFF2-40B4-BE49-F238E27FC236}">
                  <a16:creationId xmlns:a16="http://schemas.microsoft.com/office/drawing/2014/main" id="{1D4D272C-D9B3-B449-31B4-629820975AD7}"/>
                </a:ext>
              </a:extLst>
            </p:cNvPr>
            <p:cNvSpPr/>
            <p:nvPr/>
          </p:nvSpPr>
          <p:spPr>
            <a:xfrm>
              <a:off x="1959428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Полилиния: фигура 22">
              <a:extLst>
                <a:ext uri="{FF2B5EF4-FFF2-40B4-BE49-F238E27FC236}">
                  <a16:creationId xmlns:a16="http://schemas.microsoft.com/office/drawing/2014/main" id="{4553FED2-7C22-3A82-5723-3CB1B665DA29}"/>
                </a:ext>
              </a:extLst>
            </p:cNvPr>
            <p:cNvSpPr/>
            <p:nvPr/>
          </p:nvSpPr>
          <p:spPr>
            <a:xfrm>
              <a:off x="1959428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Полилиния: фигура 23">
              <a:extLst>
                <a:ext uri="{FF2B5EF4-FFF2-40B4-BE49-F238E27FC236}">
                  <a16:creationId xmlns:a16="http://schemas.microsoft.com/office/drawing/2014/main" id="{92BE6DE7-1F2A-EC43-8771-8E2CCF1F4233}"/>
                </a:ext>
              </a:extLst>
            </p:cNvPr>
            <p:cNvSpPr/>
            <p:nvPr/>
          </p:nvSpPr>
          <p:spPr>
            <a:xfrm>
              <a:off x="2449285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Полилиния: фигура 24">
              <a:extLst>
                <a:ext uri="{FF2B5EF4-FFF2-40B4-BE49-F238E27FC236}">
                  <a16:creationId xmlns:a16="http://schemas.microsoft.com/office/drawing/2014/main" id="{EEED14F5-BCFF-9854-C273-6F2CDA8A487B}"/>
                </a:ext>
              </a:extLst>
            </p:cNvPr>
            <p:cNvSpPr/>
            <p:nvPr/>
          </p:nvSpPr>
          <p:spPr>
            <a:xfrm>
              <a:off x="2449285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Полилиния: фигура 26">
              <a:extLst>
                <a:ext uri="{FF2B5EF4-FFF2-40B4-BE49-F238E27FC236}">
                  <a16:creationId xmlns:a16="http://schemas.microsoft.com/office/drawing/2014/main" id="{99B323CD-8E61-4B69-EA1D-5DCA632F6E66}"/>
                </a:ext>
              </a:extLst>
            </p:cNvPr>
            <p:cNvSpPr/>
            <p:nvPr/>
          </p:nvSpPr>
          <p:spPr>
            <a:xfrm>
              <a:off x="3268046" y="6171445"/>
              <a:ext cx="432445" cy="432445"/>
            </a:xfrm>
            <a:custGeom>
              <a:avLst/>
              <a:gdLst>
                <a:gd name="connsiteX0" fmla="*/ 432446 w 432445"/>
                <a:gd name="connsiteY0" fmla="*/ 216223 h 432445"/>
                <a:gd name="connsiteX1" fmla="*/ 216223 w 432445"/>
                <a:gd name="connsiteY1" fmla="*/ 432446 h 432445"/>
                <a:gd name="connsiteX2" fmla="*/ 0 w 432445"/>
                <a:gd name="connsiteY2" fmla="*/ 216223 h 432445"/>
                <a:gd name="connsiteX3" fmla="*/ 216223 w 432445"/>
                <a:gd name="connsiteY3" fmla="*/ 0 h 432445"/>
                <a:gd name="connsiteX4" fmla="*/ 432446 w 432445"/>
                <a:gd name="connsiteY4" fmla="*/ 216223 h 4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445" h="432445">
                  <a:moveTo>
                    <a:pt x="432446" y="216223"/>
                  </a:moveTo>
                  <a:cubicBezTo>
                    <a:pt x="432446" y="335639"/>
                    <a:pt x="335640" y="432446"/>
                    <a:pt x="216223" y="432446"/>
                  </a:cubicBezTo>
                  <a:cubicBezTo>
                    <a:pt x="96806" y="432446"/>
                    <a:pt x="0" y="335639"/>
                    <a:pt x="0" y="216223"/>
                  </a:cubicBezTo>
                  <a:cubicBezTo>
                    <a:pt x="0" y="96806"/>
                    <a:pt x="96806" y="0"/>
                    <a:pt x="216223" y="0"/>
                  </a:cubicBezTo>
                  <a:cubicBezTo>
                    <a:pt x="335640" y="0"/>
                    <a:pt x="432446" y="96806"/>
                    <a:pt x="432446" y="216223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Полилиния: фигура 27">
              <a:extLst>
                <a:ext uri="{FF2B5EF4-FFF2-40B4-BE49-F238E27FC236}">
                  <a16:creationId xmlns:a16="http://schemas.microsoft.com/office/drawing/2014/main" id="{436C948C-C636-AD72-AEAA-7147655F72E7}"/>
                </a:ext>
              </a:extLst>
            </p:cNvPr>
            <p:cNvSpPr/>
            <p:nvPr/>
          </p:nvSpPr>
          <p:spPr>
            <a:xfrm>
              <a:off x="3484268" y="6011751"/>
              <a:ext cx="159988" cy="159987"/>
            </a:xfrm>
            <a:custGeom>
              <a:avLst/>
              <a:gdLst>
                <a:gd name="connsiteX0" fmla="*/ -3207 w 159988"/>
                <a:gd name="connsiteY0" fmla="*/ 159748 h 159987"/>
                <a:gd name="connsiteX1" fmla="*/ 156781 w 159988"/>
                <a:gd name="connsiteY1" fmla="*/ -240 h 159987"/>
                <a:gd name="connsiteX2" fmla="*/ -3207 w 159988"/>
                <a:gd name="connsiteY2" fmla="*/ 159748 h 15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88" h="159987">
                  <a:moveTo>
                    <a:pt x="-3207" y="159748"/>
                  </a:moveTo>
                  <a:cubicBezTo>
                    <a:pt x="85163" y="159748"/>
                    <a:pt x="156781" y="88121"/>
                    <a:pt x="156781" y="-240"/>
                  </a:cubicBezTo>
                  <a:cubicBezTo>
                    <a:pt x="68410" y="-240"/>
                    <a:pt x="-3207" y="71387"/>
                    <a:pt x="-3207" y="159748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4" name="Группа 48">
              <a:extLst>
                <a:ext uri="{FF2B5EF4-FFF2-40B4-BE49-F238E27FC236}">
                  <a16:creationId xmlns:a16="http://schemas.microsoft.com/office/drawing/2014/main" id="{A344F5CA-3BFA-949C-3A3C-50FC4802C112}"/>
                </a:ext>
              </a:extLst>
            </p:cNvPr>
            <p:cNvGrpSpPr/>
            <p:nvPr/>
          </p:nvGrpSpPr>
          <p:grpSpPr>
            <a:xfrm>
              <a:off x="5094572" y="6068734"/>
              <a:ext cx="605463" cy="605463"/>
              <a:chOff x="5094572" y="6068734"/>
              <a:chExt cx="605463" cy="605463"/>
            </a:xfrm>
          </p:grpSpPr>
          <p:sp>
            <p:nvSpPr>
              <p:cNvPr id="159" name="Полилиния: фигура 49">
                <a:extLst>
                  <a:ext uri="{FF2B5EF4-FFF2-40B4-BE49-F238E27FC236}">
                    <a16:creationId xmlns:a16="http://schemas.microsoft.com/office/drawing/2014/main" id="{D0C567A5-1393-2D50-08F3-F4763D871D24}"/>
                  </a:ext>
                </a:extLst>
              </p:cNvPr>
              <p:cNvSpPr/>
              <p:nvPr userDrawn="1"/>
            </p:nvSpPr>
            <p:spPr>
              <a:xfrm>
                <a:off x="5226343" y="6200506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2" y="341920"/>
                      <a:pt x="0" y="265379"/>
                      <a:pt x="0" y="170960"/>
                    </a:cubicBezTo>
                    <a:cubicBezTo>
                      <a:pt x="0" y="76541"/>
                      <a:pt x="76542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Полилиния: фигура 50">
                <a:extLst>
                  <a:ext uri="{FF2B5EF4-FFF2-40B4-BE49-F238E27FC236}">
                    <a16:creationId xmlns:a16="http://schemas.microsoft.com/office/drawing/2014/main" id="{A1867F93-FB8B-B633-D8E3-07D0B8ADBE26}"/>
                  </a:ext>
                </a:extLst>
              </p:cNvPr>
              <p:cNvSpPr/>
              <p:nvPr userDrawn="1"/>
            </p:nvSpPr>
            <p:spPr>
              <a:xfrm>
                <a:off x="5094572" y="6068734"/>
                <a:ext cx="605463" cy="605463"/>
              </a:xfrm>
              <a:custGeom>
                <a:avLst/>
                <a:gdLst>
                  <a:gd name="connsiteX0" fmla="*/ 299524 w 605463"/>
                  <a:gd name="connsiteY0" fmla="*/ -240 h 605463"/>
                  <a:gd name="connsiteX1" fmla="*/ 270132 w 605463"/>
                  <a:gd name="connsiteY1" fmla="*/ 29151 h 605463"/>
                  <a:gd name="connsiteX2" fmla="*/ 270132 w 605463"/>
                  <a:gd name="connsiteY2" fmla="*/ 72847 h 605463"/>
                  <a:gd name="connsiteX3" fmla="*/ 299524 w 605463"/>
                  <a:gd name="connsiteY3" fmla="*/ 102238 h 605463"/>
                  <a:gd name="connsiteX4" fmla="*/ 328915 w 605463"/>
                  <a:gd name="connsiteY4" fmla="*/ 72847 h 605463"/>
                  <a:gd name="connsiteX5" fmla="*/ 328915 w 605463"/>
                  <a:gd name="connsiteY5" fmla="*/ 29151 h 605463"/>
                  <a:gd name="connsiteX6" fmla="*/ 299524 w 605463"/>
                  <a:gd name="connsiteY6" fmla="*/ -240 h 605463"/>
                  <a:gd name="connsiteX7" fmla="*/ 299524 w 605463"/>
                  <a:gd name="connsiteY7" fmla="*/ 502745 h 605463"/>
                  <a:gd name="connsiteX8" fmla="*/ 270132 w 605463"/>
                  <a:gd name="connsiteY8" fmla="*/ 532137 h 605463"/>
                  <a:gd name="connsiteX9" fmla="*/ 270132 w 605463"/>
                  <a:gd name="connsiteY9" fmla="*/ 575832 h 605463"/>
                  <a:gd name="connsiteX10" fmla="*/ 299524 w 605463"/>
                  <a:gd name="connsiteY10" fmla="*/ 605223 h 605463"/>
                  <a:gd name="connsiteX11" fmla="*/ 328915 w 605463"/>
                  <a:gd name="connsiteY11" fmla="*/ 575832 h 605463"/>
                  <a:gd name="connsiteX12" fmla="*/ 328915 w 605463"/>
                  <a:gd name="connsiteY12" fmla="*/ 532137 h 605463"/>
                  <a:gd name="connsiteX13" fmla="*/ 299524 w 605463"/>
                  <a:gd name="connsiteY13" fmla="*/ 502745 h 605463"/>
                  <a:gd name="connsiteX14" fmla="*/ 99271 w 605463"/>
                  <a:gd name="connsiteY14" fmla="*/ 302492 h 605463"/>
                  <a:gd name="connsiteX15" fmla="*/ 69879 w 605463"/>
                  <a:gd name="connsiteY15" fmla="*/ 273100 h 605463"/>
                  <a:gd name="connsiteX16" fmla="*/ 26184 w 605463"/>
                  <a:gd name="connsiteY16" fmla="*/ 273100 h 605463"/>
                  <a:gd name="connsiteX17" fmla="*/ -3207 w 605463"/>
                  <a:gd name="connsiteY17" fmla="*/ 302492 h 605463"/>
                  <a:gd name="connsiteX18" fmla="*/ 26184 w 605463"/>
                  <a:gd name="connsiteY18" fmla="*/ 331883 h 605463"/>
                  <a:gd name="connsiteX19" fmla="*/ 69879 w 605463"/>
                  <a:gd name="connsiteY19" fmla="*/ 331883 h 605463"/>
                  <a:gd name="connsiteX20" fmla="*/ 99271 w 605463"/>
                  <a:gd name="connsiteY20" fmla="*/ 302492 h 605463"/>
                  <a:gd name="connsiteX21" fmla="*/ 572865 w 605463"/>
                  <a:gd name="connsiteY21" fmla="*/ 273100 h 605463"/>
                  <a:gd name="connsiteX22" fmla="*/ 529168 w 605463"/>
                  <a:gd name="connsiteY22" fmla="*/ 273100 h 605463"/>
                  <a:gd name="connsiteX23" fmla="*/ 499777 w 605463"/>
                  <a:gd name="connsiteY23" fmla="*/ 302492 h 605463"/>
                  <a:gd name="connsiteX24" fmla="*/ 529168 w 605463"/>
                  <a:gd name="connsiteY24" fmla="*/ 331883 h 605463"/>
                  <a:gd name="connsiteX25" fmla="*/ 572865 w 605463"/>
                  <a:gd name="connsiteY25" fmla="*/ 331883 h 605463"/>
                  <a:gd name="connsiteX26" fmla="*/ 602257 w 605463"/>
                  <a:gd name="connsiteY26" fmla="*/ 302492 h 605463"/>
                  <a:gd name="connsiteX27" fmla="*/ 572865 w 605463"/>
                  <a:gd name="connsiteY27" fmla="*/ 273100 h 605463"/>
                  <a:gd name="connsiteX28" fmla="*/ 126997 w 605463"/>
                  <a:gd name="connsiteY28" fmla="*/ 88424 h 605463"/>
                  <a:gd name="connsiteX29" fmla="*/ 85457 w 605463"/>
                  <a:gd name="connsiteY29" fmla="*/ 86955 h 605463"/>
                  <a:gd name="connsiteX30" fmla="*/ 83986 w 605463"/>
                  <a:gd name="connsiteY30" fmla="*/ 128494 h 605463"/>
                  <a:gd name="connsiteX31" fmla="*/ 85457 w 605463"/>
                  <a:gd name="connsiteY31" fmla="*/ 129964 h 605463"/>
                  <a:gd name="connsiteX32" fmla="*/ 116317 w 605463"/>
                  <a:gd name="connsiteY32" fmla="*/ 160923 h 605463"/>
                  <a:gd name="connsiteX33" fmla="*/ 157955 w 605463"/>
                  <a:gd name="connsiteY33" fmla="*/ 160923 h 605463"/>
                  <a:gd name="connsiteX34" fmla="*/ 157955 w 605463"/>
                  <a:gd name="connsiteY34" fmla="*/ 119285 h 605463"/>
                  <a:gd name="connsiteX35" fmla="*/ 482730 w 605463"/>
                  <a:gd name="connsiteY35" fmla="*/ 444061 h 605463"/>
                  <a:gd name="connsiteX36" fmla="*/ 441092 w 605463"/>
                  <a:gd name="connsiteY36" fmla="*/ 444061 h 605463"/>
                  <a:gd name="connsiteX37" fmla="*/ 441092 w 605463"/>
                  <a:gd name="connsiteY37" fmla="*/ 485698 h 605463"/>
                  <a:gd name="connsiteX38" fmla="*/ 472052 w 605463"/>
                  <a:gd name="connsiteY38" fmla="*/ 516559 h 605463"/>
                  <a:gd name="connsiteX39" fmla="*/ 513592 w 605463"/>
                  <a:gd name="connsiteY39" fmla="*/ 516559 h 605463"/>
                  <a:gd name="connsiteX40" fmla="*/ 513592 w 605463"/>
                  <a:gd name="connsiteY40" fmla="*/ 475019 h 605463"/>
                  <a:gd name="connsiteX41" fmla="*/ 116317 w 605463"/>
                  <a:gd name="connsiteY41" fmla="*/ 444061 h 605463"/>
                  <a:gd name="connsiteX42" fmla="*/ 85457 w 605463"/>
                  <a:gd name="connsiteY42" fmla="*/ 475019 h 605463"/>
                  <a:gd name="connsiteX43" fmla="*/ 85457 w 605463"/>
                  <a:gd name="connsiteY43" fmla="*/ 516589 h 605463"/>
                  <a:gd name="connsiteX44" fmla="*/ 106226 w 605463"/>
                  <a:gd name="connsiteY44" fmla="*/ 525181 h 605463"/>
                  <a:gd name="connsiteX45" fmla="*/ 126997 w 605463"/>
                  <a:gd name="connsiteY45" fmla="*/ 516559 h 605463"/>
                  <a:gd name="connsiteX46" fmla="*/ 157955 w 605463"/>
                  <a:gd name="connsiteY46" fmla="*/ 485698 h 605463"/>
                  <a:gd name="connsiteX47" fmla="*/ 157955 w 605463"/>
                  <a:gd name="connsiteY47" fmla="*/ 444061 h 605463"/>
                  <a:gd name="connsiteX48" fmla="*/ 116317 w 605463"/>
                  <a:gd name="connsiteY48" fmla="*/ 444061 h 605463"/>
                  <a:gd name="connsiteX49" fmla="*/ 461961 w 605463"/>
                  <a:gd name="connsiteY49" fmla="*/ 169740 h 605463"/>
                  <a:gd name="connsiteX50" fmla="*/ 482730 w 605463"/>
                  <a:gd name="connsiteY50" fmla="*/ 161217 h 605463"/>
                  <a:gd name="connsiteX51" fmla="*/ 513592 w 605463"/>
                  <a:gd name="connsiteY51" fmla="*/ 130258 h 605463"/>
                  <a:gd name="connsiteX52" fmla="*/ 512121 w 605463"/>
                  <a:gd name="connsiteY52" fmla="*/ 88718 h 605463"/>
                  <a:gd name="connsiteX53" fmla="*/ 472052 w 605463"/>
                  <a:gd name="connsiteY53" fmla="*/ 88718 h 605463"/>
                  <a:gd name="connsiteX54" fmla="*/ 441092 w 605463"/>
                  <a:gd name="connsiteY54" fmla="*/ 119579 h 605463"/>
                  <a:gd name="connsiteX55" fmla="*/ 441092 w 605463"/>
                  <a:gd name="connsiteY55" fmla="*/ 161148 h 605463"/>
                  <a:gd name="connsiteX56" fmla="*/ 461961 w 605463"/>
                  <a:gd name="connsiteY56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5463" h="605463">
                    <a:moveTo>
                      <a:pt x="299524" y="-240"/>
                    </a:moveTo>
                    <a:cubicBezTo>
                      <a:pt x="283261" y="-240"/>
                      <a:pt x="270132" y="12917"/>
                      <a:pt x="270132" y="29151"/>
                    </a:cubicBezTo>
                    <a:lnTo>
                      <a:pt x="270132" y="72847"/>
                    </a:lnTo>
                    <a:cubicBezTo>
                      <a:pt x="270132" y="89081"/>
                      <a:pt x="283261" y="102238"/>
                      <a:pt x="299524" y="102238"/>
                    </a:cubicBezTo>
                    <a:cubicBezTo>
                      <a:pt x="315786" y="102238"/>
                      <a:pt x="328915" y="89081"/>
                      <a:pt x="328915" y="72847"/>
                    </a:cubicBezTo>
                    <a:lnTo>
                      <a:pt x="328915" y="29151"/>
                    </a:lnTo>
                    <a:cubicBezTo>
                      <a:pt x="328915" y="12917"/>
                      <a:pt x="315786" y="-240"/>
                      <a:pt x="299524" y="-240"/>
                    </a:cubicBezTo>
                    <a:close/>
                    <a:moveTo>
                      <a:pt x="299524" y="502745"/>
                    </a:moveTo>
                    <a:cubicBezTo>
                      <a:pt x="283261" y="502745"/>
                      <a:pt x="270132" y="515903"/>
                      <a:pt x="270132" y="532137"/>
                    </a:cubicBezTo>
                    <a:lnTo>
                      <a:pt x="270132" y="575832"/>
                    </a:lnTo>
                    <a:cubicBezTo>
                      <a:pt x="270132" y="592066"/>
                      <a:pt x="283261" y="605223"/>
                      <a:pt x="299524" y="605223"/>
                    </a:cubicBezTo>
                    <a:cubicBezTo>
                      <a:pt x="315786" y="605223"/>
                      <a:pt x="328915" y="592066"/>
                      <a:pt x="328915" y="575832"/>
                    </a:cubicBezTo>
                    <a:lnTo>
                      <a:pt x="328915" y="532137"/>
                    </a:lnTo>
                    <a:cubicBezTo>
                      <a:pt x="328915" y="515903"/>
                      <a:pt x="315786" y="502745"/>
                      <a:pt x="299524" y="502745"/>
                    </a:cubicBezTo>
                    <a:close/>
                    <a:moveTo>
                      <a:pt x="99271" y="302492"/>
                    </a:moveTo>
                    <a:cubicBezTo>
                      <a:pt x="99271" y="286258"/>
                      <a:pt x="86141" y="273100"/>
                      <a:pt x="69879" y="273100"/>
                    </a:cubicBezTo>
                    <a:lnTo>
                      <a:pt x="26184" y="273100"/>
                    </a:lnTo>
                    <a:cubicBezTo>
                      <a:pt x="9919" y="273100"/>
                      <a:pt x="-3207" y="286258"/>
                      <a:pt x="-3207" y="302492"/>
                    </a:cubicBezTo>
                    <a:cubicBezTo>
                      <a:pt x="-3207" y="318726"/>
                      <a:pt x="9919" y="331883"/>
                      <a:pt x="26184" y="331883"/>
                    </a:cubicBezTo>
                    <a:lnTo>
                      <a:pt x="69879" y="331883"/>
                    </a:lnTo>
                    <a:cubicBezTo>
                      <a:pt x="86141" y="331883"/>
                      <a:pt x="99271" y="318726"/>
                      <a:pt x="99271" y="302492"/>
                    </a:cubicBezTo>
                    <a:close/>
                    <a:moveTo>
                      <a:pt x="572865" y="273100"/>
                    </a:moveTo>
                    <a:lnTo>
                      <a:pt x="529168" y="273100"/>
                    </a:lnTo>
                    <a:cubicBezTo>
                      <a:pt x="512906" y="273100"/>
                      <a:pt x="499777" y="286258"/>
                      <a:pt x="499777" y="302492"/>
                    </a:cubicBezTo>
                    <a:cubicBezTo>
                      <a:pt x="499777" y="318726"/>
                      <a:pt x="512906" y="331883"/>
                      <a:pt x="529168" y="331883"/>
                    </a:cubicBezTo>
                    <a:lnTo>
                      <a:pt x="572865" y="331883"/>
                    </a:lnTo>
                    <a:cubicBezTo>
                      <a:pt x="589128" y="331883"/>
                      <a:pt x="602257" y="318726"/>
                      <a:pt x="602257" y="302492"/>
                    </a:cubicBezTo>
                    <a:cubicBezTo>
                      <a:pt x="602257" y="286258"/>
                      <a:pt x="589128" y="273100"/>
                      <a:pt x="572865" y="273100"/>
                    </a:cubicBezTo>
                    <a:close/>
                    <a:moveTo>
                      <a:pt x="126997" y="88424"/>
                    </a:moveTo>
                    <a:cubicBezTo>
                      <a:pt x="115925" y="76550"/>
                      <a:pt x="97312" y="75894"/>
                      <a:pt x="85457" y="86955"/>
                    </a:cubicBezTo>
                    <a:cubicBezTo>
                      <a:pt x="73601" y="98025"/>
                      <a:pt x="72917" y="116620"/>
                      <a:pt x="83986" y="128494"/>
                    </a:cubicBezTo>
                    <a:cubicBezTo>
                      <a:pt x="84477" y="129004"/>
                      <a:pt x="84967" y="129494"/>
                      <a:pt x="85457" y="129964"/>
                    </a:cubicBezTo>
                    <a:lnTo>
                      <a:pt x="116317" y="160923"/>
                    </a:lnTo>
                    <a:cubicBezTo>
                      <a:pt x="127779" y="172425"/>
                      <a:pt x="146493" y="172425"/>
                      <a:pt x="157955" y="160923"/>
                    </a:cubicBezTo>
                    <a:cubicBezTo>
                      <a:pt x="169417" y="149421"/>
                      <a:pt x="169417" y="130787"/>
                      <a:pt x="157955" y="119285"/>
                    </a:cubicBezTo>
                    <a:close/>
                    <a:moveTo>
                      <a:pt x="482730" y="444061"/>
                    </a:moveTo>
                    <a:cubicBezTo>
                      <a:pt x="471268" y="432559"/>
                      <a:pt x="452556" y="432559"/>
                      <a:pt x="441092" y="444061"/>
                    </a:cubicBezTo>
                    <a:cubicBezTo>
                      <a:pt x="429630" y="455562"/>
                      <a:pt x="429630" y="474196"/>
                      <a:pt x="441092" y="485698"/>
                    </a:cubicBezTo>
                    <a:lnTo>
                      <a:pt x="472052" y="516559"/>
                    </a:lnTo>
                    <a:cubicBezTo>
                      <a:pt x="483514" y="528022"/>
                      <a:pt x="502128" y="528022"/>
                      <a:pt x="513592" y="516559"/>
                    </a:cubicBezTo>
                    <a:cubicBezTo>
                      <a:pt x="525054" y="505087"/>
                      <a:pt x="525054" y="486492"/>
                      <a:pt x="513592" y="475019"/>
                    </a:cubicBezTo>
                    <a:close/>
                    <a:moveTo>
                      <a:pt x="116317" y="444061"/>
                    </a:moveTo>
                    <a:lnTo>
                      <a:pt x="85457" y="475019"/>
                    </a:lnTo>
                    <a:cubicBezTo>
                      <a:pt x="73993" y="486502"/>
                      <a:pt x="73993" y="505116"/>
                      <a:pt x="85457" y="516589"/>
                    </a:cubicBezTo>
                    <a:cubicBezTo>
                      <a:pt x="90942" y="522085"/>
                      <a:pt x="98486" y="525171"/>
                      <a:pt x="106226" y="525181"/>
                    </a:cubicBezTo>
                    <a:cubicBezTo>
                      <a:pt x="114064" y="525171"/>
                      <a:pt x="121510" y="522075"/>
                      <a:pt x="126997" y="516559"/>
                    </a:cubicBezTo>
                    <a:lnTo>
                      <a:pt x="157955" y="485698"/>
                    </a:lnTo>
                    <a:cubicBezTo>
                      <a:pt x="169417" y="474196"/>
                      <a:pt x="169417" y="455562"/>
                      <a:pt x="157955" y="444061"/>
                    </a:cubicBezTo>
                    <a:cubicBezTo>
                      <a:pt x="146493" y="432559"/>
                      <a:pt x="127779" y="432559"/>
                      <a:pt x="116317" y="444061"/>
                    </a:cubicBezTo>
                    <a:close/>
                    <a:moveTo>
                      <a:pt x="461961" y="169740"/>
                    </a:moveTo>
                    <a:cubicBezTo>
                      <a:pt x="469701" y="169760"/>
                      <a:pt x="477245" y="166694"/>
                      <a:pt x="482730" y="161217"/>
                    </a:cubicBezTo>
                    <a:lnTo>
                      <a:pt x="513592" y="130258"/>
                    </a:lnTo>
                    <a:cubicBezTo>
                      <a:pt x="524662" y="118384"/>
                      <a:pt x="523975" y="99789"/>
                      <a:pt x="512121" y="88718"/>
                    </a:cubicBezTo>
                    <a:cubicBezTo>
                      <a:pt x="500855" y="78196"/>
                      <a:pt x="483318" y="78196"/>
                      <a:pt x="472052" y="88718"/>
                    </a:cubicBezTo>
                    <a:lnTo>
                      <a:pt x="441092" y="119579"/>
                    </a:lnTo>
                    <a:cubicBezTo>
                      <a:pt x="429630" y="131061"/>
                      <a:pt x="429630" y="149676"/>
                      <a:pt x="441092" y="161148"/>
                    </a:cubicBezTo>
                    <a:cubicBezTo>
                      <a:pt x="446677" y="166664"/>
                      <a:pt x="454123" y="169760"/>
                      <a:pt x="461961" y="1697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5" name="Полилиния: фигура 52">
              <a:extLst>
                <a:ext uri="{FF2B5EF4-FFF2-40B4-BE49-F238E27FC236}">
                  <a16:creationId xmlns:a16="http://schemas.microsoft.com/office/drawing/2014/main" id="{2BEBA008-9D8E-B612-6D74-7BA0ED06E2B4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Полилиния: фигура 53">
              <a:extLst>
                <a:ext uri="{FF2B5EF4-FFF2-40B4-BE49-F238E27FC236}">
                  <a16:creationId xmlns:a16="http://schemas.microsoft.com/office/drawing/2014/main" id="{EBFCDC05-7D2B-F87E-3430-3371007F1F4F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Полилиния: фигура 54">
              <a:extLst>
                <a:ext uri="{FF2B5EF4-FFF2-40B4-BE49-F238E27FC236}">
                  <a16:creationId xmlns:a16="http://schemas.microsoft.com/office/drawing/2014/main" id="{044E6A5C-147D-9D07-B80F-DC0BF76FAD0D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55">
              <a:extLst>
                <a:ext uri="{FF2B5EF4-FFF2-40B4-BE49-F238E27FC236}">
                  <a16:creationId xmlns:a16="http://schemas.microsoft.com/office/drawing/2014/main" id="{6A1BF84E-F638-1593-8342-EEBE750D39CF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4BF8E173-FACE-ED4C-FDD4-55EC1D155F37}"/>
              </a:ext>
            </a:extLst>
          </p:cNvPr>
          <p:cNvGrpSpPr/>
          <p:nvPr/>
        </p:nvGrpSpPr>
        <p:grpSpPr>
          <a:xfrm>
            <a:off x="6436154" y="-838"/>
            <a:ext cx="5755846" cy="6858838"/>
            <a:chOff x="6436154" y="-838"/>
            <a:chExt cx="5755846" cy="6858838"/>
          </a:xfrm>
        </p:grpSpPr>
        <p:sp>
          <p:nvSpPr>
            <p:cNvPr id="162" name="Полилиния: фигура 29">
              <a:extLst>
                <a:ext uri="{FF2B5EF4-FFF2-40B4-BE49-F238E27FC236}">
                  <a16:creationId xmlns:a16="http://schemas.microsoft.com/office/drawing/2014/main" id="{7AE37D25-279B-FAD5-AEE7-483751C79B9B}"/>
                </a:ext>
              </a:extLst>
            </p:cNvPr>
            <p:cNvSpPr/>
            <p:nvPr/>
          </p:nvSpPr>
          <p:spPr>
            <a:xfrm>
              <a:off x="9306282" y="5879124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Полилиния: фигура 30">
              <a:extLst>
                <a:ext uri="{FF2B5EF4-FFF2-40B4-BE49-F238E27FC236}">
                  <a16:creationId xmlns:a16="http://schemas.microsoft.com/office/drawing/2014/main" id="{AC1D7F98-B9D9-57B7-CC22-7DF1DAED54CF}"/>
                </a:ext>
              </a:extLst>
            </p:cNvPr>
            <p:cNvSpPr/>
            <p:nvPr/>
          </p:nvSpPr>
          <p:spPr>
            <a:xfrm>
              <a:off x="9795720" y="5879124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35">
              <a:extLst>
                <a:ext uri="{FF2B5EF4-FFF2-40B4-BE49-F238E27FC236}">
                  <a16:creationId xmlns:a16="http://schemas.microsoft.com/office/drawing/2014/main" id="{1EC629B3-F129-7CF7-A2BD-42A84E922D3C}"/>
                </a:ext>
              </a:extLst>
            </p:cNvPr>
            <p:cNvSpPr/>
            <p:nvPr/>
          </p:nvSpPr>
          <p:spPr>
            <a:xfrm rot="16200000">
              <a:off x="11213124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noFill/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Полилиния: фигура 32">
              <a:extLst>
                <a:ext uri="{FF2B5EF4-FFF2-40B4-BE49-F238E27FC236}">
                  <a16:creationId xmlns:a16="http://schemas.microsoft.com/office/drawing/2014/main" id="{9399CA00-A682-3BD2-C663-F3FEA23DE7A8}"/>
                </a:ext>
              </a:extLst>
            </p:cNvPr>
            <p:cNvSpPr/>
            <p:nvPr/>
          </p:nvSpPr>
          <p:spPr>
            <a:xfrm rot="5400000">
              <a:off x="10234009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Полилиния: фигура 37">
              <a:extLst>
                <a:ext uri="{FF2B5EF4-FFF2-40B4-BE49-F238E27FC236}">
                  <a16:creationId xmlns:a16="http://schemas.microsoft.com/office/drawing/2014/main" id="{771D2AE4-D7A7-37B7-2A9F-C9F8B9B1DF1A}"/>
                </a:ext>
              </a:extLst>
            </p:cNvPr>
            <p:cNvSpPr/>
            <p:nvPr/>
          </p:nvSpPr>
          <p:spPr>
            <a:xfrm>
              <a:off x="10478966" y="6123843"/>
              <a:ext cx="489438" cy="489438"/>
            </a:xfrm>
            <a:custGeom>
              <a:avLst/>
              <a:gdLst>
                <a:gd name="connsiteX0" fmla="*/ 489438 w 489438"/>
                <a:gd name="connsiteY0" fmla="*/ 244719 h 489438"/>
                <a:gd name="connsiteX1" fmla="*/ 244719 w 489438"/>
                <a:gd name="connsiteY1" fmla="*/ 489438 h 489438"/>
                <a:gd name="connsiteX2" fmla="*/ 0 w 489438"/>
                <a:gd name="connsiteY2" fmla="*/ 244719 h 489438"/>
                <a:gd name="connsiteX3" fmla="*/ 244719 w 489438"/>
                <a:gd name="connsiteY3" fmla="*/ 0 h 489438"/>
                <a:gd name="connsiteX4" fmla="*/ 489438 w 489438"/>
                <a:gd name="connsiteY4" fmla="*/ 244719 h 48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438" h="489438">
                  <a:moveTo>
                    <a:pt x="489438" y="244719"/>
                  </a:moveTo>
                  <a:cubicBezTo>
                    <a:pt x="489438" y="379874"/>
                    <a:pt x="379874" y="489438"/>
                    <a:pt x="244719" y="489438"/>
                  </a:cubicBezTo>
                  <a:cubicBezTo>
                    <a:pt x="109564" y="489438"/>
                    <a:pt x="0" y="379874"/>
                    <a:pt x="0" y="244719"/>
                  </a:cubicBezTo>
                  <a:cubicBezTo>
                    <a:pt x="0" y="109564"/>
                    <a:pt x="109564" y="0"/>
                    <a:pt x="244719" y="0"/>
                  </a:cubicBezTo>
                  <a:cubicBezTo>
                    <a:pt x="379874" y="0"/>
                    <a:pt x="489438" y="109564"/>
                    <a:pt x="489438" y="244719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Полилиния: фигура 36">
              <a:extLst>
                <a:ext uri="{FF2B5EF4-FFF2-40B4-BE49-F238E27FC236}">
                  <a16:creationId xmlns:a16="http://schemas.microsoft.com/office/drawing/2014/main" id="{97BFECD6-3F78-D810-D06D-4DB788A24550}"/>
                </a:ext>
              </a:extLst>
            </p:cNvPr>
            <p:cNvSpPr/>
            <p:nvPr/>
          </p:nvSpPr>
          <p:spPr>
            <a:xfrm rot="5400000">
              <a:off x="10234247" y="4900247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38">
              <a:extLst>
                <a:ext uri="{FF2B5EF4-FFF2-40B4-BE49-F238E27FC236}">
                  <a16:creationId xmlns:a16="http://schemas.microsoft.com/office/drawing/2014/main" id="{541C9ACD-568F-8637-D608-4D98DE612750}"/>
                </a:ext>
              </a:extLst>
            </p:cNvPr>
            <p:cNvSpPr/>
            <p:nvPr/>
          </p:nvSpPr>
          <p:spPr>
            <a:xfrm>
              <a:off x="10234247" y="4900247"/>
              <a:ext cx="978876" cy="978876"/>
            </a:xfrm>
            <a:custGeom>
              <a:avLst/>
              <a:gdLst>
                <a:gd name="connsiteX0" fmla="*/ 978567 w 978876"/>
                <a:gd name="connsiteY0" fmla="*/ -240 h 978876"/>
                <a:gd name="connsiteX1" fmla="*/ -310 w 978876"/>
                <a:gd name="connsiteY1" fmla="*/ 978637 h 978876"/>
                <a:gd name="connsiteX2" fmla="*/ 978567 w 978876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8876" h="978876">
                  <a:moveTo>
                    <a:pt x="978567" y="-240"/>
                  </a:moveTo>
                  <a:cubicBezTo>
                    <a:pt x="437953" y="-240"/>
                    <a:pt x="-310" y="438022"/>
                    <a:pt x="-310" y="978637"/>
                  </a:cubicBezTo>
                  <a:cubicBezTo>
                    <a:pt x="540304" y="978637"/>
                    <a:pt x="978567" y="540374"/>
                    <a:pt x="978567" y="-240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Полилиния: фигура 39">
              <a:extLst>
                <a:ext uri="{FF2B5EF4-FFF2-40B4-BE49-F238E27FC236}">
                  <a16:creationId xmlns:a16="http://schemas.microsoft.com/office/drawing/2014/main" id="{2CEFE2E8-C801-B2DF-C309-266491FD61D3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Полилиния: фигура 40">
              <a:extLst>
                <a:ext uri="{FF2B5EF4-FFF2-40B4-BE49-F238E27FC236}">
                  <a16:creationId xmlns:a16="http://schemas.microsoft.com/office/drawing/2014/main" id="{5A76BE50-F569-D366-7AB1-3FACC18FC8FD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Полилиния: фигура 41">
              <a:extLst>
                <a:ext uri="{FF2B5EF4-FFF2-40B4-BE49-F238E27FC236}">
                  <a16:creationId xmlns:a16="http://schemas.microsoft.com/office/drawing/2014/main" id="{FE22727D-1C1D-4E79-495B-FC295573D98A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Полилиния: фигура 42">
              <a:extLst>
                <a:ext uri="{FF2B5EF4-FFF2-40B4-BE49-F238E27FC236}">
                  <a16:creationId xmlns:a16="http://schemas.microsoft.com/office/drawing/2014/main" id="{77B5FFA8-6C14-166E-0498-93163BC1066B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Полилиния: фигура 43">
              <a:extLst>
                <a:ext uri="{FF2B5EF4-FFF2-40B4-BE49-F238E27FC236}">
                  <a16:creationId xmlns:a16="http://schemas.microsoft.com/office/drawing/2014/main" id="{DFC74432-806C-FE9B-3172-74E47A38D527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2"/>
                </a:solidFill>
              </a:endParaRPr>
            </a:p>
          </p:txBody>
        </p:sp>
        <p:grpSp>
          <p:nvGrpSpPr>
            <p:cNvPr id="174" name="Группа 145">
              <a:extLst>
                <a:ext uri="{FF2B5EF4-FFF2-40B4-BE49-F238E27FC236}">
                  <a16:creationId xmlns:a16="http://schemas.microsoft.com/office/drawing/2014/main" id="{BBD5BFD8-DD3E-902E-5832-1A201C6D220F}"/>
                </a:ext>
              </a:extLst>
            </p:cNvPr>
            <p:cNvGrpSpPr/>
            <p:nvPr/>
          </p:nvGrpSpPr>
          <p:grpSpPr>
            <a:xfrm>
              <a:off x="11482993" y="6055615"/>
              <a:ext cx="204201" cy="625502"/>
              <a:chOff x="11482993" y="6055615"/>
              <a:chExt cx="204201" cy="625502"/>
            </a:xfrm>
          </p:grpSpPr>
          <p:sp>
            <p:nvSpPr>
              <p:cNvPr id="244" name="Полилиния: фигура 44">
                <a:extLst>
                  <a:ext uri="{FF2B5EF4-FFF2-40B4-BE49-F238E27FC236}">
                    <a16:creationId xmlns:a16="http://schemas.microsoft.com/office/drawing/2014/main" id="{BBA50A16-7AD7-629F-F2D8-D5EC976D3A5E}"/>
                  </a:ext>
                </a:extLst>
              </p:cNvPr>
              <p:cNvSpPr/>
              <p:nvPr/>
            </p:nvSpPr>
            <p:spPr>
              <a:xfrm>
                <a:off x="11547704" y="6327156"/>
                <a:ext cx="74786" cy="353961"/>
              </a:xfrm>
              <a:custGeom>
                <a:avLst/>
                <a:gdLst>
                  <a:gd name="connsiteX0" fmla="*/ 37083 w 74786"/>
                  <a:gd name="connsiteY0" fmla="*/ 353722 h 353961"/>
                  <a:gd name="connsiteX1" fmla="*/ 37083 w 74786"/>
                  <a:gd name="connsiteY1" fmla="*/ 353722 h 353961"/>
                  <a:gd name="connsiteX2" fmla="*/ 74476 w 74786"/>
                  <a:gd name="connsiteY2" fmla="*/ 316328 h 353961"/>
                  <a:gd name="connsiteX3" fmla="*/ 74476 w 74786"/>
                  <a:gd name="connsiteY3" fmla="*/ -240 h 353961"/>
                  <a:gd name="connsiteX4" fmla="*/ -310 w 74786"/>
                  <a:gd name="connsiteY4" fmla="*/ -240 h 353961"/>
                  <a:gd name="connsiteX5" fmla="*/ -310 w 74786"/>
                  <a:gd name="connsiteY5" fmla="*/ 316328 h 353961"/>
                  <a:gd name="connsiteX6" fmla="*/ 37083 w 74786"/>
                  <a:gd name="connsiteY6" fmla="*/ 353722 h 353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353961">
                    <a:moveTo>
                      <a:pt x="37083" y="353722"/>
                    </a:moveTo>
                    <a:lnTo>
                      <a:pt x="37083" y="353722"/>
                    </a:lnTo>
                    <a:cubicBezTo>
                      <a:pt x="57737" y="353722"/>
                      <a:pt x="74476" y="336983"/>
                      <a:pt x="74476" y="316328"/>
                    </a:cubicBezTo>
                    <a:lnTo>
                      <a:pt x="74476" y="-240"/>
                    </a:lnTo>
                    <a:lnTo>
                      <a:pt x="-310" y="-240"/>
                    </a:lnTo>
                    <a:lnTo>
                      <a:pt x="-310" y="316328"/>
                    </a:lnTo>
                    <a:cubicBezTo>
                      <a:pt x="-310" y="336983"/>
                      <a:pt x="16429" y="353722"/>
                      <a:pt x="37083" y="353722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Полилиния: фигура 45">
                <a:extLst>
                  <a:ext uri="{FF2B5EF4-FFF2-40B4-BE49-F238E27FC236}">
                    <a16:creationId xmlns:a16="http://schemas.microsoft.com/office/drawing/2014/main" id="{D5720F4F-4224-CC6B-B843-E58AA10355BA}"/>
                  </a:ext>
                </a:extLst>
              </p:cNvPr>
              <p:cNvSpPr/>
              <p:nvPr/>
            </p:nvSpPr>
            <p:spPr>
              <a:xfrm>
                <a:off x="11482993" y="6055615"/>
                <a:ext cx="204201" cy="288885"/>
              </a:xfrm>
              <a:custGeom>
                <a:avLst/>
                <a:gdLst>
                  <a:gd name="connsiteX0" fmla="*/ 162974 w 204201"/>
                  <a:gd name="connsiteY0" fmla="*/ 20512 h 288885"/>
                  <a:gd name="connsiteX1" fmla="*/ 162974 w 204201"/>
                  <a:gd name="connsiteY1" fmla="*/ 165875 h 288885"/>
                  <a:gd name="connsiteX2" fmla="*/ 143984 w 204201"/>
                  <a:gd name="connsiteY2" fmla="*/ 187694 h 288885"/>
                  <a:gd name="connsiteX3" fmla="*/ 122155 w 204201"/>
                  <a:gd name="connsiteY3" fmla="*/ 168704 h 288885"/>
                  <a:gd name="connsiteX4" fmla="*/ 122155 w 204201"/>
                  <a:gd name="connsiteY4" fmla="*/ 165875 h 288885"/>
                  <a:gd name="connsiteX5" fmla="*/ 122155 w 204201"/>
                  <a:gd name="connsiteY5" fmla="*/ 20512 h 288885"/>
                  <a:gd name="connsiteX6" fmla="*/ 101794 w 204201"/>
                  <a:gd name="connsiteY6" fmla="*/ 151 h 288885"/>
                  <a:gd name="connsiteX7" fmla="*/ 101794 w 204201"/>
                  <a:gd name="connsiteY7" fmla="*/ 151 h 288885"/>
                  <a:gd name="connsiteX8" fmla="*/ 81336 w 204201"/>
                  <a:gd name="connsiteY8" fmla="*/ 20512 h 288885"/>
                  <a:gd name="connsiteX9" fmla="*/ 81336 w 204201"/>
                  <a:gd name="connsiteY9" fmla="*/ 165875 h 288885"/>
                  <a:gd name="connsiteX10" fmla="*/ 62336 w 204201"/>
                  <a:gd name="connsiteY10" fmla="*/ 187694 h 288885"/>
                  <a:gd name="connsiteX11" fmla="*/ 40517 w 204201"/>
                  <a:gd name="connsiteY11" fmla="*/ 168704 h 288885"/>
                  <a:gd name="connsiteX12" fmla="*/ 40517 w 204201"/>
                  <a:gd name="connsiteY12" fmla="*/ 165875 h 288885"/>
                  <a:gd name="connsiteX13" fmla="*/ 40517 w 204201"/>
                  <a:gd name="connsiteY13" fmla="*/ 20512 h 288885"/>
                  <a:gd name="connsiteX14" fmla="*/ 18688 w 204201"/>
                  <a:gd name="connsiteY14" fmla="*/ 1522 h 288885"/>
                  <a:gd name="connsiteX15" fmla="*/ -302 w 204201"/>
                  <a:gd name="connsiteY15" fmla="*/ 20512 h 288885"/>
                  <a:gd name="connsiteX16" fmla="*/ -302 w 204201"/>
                  <a:gd name="connsiteY16" fmla="*/ 183201 h 288885"/>
                  <a:gd name="connsiteX17" fmla="*/ 99837 w 204201"/>
                  <a:gd name="connsiteY17" fmla="*/ 288626 h 288885"/>
                  <a:gd name="connsiteX18" fmla="*/ 203871 w 204201"/>
                  <a:gd name="connsiteY18" fmla="*/ 188507 h 288885"/>
                  <a:gd name="connsiteX19" fmla="*/ 203891 w 204201"/>
                  <a:gd name="connsiteY19" fmla="*/ 186627 h 288885"/>
                  <a:gd name="connsiteX20" fmla="*/ 203891 w 204201"/>
                  <a:gd name="connsiteY20" fmla="*/ 20218 h 288885"/>
                  <a:gd name="connsiteX21" fmla="*/ 183433 w 204201"/>
                  <a:gd name="connsiteY21" fmla="*/ -240 h 288885"/>
                  <a:gd name="connsiteX22" fmla="*/ 162974 w 204201"/>
                  <a:gd name="connsiteY22" fmla="*/ 20218 h 28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201" h="288885">
                    <a:moveTo>
                      <a:pt x="162974" y="20512"/>
                    </a:moveTo>
                    <a:lnTo>
                      <a:pt x="162974" y="165875"/>
                    </a:lnTo>
                    <a:cubicBezTo>
                      <a:pt x="163757" y="177142"/>
                      <a:pt x="155251" y="186921"/>
                      <a:pt x="143984" y="187694"/>
                    </a:cubicBezTo>
                    <a:cubicBezTo>
                      <a:pt x="132708" y="188478"/>
                      <a:pt x="122938" y="179971"/>
                      <a:pt x="122155" y="168704"/>
                    </a:cubicBezTo>
                    <a:cubicBezTo>
                      <a:pt x="122087" y="167764"/>
                      <a:pt x="122087" y="166815"/>
                      <a:pt x="122155" y="165875"/>
                    </a:cubicBezTo>
                    <a:lnTo>
                      <a:pt x="122155" y="20512"/>
                    </a:lnTo>
                    <a:cubicBezTo>
                      <a:pt x="122155" y="9264"/>
                      <a:pt x="113042" y="151"/>
                      <a:pt x="101794" y="151"/>
                    </a:cubicBezTo>
                    <a:lnTo>
                      <a:pt x="101794" y="151"/>
                    </a:lnTo>
                    <a:cubicBezTo>
                      <a:pt x="90537" y="151"/>
                      <a:pt x="81395" y="9255"/>
                      <a:pt x="81336" y="20512"/>
                    </a:cubicBezTo>
                    <a:lnTo>
                      <a:pt x="81336" y="165875"/>
                    </a:lnTo>
                    <a:cubicBezTo>
                      <a:pt x="82119" y="177142"/>
                      <a:pt x="73612" y="186921"/>
                      <a:pt x="62336" y="187694"/>
                    </a:cubicBezTo>
                    <a:cubicBezTo>
                      <a:pt x="51069" y="188478"/>
                      <a:pt x="41300" y="179971"/>
                      <a:pt x="40517" y="168704"/>
                    </a:cubicBezTo>
                    <a:cubicBezTo>
                      <a:pt x="40448" y="167764"/>
                      <a:pt x="40448" y="166815"/>
                      <a:pt x="40517" y="165875"/>
                    </a:cubicBezTo>
                    <a:lnTo>
                      <a:pt x="40517" y="20512"/>
                    </a:lnTo>
                    <a:cubicBezTo>
                      <a:pt x="39733" y="9245"/>
                      <a:pt x="29964" y="739"/>
                      <a:pt x="18688" y="1522"/>
                    </a:cubicBezTo>
                    <a:cubicBezTo>
                      <a:pt x="8507" y="2226"/>
                      <a:pt x="403" y="10331"/>
                      <a:pt x="-302" y="20512"/>
                    </a:cubicBezTo>
                    <a:lnTo>
                      <a:pt x="-302" y="183201"/>
                    </a:lnTo>
                    <a:cubicBezTo>
                      <a:pt x="-978" y="239663"/>
                      <a:pt x="43414" y="286404"/>
                      <a:pt x="99837" y="288626"/>
                    </a:cubicBezTo>
                    <a:cubicBezTo>
                      <a:pt x="156210" y="289713"/>
                      <a:pt x="202795" y="244880"/>
                      <a:pt x="203871" y="188507"/>
                    </a:cubicBezTo>
                    <a:cubicBezTo>
                      <a:pt x="203882" y="187880"/>
                      <a:pt x="203891" y="187254"/>
                      <a:pt x="203891" y="186627"/>
                    </a:cubicBezTo>
                    <a:lnTo>
                      <a:pt x="203891" y="20218"/>
                    </a:lnTo>
                    <a:cubicBezTo>
                      <a:pt x="203891" y="8922"/>
                      <a:pt x="194729" y="-240"/>
                      <a:pt x="183433" y="-240"/>
                    </a:cubicBezTo>
                    <a:cubicBezTo>
                      <a:pt x="172136" y="-240"/>
                      <a:pt x="162974" y="8922"/>
                      <a:pt x="162974" y="20218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75" name="Группа 146">
              <a:extLst>
                <a:ext uri="{FF2B5EF4-FFF2-40B4-BE49-F238E27FC236}">
                  <a16:creationId xmlns:a16="http://schemas.microsoft.com/office/drawing/2014/main" id="{3EC56F36-211F-8B4D-FCF9-75345C83DEBB}"/>
                </a:ext>
              </a:extLst>
            </p:cNvPr>
            <p:cNvGrpSpPr/>
            <p:nvPr/>
          </p:nvGrpSpPr>
          <p:grpSpPr>
            <a:xfrm>
              <a:off x="11717931" y="6056007"/>
              <a:ext cx="204193" cy="625110"/>
              <a:chOff x="11717931" y="6056007"/>
              <a:chExt cx="204193" cy="625110"/>
            </a:xfrm>
          </p:grpSpPr>
          <p:sp>
            <p:nvSpPr>
              <p:cNvPr id="242" name="Полилиния: фигура 46">
                <a:extLst>
                  <a:ext uri="{FF2B5EF4-FFF2-40B4-BE49-F238E27FC236}">
                    <a16:creationId xmlns:a16="http://schemas.microsoft.com/office/drawing/2014/main" id="{EE5E528E-80B1-3D17-9DD3-FCB9DE83E1B3}"/>
                  </a:ext>
                </a:extLst>
              </p:cNvPr>
              <p:cNvSpPr/>
              <p:nvPr/>
            </p:nvSpPr>
            <p:spPr>
              <a:xfrm>
                <a:off x="11782635" y="6056007"/>
                <a:ext cx="74786" cy="425224"/>
              </a:xfrm>
              <a:custGeom>
                <a:avLst/>
                <a:gdLst>
                  <a:gd name="connsiteX0" fmla="*/ 37083 w 74786"/>
                  <a:gd name="connsiteY0" fmla="*/ -240 h 425224"/>
                  <a:gd name="connsiteX1" fmla="*/ 37083 w 74786"/>
                  <a:gd name="connsiteY1" fmla="*/ -240 h 425224"/>
                  <a:gd name="connsiteX2" fmla="*/ -310 w 74786"/>
                  <a:gd name="connsiteY2" fmla="*/ 37153 h 425224"/>
                  <a:gd name="connsiteX3" fmla="*/ -310 w 74786"/>
                  <a:gd name="connsiteY3" fmla="*/ 424984 h 425224"/>
                  <a:gd name="connsiteX4" fmla="*/ 74476 w 74786"/>
                  <a:gd name="connsiteY4" fmla="*/ 424984 h 425224"/>
                  <a:gd name="connsiteX5" fmla="*/ 74476 w 74786"/>
                  <a:gd name="connsiteY5" fmla="*/ 37153 h 425224"/>
                  <a:gd name="connsiteX6" fmla="*/ 37083 w 74786"/>
                  <a:gd name="connsiteY6" fmla="*/ -240 h 42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425224">
                    <a:moveTo>
                      <a:pt x="37083" y="-240"/>
                    </a:moveTo>
                    <a:lnTo>
                      <a:pt x="37083" y="-240"/>
                    </a:lnTo>
                    <a:cubicBezTo>
                      <a:pt x="16429" y="-240"/>
                      <a:pt x="-310" y="16499"/>
                      <a:pt x="-310" y="37153"/>
                    </a:cubicBezTo>
                    <a:lnTo>
                      <a:pt x="-310" y="424984"/>
                    </a:lnTo>
                    <a:lnTo>
                      <a:pt x="74476" y="424984"/>
                    </a:lnTo>
                    <a:lnTo>
                      <a:pt x="74476" y="37153"/>
                    </a:lnTo>
                    <a:cubicBezTo>
                      <a:pt x="74476" y="16499"/>
                      <a:pt x="57737" y="-240"/>
                      <a:pt x="37083" y="-240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Полилиния: фигура 47">
                <a:extLst>
                  <a:ext uri="{FF2B5EF4-FFF2-40B4-BE49-F238E27FC236}">
                    <a16:creationId xmlns:a16="http://schemas.microsoft.com/office/drawing/2014/main" id="{9EC87D7A-39AB-4CD3-0F1C-31B70D227BE8}"/>
                  </a:ext>
                </a:extLst>
              </p:cNvPr>
              <p:cNvSpPr/>
              <p:nvPr/>
            </p:nvSpPr>
            <p:spPr>
              <a:xfrm>
                <a:off x="11717931" y="6392545"/>
                <a:ext cx="204193" cy="288572"/>
              </a:xfrm>
              <a:custGeom>
                <a:avLst/>
                <a:gdLst>
                  <a:gd name="connsiteX0" fmla="*/ 101787 w 204193"/>
                  <a:gd name="connsiteY0" fmla="*/ 288333 h 288572"/>
                  <a:gd name="connsiteX1" fmla="*/ 203884 w 204193"/>
                  <a:gd name="connsiteY1" fmla="*/ 186236 h 288572"/>
                  <a:gd name="connsiteX2" fmla="*/ 203884 w 204193"/>
                  <a:gd name="connsiteY2" fmla="*/ 101857 h 288572"/>
                  <a:gd name="connsiteX3" fmla="*/ 101787 w 204193"/>
                  <a:gd name="connsiteY3" fmla="*/ -240 h 288572"/>
                  <a:gd name="connsiteX4" fmla="*/ -310 w 204193"/>
                  <a:gd name="connsiteY4" fmla="*/ 101857 h 288572"/>
                  <a:gd name="connsiteX5" fmla="*/ -310 w 204193"/>
                  <a:gd name="connsiteY5" fmla="*/ 186236 h 288572"/>
                  <a:gd name="connsiteX6" fmla="*/ 101787 w 204193"/>
                  <a:gd name="connsiteY6" fmla="*/ 288333 h 28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193" h="288572">
                    <a:moveTo>
                      <a:pt x="101787" y="288333"/>
                    </a:moveTo>
                    <a:cubicBezTo>
                      <a:pt x="158170" y="288333"/>
                      <a:pt x="203884" y="242619"/>
                      <a:pt x="203884" y="186236"/>
                    </a:cubicBezTo>
                    <a:lnTo>
                      <a:pt x="203884" y="101857"/>
                    </a:lnTo>
                    <a:cubicBezTo>
                      <a:pt x="203884" y="45473"/>
                      <a:pt x="158170" y="-240"/>
                      <a:pt x="101787" y="-240"/>
                    </a:cubicBezTo>
                    <a:cubicBezTo>
                      <a:pt x="45403" y="-240"/>
                      <a:pt x="-310" y="45473"/>
                      <a:pt x="-310" y="101857"/>
                    </a:cubicBezTo>
                    <a:lnTo>
                      <a:pt x="-310" y="186236"/>
                    </a:lnTo>
                    <a:cubicBezTo>
                      <a:pt x="-310" y="242619"/>
                      <a:pt x="45403" y="288333"/>
                      <a:pt x="101787" y="288333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6" name="Полилиния: фигура 56">
              <a:extLst>
                <a:ext uri="{FF2B5EF4-FFF2-40B4-BE49-F238E27FC236}">
                  <a16:creationId xmlns:a16="http://schemas.microsoft.com/office/drawing/2014/main" id="{6E6199AE-034D-751B-0B41-16843783D52E}"/>
                </a:ext>
              </a:extLst>
            </p:cNvPr>
            <p:cNvSpPr/>
            <p:nvPr/>
          </p:nvSpPr>
          <p:spPr>
            <a:xfrm>
              <a:off x="9252833" y="0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Полилиния: фигура 57">
              <a:extLst>
                <a:ext uri="{FF2B5EF4-FFF2-40B4-BE49-F238E27FC236}">
                  <a16:creationId xmlns:a16="http://schemas.microsoft.com/office/drawing/2014/main" id="{9B637539-34B8-C902-670F-61DA69B52B5E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Полилиния: фигура 59">
              <a:extLst>
                <a:ext uri="{FF2B5EF4-FFF2-40B4-BE49-F238E27FC236}">
                  <a16:creationId xmlns:a16="http://schemas.microsoft.com/office/drawing/2014/main" id="{F5129B11-D1CB-5277-B291-BC940C69B3B7}"/>
                </a:ext>
              </a:extLst>
            </p:cNvPr>
            <p:cNvSpPr/>
            <p:nvPr/>
          </p:nvSpPr>
          <p:spPr>
            <a:xfrm rot="16200000">
              <a:off x="7297491" y="4107"/>
              <a:ext cx="978852" cy="972412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Полилиния: фигура 60">
              <a:extLst>
                <a:ext uri="{FF2B5EF4-FFF2-40B4-BE49-F238E27FC236}">
                  <a16:creationId xmlns:a16="http://schemas.microsoft.com/office/drawing/2014/main" id="{974EF996-E4A2-7F1D-39E1-C0E93962FF0D}"/>
                </a:ext>
              </a:extLst>
            </p:cNvPr>
            <p:cNvSpPr/>
            <p:nvPr/>
          </p:nvSpPr>
          <p:spPr>
            <a:xfrm>
              <a:off x="7288368" y="489882"/>
              <a:ext cx="494894" cy="495482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Полилиния: фигура 61">
              <a:extLst>
                <a:ext uri="{FF2B5EF4-FFF2-40B4-BE49-F238E27FC236}">
                  <a16:creationId xmlns:a16="http://schemas.microsoft.com/office/drawing/2014/main" id="{2109B157-2DB2-D42E-0D05-727A20A19A9C}"/>
                </a:ext>
              </a:extLst>
            </p:cNvPr>
            <p:cNvSpPr/>
            <p:nvPr/>
          </p:nvSpPr>
          <p:spPr>
            <a:xfrm>
              <a:off x="7284210" y="25"/>
              <a:ext cx="499051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Полилиния: фигура 62">
              <a:extLst>
                <a:ext uri="{FF2B5EF4-FFF2-40B4-BE49-F238E27FC236}">
                  <a16:creationId xmlns:a16="http://schemas.microsoft.com/office/drawing/2014/main" id="{1DF63EB9-998D-F6DC-0EA8-B1427C621F3D}"/>
                </a:ext>
              </a:extLst>
            </p:cNvPr>
            <p:cNvSpPr/>
            <p:nvPr/>
          </p:nvSpPr>
          <p:spPr>
            <a:xfrm>
              <a:off x="7774067" y="25"/>
              <a:ext cx="499051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Полилиния: фигура 63">
              <a:extLst>
                <a:ext uri="{FF2B5EF4-FFF2-40B4-BE49-F238E27FC236}">
                  <a16:creationId xmlns:a16="http://schemas.microsoft.com/office/drawing/2014/main" id="{D859794D-6835-2E5D-0A71-C4015F66C477}"/>
                </a:ext>
              </a:extLst>
            </p:cNvPr>
            <p:cNvSpPr/>
            <p:nvPr/>
          </p:nvSpPr>
          <p:spPr>
            <a:xfrm>
              <a:off x="7778225" y="489882"/>
              <a:ext cx="494894" cy="495482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Полилиния: фигура 65">
              <a:extLst>
                <a:ext uri="{FF2B5EF4-FFF2-40B4-BE49-F238E27FC236}">
                  <a16:creationId xmlns:a16="http://schemas.microsoft.com/office/drawing/2014/main" id="{8D146B39-1CF3-38A2-02D7-8EEE1021B295}"/>
                </a:ext>
              </a:extLst>
            </p:cNvPr>
            <p:cNvSpPr/>
            <p:nvPr/>
          </p:nvSpPr>
          <p:spPr>
            <a:xfrm rot="16200000">
              <a:off x="10229303" y="2406"/>
              <a:ext cx="986202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66">
              <a:extLst>
                <a:ext uri="{FF2B5EF4-FFF2-40B4-BE49-F238E27FC236}">
                  <a16:creationId xmlns:a16="http://schemas.microsoft.com/office/drawing/2014/main" id="{808F38F4-0E60-680B-48D4-095F2B513E1F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Полилиния: фигура 67">
              <a:extLst>
                <a:ext uri="{FF2B5EF4-FFF2-40B4-BE49-F238E27FC236}">
                  <a16:creationId xmlns:a16="http://schemas.microsoft.com/office/drawing/2014/main" id="{C89429AF-71A5-1284-B6E1-D71AABE0B71D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Полилиния: фигура 68">
              <a:extLst>
                <a:ext uri="{FF2B5EF4-FFF2-40B4-BE49-F238E27FC236}">
                  <a16:creationId xmlns:a16="http://schemas.microsoft.com/office/drawing/2014/main" id="{C405CC03-1321-0681-8E46-9ED5F4699D77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Полилиния: фигура 69">
              <a:extLst>
                <a:ext uri="{FF2B5EF4-FFF2-40B4-BE49-F238E27FC236}">
                  <a16:creationId xmlns:a16="http://schemas.microsoft.com/office/drawing/2014/main" id="{47E90767-1CD4-229E-F8B8-B9F62694FD46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Полилиния: фигура 71">
              <a:extLst>
                <a:ext uri="{FF2B5EF4-FFF2-40B4-BE49-F238E27FC236}">
                  <a16:creationId xmlns:a16="http://schemas.microsoft.com/office/drawing/2014/main" id="{7577D1C3-34C5-3C69-A9A7-CC93CEC67644}"/>
                </a:ext>
              </a:extLst>
            </p:cNvPr>
            <p:cNvSpPr/>
            <p:nvPr/>
          </p:nvSpPr>
          <p:spPr>
            <a:xfrm rot="16200000">
              <a:off x="8273043" y="4107"/>
              <a:ext cx="978852" cy="972411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9" name="Группа 133">
              <a:extLst>
                <a:ext uri="{FF2B5EF4-FFF2-40B4-BE49-F238E27FC236}">
                  <a16:creationId xmlns:a16="http://schemas.microsoft.com/office/drawing/2014/main" id="{038C248A-533D-7B45-7FF8-783145FF53E9}"/>
                </a:ext>
              </a:extLst>
            </p:cNvPr>
            <p:cNvGrpSpPr/>
            <p:nvPr/>
          </p:nvGrpSpPr>
          <p:grpSpPr>
            <a:xfrm>
              <a:off x="8460243" y="187150"/>
              <a:ext cx="605463" cy="605463"/>
              <a:chOff x="8460243" y="187150"/>
              <a:chExt cx="605463" cy="605463"/>
            </a:xfrm>
          </p:grpSpPr>
          <p:sp>
            <p:nvSpPr>
              <p:cNvPr id="240" name="Полилиния: фигура 72">
                <a:extLst>
                  <a:ext uri="{FF2B5EF4-FFF2-40B4-BE49-F238E27FC236}">
                    <a16:creationId xmlns:a16="http://schemas.microsoft.com/office/drawing/2014/main" id="{94AE1B0D-F2A2-80E9-FDB9-FB89DE377F2C}"/>
                  </a:ext>
                </a:extLst>
              </p:cNvPr>
              <p:cNvSpPr/>
              <p:nvPr userDrawn="1"/>
            </p:nvSpPr>
            <p:spPr>
              <a:xfrm>
                <a:off x="8592015" y="318922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1" y="341920"/>
                      <a:pt x="0" y="265379"/>
                      <a:pt x="0" y="170960"/>
                    </a:cubicBezTo>
                    <a:cubicBezTo>
                      <a:pt x="0" y="76541"/>
                      <a:pt x="76541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Полилиния: фигура 73">
                <a:extLst>
                  <a:ext uri="{FF2B5EF4-FFF2-40B4-BE49-F238E27FC236}">
                    <a16:creationId xmlns:a16="http://schemas.microsoft.com/office/drawing/2014/main" id="{C3CE0353-B3A6-B07F-A4F3-82D85DE782BE}"/>
                  </a:ext>
                </a:extLst>
              </p:cNvPr>
              <p:cNvSpPr/>
              <p:nvPr userDrawn="1"/>
            </p:nvSpPr>
            <p:spPr>
              <a:xfrm>
                <a:off x="8460243" y="187150"/>
                <a:ext cx="605463" cy="605463"/>
              </a:xfrm>
              <a:custGeom>
                <a:avLst/>
                <a:gdLst>
                  <a:gd name="connsiteX0" fmla="*/ 302422 w 605463"/>
                  <a:gd name="connsiteY0" fmla="*/ -240 h 605463"/>
                  <a:gd name="connsiteX1" fmla="*/ 273031 w 605463"/>
                  <a:gd name="connsiteY1" fmla="*/ 29151 h 605463"/>
                  <a:gd name="connsiteX2" fmla="*/ 273031 w 605463"/>
                  <a:gd name="connsiteY2" fmla="*/ 72847 h 605463"/>
                  <a:gd name="connsiteX3" fmla="*/ 302422 w 605463"/>
                  <a:gd name="connsiteY3" fmla="*/ 102238 h 605463"/>
                  <a:gd name="connsiteX4" fmla="*/ 331813 w 605463"/>
                  <a:gd name="connsiteY4" fmla="*/ 72847 h 605463"/>
                  <a:gd name="connsiteX5" fmla="*/ 331813 w 605463"/>
                  <a:gd name="connsiteY5" fmla="*/ 29151 h 605463"/>
                  <a:gd name="connsiteX6" fmla="*/ 302422 w 605463"/>
                  <a:gd name="connsiteY6" fmla="*/ -240 h 605463"/>
                  <a:gd name="connsiteX7" fmla="*/ 302422 w 605463"/>
                  <a:gd name="connsiteY7" fmla="*/ 502745 h 605463"/>
                  <a:gd name="connsiteX8" fmla="*/ 273031 w 605463"/>
                  <a:gd name="connsiteY8" fmla="*/ 532137 h 605463"/>
                  <a:gd name="connsiteX9" fmla="*/ 273031 w 605463"/>
                  <a:gd name="connsiteY9" fmla="*/ 575832 h 605463"/>
                  <a:gd name="connsiteX10" fmla="*/ 302422 w 605463"/>
                  <a:gd name="connsiteY10" fmla="*/ 605223 h 605463"/>
                  <a:gd name="connsiteX11" fmla="*/ 331813 w 605463"/>
                  <a:gd name="connsiteY11" fmla="*/ 575832 h 605463"/>
                  <a:gd name="connsiteX12" fmla="*/ 331813 w 605463"/>
                  <a:gd name="connsiteY12" fmla="*/ 532137 h 605463"/>
                  <a:gd name="connsiteX13" fmla="*/ 302422 w 605463"/>
                  <a:gd name="connsiteY13" fmla="*/ 502745 h 605463"/>
                  <a:gd name="connsiteX14" fmla="*/ 102169 w 605463"/>
                  <a:gd name="connsiteY14" fmla="*/ 302492 h 605463"/>
                  <a:gd name="connsiteX15" fmla="*/ 72778 w 605463"/>
                  <a:gd name="connsiteY15" fmla="*/ 273100 h 605463"/>
                  <a:gd name="connsiteX16" fmla="*/ 29081 w 605463"/>
                  <a:gd name="connsiteY16" fmla="*/ 273100 h 605463"/>
                  <a:gd name="connsiteX17" fmla="*/ -310 w 605463"/>
                  <a:gd name="connsiteY17" fmla="*/ 302492 h 605463"/>
                  <a:gd name="connsiteX18" fmla="*/ 29081 w 605463"/>
                  <a:gd name="connsiteY18" fmla="*/ 331883 h 605463"/>
                  <a:gd name="connsiteX19" fmla="*/ 72778 w 605463"/>
                  <a:gd name="connsiteY19" fmla="*/ 331883 h 605463"/>
                  <a:gd name="connsiteX20" fmla="*/ 102169 w 605463"/>
                  <a:gd name="connsiteY20" fmla="*/ 302492 h 605463"/>
                  <a:gd name="connsiteX21" fmla="*/ 575763 w 605463"/>
                  <a:gd name="connsiteY21" fmla="*/ 273100 h 605463"/>
                  <a:gd name="connsiteX22" fmla="*/ 532066 w 605463"/>
                  <a:gd name="connsiteY22" fmla="*/ 273100 h 605463"/>
                  <a:gd name="connsiteX23" fmla="*/ 502675 w 605463"/>
                  <a:gd name="connsiteY23" fmla="*/ 302492 h 605463"/>
                  <a:gd name="connsiteX24" fmla="*/ 532066 w 605463"/>
                  <a:gd name="connsiteY24" fmla="*/ 331883 h 605463"/>
                  <a:gd name="connsiteX25" fmla="*/ 575763 w 605463"/>
                  <a:gd name="connsiteY25" fmla="*/ 331883 h 605463"/>
                  <a:gd name="connsiteX26" fmla="*/ 605154 w 605463"/>
                  <a:gd name="connsiteY26" fmla="*/ 302492 h 605463"/>
                  <a:gd name="connsiteX27" fmla="*/ 575763 w 605463"/>
                  <a:gd name="connsiteY27" fmla="*/ 273100 h 605463"/>
                  <a:gd name="connsiteX28" fmla="*/ 129894 w 605463"/>
                  <a:gd name="connsiteY28" fmla="*/ 88424 h 605463"/>
                  <a:gd name="connsiteX29" fmla="*/ 88355 w 605463"/>
                  <a:gd name="connsiteY29" fmla="*/ 86955 h 605463"/>
                  <a:gd name="connsiteX30" fmla="*/ 86885 w 605463"/>
                  <a:gd name="connsiteY30" fmla="*/ 128494 h 605463"/>
                  <a:gd name="connsiteX31" fmla="*/ 88355 w 605463"/>
                  <a:gd name="connsiteY31" fmla="*/ 129964 h 605463"/>
                  <a:gd name="connsiteX32" fmla="*/ 119216 w 605463"/>
                  <a:gd name="connsiteY32" fmla="*/ 160923 h 605463"/>
                  <a:gd name="connsiteX33" fmla="*/ 160854 w 605463"/>
                  <a:gd name="connsiteY33" fmla="*/ 160923 h 605463"/>
                  <a:gd name="connsiteX34" fmla="*/ 160854 w 605463"/>
                  <a:gd name="connsiteY34" fmla="*/ 119285 h 605463"/>
                  <a:gd name="connsiteX35" fmla="*/ 485628 w 605463"/>
                  <a:gd name="connsiteY35" fmla="*/ 444061 h 605463"/>
                  <a:gd name="connsiteX36" fmla="*/ 443990 w 605463"/>
                  <a:gd name="connsiteY36" fmla="*/ 444061 h 605463"/>
                  <a:gd name="connsiteX37" fmla="*/ 443990 w 605463"/>
                  <a:gd name="connsiteY37" fmla="*/ 485698 h 605463"/>
                  <a:gd name="connsiteX38" fmla="*/ 474950 w 605463"/>
                  <a:gd name="connsiteY38" fmla="*/ 516559 h 605463"/>
                  <a:gd name="connsiteX39" fmla="*/ 516489 w 605463"/>
                  <a:gd name="connsiteY39" fmla="*/ 516559 h 605463"/>
                  <a:gd name="connsiteX40" fmla="*/ 516489 w 605463"/>
                  <a:gd name="connsiteY40" fmla="*/ 475019 h 605463"/>
                  <a:gd name="connsiteX41" fmla="*/ 119216 w 605463"/>
                  <a:gd name="connsiteY41" fmla="*/ 444061 h 605463"/>
                  <a:gd name="connsiteX42" fmla="*/ 88355 w 605463"/>
                  <a:gd name="connsiteY42" fmla="*/ 475019 h 605463"/>
                  <a:gd name="connsiteX43" fmla="*/ 88355 w 605463"/>
                  <a:gd name="connsiteY43" fmla="*/ 516589 h 605463"/>
                  <a:gd name="connsiteX44" fmla="*/ 109125 w 605463"/>
                  <a:gd name="connsiteY44" fmla="*/ 525181 h 605463"/>
                  <a:gd name="connsiteX45" fmla="*/ 129894 w 605463"/>
                  <a:gd name="connsiteY45" fmla="*/ 516559 h 605463"/>
                  <a:gd name="connsiteX46" fmla="*/ 160854 w 605463"/>
                  <a:gd name="connsiteY46" fmla="*/ 485698 h 605463"/>
                  <a:gd name="connsiteX47" fmla="*/ 160854 w 605463"/>
                  <a:gd name="connsiteY47" fmla="*/ 444061 h 605463"/>
                  <a:gd name="connsiteX48" fmla="*/ 119216 w 605463"/>
                  <a:gd name="connsiteY48" fmla="*/ 444061 h 605463"/>
                  <a:gd name="connsiteX49" fmla="*/ 464858 w 605463"/>
                  <a:gd name="connsiteY49" fmla="*/ 169740 h 605463"/>
                  <a:gd name="connsiteX50" fmla="*/ 485628 w 605463"/>
                  <a:gd name="connsiteY50" fmla="*/ 161217 h 605463"/>
                  <a:gd name="connsiteX51" fmla="*/ 516489 w 605463"/>
                  <a:gd name="connsiteY51" fmla="*/ 130258 h 605463"/>
                  <a:gd name="connsiteX52" fmla="*/ 517959 w 605463"/>
                  <a:gd name="connsiteY52" fmla="*/ 88718 h 605463"/>
                  <a:gd name="connsiteX53" fmla="*/ 476419 w 605463"/>
                  <a:gd name="connsiteY53" fmla="*/ 87248 h 605463"/>
                  <a:gd name="connsiteX54" fmla="*/ 474950 w 605463"/>
                  <a:gd name="connsiteY54" fmla="*/ 88718 h 605463"/>
                  <a:gd name="connsiteX55" fmla="*/ 443990 w 605463"/>
                  <a:gd name="connsiteY55" fmla="*/ 119579 h 605463"/>
                  <a:gd name="connsiteX56" fmla="*/ 443990 w 605463"/>
                  <a:gd name="connsiteY56" fmla="*/ 161148 h 605463"/>
                  <a:gd name="connsiteX57" fmla="*/ 464858 w 605463"/>
                  <a:gd name="connsiteY57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605463" h="605463">
                    <a:moveTo>
                      <a:pt x="302422" y="-240"/>
                    </a:moveTo>
                    <a:cubicBezTo>
                      <a:pt x="286158" y="-240"/>
                      <a:pt x="273031" y="12917"/>
                      <a:pt x="273031" y="29151"/>
                    </a:cubicBezTo>
                    <a:lnTo>
                      <a:pt x="273031" y="72847"/>
                    </a:lnTo>
                    <a:cubicBezTo>
                      <a:pt x="273031" y="89081"/>
                      <a:pt x="286158" y="102238"/>
                      <a:pt x="302422" y="102238"/>
                    </a:cubicBezTo>
                    <a:cubicBezTo>
                      <a:pt x="318686" y="102238"/>
                      <a:pt x="331813" y="89081"/>
                      <a:pt x="331813" y="72847"/>
                    </a:cubicBezTo>
                    <a:lnTo>
                      <a:pt x="331813" y="29151"/>
                    </a:lnTo>
                    <a:cubicBezTo>
                      <a:pt x="331813" y="12917"/>
                      <a:pt x="318686" y="-240"/>
                      <a:pt x="302422" y="-240"/>
                    </a:cubicBezTo>
                    <a:close/>
                    <a:moveTo>
                      <a:pt x="302422" y="502745"/>
                    </a:moveTo>
                    <a:cubicBezTo>
                      <a:pt x="286158" y="502745"/>
                      <a:pt x="273031" y="515903"/>
                      <a:pt x="273031" y="532137"/>
                    </a:cubicBezTo>
                    <a:lnTo>
                      <a:pt x="273031" y="575832"/>
                    </a:lnTo>
                    <a:cubicBezTo>
                      <a:pt x="273031" y="592066"/>
                      <a:pt x="286158" y="605223"/>
                      <a:pt x="302422" y="605223"/>
                    </a:cubicBezTo>
                    <a:cubicBezTo>
                      <a:pt x="318686" y="605223"/>
                      <a:pt x="331813" y="592066"/>
                      <a:pt x="331813" y="575832"/>
                    </a:cubicBezTo>
                    <a:lnTo>
                      <a:pt x="331813" y="532137"/>
                    </a:lnTo>
                    <a:cubicBezTo>
                      <a:pt x="331813" y="515903"/>
                      <a:pt x="318686" y="502745"/>
                      <a:pt x="302422" y="502745"/>
                    </a:cubicBezTo>
                    <a:close/>
                    <a:moveTo>
                      <a:pt x="102169" y="302492"/>
                    </a:moveTo>
                    <a:cubicBezTo>
                      <a:pt x="102169" y="286258"/>
                      <a:pt x="89040" y="273100"/>
                      <a:pt x="72778" y="273100"/>
                    </a:cubicBezTo>
                    <a:lnTo>
                      <a:pt x="29081" y="273100"/>
                    </a:lnTo>
                    <a:cubicBezTo>
                      <a:pt x="12818" y="273100"/>
                      <a:pt x="-310" y="286258"/>
                      <a:pt x="-310" y="302492"/>
                    </a:cubicBezTo>
                    <a:cubicBezTo>
                      <a:pt x="-310" y="318726"/>
                      <a:pt x="12818" y="331883"/>
                      <a:pt x="29081" y="331883"/>
                    </a:cubicBezTo>
                    <a:lnTo>
                      <a:pt x="72778" y="331883"/>
                    </a:lnTo>
                    <a:cubicBezTo>
                      <a:pt x="89040" y="331883"/>
                      <a:pt x="102169" y="318726"/>
                      <a:pt x="102169" y="302492"/>
                    </a:cubicBezTo>
                    <a:close/>
                    <a:moveTo>
                      <a:pt x="575763" y="273100"/>
                    </a:moveTo>
                    <a:lnTo>
                      <a:pt x="532066" y="273100"/>
                    </a:lnTo>
                    <a:cubicBezTo>
                      <a:pt x="515804" y="273100"/>
                      <a:pt x="502675" y="286258"/>
                      <a:pt x="502675" y="302492"/>
                    </a:cubicBezTo>
                    <a:cubicBezTo>
                      <a:pt x="502675" y="318726"/>
                      <a:pt x="515804" y="331883"/>
                      <a:pt x="532066" y="331883"/>
                    </a:cubicBezTo>
                    <a:lnTo>
                      <a:pt x="575763" y="331883"/>
                    </a:lnTo>
                    <a:cubicBezTo>
                      <a:pt x="592026" y="331883"/>
                      <a:pt x="605154" y="318726"/>
                      <a:pt x="605154" y="302492"/>
                    </a:cubicBezTo>
                    <a:cubicBezTo>
                      <a:pt x="605154" y="286258"/>
                      <a:pt x="592026" y="273100"/>
                      <a:pt x="575763" y="273100"/>
                    </a:cubicBezTo>
                    <a:close/>
                    <a:moveTo>
                      <a:pt x="129894" y="88424"/>
                    </a:moveTo>
                    <a:cubicBezTo>
                      <a:pt x="118824" y="76550"/>
                      <a:pt x="100209" y="75894"/>
                      <a:pt x="88355" y="86955"/>
                    </a:cubicBezTo>
                    <a:cubicBezTo>
                      <a:pt x="76499" y="98025"/>
                      <a:pt x="75814" y="116620"/>
                      <a:pt x="86885" y="128494"/>
                    </a:cubicBezTo>
                    <a:cubicBezTo>
                      <a:pt x="87375" y="129004"/>
                      <a:pt x="87864" y="129494"/>
                      <a:pt x="88355" y="129964"/>
                    </a:cubicBezTo>
                    <a:lnTo>
                      <a:pt x="119216" y="160923"/>
                    </a:lnTo>
                    <a:cubicBezTo>
                      <a:pt x="130678" y="172425"/>
                      <a:pt x="149391" y="172425"/>
                      <a:pt x="160854" y="160923"/>
                    </a:cubicBezTo>
                    <a:cubicBezTo>
                      <a:pt x="172316" y="149421"/>
                      <a:pt x="172316" y="130787"/>
                      <a:pt x="160854" y="119285"/>
                    </a:cubicBezTo>
                    <a:close/>
                    <a:moveTo>
                      <a:pt x="485628" y="444061"/>
                    </a:moveTo>
                    <a:cubicBezTo>
                      <a:pt x="474166" y="432559"/>
                      <a:pt x="455453" y="432559"/>
                      <a:pt x="443990" y="444061"/>
                    </a:cubicBezTo>
                    <a:cubicBezTo>
                      <a:pt x="432528" y="455562"/>
                      <a:pt x="432528" y="474196"/>
                      <a:pt x="443990" y="485698"/>
                    </a:cubicBezTo>
                    <a:lnTo>
                      <a:pt x="474950" y="516559"/>
                    </a:lnTo>
                    <a:cubicBezTo>
                      <a:pt x="486413" y="528022"/>
                      <a:pt x="505027" y="528022"/>
                      <a:pt x="516489" y="516559"/>
                    </a:cubicBezTo>
                    <a:cubicBezTo>
                      <a:pt x="527952" y="505087"/>
                      <a:pt x="527952" y="486492"/>
                      <a:pt x="516489" y="475019"/>
                    </a:cubicBezTo>
                    <a:close/>
                    <a:moveTo>
                      <a:pt x="119216" y="444061"/>
                    </a:moveTo>
                    <a:lnTo>
                      <a:pt x="88355" y="475019"/>
                    </a:lnTo>
                    <a:cubicBezTo>
                      <a:pt x="76892" y="486502"/>
                      <a:pt x="76892" y="505116"/>
                      <a:pt x="88355" y="516589"/>
                    </a:cubicBezTo>
                    <a:cubicBezTo>
                      <a:pt x="93840" y="522085"/>
                      <a:pt x="101384" y="525171"/>
                      <a:pt x="109125" y="525181"/>
                    </a:cubicBezTo>
                    <a:cubicBezTo>
                      <a:pt x="116962" y="525171"/>
                      <a:pt x="124407" y="522075"/>
                      <a:pt x="129894" y="516559"/>
                    </a:cubicBezTo>
                    <a:lnTo>
                      <a:pt x="160854" y="485698"/>
                    </a:lnTo>
                    <a:cubicBezTo>
                      <a:pt x="172316" y="474196"/>
                      <a:pt x="172316" y="455562"/>
                      <a:pt x="160854" y="444061"/>
                    </a:cubicBezTo>
                    <a:cubicBezTo>
                      <a:pt x="149391" y="432559"/>
                      <a:pt x="130678" y="432559"/>
                      <a:pt x="119216" y="444061"/>
                    </a:cubicBezTo>
                    <a:close/>
                    <a:moveTo>
                      <a:pt x="464858" y="169740"/>
                    </a:moveTo>
                    <a:cubicBezTo>
                      <a:pt x="472598" y="169760"/>
                      <a:pt x="480142" y="166694"/>
                      <a:pt x="485628" y="161217"/>
                    </a:cubicBezTo>
                    <a:lnTo>
                      <a:pt x="516489" y="130258"/>
                    </a:lnTo>
                    <a:cubicBezTo>
                      <a:pt x="528345" y="119187"/>
                      <a:pt x="529030" y="100592"/>
                      <a:pt x="517959" y="88718"/>
                    </a:cubicBezTo>
                    <a:cubicBezTo>
                      <a:pt x="506888" y="76844"/>
                      <a:pt x="488273" y="76187"/>
                      <a:pt x="476419" y="87248"/>
                    </a:cubicBezTo>
                    <a:cubicBezTo>
                      <a:pt x="475929" y="87719"/>
                      <a:pt x="475440" y="88208"/>
                      <a:pt x="474950" y="88718"/>
                    </a:cubicBezTo>
                    <a:lnTo>
                      <a:pt x="443990" y="119579"/>
                    </a:lnTo>
                    <a:cubicBezTo>
                      <a:pt x="432528" y="131061"/>
                      <a:pt x="432528" y="149676"/>
                      <a:pt x="443990" y="161148"/>
                    </a:cubicBezTo>
                    <a:cubicBezTo>
                      <a:pt x="449575" y="166664"/>
                      <a:pt x="457021" y="169760"/>
                      <a:pt x="464858" y="1697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0" name="Полилиния: фигура 75">
              <a:extLst>
                <a:ext uri="{FF2B5EF4-FFF2-40B4-BE49-F238E27FC236}">
                  <a16:creationId xmlns:a16="http://schemas.microsoft.com/office/drawing/2014/main" id="{81F99469-47F3-5E7C-6CA4-6DCEB846CA29}"/>
                </a:ext>
              </a:extLst>
            </p:cNvPr>
            <p:cNvSpPr/>
            <p:nvPr/>
          </p:nvSpPr>
          <p:spPr>
            <a:xfrm>
              <a:off x="6926011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Полилиния: фигура 76">
              <a:extLst>
                <a:ext uri="{FF2B5EF4-FFF2-40B4-BE49-F238E27FC236}">
                  <a16:creationId xmlns:a16="http://schemas.microsoft.com/office/drawing/2014/main" id="{7AE61898-43E7-4DE4-6129-B22B7D9A3DC4}"/>
                </a:ext>
              </a:extLst>
            </p:cNvPr>
            <p:cNvSpPr/>
            <p:nvPr/>
          </p:nvSpPr>
          <p:spPr>
            <a:xfrm>
              <a:off x="6436154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Полилиния: фигура 77">
              <a:extLst>
                <a:ext uri="{FF2B5EF4-FFF2-40B4-BE49-F238E27FC236}">
                  <a16:creationId xmlns:a16="http://schemas.microsoft.com/office/drawing/2014/main" id="{547CF65D-CEAE-C352-5A85-FFF9189150B5}"/>
                </a:ext>
              </a:extLst>
            </p:cNvPr>
            <p:cNvSpPr/>
            <p:nvPr/>
          </p:nvSpPr>
          <p:spPr>
            <a:xfrm>
              <a:off x="6926011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Полилиния: фигура 78">
              <a:extLst>
                <a:ext uri="{FF2B5EF4-FFF2-40B4-BE49-F238E27FC236}">
                  <a16:creationId xmlns:a16="http://schemas.microsoft.com/office/drawing/2014/main" id="{23CAF896-8BE7-B71B-77DA-6D0B1FB876E5}"/>
                </a:ext>
              </a:extLst>
            </p:cNvPr>
            <p:cNvSpPr/>
            <p:nvPr/>
          </p:nvSpPr>
          <p:spPr>
            <a:xfrm>
              <a:off x="6681083" y="367417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Полилиния: фигура 79">
              <a:extLst>
                <a:ext uri="{FF2B5EF4-FFF2-40B4-BE49-F238E27FC236}">
                  <a16:creationId xmlns:a16="http://schemas.microsoft.com/office/drawing/2014/main" id="{2B37F7E8-E89D-8459-5373-131DADF7A792}"/>
                </a:ext>
              </a:extLst>
            </p:cNvPr>
            <p:cNvSpPr/>
            <p:nvPr/>
          </p:nvSpPr>
          <p:spPr>
            <a:xfrm>
              <a:off x="6436154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Полилиния: фигура 81">
              <a:extLst>
                <a:ext uri="{FF2B5EF4-FFF2-40B4-BE49-F238E27FC236}">
                  <a16:creationId xmlns:a16="http://schemas.microsoft.com/office/drawing/2014/main" id="{C1A6FAE4-111D-E1CF-5EA3-53F0E6708016}"/>
                </a:ext>
              </a:extLst>
            </p:cNvPr>
            <p:cNvSpPr/>
            <p:nvPr/>
          </p:nvSpPr>
          <p:spPr>
            <a:xfrm rot="5400000">
              <a:off x="11210613" y="-2508"/>
              <a:ext cx="978877" cy="98389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Полилиния: фигура 82">
              <a:extLst>
                <a:ext uri="{FF2B5EF4-FFF2-40B4-BE49-F238E27FC236}">
                  <a16:creationId xmlns:a16="http://schemas.microsoft.com/office/drawing/2014/main" id="{09EB9843-1497-0BF8-D6D3-8895C82F1CFF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Полилиния: фигура 83">
              <a:extLst>
                <a:ext uri="{FF2B5EF4-FFF2-40B4-BE49-F238E27FC236}">
                  <a16:creationId xmlns:a16="http://schemas.microsoft.com/office/drawing/2014/main" id="{A7960E16-D3C6-7C19-B284-9D6891D41091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Полилиния: фигура 84">
              <a:extLst>
                <a:ext uri="{FF2B5EF4-FFF2-40B4-BE49-F238E27FC236}">
                  <a16:creationId xmlns:a16="http://schemas.microsoft.com/office/drawing/2014/main" id="{7E7243CA-C318-CFBD-752B-3ECB9C85005E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Полилиния: фигура 85">
              <a:extLst>
                <a:ext uri="{FF2B5EF4-FFF2-40B4-BE49-F238E27FC236}">
                  <a16:creationId xmlns:a16="http://schemas.microsoft.com/office/drawing/2014/main" id="{C0D6D19C-8414-5B25-9FF2-68CCA3C32376}"/>
                </a:ext>
              </a:extLst>
            </p:cNvPr>
            <p:cNvSpPr/>
            <p:nvPr/>
          </p:nvSpPr>
          <p:spPr>
            <a:xfrm>
              <a:off x="10477475" y="122466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Полилиния: фигура 87">
              <a:extLst>
                <a:ext uri="{FF2B5EF4-FFF2-40B4-BE49-F238E27FC236}">
                  <a16:creationId xmlns:a16="http://schemas.microsoft.com/office/drawing/2014/main" id="{9318107F-7C68-343C-164E-A2DABF4D6B11}"/>
                </a:ext>
              </a:extLst>
            </p:cNvPr>
            <p:cNvSpPr/>
            <p:nvPr/>
          </p:nvSpPr>
          <p:spPr>
            <a:xfrm rot="5400000">
              <a:off x="1121212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Полилиния: фигура 91">
              <a:extLst>
                <a:ext uri="{FF2B5EF4-FFF2-40B4-BE49-F238E27FC236}">
                  <a16:creationId xmlns:a16="http://schemas.microsoft.com/office/drawing/2014/main" id="{8F76CF08-4CE0-BDAB-FAC1-DEA5A1118CE7}"/>
                </a:ext>
              </a:extLst>
            </p:cNvPr>
            <p:cNvSpPr/>
            <p:nvPr/>
          </p:nvSpPr>
          <p:spPr>
            <a:xfrm>
              <a:off x="1144945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2" name="Группа 136">
              <a:extLst>
                <a:ext uri="{FF2B5EF4-FFF2-40B4-BE49-F238E27FC236}">
                  <a16:creationId xmlns:a16="http://schemas.microsoft.com/office/drawing/2014/main" id="{4748D860-3CD8-49C3-3166-E2B8CE443A34}"/>
                </a:ext>
              </a:extLst>
            </p:cNvPr>
            <p:cNvGrpSpPr/>
            <p:nvPr/>
          </p:nvGrpSpPr>
          <p:grpSpPr>
            <a:xfrm>
              <a:off x="11393801" y="1597449"/>
              <a:ext cx="523658" cy="198686"/>
              <a:chOff x="11393801" y="1597449"/>
              <a:chExt cx="523658" cy="198686"/>
            </a:xfrm>
          </p:grpSpPr>
          <p:sp>
            <p:nvSpPr>
              <p:cNvPr id="238" name="Полилиния: фигура 90">
                <a:extLst>
                  <a:ext uri="{FF2B5EF4-FFF2-40B4-BE49-F238E27FC236}">
                    <a16:creationId xmlns:a16="http://schemas.microsoft.com/office/drawing/2014/main" id="{33AE071A-B5EC-184F-2257-0BE906262B02}"/>
                  </a:ext>
                </a:extLst>
              </p:cNvPr>
              <p:cNvSpPr/>
              <p:nvPr userDrawn="1"/>
            </p:nvSpPr>
            <p:spPr>
              <a:xfrm>
                <a:off x="11393801" y="1597449"/>
                <a:ext cx="300576" cy="198686"/>
              </a:xfrm>
              <a:custGeom>
                <a:avLst/>
                <a:gdLst>
                  <a:gd name="connsiteX0" fmla="*/ -310 w 300576"/>
                  <a:gd name="connsiteY0" fmla="*/ -240 h 198686"/>
                  <a:gd name="connsiteX1" fmla="*/ 300267 w 300576"/>
                  <a:gd name="connsiteY1" fmla="*/ 198446 h 198686"/>
                  <a:gd name="connsiteX2" fmla="*/ -310 w 300576"/>
                  <a:gd name="connsiteY2" fmla="*/ -240 h 19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576" h="198686">
                    <a:moveTo>
                      <a:pt x="-310" y="-240"/>
                    </a:moveTo>
                    <a:cubicBezTo>
                      <a:pt x="51028" y="120255"/>
                      <a:pt x="169279" y="198466"/>
                      <a:pt x="300267" y="198446"/>
                    </a:cubicBezTo>
                    <a:cubicBezTo>
                      <a:pt x="248930" y="77951"/>
                      <a:pt x="130678" y="-259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Полилиния: фигура 92">
                <a:extLst>
                  <a:ext uri="{FF2B5EF4-FFF2-40B4-BE49-F238E27FC236}">
                    <a16:creationId xmlns:a16="http://schemas.microsoft.com/office/drawing/2014/main" id="{7F605E93-15E8-0197-4A45-5CB6613358C5}"/>
                  </a:ext>
                </a:extLst>
              </p:cNvPr>
              <p:cNvSpPr/>
              <p:nvPr userDrawn="1"/>
            </p:nvSpPr>
            <p:spPr>
              <a:xfrm>
                <a:off x="11694378" y="1652509"/>
                <a:ext cx="223081" cy="143625"/>
              </a:xfrm>
              <a:custGeom>
                <a:avLst/>
                <a:gdLst>
                  <a:gd name="connsiteX0" fmla="*/ -310 w 223081"/>
                  <a:gd name="connsiteY0" fmla="*/ 143386 h 143625"/>
                  <a:gd name="connsiteX1" fmla="*/ 222771 w 223081"/>
                  <a:gd name="connsiteY1" fmla="*/ -240 h 143625"/>
                  <a:gd name="connsiteX2" fmla="*/ -310 w 223081"/>
                  <a:gd name="connsiteY2" fmla="*/ 143386 h 14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081" h="143625">
                    <a:moveTo>
                      <a:pt x="-310" y="143386"/>
                    </a:moveTo>
                    <a:cubicBezTo>
                      <a:pt x="95801" y="143415"/>
                      <a:pt x="182994" y="87248"/>
                      <a:pt x="222771" y="-240"/>
                    </a:cubicBezTo>
                    <a:cubicBezTo>
                      <a:pt x="126661" y="-270"/>
                      <a:pt x="39467" y="55897"/>
                      <a:pt x="-310" y="143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" name="Полилиния: фигура 89">
              <a:extLst>
                <a:ext uri="{FF2B5EF4-FFF2-40B4-BE49-F238E27FC236}">
                  <a16:creationId xmlns:a16="http://schemas.microsoft.com/office/drawing/2014/main" id="{54DC7FAB-EE34-8839-AD62-9DFA1B0EDFB3}"/>
                </a:ext>
              </a:extLst>
            </p:cNvPr>
            <p:cNvSpPr/>
            <p:nvPr/>
          </p:nvSpPr>
          <p:spPr>
            <a:xfrm>
              <a:off x="1157191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Полилиния: фигура 94">
              <a:extLst>
                <a:ext uri="{FF2B5EF4-FFF2-40B4-BE49-F238E27FC236}">
                  <a16:creationId xmlns:a16="http://schemas.microsoft.com/office/drawing/2014/main" id="{07126D8E-FA74-0C18-3599-8D18AC06DC1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Полилиния: фигура 95">
              <a:extLst>
                <a:ext uri="{FF2B5EF4-FFF2-40B4-BE49-F238E27FC236}">
                  <a16:creationId xmlns:a16="http://schemas.microsoft.com/office/drawing/2014/main" id="{9A1A78D4-29DC-474D-98E7-A92F4B0A90CD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Полилиния: фигура 96">
              <a:extLst>
                <a:ext uri="{FF2B5EF4-FFF2-40B4-BE49-F238E27FC236}">
                  <a16:creationId xmlns:a16="http://schemas.microsoft.com/office/drawing/2014/main" id="{D6A7AA67-C7B4-4520-EBCD-AF8BE1AD1198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Полилиния: фигура 97">
              <a:extLst>
                <a:ext uri="{FF2B5EF4-FFF2-40B4-BE49-F238E27FC236}">
                  <a16:creationId xmlns:a16="http://schemas.microsoft.com/office/drawing/2014/main" id="{D20415EB-ED5E-5235-0EAE-2EAF652432C0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Полилиния: фигура 99">
              <a:extLst>
                <a:ext uri="{FF2B5EF4-FFF2-40B4-BE49-F238E27FC236}">
                  <a16:creationId xmlns:a16="http://schemas.microsoft.com/office/drawing/2014/main" id="{152FC6B9-D657-0563-6A0C-099048BB738D}"/>
                </a:ext>
              </a:extLst>
            </p:cNvPr>
            <p:cNvSpPr/>
            <p:nvPr/>
          </p:nvSpPr>
          <p:spPr>
            <a:xfrm>
              <a:off x="8886079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Полилиния: фигура 100">
              <a:extLst>
                <a:ext uri="{FF2B5EF4-FFF2-40B4-BE49-F238E27FC236}">
                  <a16:creationId xmlns:a16="http://schemas.microsoft.com/office/drawing/2014/main" id="{68FA2434-9773-3100-E7E8-ABFD1A4CE02B}"/>
                </a:ext>
              </a:extLst>
            </p:cNvPr>
            <p:cNvSpPr/>
            <p:nvPr/>
          </p:nvSpPr>
          <p:spPr>
            <a:xfrm>
              <a:off x="8396222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Полилиния: фигура 101">
              <a:extLst>
                <a:ext uri="{FF2B5EF4-FFF2-40B4-BE49-F238E27FC236}">
                  <a16:creationId xmlns:a16="http://schemas.microsoft.com/office/drawing/2014/main" id="{98DB10FD-4F0D-930E-0BEB-87ED4C7A2599}"/>
                </a:ext>
              </a:extLst>
            </p:cNvPr>
            <p:cNvSpPr/>
            <p:nvPr/>
          </p:nvSpPr>
          <p:spPr>
            <a:xfrm>
              <a:off x="8886079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Полилиния: фигура 102">
              <a:extLst>
                <a:ext uri="{FF2B5EF4-FFF2-40B4-BE49-F238E27FC236}">
                  <a16:creationId xmlns:a16="http://schemas.microsoft.com/office/drawing/2014/main" id="{804A6F9D-B6D0-ABAE-F6D4-C39115C3EE49}"/>
                </a:ext>
              </a:extLst>
            </p:cNvPr>
            <p:cNvSpPr/>
            <p:nvPr/>
          </p:nvSpPr>
          <p:spPr>
            <a:xfrm>
              <a:off x="8641150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Полилиния: фигура 103">
              <a:extLst>
                <a:ext uri="{FF2B5EF4-FFF2-40B4-BE49-F238E27FC236}">
                  <a16:creationId xmlns:a16="http://schemas.microsoft.com/office/drawing/2014/main" id="{DBE9AE2F-8403-94CC-6FA2-45F66F486747}"/>
                </a:ext>
              </a:extLst>
            </p:cNvPr>
            <p:cNvSpPr/>
            <p:nvPr/>
          </p:nvSpPr>
          <p:spPr>
            <a:xfrm>
              <a:off x="8396222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Полилиния: фигура 105">
              <a:extLst>
                <a:ext uri="{FF2B5EF4-FFF2-40B4-BE49-F238E27FC236}">
                  <a16:creationId xmlns:a16="http://schemas.microsoft.com/office/drawing/2014/main" id="{221F817F-7EC3-54E3-C932-F09C8401708B}"/>
                </a:ext>
              </a:extLst>
            </p:cNvPr>
            <p:cNvSpPr/>
            <p:nvPr userDrawn="1"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Полилиния: фигура 106">
              <a:extLst>
                <a:ext uri="{FF2B5EF4-FFF2-40B4-BE49-F238E27FC236}">
                  <a16:creationId xmlns:a16="http://schemas.microsoft.com/office/drawing/2014/main" id="{CF9A9883-D805-017B-FC4D-85501BEA2102}"/>
                </a:ext>
              </a:extLst>
            </p:cNvPr>
            <p:cNvSpPr/>
            <p:nvPr userDrawn="1"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Полилиния: фигура 107">
              <a:extLst>
                <a:ext uri="{FF2B5EF4-FFF2-40B4-BE49-F238E27FC236}">
                  <a16:creationId xmlns:a16="http://schemas.microsoft.com/office/drawing/2014/main" id="{DC063878-F546-B7EE-03D8-FB173F2E2DC5}"/>
                </a:ext>
              </a:extLst>
            </p:cNvPr>
            <p:cNvSpPr/>
            <p:nvPr userDrawn="1"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Полилиния: фигура 108">
              <a:extLst>
                <a:ext uri="{FF2B5EF4-FFF2-40B4-BE49-F238E27FC236}">
                  <a16:creationId xmlns:a16="http://schemas.microsoft.com/office/drawing/2014/main" id="{B1DD7367-C17C-4447-675A-13AE0E3EAFE8}"/>
                </a:ext>
              </a:extLst>
            </p:cNvPr>
            <p:cNvSpPr/>
            <p:nvPr userDrawn="1"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Полилиния: фигура 110">
              <a:extLst>
                <a:ext uri="{FF2B5EF4-FFF2-40B4-BE49-F238E27FC236}">
                  <a16:creationId xmlns:a16="http://schemas.microsoft.com/office/drawing/2014/main" id="{11C01802-A229-F95E-4D88-5A0B0E4362C3}"/>
                </a:ext>
              </a:extLst>
            </p:cNvPr>
            <p:cNvSpPr/>
            <p:nvPr/>
          </p:nvSpPr>
          <p:spPr>
            <a:xfrm rot="16200000">
              <a:off x="10229248" y="1955232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Полилиния: фигура 111">
              <a:extLst>
                <a:ext uri="{FF2B5EF4-FFF2-40B4-BE49-F238E27FC236}">
                  <a16:creationId xmlns:a16="http://schemas.microsoft.com/office/drawing/2014/main" id="{4CF64195-5C84-6E06-EA28-632701FF62FA}"/>
                </a:ext>
              </a:extLst>
            </p:cNvPr>
            <p:cNvSpPr/>
            <p:nvPr/>
          </p:nvSpPr>
          <p:spPr>
            <a:xfrm>
              <a:off x="10218043" y="2449310"/>
              <a:ext cx="499188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Полилиния: фигура 112">
              <a:extLst>
                <a:ext uri="{FF2B5EF4-FFF2-40B4-BE49-F238E27FC236}">
                  <a16:creationId xmlns:a16="http://schemas.microsoft.com/office/drawing/2014/main" id="{A232DDF6-FFE9-4A7C-95FA-78B6B0B68787}"/>
                </a:ext>
              </a:extLst>
            </p:cNvPr>
            <p:cNvSpPr/>
            <p:nvPr/>
          </p:nvSpPr>
          <p:spPr>
            <a:xfrm>
              <a:off x="10218043" y="1956342"/>
              <a:ext cx="499188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Полилиния: фигура 113">
              <a:extLst>
                <a:ext uri="{FF2B5EF4-FFF2-40B4-BE49-F238E27FC236}">
                  <a16:creationId xmlns:a16="http://schemas.microsoft.com/office/drawing/2014/main" id="{F87E652F-7893-9F92-6C7A-03C586308241}"/>
                </a:ext>
              </a:extLst>
            </p:cNvPr>
            <p:cNvSpPr/>
            <p:nvPr/>
          </p:nvSpPr>
          <p:spPr>
            <a:xfrm>
              <a:off x="10722404" y="195634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Полилиния: фигура 114">
              <a:extLst>
                <a:ext uri="{FF2B5EF4-FFF2-40B4-BE49-F238E27FC236}">
                  <a16:creationId xmlns:a16="http://schemas.microsoft.com/office/drawing/2014/main" id="{E52A84F5-A190-3CBA-533E-1D627B7406C3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Полилиния: фигура 116">
              <a:extLst>
                <a:ext uri="{FF2B5EF4-FFF2-40B4-BE49-F238E27FC236}">
                  <a16:creationId xmlns:a16="http://schemas.microsoft.com/office/drawing/2014/main" id="{8020401A-CB1E-7102-5C24-F4A4AA6155A6}"/>
                </a:ext>
              </a:extLst>
            </p:cNvPr>
            <p:cNvSpPr/>
            <p:nvPr/>
          </p:nvSpPr>
          <p:spPr>
            <a:xfrm rot="16200000">
              <a:off x="10229248" y="2927837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3" name="Группа 142">
              <a:extLst>
                <a:ext uri="{FF2B5EF4-FFF2-40B4-BE49-F238E27FC236}">
                  <a16:creationId xmlns:a16="http://schemas.microsoft.com/office/drawing/2014/main" id="{55BFAE82-8F16-9F3B-4729-653EB69CB0F7}"/>
                </a:ext>
              </a:extLst>
            </p:cNvPr>
            <p:cNvGrpSpPr/>
            <p:nvPr/>
          </p:nvGrpSpPr>
          <p:grpSpPr>
            <a:xfrm>
              <a:off x="10562417" y="3072801"/>
              <a:ext cx="240030" cy="160281"/>
              <a:chOff x="10562417" y="3072801"/>
              <a:chExt cx="240030" cy="160281"/>
            </a:xfrm>
          </p:grpSpPr>
          <p:sp>
            <p:nvSpPr>
              <p:cNvPr id="236" name="Полилиния: фигура 117">
                <a:extLst>
                  <a:ext uri="{FF2B5EF4-FFF2-40B4-BE49-F238E27FC236}">
                    <a16:creationId xmlns:a16="http://schemas.microsoft.com/office/drawing/2014/main" id="{A881E735-97A3-0633-9C8E-4D7471867FE6}"/>
                  </a:ext>
                </a:extLst>
              </p:cNvPr>
              <p:cNvSpPr/>
              <p:nvPr userDrawn="1"/>
            </p:nvSpPr>
            <p:spPr>
              <a:xfrm>
                <a:off x="10722404" y="3152843"/>
                <a:ext cx="80043" cy="80238"/>
              </a:xfrm>
              <a:custGeom>
                <a:avLst/>
                <a:gdLst>
                  <a:gd name="connsiteX0" fmla="*/ 79733 w 80043"/>
                  <a:gd name="connsiteY0" fmla="*/ -240 h 80238"/>
                  <a:gd name="connsiteX1" fmla="*/ -310 w 80043"/>
                  <a:gd name="connsiteY1" fmla="*/ 79607 h 80238"/>
                  <a:gd name="connsiteX2" fmla="*/ -310 w 80043"/>
                  <a:gd name="connsiteY2" fmla="*/ 79999 h 80238"/>
                  <a:gd name="connsiteX3" fmla="*/ 79733 w 80043"/>
                  <a:gd name="connsiteY3" fmla="*/ 152 h 80238"/>
                  <a:gd name="connsiteX4" fmla="*/ 79733 w 80043"/>
                  <a:gd name="connsiteY4" fmla="*/ -240 h 8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43" h="80238">
                    <a:moveTo>
                      <a:pt x="79733" y="-240"/>
                    </a:moveTo>
                    <a:cubicBezTo>
                      <a:pt x="35548" y="-299"/>
                      <a:pt x="-212" y="35451"/>
                      <a:pt x="-310" y="79607"/>
                    </a:cubicBezTo>
                    <a:cubicBezTo>
                      <a:pt x="-310" y="79734"/>
                      <a:pt x="-310" y="79871"/>
                      <a:pt x="-310" y="79999"/>
                    </a:cubicBezTo>
                    <a:cubicBezTo>
                      <a:pt x="43875" y="80057"/>
                      <a:pt x="79635" y="44308"/>
                      <a:pt x="79733" y="152"/>
                    </a:cubicBezTo>
                    <a:cubicBezTo>
                      <a:pt x="79733" y="24"/>
                      <a:pt x="79733" y="-113"/>
                      <a:pt x="79733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Полилиния: фигура 118">
                <a:extLst>
                  <a:ext uri="{FF2B5EF4-FFF2-40B4-BE49-F238E27FC236}">
                    <a16:creationId xmlns:a16="http://schemas.microsoft.com/office/drawing/2014/main" id="{DB7BD1C1-1207-FF95-3C79-C6385CC944E7}"/>
                  </a:ext>
                </a:extLst>
              </p:cNvPr>
              <p:cNvSpPr/>
              <p:nvPr userDrawn="1"/>
            </p:nvSpPr>
            <p:spPr>
              <a:xfrm>
                <a:off x="10562417" y="3072801"/>
                <a:ext cx="159987" cy="160281"/>
              </a:xfrm>
              <a:custGeom>
                <a:avLst/>
                <a:gdLst>
                  <a:gd name="connsiteX0" fmla="*/ -310 w 159987"/>
                  <a:gd name="connsiteY0" fmla="*/ -240 h 160281"/>
                  <a:gd name="connsiteX1" fmla="*/ 159383 w 159987"/>
                  <a:gd name="connsiteY1" fmla="*/ 160041 h 160281"/>
                  <a:gd name="connsiteX2" fmla="*/ 159677 w 159987"/>
                  <a:gd name="connsiteY2" fmla="*/ 160041 h 160281"/>
                  <a:gd name="connsiteX3" fmla="*/ -17 w 159987"/>
                  <a:gd name="connsiteY3" fmla="*/ -240 h 160281"/>
                  <a:gd name="connsiteX4" fmla="*/ -310 w 159987"/>
                  <a:gd name="connsiteY4" fmla="*/ -240 h 1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987" h="160281">
                    <a:moveTo>
                      <a:pt x="-310" y="-240"/>
                    </a:moveTo>
                    <a:cubicBezTo>
                      <a:pt x="-506" y="88120"/>
                      <a:pt x="71013" y="159874"/>
                      <a:pt x="159383" y="160041"/>
                    </a:cubicBezTo>
                    <a:cubicBezTo>
                      <a:pt x="159481" y="160041"/>
                      <a:pt x="159579" y="160041"/>
                      <a:pt x="159677" y="160041"/>
                    </a:cubicBezTo>
                    <a:cubicBezTo>
                      <a:pt x="159873" y="71681"/>
                      <a:pt x="88354" y="-74"/>
                      <a:pt x="-17" y="-240"/>
                    </a:cubicBezTo>
                    <a:cubicBezTo>
                      <a:pt x="-115" y="-240"/>
                      <a:pt x="-212" y="-240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4" name="Полилиния: фигура 119">
              <a:extLst>
                <a:ext uri="{FF2B5EF4-FFF2-40B4-BE49-F238E27FC236}">
                  <a16:creationId xmlns:a16="http://schemas.microsoft.com/office/drawing/2014/main" id="{9AB5CFF2-BC5D-D96E-96E9-9F3FEBE273D3}"/>
                </a:ext>
              </a:extLst>
            </p:cNvPr>
            <p:cNvSpPr/>
            <p:nvPr/>
          </p:nvSpPr>
          <p:spPr>
            <a:xfrm>
              <a:off x="10579947" y="3232812"/>
              <a:ext cx="284927" cy="503156"/>
            </a:xfrm>
            <a:custGeom>
              <a:avLst/>
              <a:gdLst>
                <a:gd name="connsiteX0" fmla="*/ 142147 w 284927"/>
                <a:gd name="connsiteY0" fmla="*/ 502917 h 503156"/>
                <a:gd name="connsiteX1" fmla="*/ 284206 w 284927"/>
                <a:gd name="connsiteY1" fmla="*/ 134152 h 503156"/>
                <a:gd name="connsiteX2" fmla="*/ 89 w 284927"/>
                <a:gd name="connsiteY2" fmla="*/ 134152 h 503156"/>
                <a:gd name="connsiteX3" fmla="*/ 142147 w 284927"/>
                <a:gd name="connsiteY3" fmla="*/ 502917 h 5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27" h="503156">
                  <a:moveTo>
                    <a:pt x="142147" y="502917"/>
                  </a:moveTo>
                  <a:cubicBezTo>
                    <a:pt x="238355" y="404857"/>
                    <a:pt x="289790" y="271410"/>
                    <a:pt x="284206" y="134152"/>
                  </a:cubicBezTo>
                  <a:cubicBezTo>
                    <a:pt x="277543" y="-45037"/>
                    <a:pt x="6848" y="-45037"/>
                    <a:pt x="89" y="134152"/>
                  </a:cubicBezTo>
                  <a:cubicBezTo>
                    <a:pt x="-5398" y="271400"/>
                    <a:pt x="45940" y="404837"/>
                    <a:pt x="142147" y="502917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Полилиния: фигура 121">
              <a:extLst>
                <a:ext uri="{FF2B5EF4-FFF2-40B4-BE49-F238E27FC236}">
                  <a16:creationId xmlns:a16="http://schemas.microsoft.com/office/drawing/2014/main" id="{5724ABB9-23F9-557B-640F-4EDA08185EA2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Полилиния: фигура 122">
              <a:extLst>
                <a:ext uri="{FF2B5EF4-FFF2-40B4-BE49-F238E27FC236}">
                  <a16:creationId xmlns:a16="http://schemas.microsoft.com/office/drawing/2014/main" id="{2E6D9482-2CA0-8F16-ADC6-1839E26E999F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Полилиния: фигура 123">
              <a:extLst>
                <a:ext uri="{FF2B5EF4-FFF2-40B4-BE49-F238E27FC236}">
                  <a16:creationId xmlns:a16="http://schemas.microsoft.com/office/drawing/2014/main" id="{32880002-40DF-0E72-E8B9-259EBD329D29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Полилиния: фигура 125">
              <a:extLst>
                <a:ext uri="{FF2B5EF4-FFF2-40B4-BE49-F238E27FC236}">
                  <a16:creationId xmlns:a16="http://schemas.microsoft.com/office/drawing/2014/main" id="{7C23478D-CA78-9564-4653-E6EE3B7F9873}"/>
                </a:ext>
              </a:extLst>
            </p:cNvPr>
            <p:cNvSpPr/>
            <p:nvPr/>
          </p:nvSpPr>
          <p:spPr>
            <a:xfrm>
              <a:off x="11701548" y="440093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Полилиния: фигура 126">
              <a:extLst>
                <a:ext uri="{FF2B5EF4-FFF2-40B4-BE49-F238E27FC236}">
                  <a16:creationId xmlns:a16="http://schemas.microsoft.com/office/drawing/2014/main" id="{880455E5-D941-01B7-2E0B-428B3E1168AF}"/>
                </a:ext>
              </a:extLst>
            </p:cNvPr>
            <p:cNvSpPr/>
            <p:nvPr/>
          </p:nvSpPr>
          <p:spPr>
            <a:xfrm>
              <a:off x="11211691" y="391107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Полилиния: фигура 127">
              <a:extLst>
                <a:ext uri="{FF2B5EF4-FFF2-40B4-BE49-F238E27FC236}">
                  <a16:creationId xmlns:a16="http://schemas.microsoft.com/office/drawing/2014/main" id="{97F171CD-74ED-E86B-FCA3-2D8AB57BCA8F}"/>
                </a:ext>
              </a:extLst>
            </p:cNvPr>
            <p:cNvSpPr/>
            <p:nvPr/>
          </p:nvSpPr>
          <p:spPr>
            <a:xfrm>
              <a:off x="11701548" y="391107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Полилиния: фигура 128">
              <a:extLst>
                <a:ext uri="{FF2B5EF4-FFF2-40B4-BE49-F238E27FC236}">
                  <a16:creationId xmlns:a16="http://schemas.microsoft.com/office/drawing/2014/main" id="{6B5C7B98-9AF3-A3C5-CC56-1F8415A3BBFA}"/>
                </a:ext>
              </a:extLst>
            </p:cNvPr>
            <p:cNvSpPr/>
            <p:nvPr/>
          </p:nvSpPr>
          <p:spPr>
            <a:xfrm>
              <a:off x="11211691" y="440093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Полилиния: фигура 130">
              <a:extLst>
                <a:ext uri="{FF2B5EF4-FFF2-40B4-BE49-F238E27FC236}">
                  <a16:creationId xmlns:a16="http://schemas.microsoft.com/office/drawing/2014/main" id="{E7E3018D-75B7-25D3-F819-65B4866C5B11}"/>
                </a:ext>
              </a:extLst>
            </p:cNvPr>
            <p:cNvSpPr/>
            <p:nvPr/>
          </p:nvSpPr>
          <p:spPr>
            <a:xfrm>
              <a:off x="7564294" y="1321178"/>
              <a:ext cx="437931" cy="274907"/>
            </a:xfrm>
            <a:custGeom>
              <a:avLst/>
              <a:gdLst>
                <a:gd name="connsiteX0" fmla="*/ 297270 w 437931"/>
                <a:gd name="connsiteY0" fmla="*/ 274668 h 274907"/>
                <a:gd name="connsiteX1" fmla="*/ 134245 w 437931"/>
                <a:gd name="connsiteY1" fmla="*/ 274668 h 274907"/>
                <a:gd name="connsiteX2" fmla="*/ -3207 w 437931"/>
                <a:gd name="connsiteY2" fmla="*/ 137214 h 274907"/>
                <a:gd name="connsiteX3" fmla="*/ 134245 w 437931"/>
                <a:gd name="connsiteY3" fmla="*/ -240 h 274907"/>
                <a:gd name="connsiteX4" fmla="*/ 297270 w 437931"/>
                <a:gd name="connsiteY4" fmla="*/ -240 h 274907"/>
                <a:gd name="connsiteX5" fmla="*/ 434725 w 437931"/>
                <a:gd name="connsiteY5" fmla="*/ 137214 h 274907"/>
                <a:gd name="connsiteX6" fmla="*/ 297270 w 437931"/>
                <a:gd name="connsiteY6" fmla="*/ 274668 h 27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931" h="274907">
                  <a:moveTo>
                    <a:pt x="297270" y="274668"/>
                  </a:moveTo>
                  <a:lnTo>
                    <a:pt x="134245" y="274668"/>
                  </a:lnTo>
                  <a:cubicBezTo>
                    <a:pt x="58317" y="274668"/>
                    <a:pt x="-3207" y="213132"/>
                    <a:pt x="-3207" y="137214"/>
                  </a:cubicBezTo>
                  <a:cubicBezTo>
                    <a:pt x="-3207" y="61296"/>
                    <a:pt x="58317" y="-240"/>
                    <a:pt x="134245" y="-240"/>
                  </a:cubicBezTo>
                  <a:lnTo>
                    <a:pt x="297270" y="-240"/>
                  </a:lnTo>
                  <a:cubicBezTo>
                    <a:pt x="373198" y="-240"/>
                    <a:pt x="434725" y="61296"/>
                    <a:pt x="434725" y="137214"/>
                  </a:cubicBezTo>
                  <a:cubicBezTo>
                    <a:pt x="434725" y="213132"/>
                    <a:pt x="373198" y="274668"/>
                    <a:pt x="297270" y="274668"/>
                  </a:cubicBezTo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3" name="Группа 139">
              <a:extLst>
                <a:ext uri="{FF2B5EF4-FFF2-40B4-BE49-F238E27FC236}">
                  <a16:creationId xmlns:a16="http://schemas.microsoft.com/office/drawing/2014/main" id="{C1B504CE-0FB3-5DDF-21DE-5E26A943F780}"/>
                </a:ext>
              </a:extLst>
            </p:cNvPr>
            <p:cNvGrpSpPr/>
            <p:nvPr/>
          </p:nvGrpSpPr>
          <p:grpSpPr>
            <a:xfrm>
              <a:off x="7431641" y="1321766"/>
              <a:ext cx="703239" cy="274320"/>
              <a:chOff x="7431641" y="1321766"/>
              <a:chExt cx="703239" cy="274320"/>
            </a:xfrm>
          </p:grpSpPr>
          <p:sp>
            <p:nvSpPr>
              <p:cNvPr id="234" name="Полилиния: фигура 131">
                <a:extLst>
                  <a:ext uri="{FF2B5EF4-FFF2-40B4-BE49-F238E27FC236}">
                    <a16:creationId xmlns:a16="http://schemas.microsoft.com/office/drawing/2014/main" id="{50082B8F-F977-7DDB-6F97-4532406ECC27}"/>
                  </a:ext>
                </a:extLst>
              </p:cNvPr>
              <p:cNvSpPr/>
              <p:nvPr userDrawn="1"/>
            </p:nvSpPr>
            <p:spPr>
              <a:xfrm>
                <a:off x="7997720" y="1321766"/>
                <a:ext cx="137160" cy="274320"/>
              </a:xfrm>
              <a:custGeom>
                <a:avLst/>
                <a:gdLst>
                  <a:gd name="connsiteX0" fmla="*/ 133953 w 137160"/>
                  <a:gd name="connsiteY0" fmla="*/ -240 h 274320"/>
                  <a:gd name="connsiteX1" fmla="*/ -3207 w 137160"/>
                  <a:gd name="connsiteY1" fmla="*/ 136920 h 274320"/>
                  <a:gd name="connsiteX2" fmla="*/ 133953 w 137160"/>
                  <a:gd name="connsiteY2" fmla="*/ 27408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133953" y="-240"/>
                    </a:moveTo>
                    <a:cubicBezTo>
                      <a:pt x="58219" y="-240"/>
                      <a:pt x="-3207" y="61169"/>
                      <a:pt x="-3207" y="136920"/>
                    </a:cubicBezTo>
                    <a:cubicBezTo>
                      <a:pt x="-3207" y="212671"/>
                      <a:pt x="58219" y="274080"/>
                      <a:pt x="133953" y="27408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Полилиния: фигура 132">
                <a:extLst>
                  <a:ext uri="{FF2B5EF4-FFF2-40B4-BE49-F238E27FC236}">
                    <a16:creationId xmlns:a16="http://schemas.microsoft.com/office/drawing/2014/main" id="{3A232097-AB6A-7375-0DA6-83BC51B54CD8}"/>
                  </a:ext>
                </a:extLst>
              </p:cNvPr>
              <p:cNvSpPr/>
              <p:nvPr userDrawn="1"/>
            </p:nvSpPr>
            <p:spPr>
              <a:xfrm>
                <a:off x="7431641" y="1321766"/>
                <a:ext cx="137160" cy="274320"/>
              </a:xfrm>
              <a:custGeom>
                <a:avLst/>
                <a:gdLst>
                  <a:gd name="connsiteX0" fmla="*/ -3207 w 137160"/>
                  <a:gd name="connsiteY0" fmla="*/ 274080 h 274320"/>
                  <a:gd name="connsiteX1" fmla="*/ 133953 w 137160"/>
                  <a:gd name="connsiteY1" fmla="*/ 136920 h 274320"/>
                  <a:gd name="connsiteX2" fmla="*/ -3207 w 137160"/>
                  <a:gd name="connsiteY2" fmla="*/ -24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-3207" y="274080"/>
                    </a:moveTo>
                    <a:cubicBezTo>
                      <a:pt x="72525" y="274080"/>
                      <a:pt x="133953" y="212671"/>
                      <a:pt x="133953" y="136920"/>
                    </a:cubicBezTo>
                    <a:cubicBezTo>
                      <a:pt x="133953" y="61169"/>
                      <a:pt x="72525" y="-240"/>
                      <a:pt x="-3207" y="-2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3474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63</a:t>
            </a:fld>
            <a:endParaRPr lang="en-US" dirty="0"/>
          </a:p>
        </p:txBody>
      </p:sp>
      <p:graphicFrame>
        <p:nvGraphicFramePr>
          <p:cNvPr id="4" name="Таблица 5">
            <a:extLst>
              <a:ext uri="{FF2B5EF4-FFF2-40B4-BE49-F238E27FC236}">
                <a16:creationId xmlns:a16="http://schemas.microsoft.com/office/drawing/2014/main" id="{15334CA2-11EE-49E1-979E-ADA3F09E652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66251" y="4186841"/>
          <a:ext cx="11051710" cy="12406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51710">
                  <a:extLst>
                    <a:ext uri="{9D8B030D-6E8A-4147-A177-3AD203B41FA5}">
                      <a16:colId xmlns:a16="http://schemas.microsoft.com/office/drawing/2014/main" val="3450824149"/>
                    </a:ext>
                  </a:extLst>
                </a:gridCol>
              </a:tblGrid>
              <a:tr h="1240606">
                <a:tc>
                  <a:txBody>
                    <a:bodyPr/>
                    <a:lstStyle/>
                    <a:p>
                      <a:pPr algn="ctr" defTabSz="685800"/>
                      <a:r>
                        <a:rPr lang="ru-RU" sz="1200" b="0" dirty="0" smtClean="0"/>
                        <a:t>Вся информация о жалобах покупателей консолидируется в </a:t>
                      </a:r>
                      <a:r>
                        <a:rPr lang="en-US" sz="1200" b="0" dirty="0" smtClean="0"/>
                        <a:t>Siebel</a:t>
                      </a:r>
                      <a:r>
                        <a:rPr lang="ru-RU" sz="1200" b="0" dirty="0" smtClean="0"/>
                        <a:t> – программа, которая помогает управлять взаимоотношениями с клиентами как внутренними, так и с внешними.</a:t>
                      </a:r>
                      <a:endParaRPr lang="ru-RU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16000" marR="216000" marT="108000" marB="10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069870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9A599377-64EB-D762-8EBA-1D53AFE1B00A}"/>
              </a:ext>
            </a:extLst>
          </p:cNvPr>
          <p:cNvSpPr txBox="1"/>
          <p:nvPr/>
        </p:nvSpPr>
        <p:spPr>
          <a:xfrm>
            <a:off x="734157" y="2627857"/>
            <a:ext cx="308812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844083">
              <a:defRPr/>
            </a:pPr>
            <a:r>
              <a:rPr lang="ru-RU" sz="1200" dirty="0"/>
              <a:t>Оставить жалобу и осуществить возврат товара через стойку информации магазина.</a:t>
            </a:r>
            <a:endParaRPr lang="ru-RU" sz="1200" dirty="0">
              <a:solidFill>
                <a:schemeClr val="tx2"/>
              </a:solidFill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567690" y="1721079"/>
            <a:ext cx="3524250" cy="1727517"/>
            <a:chOff x="567690" y="1198563"/>
            <a:chExt cx="3524250" cy="3338710"/>
          </a:xfrm>
        </p:grpSpPr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60EA166F-E096-4E1C-8EF6-1F6149C14C3E}"/>
                </a:ext>
              </a:extLst>
            </p:cNvPr>
            <p:cNvSpPr/>
            <p:nvPr/>
          </p:nvSpPr>
          <p:spPr>
            <a:xfrm>
              <a:off x="571501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89FF7DA5-FD96-4AAB-A99C-B407016E3A8B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65749E22-72EC-7C98-13C2-65A309BBAC81}"/>
              </a:ext>
            </a:extLst>
          </p:cNvPr>
          <p:cNvCxnSpPr>
            <a:cxnSpLocks/>
          </p:cNvCxnSpPr>
          <p:nvPr/>
        </p:nvCxnSpPr>
        <p:spPr>
          <a:xfrm>
            <a:off x="571501" y="2367755"/>
            <a:ext cx="351902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BF82593-472A-41F9-10A6-2365C053A6DE}"/>
              </a:ext>
            </a:extLst>
          </p:cNvPr>
          <p:cNvSpPr txBox="1"/>
          <p:nvPr/>
        </p:nvSpPr>
        <p:spPr>
          <a:xfrm>
            <a:off x="4491387" y="2619422"/>
            <a:ext cx="308812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844083">
              <a:defRPr/>
            </a:pPr>
            <a:r>
              <a:rPr lang="ru-RU" sz="1200" dirty="0" smtClean="0"/>
              <a:t>Оставить </a:t>
            </a:r>
            <a:r>
              <a:rPr lang="ru-RU" sz="1200" dirty="0"/>
              <a:t>жалобу на сайте или в чате </a:t>
            </a:r>
            <a:r>
              <a:rPr lang="ru-RU" sz="1200" dirty="0" smtClean="0"/>
              <a:t>Компании.</a:t>
            </a:r>
            <a:endParaRPr lang="ru-RU" sz="1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1FB0563-7BB9-1EC4-A8C6-4DA6EAB5419D}"/>
              </a:ext>
            </a:extLst>
          </p:cNvPr>
          <p:cNvSpPr txBox="1"/>
          <p:nvPr/>
        </p:nvSpPr>
        <p:spPr>
          <a:xfrm>
            <a:off x="8272974" y="2619152"/>
            <a:ext cx="308812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844083">
              <a:defRPr/>
            </a:pPr>
            <a:r>
              <a:rPr lang="ru-RU" sz="1200" dirty="0"/>
              <a:t>О</a:t>
            </a:r>
            <a:r>
              <a:rPr lang="ru-RU" sz="1200" dirty="0" smtClean="0"/>
              <a:t>ставить </a:t>
            </a:r>
            <a:r>
              <a:rPr lang="ru-RU" sz="1200" dirty="0"/>
              <a:t>жалобу на любом доступном интернет ресурсе (соц. сети, чатах, геосервисе и т.д.).</a:t>
            </a:r>
          </a:p>
        </p:txBody>
      </p:sp>
      <p:grpSp>
        <p:nvGrpSpPr>
          <p:cNvPr id="32" name="Группа 31"/>
          <p:cNvGrpSpPr/>
          <p:nvPr/>
        </p:nvGrpSpPr>
        <p:grpSpPr>
          <a:xfrm>
            <a:off x="8097838" y="1721079"/>
            <a:ext cx="3524250" cy="1727517"/>
            <a:chOff x="8097838" y="1198563"/>
            <a:chExt cx="3524250" cy="3338710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5F8F9EBA-9210-317F-7743-2B7FAC5A456A}"/>
                </a:ext>
              </a:extLst>
            </p:cNvPr>
            <p:cNvSpPr/>
            <p:nvPr/>
          </p:nvSpPr>
          <p:spPr>
            <a:xfrm>
              <a:off x="8101649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197C3C89-99FF-8E43-EDD8-7C5512CD0E27}"/>
                </a:ext>
              </a:extLst>
            </p:cNvPr>
            <p:cNvCxnSpPr>
              <a:cxnSpLocks/>
            </p:cNvCxnSpPr>
            <p:nvPr/>
          </p:nvCxnSpPr>
          <p:spPr>
            <a:xfrm>
              <a:off x="8097838" y="1198563"/>
              <a:ext cx="35242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D44FB996-B33A-DBD7-B5C2-6E65BD8721BE}"/>
              </a:ext>
            </a:extLst>
          </p:cNvPr>
          <p:cNvCxnSpPr>
            <a:cxnSpLocks/>
          </p:cNvCxnSpPr>
          <p:nvPr/>
        </p:nvCxnSpPr>
        <p:spPr>
          <a:xfrm>
            <a:off x="8101649" y="2367755"/>
            <a:ext cx="351902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Группа 35"/>
          <p:cNvGrpSpPr/>
          <p:nvPr/>
        </p:nvGrpSpPr>
        <p:grpSpPr>
          <a:xfrm>
            <a:off x="4332764" y="1721079"/>
            <a:ext cx="3524250" cy="1766514"/>
            <a:chOff x="4332764" y="1198563"/>
            <a:chExt cx="3524250" cy="3338710"/>
          </a:xfrm>
        </p:grpSpPr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DB08BC07-F988-740D-200F-51890DF9FB35}"/>
                </a:ext>
              </a:extLst>
            </p:cNvPr>
            <p:cNvSpPr/>
            <p:nvPr/>
          </p:nvSpPr>
          <p:spPr>
            <a:xfrm>
              <a:off x="4336575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A48682A4-9DB5-6EF5-51D2-E0BFC6F95111}"/>
                </a:ext>
              </a:extLst>
            </p:cNvPr>
            <p:cNvCxnSpPr>
              <a:cxnSpLocks/>
            </p:cNvCxnSpPr>
            <p:nvPr/>
          </p:nvCxnSpPr>
          <p:spPr>
            <a:xfrm>
              <a:off x="4332764" y="1198563"/>
              <a:ext cx="35242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4A1D073B-AEFA-ECE2-750E-92DA83287462}"/>
              </a:ext>
            </a:extLst>
          </p:cNvPr>
          <p:cNvCxnSpPr>
            <a:cxnSpLocks/>
          </p:cNvCxnSpPr>
          <p:nvPr/>
        </p:nvCxnSpPr>
        <p:spPr>
          <a:xfrm>
            <a:off x="4336575" y="2367755"/>
            <a:ext cx="351902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Группа 39"/>
          <p:cNvGrpSpPr/>
          <p:nvPr/>
        </p:nvGrpSpPr>
        <p:grpSpPr>
          <a:xfrm rot="5400000">
            <a:off x="5941603" y="3558790"/>
            <a:ext cx="327483" cy="489098"/>
            <a:chOff x="1988287" y="4667693"/>
            <a:chExt cx="1541722" cy="1222744"/>
          </a:xfrm>
        </p:grpSpPr>
        <p:sp>
          <p:nvSpPr>
            <p:cNvPr id="41" name="Шеврон 40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2" name="Шеврон 41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43" name="Группа 42"/>
          <p:cNvGrpSpPr/>
          <p:nvPr/>
        </p:nvGrpSpPr>
        <p:grpSpPr>
          <a:xfrm rot="5400000">
            <a:off x="2165915" y="3558791"/>
            <a:ext cx="327483" cy="489098"/>
            <a:chOff x="1988287" y="4667693"/>
            <a:chExt cx="1541722" cy="1222744"/>
          </a:xfrm>
        </p:grpSpPr>
        <p:sp>
          <p:nvSpPr>
            <p:cNvPr id="44" name="Шеврон 43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5" name="Шеврон 44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46" name="Группа 45"/>
          <p:cNvGrpSpPr/>
          <p:nvPr/>
        </p:nvGrpSpPr>
        <p:grpSpPr>
          <a:xfrm rot="5400000">
            <a:off x="9767720" y="3558792"/>
            <a:ext cx="327483" cy="489098"/>
            <a:chOff x="1988287" y="4667693"/>
            <a:chExt cx="1541722" cy="1222744"/>
          </a:xfrm>
        </p:grpSpPr>
        <p:sp>
          <p:nvSpPr>
            <p:cNvPr id="47" name="Шеврон 46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8" name="Шеврон 47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49" name="Заголовок 2"/>
          <p:cNvSpPr>
            <a:spLocks noGrp="1"/>
          </p:cNvSpPr>
          <p:nvPr>
            <p:ph type="title"/>
          </p:nvPr>
        </p:nvSpPr>
        <p:spPr>
          <a:xfrm>
            <a:off x="-773430" y="780025"/>
            <a:ext cx="10002539" cy="369332"/>
          </a:xfrm>
        </p:spPr>
        <p:txBody>
          <a:bodyPr/>
          <a:lstStyle/>
          <a:p>
            <a:pPr algn="ctr"/>
            <a:r>
              <a:rPr lang="ru-RU" dirty="0" smtClean="0"/>
              <a:t>Жалобы </a:t>
            </a:r>
            <a:r>
              <a:rPr lang="ru-RU" dirty="0"/>
              <a:t>покупателей</a:t>
            </a:r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id="{92F02FC5-A218-465F-894E-52EB0D0FC73F}"/>
              </a:ext>
            </a:extLst>
          </p:cNvPr>
          <p:cNvSpPr/>
          <p:nvPr/>
        </p:nvSpPr>
        <p:spPr>
          <a:xfrm>
            <a:off x="848370" y="574030"/>
            <a:ext cx="790114" cy="784800"/>
          </a:xfrm>
          <a:prstGeom prst="ellipse">
            <a:avLst/>
          </a:prstGeom>
          <a:noFill/>
          <a:ln w="152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B23A6512-4364-4561-B792-CB18B88CD596}"/>
              </a:ext>
            </a:extLst>
          </p:cNvPr>
          <p:cNvGrpSpPr/>
          <p:nvPr/>
        </p:nvGrpSpPr>
        <p:grpSpPr>
          <a:xfrm>
            <a:off x="1051497" y="675325"/>
            <a:ext cx="471673" cy="460412"/>
            <a:chOff x="3001901" y="2304849"/>
            <a:chExt cx="471673" cy="460412"/>
          </a:xfrm>
          <a:solidFill>
            <a:schemeClr val="tx2"/>
          </a:solidFill>
        </p:grpSpPr>
        <p:sp>
          <p:nvSpPr>
            <p:cNvPr id="52" name="Полилиния: фигура 168">
              <a:extLst>
                <a:ext uri="{FF2B5EF4-FFF2-40B4-BE49-F238E27FC236}">
                  <a16:creationId xmlns:a16="http://schemas.microsoft.com/office/drawing/2014/main" id="{42EABC73-A188-429C-AE68-A45B0B26B8EF}"/>
                </a:ext>
              </a:extLst>
            </p:cNvPr>
            <p:cNvSpPr/>
            <p:nvPr/>
          </p:nvSpPr>
          <p:spPr>
            <a:xfrm>
              <a:off x="3111976" y="2304849"/>
              <a:ext cx="231635" cy="220573"/>
            </a:xfrm>
            <a:custGeom>
              <a:avLst/>
              <a:gdLst>
                <a:gd name="connsiteX0" fmla="*/ 49064 w 231635"/>
                <a:gd name="connsiteY0" fmla="*/ 141570 h 220573"/>
                <a:gd name="connsiteX1" fmla="*/ 38613 w 231635"/>
                <a:gd name="connsiteY1" fmla="*/ 202243 h 220573"/>
                <a:gd name="connsiteX2" fmla="*/ 44601 w 231635"/>
                <a:gd name="connsiteY2" fmla="*/ 217496 h 220573"/>
                <a:gd name="connsiteX3" fmla="*/ 60814 w 231635"/>
                <a:gd name="connsiteY3" fmla="*/ 218908 h 220573"/>
                <a:gd name="connsiteX4" fmla="*/ 117307 w 231635"/>
                <a:gd name="connsiteY4" fmla="*/ 190662 h 220573"/>
                <a:gd name="connsiteX5" fmla="*/ 170861 w 231635"/>
                <a:gd name="connsiteY5" fmla="*/ 218569 h 220573"/>
                <a:gd name="connsiteX6" fmla="*/ 191832 w 231635"/>
                <a:gd name="connsiteY6" fmla="*/ 212290 h 220573"/>
                <a:gd name="connsiteX7" fmla="*/ 193458 w 231635"/>
                <a:gd name="connsiteY7" fmla="*/ 202299 h 220573"/>
                <a:gd name="connsiteX8" fmla="*/ 183007 w 231635"/>
                <a:gd name="connsiteY8" fmla="*/ 141853 h 220573"/>
                <a:gd name="connsiteX9" fmla="*/ 226958 w 231635"/>
                <a:gd name="connsiteY9" fmla="*/ 98862 h 220573"/>
                <a:gd name="connsiteX10" fmla="*/ 227276 w 231635"/>
                <a:gd name="connsiteY10" fmla="*/ 77054 h 220573"/>
                <a:gd name="connsiteX11" fmla="*/ 218428 w 231635"/>
                <a:gd name="connsiteY11" fmla="*/ 72537 h 220573"/>
                <a:gd name="connsiteX12" fmla="*/ 157134 w 231635"/>
                <a:gd name="connsiteY12" fmla="*/ 63611 h 220573"/>
                <a:gd name="connsiteX13" fmla="*/ 129791 w 231635"/>
                <a:gd name="connsiteY13" fmla="*/ 8474 h 220573"/>
                <a:gd name="connsiteX14" fmla="*/ 115894 w 231635"/>
                <a:gd name="connsiteY14" fmla="*/ 1 h 220573"/>
                <a:gd name="connsiteX15" fmla="*/ 115894 w 231635"/>
                <a:gd name="connsiteY15" fmla="*/ 1 h 220573"/>
                <a:gd name="connsiteX16" fmla="*/ 102054 w 231635"/>
                <a:gd name="connsiteY16" fmla="*/ 8474 h 220573"/>
                <a:gd name="connsiteX17" fmla="*/ 102054 w 231635"/>
                <a:gd name="connsiteY17" fmla="*/ 8474 h 220573"/>
                <a:gd name="connsiteX18" fmla="*/ 74655 w 231635"/>
                <a:gd name="connsiteY18" fmla="*/ 63611 h 220573"/>
                <a:gd name="connsiteX19" fmla="*/ 13361 w 231635"/>
                <a:gd name="connsiteY19" fmla="*/ 72424 h 220573"/>
                <a:gd name="connsiteX20" fmla="*/ 140 w 231635"/>
                <a:gd name="connsiteY20" fmla="*/ 89771 h 220573"/>
                <a:gd name="connsiteX21" fmla="*/ 4774 w 231635"/>
                <a:gd name="connsiteY21" fmla="*/ 98862 h 220573"/>
                <a:gd name="connsiteX22" fmla="*/ 81434 w 231635"/>
                <a:gd name="connsiteY22" fmla="*/ 79768 h 220573"/>
                <a:gd name="connsiteX23" fmla="*/ 87648 w 231635"/>
                <a:gd name="connsiteY23" fmla="*/ 75135 h 220573"/>
                <a:gd name="connsiteX24" fmla="*/ 115894 w 231635"/>
                <a:gd name="connsiteY24" fmla="*/ 18643 h 220573"/>
                <a:gd name="connsiteX25" fmla="*/ 144140 w 231635"/>
                <a:gd name="connsiteY25" fmla="*/ 75135 h 220573"/>
                <a:gd name="connsiteX26" fmla="*/ 150524 w 231635"/>
                <a:gd name="connsiteY26" fmla="*/ 79768 h 220573"/>
                <a:gd name="connsiteX27" fmla="*/ 213118 w 231635"/>
                <a:gd name="connsiteY27" fmla="*/ 88806 h 220573"/>
                <a:gd name="connsiteX28" fmla="*/ 167924 w 231635"/>
                <a:gd name="connsiteY28" fmla="*/ 132531 h 220573"/>
                <a:gd name="connsiteX29" fmla="*/ 165438 w 231635"/>
                <a:gd name="connsiteY29" fmla="*/ 140045 h 220573"/>
                <a:gd name="connsiteX30" fmla="*/ 176115 w 231635"/>
                <a:gd name="connsiteY30" fmla="*/ 201904 h 220573"/>
                <a:gd name="connsiteX31" fmla="*/ 121374 w 231635"/>
                <a:gd name="connsiteY31" fmla="*/ 173375 h 220573"/>
                <a:gd name="connsiteX32" fmla="*/ 113635 w 231635"/>
                <a:gd name="connsiteY32" fmla="*/ 173375 h 220573"/>
                <a:gd name="connsiteX33" fmla="*/ 56012 w 231635"/>
                <a:gd name="connsiteY33" fmla="*/ 202299 h 220573"/>
                <a:gd name="connsiteX34" fmla="*/ 66746 w 231635"/>
                <a:gd name="connsiteY34" fmla="*/ 140158 h 220573"/>
                <a:gd name="connsiteX35" fmla="*/ 64091 w 231635"/>
                <a:gd name="connsiteY35" fmla="*/ 132757 h 220573"/>
                <a:gd name="connsiteX36" fmla="*/ 18897 w 231635"/>
                <a:gd name="connsiteY36" fmla="*/ 89032 h 220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31635" h="220573">
                  <a:moveTo>
                    <a:pt x="49064" y="141570"/>
                  </a:moveTo>
                  <a:lnTo>
                    <a:pt x="38613" y="202243"/>
                  </a:lnTo>
                  <a:cubicBezTo>
                    <a:pt x="37491" y="208058"/>
                    <a:pt x="39823" y="213998"/>
                    <a:pt x="44601" y="217496"/>
                  </a:cubicBezTo>
                  <a:cubicBezTo>
                    <a:pt x="49297" y="221012"/>
                    <a:pt x="55581" y="221559"/>
                    <a:pt x="60814" y="218908"/>
                  </a:cubicBezTo>
                  <a:lnTo>
                    <a:pt x="117307" y="190662"/>
                  </a:lnTo>
                  <a:lnTo>
                    <a:pt x="170861" y="218569"/>
                  </a:lnTo>
                  <a:cubicBezTo>
                    <a:pt x="178386" y="222626"/>
                    <a:pt x="187775" y="219815"/>
                    <a:pt x="191832" y="212290"/>
                  </a:cubicBezTo>
                  <a:cubicBezTo>
                    <a:pt x="193479" y="209236"/>
                    <a:pt x="194051" y="205718"/>
                    <a:pt x="193458" y="202299"/>
                  </a:cubicBezTo>
                  <a:lnTo>
                    <a:pt x="183007" y="141853"/>
                  </a:lnTo>
                  <a:lnTo>
                    <a:pt x="226958" y="98862"/>
                  </a:lnTo>
                  <a:cubicBezTo>
                    <a:pt x="233068" y="92928"/>
                    <a:pt x="233210" y="83163"/>
                    <a:pt x="227276" y="77054"/>
                  </a:cubicBezTo>
                  <a:cubicBezTo>
                    <a:pt x="224905" y="74613"/>
                    <a:pt x="221795" y="73025"/>
                    <a:pt x="218428" y="72537"/>
                  </a:cubicBezTo>
                  <a:lnTo>
                    <a:pt x="157134" y="63611"/>
                  </a:lnTo>
                  <a:lnTo>
                    <a:pt x="129791" y="8474"/>
                  </a:lnTo>
                  <a:cubicBezTo>
                    <a:pt x="127148" y="3236"/>
                    <a:pt x="121762" y="-48"/>
                    <a:pt x="115894" y="1"/>
                  </a:cubicBezTo>
                  <a:lnTo>
                    <a:pt x="115894" y="1"/>
                  </a:lnTo>
                  <a:cubicBezTo>
                    <a:pt x="110047" y="-27"/>
                    <a:pt x="104688" y="3255"/>
                    <a:pt x="102054" y="8474"/>
                  </a:cubicBezTo>
                  <a:lnTo>
                    <a:pt x="102054" y="8474"/>
                  </a:lnTo>
                  <a:lnTo>
                    <a:pt x="74655" y="63611"/>
                  </a:lnTo>
                  <a:lnTo>
                    <a:pt x="13361" y="72424"/>
                  </a:lnTo>
                  <a:cubicBezTo>
                    <a:pt x="4920" y="73563"/>
                    <a:pt x="-999" y="81330"/>
                    <a:pt x="140" y="89771"/>
                  </a:cubicBezTo>
                  <a:cubicBezTo>
                    <a:pt x="609" y="93239"/>
                    <a:pt x="2243" y="96445"/>
                    <a:pt x="4774" y="98862"/>
                  </a:cubicBezTo>
                  <a:close/>
                  <a:moveTo>
                    <a:pt x="81434" y="79768"/>
                  </a:moveTo>
                  <a:cubicBezTo>
                    <a:pt x="84131" y="79317"/>
                    <a:pt x="86446" y="77592"/>
                    <a:pt x="87648" y="75135"/>
                  </a:cubicBezTo>
                  <a:lnTo>
                    <a:pt x="115894" y="18643"/>
                  </a:lnTo>
                  <a:lnTo>
                    <a:pt x="144140" y="75135"/>
                  </a:lnTo>
                  <a:cubicBezTo>
                    <a:pt x="145377" y="77636"/>
                    <a:pt x="147763" y="79368"/>
                    <a:pt x="150524" y="79768"/>
                  </a:cubicBezTo>
                  <a:lnTo>
                    <a:pt x="213118" y="88806"/>
                  </a:lnTo>
                  <a:lnTo>
                    <a:pt x="167924" y="132531"/>
                  </a:lnTo>
                  <a:cubicBezTo>
                    <a:pt x="165905" y="134471"/>
                    <a:pt x="164974" y="137284"/>
                    <a:pt x="165438" y="140045"/>
                  </a:cubicBezTo>
                  <a:lnTo>
                    <a:pt x="176115" y="201904"/>
                  </a:lnTo>
                  <a:lnTo>
                    <a:pt x="121374" y="173375"/>
                  </a:lnTo>
                  <a:cubicBezTo>
                    <a:pt x="118945" y="172129"/>
                    <a:pt x="116064" y="172129"/>
                    <a:pt x="113635" y="173375"/>
                  </a:cubicBezTo>
                  <a:lnTo>
                    <a:pt x="56012" y="202299"/>
                  </a:lnTo>
                  <a:lnTo>
                    <a:pt x="66746" y="140158"/>
                  </a:lnTo>
                  <a:cubicBezTo>
                    <a:pt x="67128" y="137405"/>
                    <a:pt x="66136" y="134640"/>
                    <a:pt x="64091" y="132757"/>
                  </a:cubicBezTo>
                  <a:lnTo>
                    <a:pt x="18897" y="89032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169">
              <a:extLst>
                <a:ext uri="{FF2B5EF4-FFF2-40B4-BE49-F238E27FC236}">
                  <a16:creationId xmlns:a16="http://schemas.microsoft.com/office/drawing/2014/main" id="{5CE7A82C-82CF-45DC-BED2-44806999C9B6}"/>
                </a:ext>
              </a:extLst>
            </p:cNvPr>
            <p:cNvSpPr/>
            <p:nvPr/>
          </p:nvSpPr>
          <p:spPr>
            <a:xfrm>
              <a:off x="3001901" y="2544866"/>
              <a:ext cx="471673" cy="220395"/>
            </a:xfrm>
            <a:custGeom>
              <a:avLst/>
              <a:gdLst>
                <a:gd name="connsiteX0" fmla="*/ 463237 w 471673"/>
                <a:gd name="connsiteY0" fmla="*/ 11374 h 220395"/>
                <a:gd name="connsiteX1" fmla="*/ 440640 w 471673"/>
                <a:gd name="connsiteY1" fmla="*/ 76 h 220395"/>
                <a:gd name="connsiteX2" fmla="*/ 416800 w 471673"/>
                <a:gd name="connsiteY2" fmla="*/ 8324 h 220395"/>
                <a:gd name="connsiteX3" fmla="*/ 338558 w 471673"/>
                <a:gd name="connsiteY3" fmla="*/ 78600 h 220395"/>
                <a:gd name="connsiteX4" fmla="*/ 337654 w 471673"/>
                <a:gd name="connsiteY4" fmla="*/ 73968 h 220395"/>
                <a:gd name="connsiteX5" fmla="*/ 318899 w 471673"/>
                <a:gd name="connsiteY5" fmla="*/ 51371 h 220395"/>
                <a:gd name="connsiteX6" fmla="*/ 264723 w 471673"/>
                <a:gd name="connsiteY6" fmla="*/ 50919 h 220395"/>
                <a:gd name="connsiteX7" fmla="*/ 230093 w 471673"/>
                <a:gd name="connsiteY7" fmla="*/ 53066 h 220395"/>
                <a:gd name="connsiteX8" fmla="*/ 215236 w 471673"/>
                <a:gd name="connsiteY8" fmla="*/ 47417 h 220395"/>
                <a:gd name="connsiteX9" fmla="*/ 142417 w 471673"/>
                <a:gd name="connsiteY9" fmla="*/ 40073 h 220395"/>
                <a:gd name="connsiteX10" fmla="*/ 90388 w 471673"/>
                <a:gd name="connsiteY10" fmla="*/ 68771 h 220395"/>
                <a:gd name="connsiteX11" fmla="*/ 90388 w 471673"/>
                <a:gd name="connsiteY11" fmla="*/ 48094 h 220395"/>
                <a:gd name="connsiteX12" fmla="*/ 81914 w 471673"/>
                <a:gd name="connsiteY12" fmla="*/ 39621 h 220395"/>
                <a:gd name="connsiteX13" fmla="*/ 8474 w 471673"/>
                <a:gd name="connsiteY13" fmla="*/ 39621 h 220395"/>
                <a:gd name="connsiteX14" fmla="*/ 0 w 471673"/>
                <a:gd name="connsiteY14" fmla="*/ 48094 h 220395"/>
                <a:gd name="connsiteX15" fmla="*/ 0 w 471673"/>
                <a:gd name="connsiteY15" fmla="*/ 211922 h 220395"/>
                <a:gd name="connsiteX16" fmla="*/ 8474 w 471673"/>
                <a:gd name="connsiteY16" fmla="*/ 220396 h 220395"/>
                <a:gd name="connsiteX17" fmla="*/ 81914 w 471673"/>
                <a:gd name="connsiteY17" fmla="*/ 220396 h 220395"/>
                <a:gd name="connsiteX18" fmla="*/ 90388 w 471673"/>
                <a:gd name="connsiteY18" fmla="*/ 211922 h 220395"/>
                <a:gd name="connsiteX19" fmla="*/ 90388 w 471673"/>
                <a:gd name="connsiteY19" fmla="*/ 200172 h 220395"/>
                <a:gd name="connsiteX20" fmla="*/ 190887 w 471673"/>
                <a:gd name="connsiteY20" fmla="*/ 214747 h 220395"/>
                <a:gd name="connsiteX21" fmla="*/ 308561 w 471673"/>
                <a:gd name="connsiteY21" fmla="*/ 192771 h 220395"/>
                <a:gd name="connsiteX22" fmla="*/ 461090 w 471673"/>
                <a:gd name="connsiteY22" fmla="*/ 58037 h 220395"/>
                <a:gd name="connsiteX23" fmla="*/ 463237 w 471673"/>
                <a:gd name="connsiteY23" fmla="*/ 11374 h 220395"/>
                <a:gd name="connsiteX24" fmla="*/ 73440 w 471673"/>
                <a:gd name="connsiteY24" fmla="*/ 203448 h 220395"/>
                <a:gd name="connsiteX25" fmla="*/ 16948 w 471673"/>
                <a:gd name="connsiteY25" fmla="*/ 203448 h 220395"/>
                <a:gd name="connsiteX26" fmla="*/ 16948 w 471673"/>
                <a:gd name="connsiteY26" fmla="*/ 56568 h 220395"/>
                <a:gd name="connsiteX27" fmla="*/ 73440 w 471673"/>
                <a:gd name="connsiteY27" fmla="*/ 56568 h 220395"/>
                <a:gd name="connsiteX28" fmla="*/ 449340 w 471673"/>
                <a:gd name="connsiteY28" fmla="*/ 45778 h 220395"/>
                <a:gd name="connsiteX29" fmla="*/ 448549 w 471673"/>
                <a:gd name="connsiteY29" fmla="*/ 46569 h 220395"/>
                <a:gd name="connsiteX30" fmla="*/ 301669 w 471673"/>
                <a:gd name="connsiteY30" fmla="*/ 177292 h 220395"/>
                <a:gd name="connsiteX31" fmla="*/ 190887 w 471673"/>
                <a:gd name="connsiteY31" fmla="*/ 197799 h 220395"/>
                <a:gd name="connsiteX32" fmla="*/ 92421 w 471673"/>
                <a:gd name="connsiteY32" fmla="*/ 183224 h 220395"/>
                <a:gd name="connsiteX33" fmla="*/ 90388 w 471673"/>
                <a:gd name="connsiteY33" fmla="*/ 183224 h 220395"/>
                <a:gd name="connsiteX34" fmla="*/ 90388 w 471673"/>
                <a:gd name="connsiteY34" fmla="*/ 92836 h 220395"/>
                <a:gd name="connsiteX35" fmla="*/ 146089 w 471673"/>
                <a:gd name="connsiteY35" fmla="*/ 56738 h 220395"/>
                <a:gd name="connsiteX36" fmla="*/ 208231 w 471673"/>
                <a:gd name="connsiteY36" fmla="*/ 63008 h 220395"/>
                <a:gd name="connsiteX37" fmla="*/ 227099 w 471673"/>
                <a:gd name="connsiteY37" fmla="*/ 69562 h 220395"/>
                <a:gd name="connsiteX38" fmla="*/ 267039 w 471673"/>
                <a:gd name="connsiteY38" fmla="*/ 67528 h 220395"/>
                <a:gd name="connsiteX39" fmla="*/ 312233 w 471673"/>
                <a:gd name="connsiteY39" fmla="*/ 66906 h 220395"/>
                <a:gd name="connsiteX40" fmla="*/ 321046 w 471673"/>
                <a:gd name="connsiteY40" fmla="*/ 78544 h 220395"/>
                <a:gd name="connsiteX41" fmla="*/ 316470 w 471673"/>
                <a:gd name="connsiteY41" fmla="*/ 97751 h 220395"/>
                <a:gd name="connsiteX42" fmla="*/ 193091 w 471673"/>
                <a:gd name="connsiteY42" fmla="*/ 138369 h 220395"/>
                <a:gd name="connsiteX43" fmla="*/ 183967 w 471673"/>
                <a:gd name="connsiteY43" fmla="*/ 146193 h 220395"/>
                <a:gd name="connsiteX44" fmla="*/ 191791 w 471673"/>
                <a:gd name="connsiteY44" fmla="*/ 155317 h 220395"/>
                <a:gd name="connsiteX45" fmla="*/ 197441 w 471673"/>
                <a:gd name="connsiteY45" fmla="*/ 155317 h 220395"/>
                <a:gd name="connsiteX46" fmla="*/ 324040 w 471673"/>
                <a:gd name="connsiteY46" fmla="*/ 113965 h 220395"/>
                <a:gd name="connsiteX47" fmla="*/ 324661 w 471673"/>
                <a:gd name="connsiteY47" fmla="*/ 113626 h 220395"/>
                <a:gd name="connsiteX48" fmla="*/ 427703 w 471673"/>
                <a:gd name="connsiteY48" fmla="*/ 20978 h 220395"/>
                <a:gd name="connsiteX49" fmla="*/ 439002 w 471673"/>
                <a:gd name="connsiteY49" fmla="*/ 17024 h 220395"/>
                <a:gd name="connsiteX50" fmla="*/ 450300 w 471673"/>
                <a:gd name="connsiteY50" fmla="*/ 22673 h 220395"/>
                <a:gd name="connsiteX51" fmla="*/ 449340 w 471673"/>
                <a:gd name="connsiteY51" fmla="*/ 45778 h 220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71673" h="220395">
                  <a:moveTo>
                    <a:pt x="463237" y="11374"/>
                  </a:moveTo>
                  <a:cubicBezTo>
                    <a:pt x="457506" y="4754"/>
                    <a:pt x="449375" y="688"/>
                    <a:pt x="440640" y="76"/>
                  </a:cubicBezTo>
                  <a:cubicBezTo>
                    <a:pt x="431903" y="-525"/>
                    <a:pt x="423298" y="2453"/>
                    <a:pt x="416800" y="8324"/>
                  </a:cubicBezTo>
                  <a:lnTo>
                    <a:pt x="338558" y="78600"/>
                  </a:lnTo>
                  <a:cubicBezTo>
                    <a:pt x="338354" y="77039"/>
                    <a:pt x="338053" y="75492"/>
                    <a:pt x="337654" y="73968"/>
                  </a:cubicBezTo>
                  <a:cubicBezTo>
                    <a:pt x="334994" y="64063"/>
                    <a:pt x="328145" y="55811"/>
                    <a:pt x="318899" y="51371"/>
                  </a:cubicBezTo>
                  <a:cubicBezTo>
                    <a:pt x="304381" y="45270"/>
                    <a:pt x="284213" y="48094"/>
                    <a:pt x="264723" y="50919"/>
                  </a:cubicBezTo>
                  <a:cubicBezTo>
                    <a:pt x="253324" y="53151"/>
                    <a:pt x="241681" y="53873"/>
                    <a:pt x="230093" y="53066"/>
                  </a:cubicBezTo>
                  <a:cubicBezTo>
                    <a:pt x="224937" y="51772"/>
                    <a:pt x="219949" y="49876"/>
                    <a:pt x="215236" y="47417"/>
                  </a:cubicBezTo>
                  <a:cubicBezTo>
                    <a:pt x="200435" y="40807"/>
                    <a:pt x="180154" y="31768"/>
                    <a:pt x="142417" y="40073"/>
                  </a:cubicBezTo>
                  <a:cubicBezTo>
                    <a:pt x="122934" y="45105"/>
                    <a:pt x="105037" y="54976"/>
                    <a:pt x="90388" y="68771"/>
                  </a:cubicBezTo>
                  <a:lnTo>
                    <a:pt x="90388" y="48094"/>
                  </a:lnTo>
                  <a:cubicBezTo>
                    <a:pt x="90388" y="43415"/>
                    <a:pt x="86594" y="39621"/>
                    <a:pt x="81914" y="39621"/>
                  </a:cubicBezTo>
                  <a:lnTo>
                    <a:pt x="8474" y="39621"/>
                  </a:lnTo>
                  <a:cubicBezTo>
                    <a:pt x="3794" y="39621"/>
                    <a:pt x="0" y="43415"/>
                    <a:pt x="0" y="48094"/>
                  </a:cubicBezTo>
                  <a:lnTo>
                    <a:pt x="0" y="211922"/>
                  </a:lnTo>
                  <a:cubicBezTo>
                    <a:pt x="0" y="216602"/>
                    <a:pt x="3794" y="220396"/>
                    <a:pt x="8474" y="220396"/>
                  </a:cubicBezTo>
                  <a:lnTo>
                    <a:pt x="81914" y="220396"/>
                  </a:lnTo>
                  <a:cubicBezTo>
                    <a:pt x="86594" y="220396"/>
                    <a:pt x="90388" y="216602"/>
                    <a:pt x="90388" y="211922"/>
                  </a:cubicBezTo>
                  <a:lnTo>
                    <a:pt x="90388" y="200172"/>
                  </a:lnTo>
                  <a:cubicBezTo>
                    <a:pt x="101686" y="202827"/>
                    <a:pt x="152981" y="214747"/>
                    <a:pt x="190887" y="214747"/>
                  </a:cubicBezTo>
                  <a:cubicBezTo>
                    <a:pt x="230432" y="214747"/>
                    <a:pt x="278790" y="205708"/>
                    <a:pt x="308561" y="192771"/>
                  </a:cubicBezTo>
                  <a:cubicBezTo>
                    <a:pt x="363415" y="168988"/>
                    <a:pt x="453746" y="66341"/>
                    <a:pt x="461090" y="58037"/>
                  </a:cubicBezTo>
                  <a:cubicBezTo>
                    <a:pt x="474320" y="45629"/>
                    <a:pt x="475272" y="24945"/>
                    <a:pt x="463237" y="11374"/>
                  </a:cubicBezTo>
                  <a:close/>
                  <a:moveTo>
                    <a:pt x="73440" y="203448"/>
                  </a:moveTo>
                  <a:lnTo>
                    <a:pt x="16948" y="203448"/>
                  </a:lnTo>
                  <a:lnTo>
                    <a:pt x="16948" y="56568"/>
                  </a:lnTo>
                  <a:lnTo>
                    <a:pt x="73440" y="56568"/>
                  </a:lnTo>
                  <a:close/>
                  <a:moveTo>
                    <a:pt x="449340" y="45778"/>
                  </a:moveTo>
                  <a:lnTo>
                    <a:pt x="448549" y="46569"/>
                  </a:lnTo>
                  <a:cubicBezTo>
                    <a:pt x="447589" y="47643"/>
                    <a:pt x="354263" y="154526"/>
                    <a:pt x="301669" y="177292"/>
                  </a:cubicBezTo>
                  <a:cubicBezTo>
                    <a:pt x="273988" y="189325"/>
                    <a:pt x="228342" y="197799"/>
                    <a:pt x="190887" y="197799"/>
                  </a:cubicBezTo>
                  <a:cubicBezTo>
                    <a:pt x="151343" y="197799"/>
                    <a:pt x="92986" y="183337"/>
                    <a:pt x="92421" y="183224"/>
                  </a:cubicBezTo>
                  <a:cubicBezTo>
                    <a:pt x="91746" y="183142"/>
                    <a:pt x="91063" y="183142"/>
                    <a:pt x="90388" y="183224"/>
                  </a:cubicBezTo>
                  <a:lnTo>
                    <a:pt x="90388" y="92836"/>
                  </a:lnTo>
                  <a:cubicBezTo>
                    <a:pt x="96545" y="85775"/>
                    <a:pt x="118295" y="62839"/>
                    <a:pt x="146089" y="56738"/>
                  </a:cubicBezTo>
                  <a:cubicBezTo>
                    <a:pt x="178403" y="49676"/>
                    <a:pt x="194334" y="56738"/>
                    <a:pt x="208231" y="63008"/>
                  </a:cubicBezTo>
                  <a:cubicBezTo>
                    <a:pt x="214226" y="65962"/>
                    <a:pt x="220563" y="68163"/>
                    <a:pt x="227099" y="69562"/>
                  </a:cubicBezTo>
                  <a:cubicBezTo>
                    <a:pt x="240441" y="70820"/>
                    <a:pt x="253894" y="70135"/>
                    <a:pt x="267039" y="67528"/>
                  </a:cubicBezTo>
                  <a:cubicBezTo>
                    <a:pt x="283478" y="65268"/>
                    <a:pt x="302121" y="62669"/>
                    <a:pt x="312233" y="66906"/>
                  </a:cubicBezTo>
                  <a:cubicBezTo>
                    <a:pt x="316626" y="69432"/>
                    <a:pt x="319806" y="73631"/>
                    <a:pt x="321046" y="78544"/>
                  </a:cubicBezTo>
                  <a:cubicBezTo>
                    <a:pt x="322711" y="85309"/>
                    <a:pt x="321006" y="92463"/>
                    <a:pt x="316470" y="97751"/>
                  </a:cubicBezTo>
                  <a:cubicBezTo>
                    <a:pt x="303590" y="115038"/>
                    <a:pt x="225235" y="140911"/>
                    <a:pt x="193091" y="138369"/>
                  </a:cubicBezTo>
                  <a:cubicBezTo>
                    <a:pt x="188411" y="138010"/>
                    <a:pt x="184326" y="141514"/>
                    <a:pt x="183967" y="146193"/>
                  </a:cubicBezTo>
                  <a:cubicBezTo>
                    <a:pt x="183608" y="150873"/>
                    <a:pt x="187112" y="154958"/>
                    <a:pt x="191791" y="155317"/>
                  </a:cubicBezTo>
                  <a:cubicBezTo>
                    <a:pt x="193543" y="155317"/>
                    <a:pt x="195463" y="155317"/>
                    <a:pt x="197441" y="155317"/>
                  </a:cubicBezTo>
                  <a:cubicBezTo>
                    <a:pt x="232522" y="155317"/>
                    <a:pt x="299522" y="134641"/>
                    <a:pt x="324040" y="113965"/>
                  </a:cubicBezTo>
                  <a:lnTo>
                    <a:pt x="324661" y="113626"/>
                  </a:lnTo>
                  <a:lnTo>
                    <a:pt x="427703" y="20978"/>
                  </a:lnTo>
                  <a:cubicBezTo>
                    <a:pt x="430800" y="18220"/>
                    <a:pt x="434861" y="16798"/>
                    <a:pt x="439002" y="17024"/>
                  </a:cubicBezTo>
                  <a:cubicBezTo>
                    <a:pt x="443380" y="17289"/>
                    <a:pt x="447461" y="19329"/>
                    <a:pt x="450300" y="22673"/>
                  </a:cubicBezTo>
                  <a:cubicBezTo>
                    <a:pt x="456336" y="29347"/>
                    <a:pt x="455909" y="39628"/>
                    <a:pt x="449340" y="4577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91919B50-B95C-4D35-8618-6B55B61BA12A}"/>
              </a:ext>
            </a:extLst>
          </p:cNvPr>
          <p:cNvGrpSpPr/>
          <p:nvPr/>
        </p:nvGrpSpPr>
        <p:grpSpPr>
          <a:xfrm>
            <a:off x="2022275" y="1841049"/>
            <a:ext cx="477503" cy="436724"/>
            <a:chOff x="6451402" y="4497382"/>
            <a:chExt cx="477503" cy="436724"/>
          </a:xfrm>
        </p:grpSpPr>
        <p:sp>
          <p:nvSpPr>
            <p:cNvPr id="55" name="Полилиния: фигура 153">
              <a:extLst>
                <a:ext uri="{FF2B5EF4-FFF2-40B4-BE49-F238E27FC236}">
                  <a16:creationId xmlns:a16="http://schemas.microsoft.com/office/drawing/2014/main" id="{53455C08-BAED-458A-8746-EA7B118977B7}"/>
                </a:ext>
              </a:extLst>
            </p:cNvPr>
            <p:cNvSpPr/>
            <p:nvPr/>
          </p:nvSpPr>
          <p:spPr>
            <a:xfrm>
              <a:off x="6451402" y="4711937"/>
              <a:ext cx="477503" cy="222169"/>
            </a:xfrm>
            <a:custGeom>
              <a:avLst/>
              <a:gdLst>
                <a:gd name="connsiteX0" fmla="*/ 472184 w 477503"/>
                <a:gd name="connsiteY0" fmla="*/ 52748 h 222169"/>
                <a:gd name="connsiteX1" fmla="*/ 438624 w 477503"/>
                <a:gd name="connsiteY1" fmla="*/ 42457 h 222169"/>
                <a:gd name="connsiteX2" fmla="*/ 433702 w 477503"/>
                <a:gd name="connsiteY2" fmla="*/ 28977 h 222169"/>
                <a:gd name="connsiteX3" fmla="*/ 394046 w 477503"/>
                <a:gd name="connsiteY3" fmla="*/ 21817 h 222169"/>
                <a:gd name="connsiteX4" fmla="*/ 389347 w 477503"/>
                <a:gd name="connsiteY4" fmla="*/ 24894 h 222169"/>
                <a:gd name="connsiteX5" fmla="*/ 384537 w 477503"/>
                <a:gd name="connsiteY5" fmla="*/ 12141 h 222169"/>
                <a:gd name="connsiteX6" fmla="*/ 344657 w 477503"/>
                <a:gd name="connsiteY6" fmla="*/ 5149 h 222169"/>
                <a:gd name="connsiteX7" fmla="*/ 344265 w 477503"/>
                <a:gd name="connsiteY7" fmla="*/ 5485 h 222169"/>
                <a:gd name="connsiteX8" fmla="*/ 344265 w 477503"/>
                <a:gd name="connsiteY8" fmla="*/ 5485 h 222169"/>
                <a:gd name="connsiteX9" fmla="*/ 248844 w 477503"/>
                <a:gd name="connsiteY9" fmla="*/ 69528 h 222169"/>
                <a:gd name="connsiteX10" fmla="*/ 192407 w 477503"/>
                <a:gd name="connsiteY10" fmla="*/ 42792 h 222169"/>
                <a:gd name="connsiteX11" fmla="*/ 125288 w 477503"/>
                <a:gd name="connsiteY11" fmla="*/ 12141 h 222169"/>
                <a:gd name="connsiteX12" fmla="*/ 4025 w 477503"/>
                <a:gd name="connsiteY12" fmla="*/ 64550 h 222169"/>
                <a:gd name="connsiteX13" fmla="*/ 1117 w 477503"/>
                <a:gd name="connsiteY13" fmla="*/ 75681 h 222169"/>
                <a:gd name="connsiteX14" fmla="*/ 12247 w 477503"/>
                <a:gd name="connsiteY14" fmla="*/ 78589 h 222169"/>
                <a:gd name="connsiteX15" fmla="*/ 124113 w 477503"/>
                <a:gd name="connsiteY15" fmla="*/ 28250 h 222169"/>
                <a:gd name="connsiteX16" fmla="*/ 184745 w 477503"/>
                <a:gd name="connsiteY16" fmla="*/ 56887 h 222169"/>
                <a:gd name="connsiteX17" fmla="*/ 247445 w 477503"/>
                <a:gd name="connsiteY17" fmla="*/ 85525 h 222169"/>
                <a:gd name="connsiteX18" fmla="*/ 249067 w 477503"/>
                <a:gd name="connsiteY18" fmla="*/ 85525 h 222169"/>
                <a:gd name="connsiteX19" fmla="*/ 305000 w 477503"/>
                <a:gd name="connsiteY19" fmla="*/ 85525 h 222169"/>
                <a:gd name="connsiteX20" fmla="*/ 323458 w 477503"/>
                <a:gd name="connsiteY20" fmla="*/ 103983 h 222169"/>
                <a:gd name="connsiteX21" fmla="*/ 305000 w 477503"/>
                <a:gd name="connsiteY21" fmla="*/ 122441 h 222169"/>
                <a:gd name="connsiteX22" fmla="*/ 304441 w 477503"/>
                <a:gd name="connsiteY22" fmla="*/ 122441 h 222169"/>
                <a:gd name="connsiteX23" fmla="*/ 226918 w 477503"/>
                <a:gd name="connsiteY23" fmla="*/ 122441 h 222169"/>
                <a:gd name="connsiteX24" fmla="*/ 178648 w 477503"/>
                <a:gd name="connsiteY24" fmla="*/ 94810 h 222169"/>
                <a:gd name="connsiteX25" fmla="*/ 167182 w 477503"/>
                <a:gd name="connsiteY25" fmla="*/ 95425 h 222169"/>
                <a:gd name="connsiteX26" fmla="*/ 167797 w 477503"/>
                <a:gd name="connsiteY26" fmla="*/ 106891 h 222169"/>
                <a:gd name="connsiteX27" fmla="*/ 224233 w 477503"/>
                <a:gd name="connsiteY27" fmla="*/ 138494 h 222169"/>
                <a:gd name="connsiteX28" fmla="*/ 256898 w 477503"/>
                <a:gd name="connsiteY28" fmla="*/ 140339 h 222169"/>
                <a:gd name="connsiteX29" fmla="*/ 305560 w 477503"/>
                <a:gd name="connsiteY29" fmla="*/ 138549 h 222169"/>
                <a:gd name="connsiteX30" fmla="*/ 305560 w 477503"/>
                <a:gd name="connsiteY30" fmla="*/ 138549 h 222169"/>
                <a:gd name="connsiteX31" fmla="*/ 336175 w 477503"/>
                <a:gd name="connsiteY31" fmla="*/ 100236 h 222169"/>
                <a:gd name="connsiteX32" fmla="*/ 304609 w 477503"/>
                <a:gd name="connsiteY32" fmla="*/ 69528 h 222169"/>
                <a:gd name="connsiteX33" fmla="*/ 285592 w 477503"/>
                <a:gd name="connsiteY33" fmla="*/ 69528 h 222169"/>
                <a:gd name="connsiteX34" fmla="*/ 354054 w 477503"/>
                <a:gd name="connsiteY34" fmla="*/ 18629 h 222169"/>
                <a:gd name="connsiteX35" fmla="*/ 371247 w 477503"/>
                <a:gd name="connsiteY35" fmla="*/ 21786 h 222169"/>
                <a:gd name="connsiteX36" fmla="*/ 373239 w 477503"/>
                <a:gd name="connsiteY36" fmla="*/ 30990 h 222169"/>
                <a:gd name="connsiteX37" fmla="*/ 368149 w 477503"/>
                <a:gd name="connsiteY37" fmla="*/ 38989 h 222169"/>
                <a:gd name="connsiteX38" fmla="*/ 367589 w 477503"/>
                <a:gd name="connsiteY38" fmla="*/ 39436 h 222169"/>
                <a:gd name="connsiteX39" fmla="*/ 366974 w 477503"/>
                <a:gd name="connsiteY39" fmla="*/ 39940 h 222169"/>
                <a:gd name="connsiteX40" fmla="*/ 366471 w 477503"/>
                <a:gd name="connsiteY40" fmla="*/ 40555 h 222169"/>
                <a:gd name="connsiteX41" fmla="*/ 365967 w 477503"/>
                <a:gd name="connsiteY41" fmla="*/ 41226 h 222169"/>
                <a:gd name="connsiteX42" fmla="*/ 365632 w 477503"/>
                <a:gd name="connsiteY42" fmla="*/ 41897 h 222169"/>
                <a:gd name="connsiteX43" fmla="*/ 365240 w 477503"/>
                <a:gd name="connsiteY43" fmla="*/ 42624 h 222169"/>
                <a:gd name="connsiteX44" fmla="*/ 365240 w 477503"/>
                <a:gd name="connsiteY44" fmla="*/ 43352 h 222169"/>
                <a:gd name="connsiteX45" fmla="*/ 365240 w 477503"/>
                <a:gd name="connsiteY45" fmla="*/ 44135 h 222169"/>
                <a:gd name="connsiteX46" fmla="*/ 365240 w 477503"/>
                <a:gd name="connsiteY46" fmla="*/ 44862 h 222169"/>
                <a:gd name="connsiteX47" fmla="*/ 365240 w 477503"/>
                <a:gd name="connsiteY47" fmla="*/ 45701 h 222169"/>
                <a:gd name="connsiteX48" fmla="*/ 365240 w 477503"/>
                <a:gd name="connsiteY48" fmla="*/ 46484 h 222169"/>
                <a:gd name="connsiteX49" fmla="*/ 365240 w 477503"/>
                <a:gd name="connsiteY49" fmla="*/ 47267 h 222169"/>
                <a:gd name="connsiteX50" fmla="*/ 365240 w 477503"/>
                <a:gd name="connsiteY50" fmla="*/ 48050 h 222169"/>
                <a:gd name="connsiteX51" fmla="*/ 365240 w 477503"/>
                <a:gd name="connsiteY51" fmla="*/ 48777 h 222169"/>
                <a:gd name="connsiteX52" fmla="*/ 365632 w 477503"/>
                <a:gd name="connsiteY52" fmla="*/ 49560 h 222169"/>
                <a:gd name="connsiteX53" fmla="*/ 365911 w 477503"/>
                <a:gd name="connsiteY53" fmla="*/ 50119 h 222169"/>
                <a:gd name="connsiteX54" fmla="*/ 365911 w 477503"/>
                <a:gd name="connsiteY54" fmla="*/ 50119 h 222169"/>
                <a:gd name="connsiteX55" fmla="*/ 366191 w 477503"/>
                <a:gd name="connsiteY55" fmla="*/ 50455 h 222169"/>
                <a:gd name="connsiteX56" fmla="*/ 367086 w 477503"/>
                <a:gd name="connsiteY56" fmla="*/ 51462 h 222169"/>
                <a:gd name="connsiteX57" fmla="*/ 367589 w 477503"/>
                <a:gd name="connsiteY57" fmla="*/ 51853 h 222169"/>
                <a:gd name="connsiteX58" fmla="*/ 368596 w 477503"/>
                <a:gd name="connsiteY58" fmla="*/ 52525 h 222169"/>
                <a:gd name="connsiteX59" fmla="*/ 369100 w 477503"/>
                <a:gd name="connsiteY59" fmla="*/ 52748 h 222169"/>
                <a:gd name="connsiteX60" fmla="*/ 370330 w 477503"/>
                <a:gd name="connsiteY60" fmla="*/ 53196 h 222169"/>
                <a:gd name="connsiteX61" fmla="*/ 370778 w 477503"/>
                <a:gd name="connsiteY61" fmla="*/ 53196 h 222169"/>
                <a:gd name="connsiteX62" fmla="*/ 372512 w 477503"/>
                <a:gd name="connsiteY62" fmla="*/ 53196 h 222169"/>
                <a:gd name="connsiteX63" fmla="*/ 372512 w 477503"/>
                <a:gd name="connsiteY63" fmla="*/ 53196 h 222169"/>
                <a:gd name="connsiteX64" fmla="*/ 374469 w 477503"/>
                <a:gd name="connsiteY64" fmla="*/ 52916 h 222169"/>
                <a:gd name="connsiteX65" fmla="*/ 374973 w 477503"/>
                <a:gd name="connsiteY65" fmla="*/ 52916 h 222169"/>
                <a:gd name="connsiteX66" fmla="*/ 376818 w 477503"/>
                <a:gd name="connsiteY66" fmla="*/ 52021 h 222169"/>
                <a:gd name="connsiteX67" fmla="*/ 402715 w 477503"/>
                <a:gd name="connsiteY67" fmla="*/ 35241 h 222169"/>
                <a:gd name="connsiteX68" fmla="*/ 419999 w 477503"/>
                <a:gd name="connsiteY68" fmla="*/ 38262 h 222169"/>
                <a:gd name="connsiteX69" fmla="*/ 416988 w 477503"/>
                <a:gd name="connsiteY69" fmla="*/ 55482 h 222169"/>
                <a:gd name="connsiteX70" fmla="*/ 416978 w 477503"/>
                <a:gd name="connsiteY70" fmla="*/ 55489 h 222169"/>
                <a:gd name="connsiteX71" fmla="*/ 408644 w 477503"/>
                <a:gd name="connsiteY71" fmla="*/ 61082 h 222169"/>
                <a:gd name="connsiteX72" fmla="*/ 406491 w 477503"/>
                <a:gd name="connsiteY72" fmla="*/ 72968 h 222169"/>
                <a:gd name="connsiteX73" fmla="*/ 418377 w 477503"/>
                <a:gd name="connsiteY73" fmla="*/ 75121 h 222169"/>
                <a:gd name="connsiteX74" fmla="*/ 426599 w 477503"/>
                <a:gd name="connsiteY74" fmla="*/ 69528 h 222169"/>
                <a:gd name="connsiteX75" fmla="*/ 441812 w 477503"/>
                <a:gd name="connsiteY75" fmla="*/ 59292 h 222169"/>
                <a:gd name="connsiteX76" fmla="*/ 459193 w 477503"/>
                <a:gd name="connsiteY76" fmla="*/ 61166 h 222169"/>
                <a:gd name="connsiteX77" fmla="*/ 457320 w 477503"/>
                <a:gd name="connsiteY77" fmla="*/ 78546 h 222169"/>
                <a:gd name="connsiteX78" fmla="*/ 455796 w 477503"/>
                <a:gd name="connsiteY78" fmla="*/ 79596 h 222169"/>
                <a:gd name="connsiteX79" fmla="*/ 455796 w 477503"/>
                <a:gd name="connsiteY79" fmla="*/ 79596 h 222169"/>
                <a:gd name="connsiteX80" fmla="*/ 252759 w 477503"/>
                <a:gd name="connsiteY80" fmla="*/ 205893 h 222169"/>
                <a:gd name="connsiteX81" fmla="*/ 196267 w 477503"/>
                <a:gd name="connsiteY81" fmla="*/ 178765 h 222169"/>
                <a:gd name="connsiteX82" fmla="*/ 133398 w 477503"/>
                <a:gd name="connsiteY82" fmla="*/ 148729 h 222169"/>
                <a:gd name="connsiteX83" fmla="*/ 46422 w 477503"/>
                <a:gd name="connsiteY83" fmla="*/ 185869 h 222169"/>
                <a:gd name="connsiteX84" fmla="*/ 44940 w 477503"/>
                <a:gd name="connsiteY84" fmla="*/ 197251 h 222169"/>
                <a:gd name="connsiteX85" fmla="*/ 56322 w 477503"/>
                <a:gd name="connsiteY85" fmla="*/ 198733 h 222169"/>
                <a:gd name="connsiteX86" fmla="*/ 131273 w 477503"/>
                <a:gd name="connsiteY86" fmla="*/ 164782 h 222169"/>
                <a:gd name="connsiteX87" fmla="*/ 187989 w 477503"/>
                <a:gd name="connsiteY87" fmla="*/ 192748 h 222169"/>
                <a:gd name="connsiteX88" fmla="*/ 252759 w 477503"/>
                <a:gd name="connsiteY88" fmla="*/ 222169 h 222169"/>
                <a:gd name="connsiteX89" fmla="*/ 465304 w 477503"/>
                <a:gd name="connsiteY89" fmla="*/ 92908 h 222169"/>
                <a:gd name="connsiteX90" fmla="*/ 466031 w 477503"/>
                <a:gd name="connsiteY90" fmla="*/ 92293 h 222169"/>
                <a:gd name="connsiteX91" fmla="*/ 472184 w 477503"/>
                <a:gd name="connsiteY91" fmla="*/ 52748 h 222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77503" h="222169">
                  <a:moveTo>
                    <a:pt x="472184" y="52748"/>
                  </a:moveTo>
                  <a:cubicBezTo>
                    <a:pt x="464645" y="42077"/>
                    <a:pt x="450850" y="37847"/>
                    <a:pt x="438624" y="42457"/>
                  </a:cubicBezTo>
                  <a:cubicBezTo>
                    <a:pt x="438171" y="37614"/>
                    <a:pt x="436476" y="32971"/>
                    <a:pt x="433702" y="28977"/>
                  </a:cubicBezTo>
                  <a:cubicBezTo>
                    <a:pt x="424682" y="16120"/>
                    <a:pt x="406991" y="12926"/>
                    <a:pt x="394046" y="21817"/>
                  </a:cubicBezTo>
                  <a:lnTo>
                    <a:pt x="389347" y="24894"/>
                  </a:lnTo>
                  <a:cubicBezTo>
                    <a:pt x="388805" y="20315"/>
                    <a:pt x="387154" y="15938"/>
                    <a:pt x="384537" y="12141"/>
                  </a:cubicBezTo>
                  <a:cubicBezTo>
                    <a:pt x="375417" y="-742"/>
                    <a:pt x="357615" y="-3863"/>
                    <a:pt x="344657" y="5149"/>
                  </a:cubicBezTo>
                  <a:lnTo>
                    <a:pt x="344265" y="5485"/>
                  </a:lnTo>
                  <a:lnTo>
                    <a:pt x="344265" y="5485"/>
                  </a:lnTo>
                  <a:cubicBezTo>
                    <a:pt x="306455" y="37255"/>
                    <a:pt x="260590" y="69528"/>
                    <a:pt x="248844" y="69528"/>
                  </a:cubicBezTo>
                  <a:cubicBezTo>
                    <a:pt x="240174" y="69528"/>
                    <a:pt x="213662" y="54706"/>
                    <a:pt x="192407" y="42792"/>
                  </a:cubicBezTo>
                  <a:cubicBezTo>
                    <a:pt x="165336" y="27634"/>
                    <a:pt x="139718" y="13316"/>
                    <a:pt x="125288" y="12141"/>
                  </a:cubicBezTo>
                  <a:cubicBezTo>
                    <a:pt x="97657" y="10015"/>
                    <a:pt x="13422" y="58957"/>
                    <a:pt x="4025" y="64550"/>
                  </a:cubicBezTo>
                  <a:cubicBezTo>
                    <a:pt x="148" y="66820"/>
                    <a:pt x="-1154" y="71804"/>
                    <a:pt x="1117" y="75681"/>
                  </a:cubicBezTo>
                  <a:cubicBezTo>
                    <a:pt x="3387" y="79557"/>
                    <a:pt x="8370" y="80860"/>
                    <a:pt x="12247" y="78589"/>
                  </a:cubicBezTo>
                  <a:cubicBezTo>
                    <a:pt x="46534" y="58453"/>
                    <a:pt x="107333" y="27299"/>
                    <a:pt x="124113" y="28250"/>
                  </a:cubicBezTo>
                  <a:cubicBezTo>
                    <a:pt x="135300" y="29089"/>
                    <a:pt x="161532" y="43855"/>
                    <a:pt x="184745" y="56887"/>
                  </a:cubicBezTo>
                  <a:cubicBezTo>
                    <a:pt x="215396" y="74059"/>
                    <a:pt x="235084" y="84854"/>
                    <a:pt x="247445" y="85525"/>
                  </a:cubicBezTo>
                  <a:cubicBezTo>
                    <a:pt x="247985" y="85579"/>
                    <a:pt x="248528" y="85579"/>
                    <a:pt x="249067" y="85525"/>
                  </a:cubicBezTo>
                  <a:lnTo>
                    <a:pt x="305000" y="85525"/>
                  </a:lnTo>
                  <a:cubicBezTo>
                    <a:pt x="315194" y="85525"/>
                    <a:pt x="323458" y="93789"/>
                    <a:pt x="323458" y="103983"/>
                  </a:cubicBezTo>
                  <a:cubicBezTo>
                    <a:pt x="323458" y="114177"/>
                    <a:pt x="315194" y="122441"/>
                    <a:pt x="305000" y="122441"/>
                  </a:cubicBezTo>
                  <a:lnTo>
                    <a:pt x="304441" y="122441"/>
                  </a:lnTo>
                  <a:cubicBezTo>
                    <a:pt x="303882" y="122441"/>
                    <a:pt x="249347" y="126244"/>
                    <a:pt x="226918" y="122441"/>
                  </a:cubicBezTo>
                  <a:cubicBezTo>
                    <a:pt x="205831" y="118917"/>
                    <a:pt x="178927" y="95034"/>
                    <a:pt x="178648" y="94810"/>
                  </a:cubicBezTo>
                  <a:cubicBezTo>
                    <a:pt x="175311" y="91814"/>
                    <a:pt x="170178" y="92089"/>
                    <a:pt x="167182" y="95425"/>
                  </a:cubicBezTo>
                  <a:cubicBezTo>
                    <a:pt x="164185" y="98762"/>
                    <a:pt x="164460" y="103895"/>
                    <a:pt x="167797" y="106891"/>
                  </a:cubicBezTo>
                  <a:cubicBezTo>
                    <a:pt x="169027" y="108010"/>
                    <a:pt x="198504" y="134187"/>
                    <a:pt x="224233" y="138494"/>
                  </a:cubicBezTo>
                  <a:cubicBezTo>
                    <a:pt x="235061" y="139919"/>
                    <a:pt x="245979" y="140536"/>
                    <a:pt x="256898" y="140339"/>
                  </a:cubicBezTo>
                  <a:cubicBezTo>
                    <a:pt x="280110" y="140339"/>
                    <a:pt x="304050" y="138661"/>
                    <a:pt x="305560" y="138549"/>
                  </a:cubicBezTo>
                  <a:lnTo>
                    <a:pt x="305560" y="138549"/>
                  </a:lnTo>
                  <a:cubicBezTo>
                    <a:pt x="324594" y="136423"/>
                    <a:pt x="338301" y="119270"/>
                    <a:pt x="336175" y="100236"/>
                  </a:cubicBezTo>
                  <a:cubicBezTo>
                    <a:pt x="334336" y="83775"/>
                    <a:pt x="321114" y="70912"/>
                    <a:pt x="304609" y="69528"/>
                  </a:cubicBezTo>
                  <a:lnTo>
                    <a:pt x="285592" y="69528"/>
                  </a:lnTo>
                  <a:cubicBezTo>
                    <a:pt x="309378" y="53900"/>
                    <a:pt x="332237" y="36906"/>
                    <a:pt x="354054" y="18629"/>
                  </a:cubicBezTo>
                  <a:cubicBezTo>
                    <a:pt x="359673" y="14753"/>
                    <a:pt x="367371" y="16166"/>
                    <a:pt x="371247" y="21786"/>
                  </a:cubicBezTo>
                  <a:cubicBezTo>
                    <a:pt x="373100" y="24471"/>
                    <a:pt x="373815" y="27780"/>
                    <a:pt x="373239" y="30990"/>
                  </a:cubicBezTo>
                  <a:cubicBezTo>
                    <a:pt x="372678" y="34229"/>
                    <a:pt x="370845" y="37109"/>
                    <a:pt x="368149" y="38989"/>
                  </a:cubicBezTo>
                  <a:lnTo>
                    <a:pt x="367589" y="39436"/>
                  </a:lnTo>
                  <a:lnTo>
                    <a:pt x="366974" y="39940"/>
                  </a:lnTo>
                  <a:lnTo>
                    <a:pt x="366471" y="40555"/>
                  </a:lnTo>
                  <a:lnTo>
                    <a:pt x="365967" y="41226"/>
                  </a:lnTo>
                  <a:lnTo>
                    <a:pt x="365632" y="41897"/>
                  </a:lnTo>
                  <a:lnTo>
                    <a:pt x="365240" y="42624"/>
                  </a:lnTo>
                  <a:cubicBezTo>
                    <a:pt x="365240" y="42624"/>
                    <a:pt x="365240" y="43072"/>
                    <a:pt x="365240" y="43352"/>
                  </a:cubicBezTo>
                  <a:cubicBezTo>
                    <a:pt x="365228" y="43612"/>
                    <a:pt x="365228" y="43874"/>
                    <a:pt x="365240" y="44135"/>
                  </a:cubicBezTo>
                  <a:cubicBezTo>
                    <a:pt x="365240" y="44135"/>
                    <a:pt x="365240" y="44638"/>
                    <a:pt x="365240" y="44862"/>
                  </a:cubicBezTo>
                  <a:cubicBezTo>
                    <a:pt x="365226" y="45141"/>
                    <a:pt x="365226" y="45421"/>
                    <a:pt x="365240" y="45701"/>
                  </a:cubicBezTo>
                  <a:cubicBezTo>
                    <a:pt x="365240" y="45701"/>
                    <a:pt x="365240" y="46204"/>
                    <a:pt x="365240" y="46484"/>
                  </a:cubicBezTo>
                  <a:cubicBezTo>
                    <a:pt x="365227" y="46744"/>
                    <a:pt x="365227" y="47006"/>
                    <a:pt x="365240" y="47267"/>
                  </a:cubicBezTo>
                  <a:cubicBezTo>
                    <a:pt x="365228" y="47527"/>
                    <a:pt x="365228" y="47789"/>
                    <a:pt x="365240" y="48050"/>
                  </a:cubicBezTo>
                  <a:cubicBezTo>
                    <a:pt x="365240" y="48050"/>
                    <a:pt x="365240" y="48553"/>
                    <a:pt x="365240" y="48777"/>
                  </a:cubicBezTo>
                  <a:cubicBezTo>
                    <a:pt x="365357" y="49045"/>
                    <a:pt x="365487" y="49306"/>
                    <a:pt x="365632" y="49560"/>
                  </a:cubicBezTo>
                  <a:lnTo>
                    <a:pt x="365911" y="50119"/>
                  </a:lnTo>
                  <a:lnTo>
                    <a:pt x="365911" y="50119"/>
                  </a:lnTo>
                  <a:lnTo>
                    <a:pt x="366191" y="50455"/>
                  </a:lnTo>
                  <a:cubicBezTo>
                    <a:pt x="366461" y="50815"/>
                    <a:pt x="366760" y="51151"/>
                    <a:pt x="367086" y="51462"/>
                  </a:cubicBezTo>
                  <a:lnTo>
                    <a:pt x="367589" y="51853"/>
                  </a:lnTo>
                  <a:lnTo>
                    <a:pt x="368596" y="52525"/>
                  </a:lnTo>
                  <a:lnTo>
                    <a:pt x="369100" y="52748"/>
                  </a:lnTo>
                  <a:lnTo>
                    <a:pt x="370330" y="53196"/>
                  </a:lnTo>
                  <a:lnTo>
                    <a:pt x="370778" y="53196"/>
                  </a:lnTo>
                  <a:cubicBezTo>
                    <a:pt x="371354" y="53258"/>
                    <a:pt x="371935" y="53258"/>
                    <a:pt x="372512" y="53196"/>
                  </a:cubicBezTo>
                  <a:lnTo>
                    <a:pt x="372512" y="53196"/>
                  </a:lnTo>
                  <a:cubicBezTo>
                    <a:pt x="373173" y="53183"/>
                    <a:pt x="373830" y="53089"/>
                    <a:pt x="374469" y="52916"/>
                  </a:cubicBezTo>
                  <a:lnTo>
                    <a:pt x="374973" y="52916"/>
                  </a:lnTo>
                  <a:cubicBezTo>
                    <a:pt x="375624" y="52697"/>
                    <a:pt x="376244" y="52397"/>
                    <a:pt x="376818" y="52021"/>
                  </a:cubicBezTo>
                  <a:lnTo>
                    <a:pt x="402715" y="35241"/>
                  </a:lnTo>
                  <a:cubicBezTo>
                    <a:pt x="408323" y="31309"/>
                    <a:pt x="416056" y="32660"/>
                    <a:pt x="419999" y="38262"/>
                  </a:cubicBezTo>
                  <a:cubicBezTo>
                    <a:pt x="423923" y="43848"/>
                    <a:pt x="422575" y="51558"/>
                    <a:pt x="416988" y="55482"/>
                  </a:cubicBezTo>
                  <a:cubicBezTo>
                    <a:pt x="416985" y="55485"/>
                    <a:pt x="416982" y="55487"/>
                    <a:pt x="416978" y="55489"/>
                  </a:cubicBezTo>
                  <a:lnTo>
                    <a:pt x="408644" y="61082"/>
                  </a:lnTo>
                  <a:cubicBezTo>
                    <a:pt x="404767" y="63770"/>
                    <a:pt x="403803" y="69091"/>
                    <a:pt x="406491" y="72968"/>
                  </a:cubicBezTo>
                  <a:cubicBezTo>
                    <a:pt x="409178" y="76845"/>
                    <a:pt x="414500" y="77809"/>
                    <a:pt x="418377" y="75121"/>
                  </a:cubicBezTo>
                  <a:lnTo>
                    <a:pt x="426599" y="69528"/>
                  </a:lnTo>
                  <a:lnTo>
                    <a:pt x="441812" y="59292"/>
                  </a:lnTo>
                  <a:cubicBezTo>
                    <a:pt x="447129" y="55010"/>
                    <a:pt x="454911" y="55849"/>
                    <a:pt x="459193" y="61166"/>
                  </a:cubicBezTo>
                  <a:cubicBezTo>
                    <a:pt x="463475" y="66483"/>
                    <a:pt x="462637" y="74264"/>
                    <a:pt x="457320" y="78546"/>
                  </a:cubicBezTo>
                  <a:cubicBezTo>
                    <a:pt x="456839" y="78934"/>
                    <a:pt x="456329" y="79285"/>
                    <a:pt x="455796" y="79596"/>
                  </a:cubicBezTo>
                  <a:lnTo>
                    <a:pt x="455796" y="79596"/>
                  </a:lnTo>
                  <a:cubicBezTo>
                    <a:pt x="367589" y="141514"/>
                    <a:pt x="267525" y="205725"/>
                    <a:pt x="252759" y="205893"/>
                  </a:cubicBezTo>
                  <a:cubicBezTo>
                    <a:pt x="241572" y="205893"/>
                    <a:pt x="217633" y="191462"/>
                    <a:pt x="196267" y="178765"/>
                  </a:cubicBezTo>
                  <a:cubicBezTo>
                    <a:pt x="172160" y="164390"/>
                    <a:pt x="149451" y="150799"/>
                    <a:pt x="133398" y="148729"/>
                  </a:cubicBezTo>
                  <a:cubicBezTo>
                    <a:pt x="101404" y="144478"/>
                    <a:pt x="51960" y="181394"/>
                    <a:pt x="46422" y="185869"/>
                  </a:cubicBezTo>
                  <a:cubicBezTo>
                    <a:pt x="42870" y="188603"/>
                    <a:pt x="42206" y="193699"/>
                    <a:pt x="44940" y="197251"/>
                  </a:cubicBezTo>
                  <a:cubicBezTo>
                    <a:pt x="47674" y="200803"/>
                    <a:pt x="52770" y="201467"/>
                    <a:pt x="56322" y="198733"/>
                  </a:cubicBezTo>
                  <a:cubicBezTo>
                    <a:pt x="69858" y="188330"/>
                    <a:pt x="109682" y="161929"/>
                    <a:pt x="131273" y="164782"/>
                  </a:cubicBezTo>
                  <a:cubicBezTo>
                    <a:pt x="144025" y="166460"/>
                    <a:pt x="167349" y="180387"/>
                    <a:pt x="187989" y="192748"/>
                  </a:cubicBezTo>
                  <a:cubicBezTo>
                    <a:pt x="213382" y="207906"/>
                    <a:pt x="237377" y="222169"/>
                    <a:pt x="252759" y="222169"/>
                  </a:cubicBezTo>
                  <a:cubicBezTo>
                    <a:pt x="279663" y="222169"/>
                    <a:pt x="434373" y="114498"/>
                    <a:pt x="465304" y="92908"/>
                  </a:cubicBezTo>
                  <a:lnTo>
                    <a:pt x="466031" y="92293"/>
                  </a:lnTo>
                  <a:cubicBezTo>
                    <a:pt x="478480" y="82969"/>
                    <a:pt x="481212" y="65414"/>
                    <a:pt x="472184" y="52748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: фигура 154">
              <a:extLst>
                <a:ext uri="{FF2B5EF4-FFF2-40B4-BE49-F238E27FC236}">
                  <a16:creationId xmlns:a16="http://schemas.microsoft.com/office/drawing/2014/main" id="{F89E599D-D1D7-4035-9023-CDC0CDD3D78E}"/>
                </a:ext>
              </a:extLst>
            </p:cNvPr>
            <p:cNvSpPr/>
            <p:nvPr/>
          </p:nvSpPr>
          <p:spPr>
            <a:xfrm>
              <a:off x="6577361" y="4497382"/>
              <a:ext cx="118242" cy="118242"/>
            </a:xfrm>
            <a:custGeom>
              <a:avLst/>
              <a:gdLst>
                <a:gd name="connsiteX0" fmla="*/ 59065 w 118242"/>
                <a:gd name="connsiteY0" fmla="*/ 118242 h 118242"/>
                <a:gd name="connsiteX1" fmla="*/ 118242 w 118242"/>
                <a:gd name="connsiteY1" fmla="*/ 59177 h 118242"/>
                <a:gd name="connsiteX2" fmla="*/ 59177 w 118242"/>
                <a:gd name="connsiteY2" fmla="*/ 0 h 118242"/>
                <a:gd name="connsiteX3" fmla="*/ 0 w 118242"/>
                <a:gd name="connsiteY3" fmla="*/ 59065 h 118242"/>
                <a:gd name="connsiteX4" fmla="*/ 0 w 118242"/>
                <a:gd name="connsiteY4" fmla="*/ 59177 h 118242"/>
                <a:gd name="connsiteX5" fmla="*/ 59065 w 118242"/>
                <a:gd name="connsiteY5" fmla="*/ 118242 h 118242"/>
                <a:gd name="connsiteX6" fmla="*/ 59065 w 118242"/>
                <a:gd name="connsiteY6" fmla="*/ 16276 h 118242"/>
                <a:gd name="connsiteX7" fmla="*/ 101910 w 118242"/>
                <a:gd name="connsiteY7" fmla="*/ 59121 h 118242"/>
                <a:gd name="connsiteX8" fmla="*/ 59065 w 118242"/>
                <a:gd name="connsiteY8" fmla="*/ 101966 h 118242"/>
                <a:gd name="connsiteX9" fmla="*/ 16221 w 118242"/>
                <a:gd name="connsiteY9" fmla="*/ 59121 h 118242"/>
                <a:gd name="connsiteX10" fmla="*/ 59065 w 118242"/>
                <a:gd name="connsiteY10" fmla="*/ 16276 h 118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242" h="118242">
                  <a:moveTo>
                    <a:pt x="59065" y="118242"/>
                  </a:moveTo>
                  <a:cubicBezTo>
                    <a:pt x="91717" y="118273"/>
                    <a:pt x="118212" y="91828"/>
                    <a:pt x="118242" y="59177"/>
                  </a:cubicBezTo>
                  <a:cubicBezTo>
                    <a:pt x="118273" y="26526"/>
                    <a:pt x="91829" y="31"/>
                    <a:pt x="59177" y="0"/>
                  </a:cubicBezTo>
                  <a:cubicBezTo>
                    <a:pt x="26525" y="-31"/>
                    <a:pt x="31" y="26414"/>
                    <a:pt x="0" y="59065"/>
                  </a:cubicBezTo>
                  <a:cubicBezTo>
                    <a:pt x="0" y="59103"/>
                    <a:pt x="0" y="59140"/>
                    <a:pt x="0" y="59177"/>
                  </a:cubicBezTo>
                  <a:cubicBezTo>
                    <a:pt x="62" y="91773"/>
                    <a:pt x="26470" y="118181"/>
                    <a:pt x="59065" y="118242"/>
                  </a:cubicBezTo>
                  <a:close/>
                  <a:moveTo>
                    <a:pt x="59065" y="16276"/>
                  </a:moveTo>
                  <a:cubicBezTo>
                    <a:pt x="82728" y="16276"/>
                    <a:pt x="101910" y="35459"/>
                    <a:pt x="101910" y="59121"/>
                  </a:cubicBezTo>
                  <a:cubicBezTo>
                    <a:pt x="101910" y="82784"/>
                    <a:pt x="82728" y="101966"/>
                    <a:pt x="59065" y="101966"/>
                  </a:cubicBezTo>
                  <a:cubicBezTo>
                    <a:pt x="35403" y="101966"/>
                    <a:pt x="16221" y="82784"/>
                    <a:pt x="16221" y="59121"/>
                  </a:cubicBezTo>
                  <a:cubicBezTo>
                    <a:pt x="16251" y="35472"/>
                    <a:pt x="35416" y="16307"/>
                    <a:pt x="59065" y="16276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: фигура 155">
              <a:extLst>
                <a:ext uri="{FF2B5EF4-FFF2-40B4-BE49-F238E27FC236}">
                  <a16:creationId xmlns:a16="http://schemas.microsoft.com/office/drawing/2014/main" id="{AF2B1679-AABA-4016-9974-AD93406F0A51}"/>
                </a:ext>
              </a:extLst>
            </p:cNvPr>
            <p:cNvSpPr/>
            <p:nvPr/>
          </p:nvSpPr>
          <p:spPr>
            <a:xfrm>
              <a:off x="6737161" y="4511141"/>
              <a:ext cx="90835" cy="90835"/>
            </a:xfrm>
            <a:custGeom>
              <a:avLst/>
              <a:gdLst>
                <a:gd name="connsiteX0" fmla="*/ 45418 w 90835"/>
                <a:gd name="connsiteY0" fmla="*/ 90835 h 90835"/>
                <a:gd name="connsiteX1" fmla="*/ 90835 w 90835"/>
                <a:gd name="connsiteY1" fmla="*/ 45418 h 90835"/>
                <a:gd name="connsiteX2" fmla="*/ 45418 w 90835"/>
                <a:gd name="connsiteY2" fmla="*/ 0 h 90835"/>
                <a:gd name="connsiteX3" fmla="*/ 0 w 90835"/>
                <a:gd name="connsiteY3" fmla="*/ 45418 h 90835"/>
                <a:gd name="connsiteX4" fmla="*/ 45418 w 90835"/>
                <a:gd name="connsiteY4" fmla="*/ 90835 h 90835"/>
                <a:gd name="connsiteX5" fmla="*/ 45418 w 90835"/>
                <a:gd name="connsiteY5" fmla="*/ 16276 h 90835"/>
                <a:gd name="connsiteX6" fmla="*/ 74503 w 90835"/>
                <a:gd name="connsiteY6" fmla="*/ 45474 h 90835"/>
                <a:gd name="connsiteX7" fmla="*/ 45306 w 90835"/>
                <a:gd name="connsiteY7" fmla="*/ 74559 h 90835"/>
                <a:gd name="connsiteX8" fmla="*/ 16221 w 90835"/>
                <a:gd name="connsiteY8" fmla="*/ 45418 h 90835"/>
                <a:gd name="connsiteX9" fmla="*/ 45418 w 90835"/>
                <a:gd name="connsiteY9" fmla="*/ 16221 h 9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835" h="90835">
                  <a:moveTo>
                    <a:pt x="45418" y="90835"/>
                  </a:moveTo>
                  <a:cubicBezTo>
                    <a:pt x="70501" y="90835"/>
                    <a:pt x="90835" y="70501"/>
                    <a:pt x="90835" y="45418"/>
                  </a:cubicBezTo>
                  <a:cubicBezTo>
                    <a:pt x="90835" y="20334"/>
                    <a:pt x="70501" y="0"/>
                    <a:pt x="45418" y="0"/>
                  </a:cubicBezTo>
                  <a:cubicBezTo>
                    <a:pt x="20334" y="0"/>
                    <a:pt x="0" y="20334"/>
                    <a:pt x="0" y="45418"/>
                  </a:cubicBezTo>
                  <a:cubicBezTo>
                    <a:pt x="31" y="70488"/>
                    <a:pt x="20347" y="90804"/>
                    <a:pt x="45418" y="90835"/>
                  </a:cubicBezTo>
                  <a:close/>
                  <a:moveTo>
                    <a:pt x="45418" y="16276"/>
                  </a:moveTo>
                  <a:cubicBezTo>
                    <a:pt x="61512" y="16307"/>
                    <a:pt x="74533" y="29379"/>
                    <a:pt x="74503" y="45474"/>
                  </a:cubicBezTo>
                  <a:cubicBezTo>
                    <a:pt x="74472" y="61568"/>
                    <a:pt x="61400" y="74589"/>
                    <a:pt x="45306" y="74559"/>
                  </a:cubicBezTo>
                  <a:cubicBezTo>
                    <a:pt x="29233" y="74528"/>
                    <a:pt x="16221" y="61490"/>
                    <a:pt x="16221" y="45418"/>
                  </a:cubicBezTo>
                  <a:cubicBezTo>
                    <a:pt x="16221" y="29293"/>
                    <a:pt x="29293" y="16221"/>
                    <a:pt x="45418" y="16221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: фигура 156">
              <a:extLst>
                <a:ext uri="{FF2B5EF4-FFF2-40B4-BE49-F238E27FC236}">
                  <a16:creationId xmlns:a16="http://schemas.microsoft.com/office/drawing/2014/main" id="{F922F6CF-B1F7-4A3C-A54A-6A398D8A0C5B}"/>
                </a:ext>
              </a:extLst>
            </p:cNvPr>
            <p:cNvSpPr/>
            <p:nvPr/>
          </p:nvSpPr>
          <p:spPr>
            <a:xfrm>
              <a:off x="6648228" y="4623902"/>
              <a:ext cx="118242" cy="118242"/>
            </a:xfrm>
            <a:custGeom>
              <a:avLst/>
              <a:gdLst>
                <a:gd name="connsiteX0" fmla="*/ 0 w 118242"/>
                <a:gd name="connsiteY0" fmla="*/ 59121 h 118242"/>
                <a:gd name="connsiteX1" fmla="*/ 59121 w 118242"/>
                <a:gd name="connsiteY1" fmla="*/ 118242 h 118242"/>
                <a:gd name="connsiteX2" fmla="*/ 118242 w 118242"/>
                <a:gd name="connsiteY2" fmla="*/ 59121 h 118242"/>
                <a:gd name="connsiteX3" fmla="*/ 59121 w 118242"/>
                <a:gd name="connsiteY3" fmla="*/ 0 h 118242"/>
                <a:gd name="connsiteX4" fmla="*/ 0 w 118242"/>
                <a:gd name="connsiteY4" fmla="*/ 59121 h 118242"/>
                <a:gd name="connsiteX5" fmla="*/ 59121 w 118242"/>
                <a:gd name="connsiteY5" fmla="*/ 16276 h 118242"/>
                <a:gd name="connsiteX6" fmla="*/ 101966 w 118242"/>
                <a:gd name="connsiteY6" fmla="*/ 59121 h 118242"/>
                <a:gd name="connsiteX7" fmla="*/ 59121 w 118242"/>
                <a:gd name="connsiteY7" fmla="*/ 101966 h 118242"/>
                <a:gd name="connsiteX8" fmla="*/ 16276 w 118242"/>
                <a:gd name="connsiteY8" fmla="*/ 59121 h 118242"/>
                <a:gd name="connsiteX9" fmla="*/ 59121 w 118242"/>
                <a:gd name="connsiteY9" fmla="*/ 16276 h 118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242" h="118242">
                  <a:moveTo>
                    <a:pt x="0" y="59121"/>
                  </a:moveTo>
                  <a:cubicBezTo>
                    <a:pt x="0" y="91773"/>
                    <a:pt x="26470" y="118242"/>
                    <a:pt x="59121" y="118242"/>
                  </a:cubicBezTo>
                  <a:cubicBezTo>
                    <a:pt x="91773" y="118242"/>
                    <a:pt x="118242" y="91773"/>
                    <a:pt x="118242" y="59121"/>
                  </a:cubicBezTo>
                  <a:cubicBezTo>
                    <a:pt x="118242" y="26470"/>
                    <a:pt x="91773" y="0"/>
                    <a:pt x="59121" y="0"/>
                  </a:cubicBezTo>
                  <a:cubicBezTo>
                    <a:pt x="26482" y="31"/>
                    <a:pt x="31" y="26482"/>
                    <a:pt x="0" y="59121"/>
                  </a:cubicBezTo>
                  <a:close/>
                  <a:moveTo>
                    <a:pt x="59121" y="16276"/>
                  </a:moveTo>
                  <a:cubicBezTo>
                    <a:pt x="82784" y="16276"/>
                    <a:pt x="101966" y="35459"/>
                    <a:pt x="101966" y="59121"/>
                  </a:cubicBezTo>
                  <a:cubicBezTo>
                    <a:pt x="101966" y="82784"/>
                    <a:pt x="82784" y="101966"/>
                    <a:pt x="59121" y="101966"/>
                  </a:cubicBezTo>
                  <a:cubicBezTo>
                    <a:pt x="35459" y="101966"/>
                    <a:pt x="16276" y="82784"/>
                    <a:pt x="16276" y="59121"/>
                  </a:cubicBezTo>
                  <a:cubicBezTo>
                    <a:pt x="16307" y="35472"/>
                    <a:pt x="35472" y="16307"/>
                    <a:pt x="59121" y="16276"/>
                  </a:cubicBezTo>
                  <a:close/>
                </a:path>
              </a:pathLst>
            </a:custGeom>
            <a:solidFill>
              <a:schemeClr val="tx2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6" name="Рисунок 55">
            <a:extLst>
              <a:ext uri="{FF2B5EF4-FFF2-40B4-BE49-F238E27FC236}">
                <a16:creationId xmlns:a16="http://schemas.microsoft.com/office/drawing/2014/main" id="{BE302F53-1E50-4E33-8830-AAD91F85E202}"/>
              </a:ext>
            </a:extLst>
          </p:cNvPr>
          <p:cNvGrpSpPr/>
          <p:nvPr/>
        </p:nvGrpSpPr>
        <p:grpSpPr>
          <a:xfrm>
            <a:off x="9626997" y="1841049"/>
            <a:ext cx="474586" cy="515735"/>
            <a:chOff x="2975435" y="2316798"/>
            <a:chExt cx="474586" cy="515735"/>
          </a:xfrm>
          <a:solidFill>
            <a:schemeClr val="tx2"/>
          </a:solidFill>
        </p:grpSpPr>
        <p:sp>
          <p:nvSpPr>
            <p:cNvPr id="67" name="Полилиния: фигура 237">
              <a:extLst>
                <a:ext uri="{FF2B5EF4-FFF2-40B4-BE49-F238E27FC236}">
                  <a16:creationId xmlns:a16="http://schemas.microsoft.com/office/drawing/2014/main" id="{A14DF56C-E9C0-4DEB-BF1C-6390EA9724CE}"/>
                </a:ext>
              </a:extLst>
            </p:cNvPr>
            <p:cNvSpPr/>
            <p:nvPr/>
          </p:nvSpPr>
          <p:spPr>
            <a:xfrm>
              <a:off x="2975435" y="2528616"/>
              <a:ext cx="248682" cy="178685"/>
            </a:xfrm>
            <a:custGeom>
              <a:avLst/>
              <a:gdLst>
                <a:gd name="connsiteX0" fmla="*/ 170217 w 248682"/>
                <a:gd name="connsiteY0" fmla="*/ 16948 h 178685"/>
                <a:gd name="connsiteX1" fmla="*/ 236533 w 248682"/>
                <a:gd name="connsiteY1" fmla="*/ 31997 h 178685"/>
                <a:gd name="connsiteX2" fmla="*/ 247843 w 248682"/>
                <a:gd name="connsiteY2" fmla="*/ 28037 h 178685"/>
                <a:gd name="connsiteX3" fmla="*/ 243883 w 248682"/>
                <a:gd name="connsiteY3" fmla="*/ 16727 h 178685"/>
                <a:gd name="connsiteX4" fmla="*/ 170217 w 248682"/>
                <a:gd name="connsiteY4" fmla="*/ 0 h 178685"/>
                <a:gd name="connsiteX5" fmla="*/ 0 w 248682"/>
                <a:gd name="connsiteY5" fmla="*/ 170211 h 178685"/>
                <a:gd name="connsiteX6" fmla="*/ 8474 w 248682"/>
                <a:gd name="connsiteY6" fmla="*/ 178685 h 178685"/>
                <a:gd name="connsiteX7" fmla="*/ 155405 w 248682"/>
                <a:gd name="connsiteY7" fmla="*/ 178685 h 178685"/>
                <a:gd name="connsiteX8" fmla="*/ 163879 w 248682"/>
                <a:gd name="connsiteY8" fmla="*/ 170211 h 178685"/>
                <a:gd name="connsiteX9" fmla="*/ 155405 w 248682"/>
                <a:gd name="connsiteY9" fmla="*/ 161737 h 178685"/>
                <a:gd name="connsiteX10" fmla="*/ 17179 w 248682"/>
                <a:gd name="connsiteY10" fmla="*/ 161737 h 178685"/>
                <a:gd name="connsiteX11" fmla="*/ 170217 w 248682"/>
                <a:gd name="connsiteY11" fmla="*/ 16948 h 1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82" h="178685">
                  <a:moveTo>
                    <a:pt x="170217" y="16948"/>
                  </a:moveTo>
                  <a:cubicBezTo>
                    <a:pt x="193452" y="16948"/>
                    <a:pt x="215761" y="22009"/>
                    <a:pt x="236533" y="31997"/>
                  </a:cubicBezTo>
                  <a:cubicBezTo>
                    <a:pt x="240759" y="34020"/>
                    <a:pt x="245821" y="32251"/>
                    <a:pt x="247843" y="28037"/>
                  </a:cubicBezTo>
                  <a:cubicBezTo>
                    <a:pt x="249871" y="23817"/>
                    <a:pt x="248097" y="18750"/>
                    <a:pt x="243883" y="16727"/>
                  </a:cubicBezTo>
                  <a:cubicBezTo>
                    <a:pt x="220800" y="5627"/>
                    <a:pt x="196017" y="0"/>
                    <a:pt x="170217" y="0"/>
                  </a:cubicBezTo>
                  <a:cubicBezTo>
                    <a:pt x="76361" y="0"/>
                    <a:pt x="0" y="76361"/>
                    <a:pt x="0" y="170211"/>
                  </a:cubicBezTo>
                  <a:cubicBezTo>
                    <a:pt x="0" y="174889"/>
                    <a:pt x="3796" y="178685"/>
                    <a:pt x="8474" y="178685"/>
                  </a:cubicBezTo>
                  <a:lnTo>
                    <a:pt x="155405" y="178685"/>
                  </a:lnTo>
                  <a:cubicBezTo>
                    <a:pt x="160082" y="178685"/>
                    <a:pt x="163879" y="174889"/>
                    <a:pt x="163879" y="170211"/>
                  </a:cubicBezTo>
                  <a:cubicBezTo>
                    <a:pt x="163879" y="165534"/>
                    <a:pt x="160082" y="161737"/>
                    <a:pt x="155405" y="161737"/>
                  </a:cubicBezTo>
                  <a:lnTo>
                    <a:pt x="17179" y="161737"/>
                  </a:lnTo>
                  <a:cubicBezTo>
                    <a:pt x="21591" y="81151"/>
                    <a:pt x="88546" y="16948"/>
                    <a:pt x="170217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Полилиния: фигура 238">
              <a:extLst>
                <a:ext uri="{FF2B5EF4-FFF2-40B4-BE49-F238E27FC236}">
                  <a16:creationId xmlns:a16="http://schemas.microsoft.com/office/drawing/2014/main" id="{C9F5BC05-B7A8-45A7-9EFA-ACB070E0A99C}"/>
                </a:ext>
              </a:extLst>
            </p:cNvPr>
            <p:cNvSpPr/>
            <p:nvPr/>
          </p:nvSpPr>
          <p:spPr>
            <a:xfrm>
              <a:off x="3044282" y="2316798"/>
              <a:ext cx="197107" cy="197112"/>
            </a:xfrm>
            <a:custGeom>
              <a:avLst/>
              <a:gdLst>
                <a:gd name="connsiteX0" fmla="*/ 98534 w 197107"/>
                <a:gd name="connsiteY0" fmla="*/ 197113 h 197112"/>
                <a:gd name="connsiteX1" fmla="*/ 197107 w 197107"/>
                <a:gd name="connsiteY1" fmla="*/ 98551 h 197112"/>
                <a:gd name="connsiteX2" fmla="*/ 98534 w 197107"/>
                <a:gd name="connsiteY2" fmla="*/ 0 h 197112"/>
                <a:gd name="connsiteX3" fmla="*/ 0 w 197107"/>
                <a:gd name="connsiteY3" fmla="*/ 98551 h 197112"/>
                <a:gd name="connsiteX4" fmla="*/ 98534 w 197107"/>
                <a:gd name="connsiteY4" fmla="*/ 197113 h 197112"/>
                <a:gd name="connsiteX5" fmla="*/ 98534 w 197107"/>
                <a:gd name="connsiteY5" fmla="*/ 16948 h 197112"/>
                <a:gd name="connsiteX6" fmla="*/ 180160 w 197107"/>
                <a:gd name="connsiteY6" fmla="*/ 98551 h 197112"/>
                <a:gd name="connsiteX7" fmla="*/ 98534 w 197107"/>
                <a:gd name="connsiteY7" fmla="*/ 180165 h 197112"/>
                <a:gd name="connsiteX8" fmla="*/ 16948 w 197107"/>
                <a:gd name="connsiteY8" fmla="*/ 98551 h 197112"/>
                <a:gd name="connsiteX9" fmla="*/ 98534 w 197107"/>
                <a:gd name="connsiteY9" fmla="*/ 16948 h 19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07" h="197112">
                  <a:moveTo>
                    <a:pt x="98534" y="197113"/>
                  </a:moveTo>
                  <a:cubicBezTo>
                    <a:pt x="152885" y="197113"/>
                    <a:pt x="197107" y="152896"/>
                    <a:pt x="197107" y="98551"/>
                  </a:cubicBezTo>
                  <a:cubicBezTo>
                    <a:pt x="197107" y="44211"/>
                    <a:pt x="152885" y="0"/>
                    <a:pt x="98534" y="0"/>
                  </a:cubicBezTo>
                  <a:cubicBezTo>
                    <a:pt x="44200" y="0"/>
                    <a:pt x="0" y="44211"/>
                    <a:pt x="0" y="98551"/>
                  </a:cubicBezTo>
                  <a:cubicBezTo>
                    <a:pt x="-6" y="152896"/>
                    <a:pt x="44200" y="197113"/>
                    <a:pt x="98534" y="197113"/>
                  </a:cubicBezTo>
                  <a:close/>
                  <a:moveTo>
                    <a:pt x="98534" y="16948"/>
                  </a:moveTo>
                  <a:cubicBezTo>
                    <a:pt x="143547" y="16948"/>
                    <a:pt x="180160" y="53555"/>
                    <a:pt x="180160" y="98551"/>
                  </a:cubicBezTo>
                  <a:cubicBezTo>
                    <a:pt x="180160" y="143553"/>
                    <a:pt x="143547" y="180165"/>
                    <a:pt x="98534" y="180165"/>
                  </a:cubicBezTo>
                  <a:cubicBezTo>
                    <a:pt x="53543" y="180165"/>
                    <a:pt x="16948" y="143553"/>
                    <a:pt x="16948" y="98551"/>
                  </a:cubicBezTo>
                  <a:cubicBezTo>
                    <a:pt x="16942" y="53555"/>
                    <a:pt x="53543" y="16948"/>
                    <a:pt x="9853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" name="Полилиния: фигура 239">
              <a:extLst>
                <a:ext uri="{FF2B5EF4-FFF2-40B4-BE49-F238E27FC236}">
                  <a16:creationId xmlns:a16="http://schemas.microsoft.com/office/drawing/2014/main" id="{2E361D31-713B-4C9C-BECD-763152EE2FC3}"/>
                </a:ext>
              </a:extLst>
            </p:cNvPr>
            <p:cNvSpPr/>
            <p:nvPr/>
          </p:nvSpPr>
          <p:spPr>
            <a:xfrm>
              <a:off x="3190151" y="2594316"/>
              <a:ext cx="259870" cy="238216"/>
            </a:xfrm>
            <a:custGeom>
              <a:avLst/>
              <a:gdLst>
                <a:gd name="connsiteX0" fmla="*/ 230805 w 259870"/>
                <a:gd name="connsiteY0" fmla="*/ 0 h 238216"/>
                <a:gd name="connsiteX1" fmla="*/ 29071 w 259870"/>
                <a:gd name="connsiteY1" fmla="*/ 0 h 238216"/>
                <a:gd name="connsiteX2" fmla="*/ 0 w 259870"/>
                <a:gd name="connsiteY2" fmla="*/ 29071 h 238216"/>
                <a:gd name="connsiteX3" fmla="*/ 0 w 259870"/>
                <a:gd name="connsiteY3" fmla="*/ 151716 h 238216"/>
                <a:gd name="connsiteX4" fmla="*/ 29065 w 259870"/>
                <a:gd name="connsiteY4" fmla="*/ 180781 h 238216"/>
                <a:gd name="connsiteX5" fmla="*/ 50843 w 259870"/>
                <a:gd name="connsiteY5" fmla="*/ 180781 h 238216"/>
                <a:gd name="connsiteX6" fmla="*/ 50843 w 259870"/>
                <a:gd name="connsiteY6" fmla="*/ 229743 h 238216"/>
                <a:gd name="connsiteX7" fmla="*/ 55899 w 259870"/>
                <a:gd name="connsiteY7" fmla="*/ 237494 h 238216"/>
                <a:gd name="connsiteX8" fmla="*/ 59317 w 259870"/>
                <a:gd name="connsiteY8" fmla="*/ 238217 h 238216"/>
                <a:gd name="connsiteX9" fmla="*/ 65034 w 259870"/>
                <a:gd name="connsiteY9" fmla="*/ 235997 h 238216"/>
                <a:gd name="connsiteX10" fmla="*/ 125475 w 259870"/>
                <a:gd name="connsiteY10" fmla="*/ 180781 h 238216"/>
                <a:gd name="connsiteX11" fmla="*/ 230811 w 259870"/>
                <a:gd name="connsiteY11" fmla="*/ 180781 h 238216"/>
                <a:gd name="connsiteX12" fmla="*/ 259870 w 259870"/>
                <a:gd name="connsiteY12" fmla="*/ 151721 h 238216"/>
                <a:gd name="connsiteX13" fmla="*/ 259870 w 259870"/>
                <a:gd name="connsiteY13" fmla="*/ 29065 h 238216"/>
                <a:gd name="connsiteX14" fmla="*/ 230805 w 259870"/>
                <a:gd name="connsiteY14" fmla="*/ 0 h 238216"/>
                <a:gd name="connsiteX15" fmla="*/ 242923 w 259870"/>
                <a:gd name="connsiteY15" fmla="*/ 151716 h 238216"/>
                <a:gd name="connsiteX16" fmla="*/ 230811 w 259870"/>
                <a:gd name="connsiteY16" fmla="*/ 163828 h 238216"/>
                <a:gd name="connsiteX17" fmla="*/ 122187 w 259870"/>
                <a:gd name="connsiteY17" fmla="*/ 163828 h 238216"/>
                <a:gd name="connsiteX18" fmla="*/ 116470 w 259870"/>
                <a:gd name="connsiteY18" fmla="*/ 166048 h 238216"/>
                <a:gd name="connsiteX19" fmla="*/ 67791 w 259870"/>
                <a:gd name="connsiteY19" fmla="*/ 210519 h 238216"/>
                <a:gd name="connsiteX20" fmla="*/ 67791 w 259870"/>
                <a:gd name="connsiteY20" fmla="*/ 172302 h 238216"/>
                <a:gd name="connsiteX21" fmla="*/ 59317 w 259870"/>
                <a:gd name="connsiteY21" fmla="*/ 163828 h 238216"/>
                <a:gd name="connsiteX22" fmla="*/ 29065 w 259870"/>
                <a:gd name="connsiteY22" fmla="*/ 163828 h 238216"/>
                <a:gd name="connsiteX23" fmla="*/ 16948 w 259870"/>
                <a:gd name="connsiteY23" fmla="*/ 151710 h 238216"/>
                <a:gd name="connsiteX24" fmla="*/ 16948 w 259870"/>
                <a:gd name="connsiteY24" fmla="*/ 29065 h 238216"/>
                <a:gd name="connsiteX25" fmla="*/ 29071 w 259870"/>
                <a:gd name="connsiteY25" fmla="*/ 16942 h 238216"/>
                <a:gd name="connsiteX26" fmla="*/ 230805 w 259870"/>
                <a:gd name="connsiteY26" fmla="*/ 16942 h 238216"/>
                <a:gd name="connsiteX27" fmla="*/ 242923 w 259870"/>
                <a:gd name="connsiteY27" fmla="*/ 29060 h 238216"/>
                <a:gd name="connsiteX28" fmla="*/ 242923 w 259870"/>
                <a:gd name="connsiteY28" fmla="*/ 151716 h 238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9870" h="238216">
                  <a:moveTo>
                    <a:pt x="230805" y="0"/>
                  </a:moveTo>
                  <a:lnTo>
                    <a:pt x="29071" y="0"/>
                  </a:lnTo>
                  <a:cubicBezTo>
                    <a:pt x="13044" y="0"/>
                    <a:pt x="0" y="13044"/>
                    <a:pt x="0" y="29071"/>
                  </a:cubicBezTo>
                  <a:lnTo>
                    <a:pt x="0" y="151716"/>
                  </a:lnTo>
                  <a:cubicBezTo>
                    <a:pt x="0" y="167743"/>
                    <a:pt x="13038" y="180781"/>
                    <a:pt x="29065" y="180781"/>
                  </a:cubicBezTo>
                  <a:lnTo>
                    <a:pt x="50843" y="180781"/>
                  </a:lnTo>
                  <a:lnTo>
                    <a:pt x="50843" y="229743"/>
                  </a:lnTo>
                  <a:cubicBezTo>
                    <a:pt x="50843" y="233104"/>
                    <a:pt x="52826" y="236143"/>
                    <a:pt x="55899" y="237494"/>
                  </a:cubicBezTo>
                  <a:cubicBezTo>
                    <a:pt x="56995" y="237979"/>
                    <a:pt x="58159" y="238217"/>
                    <a:pt x="59317" y="238217"/>
                  </a:cubicBezTo>
                  <a:cubicBezTo>
                    <a:pt x="61390" y="238217"/>
                    <a:pt x="63435" y="237454"/>
                    <a:pt x="65034" y="235997"/>
                  </a:cubicBezTo>
                  <a:lnTo>
                    <a:pt x="125475" y="180781"/>
                  </a:lnTo>
                  <a:lnTo>
                    <a:pt x="230811" y="180781"/>
                  </a:lnTo>
                  <a:cubicBezTo>
                    <a:pt x="246832" y="180781"/>
                    <a:pt x="259870" y="167743"/>
                    <a:pt x="259870" y="151721"/>
                  </a:cubicBezTo>
                  <a:lnTo>
                    <a:pt x="259870" y="29065"/>
                  </a:lnTo>
                  <a:cubicBezTo>
                    <a:pt x="259870" y="13033"/>
                    <a:pt x="246832" y="0"/>
                    <a:pt x="230805" y="0"/>
                  </a:cubicBezTo>
                  <a:close/>
                  <a:moveTo>
                    <a:pt x="242923" y="151716"/>
                  </a:moveTo>
                  <a:cubicBezTo>
                    <a:pt x="242923" y="158393"/>
                    <a:pt x="237488" y="163828"/>
                    <a:pt x="230811" y="163828"/>
                  </a:cubicBezTo>
                  <a:lnTo>
                    <a:pt x="122187" y="163828"/>
                  </a:lnTo>
                  <a:cubicBezTo>
                    <a:pt x="120074" y="163828"/>
                    <a:pt x="118035" y="164619"/>
                    <a:pt x="116470" y="166048"/>
                  </a:cubicBezTo>
                  <a:lnTo>
                    <a:pt x="67791" y="210519"/>
                  </a:lnTo>
                  <a:lnTo>
                    <a:pt x="67791" y="172302"/>
                  </a:lnTo>
                  <a:cubicBezTo>
                    <a:pt x="67791" y="167624"/>
                    <a:pt x="63994" y="163828"/>
                    <a:pt x="59317" y="163828"/>
                  </a:cubicBezTo>
                  <a:lnTo>
                    <a:pt x="29065" y="163828"/>
                  </a:lnTo>
                  <a:cubicBezTo>
                    <a:pt x="22382" y="163828"/>
                    <a:pt x="16948" y="158393"/>
                    <a:pt x="16948" y="151710"/>
                  </a:cubicBezTo>
                  <a:lnTo>
                    <a:pt x="16948" y="29065"/>
                  </a:lnTo>
                  <a:cubicBezTo>
                    <a:pt x="16948" y="22382"/>
                    <a:pt x="22388" y="16942"/>
                    <a:pt x="29071" y="16942"/>
                  </a:cubicBezTo>
                  <a:lnTo>
                    <a:pt x="230805" y="16942"/>
                  </a:lnTo>
                  <a:cubicBezTo>
                    <a:pt x="237488" y="16942"/>
                    <a:pt x="242923" y="22377"/>
                    <a:pt x="242923" y="29060"/>
                  </a:cubicBezTo>
                  <a:lnTo>
                    <a:pt x="242923" y="151716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: фигура 240">
              <a:extLst>
                <a:ext uri="{FF2B5EF4-FFF2-40B4-BE49-F238E27FC236}">
                  <a16:creationId xmlns:a16="http://schemas.microsoft.com/office/drawing/2014/main" id="{2FF80F6D-33C9-46F0-8C02-319D570839F3}"/>
                </a:ext>
              </a:extLst>
            </p:cNvPr>
            <p:cNvSpPr/>
            <p:nvPr/>
          </p:nvSpPr>
          <p:spPr>
            <a:xfrm>
              <a:off x="3257947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: фигура 241">
              <a:extLst>
                <a:ext uri="{FF2B5EF4-FFF2-40B4-BE49-F238E27FC236}">
                  <a16:creationId xmlns:a16="http://schemas.microsoft.com/office/drawing/2014/main" id="{4DC2F4AF-C375-4EDD-82C3-9C83C16E7694}"/>
                </a:ext>
              </a:extLst>
            </p:cNvPr>
            <p:cNvSpPr/>
            <p:nvPr/>
          </p:nvSpPr>
          <p:spPr>
            <a:xfrm>
              <a:off x="3314439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: фигура 242">
              <a:extLst>
                <a:ext uri="{FF2B5EF4-FFF2-40B4-BE49-F238E27FC236}">
                  <a16:creationId xmlns:a16="http://schemas.microsoft.com/office/drawing/2014/main" id="{32B07BA9-C378-40FB-A27E-D5D3BCB79FAD}"/>
                </a:ext>
              </a:extLst>
            </p:cNvPr>
            <p:cNvSpPr/>
            <p:nvPr/>
          </p:nvSpPr>
          <p:spPr>
            <a:xfrm>
              <a:off x="3365283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3" name="Рисунок 55">
            <a:extLst>
              <a:ext uri="{FF2B5EF4-FFF2-40B4-BE49-F238E27FC236}">
                <a16:creationId xmlns:a16="http://schemas.microsoft.com/office/drawing/2014/main" id="{BE302F53-1E50-4E33-8830-AAD91F85E202}"/>
              </a:ext>
            </a:extLst>
          </p:cNvPr>
          <p:cNvGrpSpPr/>
          <p:nvPr/>
        </p:nvGrpSpPr>
        <p:grpSpPr>
          <a:xfrm>
            <a:off x="5868052" y="1837450"/>
            <a:ext cx="474586" cy="515735"/>
            <a:chOff x="2975435" y="2316798"/>
            <a:chExt cx="474586" cy="515735"/>
          </a:xfrm>
          <a:solidFill>
            <a:schemeClr val="tx2"/>
          </a:solidFill>
        </p:grpSpPr>
        <p:sp>
          <p:nvSpPr>
            <p:cNvPr id="74" name="Полилиния: фигура 237">
              <a:extLst>
                <a:ext uri="{FF2B5EF4-FFF2-40B4-BE49-F238E27FC236}">
                  <a16:creationId xmlns:a16="http://schemas.microsoft.com/office/drawing/2014/main" id="{A14DF56C-E9C0-4DEB-BF1C-6390EA9724CE}"/>
                </a:ext>
              </a:extLst>
            </p:cNvPr>
            <p:cNvSpPr/>
            <p:nvPr/>
          </p:nvSpPr>
          <p:spPr>
            <a:xfrm>
              <a:off x="2975435" y="2528616"/>
              <a:ext cx="248682" cy="178685"/>
            </a:xfrm>
            <a:custGeom>
              <a:avLst/>
              <a:gdLst>
                <a:gd name="connsiteX0" fmla="*/ 170217 w 248682"/>
                <a:gd name="connsiteY0" fmla="*/ 16948 h 178685"/>
                <a:gd name="connsiteX1" fmla="*/ 236533 w 248682"/>
                <a:gd name="connsiteY1" fmla="*/ 31997 h 178685"/>
                <a:gd name="connsiteX2" fmla="*/ 247843 w 248682"/>
                <a:gd name="connsiteY2" fmla="*/ 28037 h 178685"/>
                <a:gd name="connsiteX3" fmla="*/ 243883 w 248682"/>
                <a:gd name="connsiteY3" fmla="*/ 16727 h 178685"/>
                <a:gd name="connsiteX4" fmla="*/ 170217 w 248682"/>
                <a:gd name="connsiteY4" fmla="*/ 0 h 178685"/>
                <a:gd name="connsiteX5" fmla="*/ 0 w 248682"/>
                <a:gd name="connsiteY5" fmla="*/ 170211 h 178685"/>
                <a:gd name="connsiteX6" fmla="*/ 8474 w 248682"/>
                <a:gd name="connsiteY6" fmla="*/ 178685 h 178685"/>
                <a:gd name="connsiteX7" fmla="*/ 155405 w 248682"/>
                <a:gd name="connsiteY7" fmla="*/ 178685 h 178685"/>
                <a:gd name="connsiteX8" fmla="*/ 163879 w 248682"/>
                <a:gd name="connsiteY8" fmla="*/ 170211 h 178685"/>
                <a:gd name="connsiteX9" fmla="*/ 155405 w 248682"/>
                <a:gd name="connsiteY9" fmla="*/ 161737 h 178685"/>
                <a:gd name="connsiteX10" fmla="*/ 17179 w 248682"/>
                <a:gd name="connsiteY10" fmla="*/ 161737 h 178685"/>
                <a:gd name="connsiteX11" fmla="*/ 170217 w 248682"/>
                <a:gd name="connsiteY11" fmla="*/ 16948 h 1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82" h="178685">
                  <a:moveTo>
                    <a:pt x="170217" y="16948"/>
                  </a:moveTo>
                  <a:cubicBezTo>
                    <a:pt x="193452" y="16948"/>
                    <a:pt x="215761" y="22009"/>
                    <a:pt x="236533" y="31997"/>
                  </a:cubicBezTo>
                  <a:cubicBezTo>
                    <a:pt x="240759" y="34020"/>
                    <a:pt x="245821" y="32251"/>
                    <a:pt x="247843" y="28037"/>
                  </a:cubicBezTo>
                  <a:cubicBezTo>
                    <a:pt x="249871" y="23817"/>
                    <a:pt x="248097" y="18750"/>
                    <a:pt x="243883" y="16727"/>
                  </a:cubicBezTo>
                  <a:cubicBezTo>
                    <a:pt x="220800" y="5627"/>
                    <a:pt x="196017" y="0"/>
                    <a:pt x="170217" y="0"/>
                  </a:cubicBezTo>
                  <a:cubicBezTo>
                    <a:pt x="76361" y="0"/>
                    <a:pt x="0" y="76361"/>
                    <a:pt x="0" y="170211"/>
                  </a:cubicBezTo>
                  <a:cubicBezTo>
                    <a:pt x="0" y="174889"/>
                    <a:pt x="3796" y="178685"/>
                    <a:pt x="8474" y="178685"/>
                  </a:cubicBezTo>
                  <a:lnTo>
                    <a:pt x="155405" y="178685"/>
                  </a:lnTo>
                  <a:cubicBezTo>
                    <a:pt x="160082" y="178685"/>
                    <a:pt x="163879" y="174889"/>
                    <a:pt x="163879" y="170211"/>
                  </a:cubicBezTo>
                  <a:cubicBezTo>
                    <a:pt x="163879" y="165534"/>
                    <a:pt x="160082" y="161737"/>
                    <a:pt x="155405" y="161737"/>
                  </a:cubicBezTo>
                  <a:lnTo>
                    <a:pt x="17179" y="161737"/>
                  </a:lnTo>
                  <a:cubicBezTo>
                    <a:pt x="21591" y="81151"/>
                    <a:pt x="88546" y="16948"/>
                    <a:pt x="170217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: фигура 238">
              <a:extLst>
                <a:ext uri="{FF2B5EF4-FFF2-40B4-BE49-F238E27FC236}">
                  <a16:creationId xmlns:a16="http://schemas.microsoft.com/office/drawing/2014/main" id="{C9F5BC05-B7A8-45A7-9EFA-ACB070E0A99C}"/>
                </a:ext>
              </a:extLst>
            </p:cNvPr>
            <p:cNvSpPr/>
            <p:nvPr/>
          </p:nvSpPr>
          <p:spPr>
            <a:xfrm>
              <a:off x="3044282" y="2316798"/>
              <a:ext cx="197107" cy="197112"/>
            </a:xfrm>
            <a:custGeom>
              <a:avLst/>
              <a:gdLst>
                <a:gd name="connsiteX0" fmla="*/ 98534 w 197107"/>
                <a:gd name="connsiteY0" fmla="*/ 197113 h 197112"/>
                <a:gd name="connsiteX1" fmla="*/ 197107 w 197107"/>
                <a:gd name="connsiteY1" fmla="*/ 98551 h 197112"/>
                <a:gd name="connsiteX2" fmla="*/ 98534 w 197107"/>
                <a:gd name="connsiteY2" fmla="*/ 0 h 197112"/>
                <a:gd name="connsiteX3" fmla="*/ 0 w 197107"/>
                <a:gd name="connsiteY3" fmla="*/ 98551 h 197112"/>
                <a:gd name="connsiteX4" fmla="*/ 98534 w 197107"/>
                <a:gd name="connsiteY4" fmla="*/ 197113 h 197112"/>
                <a:gd name="connsiteX5" fmla="*/ 98534 w 197107"/>
                <a:gd name="connsiteY5" fmla="*/ 16948 h 197112"/>
                <a:gd name="connsiteX6" fmla="*/ 180160 w 197107"/>
                <a:gd name="connsiteY6" fmla="*/ 98551 h 197112"/>
                <a:gd name="connsiteX7" fmla="*/ 98534 w 197107"/>
                <a:gd name="connsiteY7" fmla="*/ 180165 h 197112"/>
                <a:gd name="connsiteX8" fmla="*/ 16948 w 197107"/>
                <a:gd name="connsiteY8" fmla="*/ 98551 h 197112"/>
                <a:gd name="connsiteX9" fmla="*/ 98534 w 197107"/>
                <a:gd name="connsiteY9" fmla="*/ 16948 h 19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07" h="197112">
                  <a:moveTo>
                    <a:pt x="98534" y="197113"/>
                  </a:moveTo>
                  <a:cubicBezTo>
                    <a:pt x="152885" y="197113"/>
                    <a:pt x="197107" y="152896"/>
                    <a:pt x="197107" y="98551"/>
                  </a:cubicBezTo>
                  <a:cubicBezTo>
                    <a:pt x="197107" y="44211"/>
                    <a:pt x="152885" y="0"/>
                    <a:pt x="98534" y="0"/>
                  </a:cubicBezTo>
                  <a:cubicBezTo>
                    <a:pt x="44200" y="0"/>
                    <a:pt x="0" y="44211"/>
                    <a:pt x="0" y="98551"/>
                  </a:cubicBezTo>
                  <a:cubicBezTo>
                    <a:pt x="-6" y="152896"/>
                    <a:pt x="44200" y="197113"/>
                    <a:pt x="98534" y="197113"/>
                  </a:cubicBezTo>
                  <a:close/>
                  <a:moveTo>
                    <a:pt x="98534" y="16948"/>
                  </a:moveTo>
                  <a:cubicBezTo>
                    <a:pt x="143547" y="16948"/>
                    <a:pt x="180160" y="53555"/>
                    <a:pt x="180160" y="98551"/>
                  </a:cubicBezTo>
                  <a:cubicBezTo>
                    <a:pt x="180160" y="143553"/>
                    <a:pt x="143547" y="180165"/>
                    <a:pt x="98534" y="180165"/>
                  </a:cubicBezTo>
                  <a:cubicBezTo>
                    <a:pt x="53543" y="180165"/>
                    <a:pt x="16948" y="143553"/>
                    <a:pt x="16948" y="98551"/>
                  </a:cubicBezTo>
                  <a:cubicBezTo>
                    <a:pt x="16942" y="53555"/>
                    <a:pt x="53543" y="16948"/>
                    <a:pt x="9853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: фигура 239">
              <a:extLst>
                <a:ext uri="{FF2B5EF4-FFF2-40B4-BE49-F238E27FC236}">
                  <a16:creationId xmlns:a16="http://schemas.microsoft.com/office/drawing/2014/main" id="{2E361D31-713B-4C9C-BECD-763152EE2FC3}"/>
                </a:ext>
              </a:extLst>
            </p:cNvPr>
            <p:cNvSpPr/>
            <p:nvPr/>
          </p:nvSpPr>
          <p:spPr>
            <a:xfrm>
              <a:off x="3190151" y="2594316"/>
              <a:ext cx="259870" cy="238216"/>
            </a:xfrm>
            <a:custGeom>
              <a:avLst/>
              <a:gdLst>
                <a:gd name="connsiteX0" fmla="*/ 230805 w 259870"/>
                <a:gd name="connsiteY0" fmla="*/ 0 h 238216"/>
                <a:gd name="connsiteX1" fmla="*/ 29071 w 259870"/>
                <a:gd name="connsiteY1" fmla="*/ 0 h 238216"/>
                <a:gd name="connsiteX2" fmla="*/ 0 w 259870"/>
                <a:gd name="connsiteY2" fmla="*/ 29071 h 238216"/>
                <a:gd name="connsiteX3" fmla="*/ 0 w 259870"/>
                <a:gd name="connsiteY3" fmla="*/ 151716 h 238216"/>
                <a:gd name="connsiteX4" fmla="*/ 29065 w 259870"/>
                <a:gd name="connsiteY4" fmla="*/ 180781 h 238216"/>
                <a:gd name="connsiteX5" fmla="*/ 50843 w 259870"/>
                <a:gd name="connsiteY5" fmla="*/ 180781 h 238216"/>
                <a:gd name="connsiteX6" fmla="*/ 50843 w 259870"/>
                <a:gd name="connsiteY6" fmla="*/ 229743 h 238216"/>
                <a:gd name="connsiteX7" fmla="*/ 55899 w 259870"/>
                <a:gd name="connsiteY7" fmla="*/ 237494 h 238216"/>
                <a:gd name="connsiteX8" fmla="*/ 59317 w 259870"/>
                <a:gd name="connsiteY8" fmla="*/ 238217 h 238216"/>
                <a:gd name="connsiteX9" fmla="*/ 65034 w 259870"/>
                <a:gd name="connsiteY9" fmla="*/ 235997 h 238216"/>
                <a:gd name="connsiteX10" fmla="*/ 125475 w 259870"/>
                <a:gd name="connsiteY10" fmla="*/ 180781 h 238216"/>
                <a:gd name="connsiteX11" fmla="*/ 230811 w 259870"/>
                <a:gd name="connsiteY11" fmla="*/ 180781 h 238216"/>
                <a:gd name="connsiteX12" fmla="*/ 259870 w 259870"/>
                <a:gd name="connsiteY12" fmla="*/ 151721 h 238216"/>
                <a:gd name="connsiteX13" fmla="*/ 259870 w 259870"/>
                <a:gd name="connsiteY13" fmla="*/ 29065 h 238216"/>
                <a:gd name="connsiteX14" fmla="*/ 230805 w 259870"/>
                <a:gd name="connsiteY14" fmla="*/ 0 h 238216"/>
                <a:gd name="connsiteX15" fmla="*/ 242923 w 259870"/>
                <a:gd name="connsiteY15" fmla="*/ 151716 h 238216"/>
                <a:gd name="connsiteX16" fmla="*/ 230811 w 259870"/>
                <a:gd name="connsiteY16" fmla="*/ 163828 h 238216"/>
                <a:gd name="connsiteX17" fmla="*/ 122187 w 259870"/>
                <a:gd name="connsiteY17" fmla="*/ 163828 h 238216"/>
                <a:gd name="connsiteX18" fmla="*/ 116470 w 259870"/>
                <a:gd name="connsiteY18" fmla="*/ 166048 h 238216"/>
                <a:gd name="connsiteX19" fmla="*/ 67791 w 259870"/>
                <a:gd name="connsiteY19" fmla="*/ 210519 h 238216"/>
                <a:gd name="connsiteX20" fmla="*/ 67791 w 259870"/>
                <a:gd name="connsiteY20" fmla="*/ 172302 h 238216"/>
                <a:gd name="connsiteX21" fmla="*/ 59317 w 259870"/>
                <a:gd name="connsiteY21" fmla="*/ 163828 h 238216"/>
                <a:gd name="connsiteX22" fmla="*/ 29065 w 259870"/>
                <a:gd name="connsiteY22" fmla="*/ 163828 h 238216"/>
                <a:gd name="connsiteX23" fmla="*/ 16948 w 259870"/>
                <a:gd name="connsiteY23" fmla="*/ 151710 h 238216"/>
                <a:gd name="connsiteX24" fmla="*/ 16948 w 259870"/>
                <a:gd name="connsiteY24" fmla="*/ 29065 h 238216"/>
                <a:gd name="connsiteX25" fmla="*/ 29071 w 259870"/>
                <a:gd name="connsiteY25" fmla="*/ 16942 h 238216"/>
                <a:gd name="connsiteX26" fmla="*/ 230805 w 259870"/>
                <a:gd name="connsiteY26" fmla="*/ 16942 h 238216"/>
                <a:gd name="connsiteX27" fmla="*/ 242923 w 259870"/>
                <a:gd name="connsiteY27" fmla="*/ 29060 h 238216"/>
                <a:gd name="connsiteX28" fmla="*/ 242923 w 259870"/>
                <a:gd name="connsiteY28" fmla="*/ 151716 h 238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9870" h="238216">
                  <a:moveTo>
                    <a:pt x="230805" y="0"/>
                  </a:moveTo>
                  <a:lnTo>
                    <a:pt x="29071" y="0"/>
                  </a:lnTo>
                  <a:cubicBezTo>
                    <a:pt x="13044" y="0"/>
                    <a:pt x="0" y="13044"/>
                    <a:pt x="0" y="29071"/>
                  </a:cubicBezTo>
                  <a:lnTo>
                    <a:pt x="0" y="151716"/>
                  </a:lnTo>
                  <a:cubicBezTo>
                    <a:pt x="0" y="167743"/>
                    <a:pt x="13038" y="180781"/>
                    <a:pt x="29065" y="180781"/>
                  </a:cubicBezTo>
                  <a:lnTo>
                    <a:pt x="50843" y="180781"/>
                  </a:lnTo>
                  <a:lnTo>
                    <a:pt x="50843" y="229743"/>
                  </a:lnTo>
                  <a:cubicBezTo>
                    <a:pt x="50843" y="233104"/>
                    <a:pt x="52826" y="236143"/>
                    <a:pt x="55899" y="237494"/>
                  </a:cubicBezTo>
                  <a:cubicBezTo>
                    <a:pt x="56995" y="237979"/>
                    <a:pt x="58159" y="238217"/>
                    <a:pt x="59317" y="238217"/>
                  </a:cubicBezTo>
                  <a:cubicBezTo>
                    <a:pt x="61390" y="238217"/>
                    <a:pt x="63435" y="237454"/>
                    <a:pt x="65034" y="235997"/>
                  </a:cubicBezTo>
                  <a:lnTo>
                    <a:pt x="125475" y="180781"/>
                  </a:lnTo>
                  <a:lnTo>
                    <a:pt x="230811" y="180781"/>
                  </a:lnTo>
                  <a:cubicBezTo>
                    <a:pt x="246832" y="180781"/>
                    <a:pt x="259870" y="167743"/>
                    <a:pt x="259870" y="151721"/>
                  </a:cubicBezTo>
                  <a:lnTo>
                    <a:pt x="259870" y="29065"/>
                  </a:lnTo>
                  <a:cubicBezTo>
                    <a:pt x="259870" y="13033"/>
                    <a:pt x="246832" y="0"/>
                    <a:pt x="230805" y="0"/>
                  </a:cubicBezTo>
                  <a:close/>
                  <a:moveTo>
                    <a:pt x="242923" y="151716"/>
                  </a:moveTo>
                  <a:cubicBezTo>
                    <a:pt x="242923" y="158393"/>
                    <a:pt x="237488" y="163828"/>
                    <a:pt x="230811" y="163828"/>
                  </a:cubicBezTo>
                  <a:lnTo>
                    <a:pt x="122187" y="163828"/>
                  </a:lnTo>
                  <a:cubicBezTo>
                    <a:pt x="120074" y="163828"/>
                    <a:pt x="118035" y="164619"/>
                    <a:pt x="116470" y="166048"/>
                  </a:cubicBezTo>
                  <a:lnTo>
                    <a:pt x="67791" y="210519"/>
                  </a:lnTo>
                  <a:lnTo>
                    <a:pt x="67791" y="172302"/>
                  </a:lnTo>
                  <a:cubicBezTo>
                    <a:pt x="67791" y="167624"/>
                    <a:pt x="63994" y="163828"/>
                    <a:pt x="59317" y="163828"/>
                  </a:cubicBezTo>
                  <a:lnTo>
                    <a:pt x="29065" y="163828"/>
                  </a:lnTo>
                  <a:cubicBezTo>
                    <a:pt x="22382" y="163828"/>
                    <a:pt x="16948" y="158393"/>
                    <a:pt x="16948" y="151710"/>
                  </a:cubicBezTo>
                  <a:lnTo>
                    <a:pt x="16948" y="29065"/>
                  </a:lnTo>
                  <a:cubicBezTo>
                    <a:pt x="16948" y="22382"/>
                    <a:pt x="22388" y="16942"/>
                    <a:pt x="29071" y="16942"/>
                  </a:cubicBezTo>
                  <a:lnTo>
                    <a:pt x="230805" y="16942"/>
                  </a:lnTo>
                  <a:cubicBezTo>
                    <a:pt x="237488" y="16942"/>
                    <a:pt x="242923" y="22377"/>
                    <a:pt x="242923" y="29060"/>
                  </a:cubicBezTo>
                  <a:lnTo>
                    <a:pt x="242923" y="151716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: фигура 240">
              <a:extLst>
                <a:ext uri="{FF2B5EF4-FFF2-40B4-BE49-F238E27FC236}">
                  <a16:creationId xmlns:a16="http://schemas.microsoft.com/office/drawing/2014/main" id="{2FF80F6D-33C9-46F0-8C02-319D570839F3}"/>
                </a:ext>
              </a:extLst>
            </p:cNvPr>
            <p:cNvSpPr/>
            <p:nvPr/>
          </p:nvSpPr>
          <p:spPr>
            <a:xfrm>
              <a:off x="3257947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: фигура 241">
              <a:extLst>
                <a:ext uri="{FF2B5EF4-FFF2-40B4-BE49-F238E27FC236}">
                  <a16:creationId xmlns:a16="http://schemas.microsoft.com/office/drawing/2014/main" id="{4DC2F4AF-C375-4EDD-82C3-9C83C16E7694}"/>
                </a:ext>
              </a:extLst>
            </p:cNvPr>
            <p:cNvSpPr/>
            <p:nvPr/>
          </p:nvSpPr>
          <p:spPr>
            <a:xfrm>
              <a:off x="3314439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: фигура 242">
              <a:extLst>
                <a:ext uri="{FF2B5EF4-FFF2-40B4-BE49-F238E27FC236}">
                  <a16:creationId xmlns:a16="http://schemas.microsoft.com/office/drawing/2014/main" id="{32B07BA9-C378-40FB-A27E-D5D3BCB79FAD}"/>
                </a:ext>
              </a:extLst>
            </p:cNvPr>
            <p:cNvSpPr/>
            <p:nvPr/>
          </p:nvSpPr>
          <p:spPr>
            <a:xfrm>
              <a:off x="3365283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528501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64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есоответствия в маркировке «Честный Знак»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0C63AE83-3655-4706-87F3-FE4BE48A95B2}"/>
              </a:ext>
            </a:extLst>
          </p:cNvPr>
          <p:cNvGrpSpPr/>
          <p:nvPr/>
        </p:nvGrpSpPr>
        <p:grpSpPr>
          <a:xfrm>
            <a:off x="1036790" y="1871395"/>
            <a:ext cx="597095" cy="825091"/>
            <a:chOff x="571500" y="1170623"/>
            <a:chExt cx="429260" cy="81438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6A0747A-AF9C-49F9-A9B2-46C29C84476B}"/>
                </a:ext>
              </a:extLst>
            </p:cNvPr>
            <p:cNvSpPr txBox="1"/>
            <p:nvPr/>
          </p:nvSpPr>
          <p:spPr>
            <a:xfrm>
              <a:off x="571500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083">
                <a:defRPr/>
              </a:pPr>
              <a:r>
                <a:rPr lang="ru-RU" b="1" dirty="0" smtClean="0">
                  <a:solidFill>
                    <a:schemeClr val="tx2"/>
                  </a:solidFill>
                </a:rPr>
                <a:t>1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1299959B-9B4A-424C-89AA-AC008015B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0C63AE83-3655-4706-87F3-FE4BE48A95B2}"/>
              </a:ext>
            </a:extLst>
          </p:cNvPr>
          <p:cNvGrpSpPr/>
          <p:nvPr/>
        </p:nvGrpSpPr>
        <p:grpSpPr>
          <a:xfrm>
            <a:off x="1070762" y="4809214"/>
            <a:ext cx="597095" cy="1041925"/>
            <a:chOff x="571500" y="1170623"/>
            <a:chExt cx="429260" cy="81438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6A0747A-AF9C-49F9-A9B2-46C29C84476B}"/>
                </a:ext>
              </a:extLst>
            </p:cNvPr>
            <p:cNvSpPr txBox="1"/>
            <p:nvPr/>
          </p:nvSpPr>
          <p:spPr>
            <a:xfrm>
              <a:off x="571500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083">
                <a:defRPr/>
              </a:pPr>
              <a:r>
                <a:rPr lang="en-US" b="1" dirty="0" smtClean="0">
                  <a:solidFill>
                    <a:schemeClr val="tx2"/>
                  </a:solidFill>
                </a:rPr>
                <a:t>3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1299959B-9B4A-424C-89AA-AC008015B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0C63AE83-3655-4706-87F3-FE4BE48A95B2}"/>
              </a:ext>
            </a:extLst>
          </p:cNvPr>
          <p:cNvGrpSpPr/>
          <p:nvPr/>
        </p:nvGrpSpPr>
        <p:grpSpPr>
          <a:xfrm>
            <a:off x="1052425" y="3245091"/>
            <a:ext cx="597095" cy="981110"/>
            <a:chOff x="571500" y="1170623"/>
            <a:chExt cx="429260" cy="814387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6A0747A-AF9C-49F9-A9B2-46C29C84476B}"/>
                </a:ext>
              </a:extLst>
            </p:cNvPr>
            <p:cNvSpPr txBox="1"/>
            <p:nvPr/>
          </p:nvSpPr>
          <p:spPr>
            <a:xfrm>
              <a:off x="571500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083">
                <a:defRPr/>
              </a:pPr>
              <a:r>
                <a:rPr lang="en-US" b="1" dirty="0" smtClean="0">
                  <a:solidFill>
                    <a:schemeClr val="tx2"/>
                  </a:solidFill>
                </a:rPr>
                <a:t>2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1299959B-9B4A-424C-89AA-AC008015B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98509EA-83BE-45AD-BA7B-3A8738D7A8EC}"/>
              </a:ext>
            </a:extLst>
          </p:cNvPr>
          <p:cNvSpPr txBox="1"/>
          <p:nvPr/>
        </p:nvSpPr>
        <p:spPr>
          <a:xfrm>
            <a:off x="1708818" y="1929225"/>
            <a:ext cx="5332481" cy="55399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r>
              <a:rPr lang="ru-RU" sz="1200" dirty="0"/>
              <a:t>«Честный знак</a:t>
            </a:r>
            <a:r>
              <a:rPr lang="ru-RU" sz="1200" dirty="0" smtClean="0"/>
              <a:t>» - система, которая обеспечивает прослеживаемость товара от производителя до конечного потребителя.</a:t>
            </a:r>
            <a:endParaRPr lang="ru-RU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8DB45D-91EB-4803-9AED-4D05590C0ADF}"/>
              </a:ext>
            </a:extLst>
          </p:cNvPr>
          <p:cNvSpPr txBox="1"/>
          <p:nvPr/>
        </p:nvSpPr>
        <p:spPr>
          <a:xfrm>
            <a:off x="1711446" y="3248988"/>
            <a:ext cx="5329853" cy="923330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r>
              <a:rPr lang="ru-RU" sz="1200" dirty="0"/>
              <a:t>Если товар подлежит маркировке, на каждую единицу товара производитель или импортер должен </a:t>
            </a:r>
            <a:r>
              <a:rPr lang="ru-RU" sz="1200" dirty="0" smtClean="0"/>
              <a:t>наносить </a:t>
            </a:r>
            <a:r>
              <a:rPr lang="ru-RU" sz="1200" dirty="0"/>
              <a:t>марку с уникальным </a:t>
            </a:r>
            <a:r>
              <a:rPr lang="en-US" sz="1200" dirty="0" smtClean="0"/>
              <a:t>QR-</a:t>
            </a:r>
            <a:r>
              <a:rPr lang="ru-RU" sz="1200" dirty="0" smtClean="0"/>
              <a:t>кодом. </a:t>
            </a:r>
            <a:r>
              <a:rPr lang="ru-RU" sz="1200" dirty="0"/>
              <a:t>Код позволяет отследить, кто и когда его произвел или ввез в страну и на каком этапе реализации </a:t>
            </a:r>
            <a:r>
              <a:rPr lang="ru-RU" sz="1200" dirty="0" smtClean="0"/>
              <a:t>товар</a:t>
            </a:r>
            <a:r>
              <a:rPr lang="ru-RU" sz="1200" dirty="0"/>
              <a:t> сейчас находится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C51776A-78A9-49C0-8121-E69A44674E55}"/>
              </a:ext>
            </a:extLst>
          </p:cNvPr>
          <p:cNvSpPr txBox="1"/>
          <p:nvPr/>
        </p:nvSpPr>
        <p:spPr>
          <a:xfrm>
            <a:off x="1708818" y="4868845"/>
            <a:ext cx="5332481" cy="923330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r>
              <a:rPr lang="ru-RU" sz="1200" dirty="0"/>
              <a:t>При выявлении нарушений при сканировании </a:t>
            </a:r>
            <a:r>
              <a:rPr lang="en-US" sz="1200" dirty="0"/>
              <a:t>QR-</a:t>
            </a:r>
            <a:r>
              <a:rPr lang="ru-RU" sz="1200" dirty="0"/>
              <a:t>кода на кассе или при приёмке на грузовой </a:t>
            </a:r>
            <a:r>
              <a:rPr lang="ru-RU" sz="1200" dirty="0" smtClean="0"/>
              <a:t>зоне магазина, товар снимается с реализации и </a:t>
            </a:r>
            <a:r>
              <a:rPr lang="ru-RU" sz="1200" dirty="0"/>
              <a:t>заявляется Поставщику для согласования компенсации (возврат или утилизация), о </a:t>
            </a:r>
            <a:r>
              <a:rPr lang="ru-RU" sz="1200" dirty="0" smtClean="0"/>
              <a:t>чём ему </a:t>
            </a:r>
            <a:r>
              <a:rPr lang="ru-RU" sz="1200" dirty="0"/>
              <a:t>направляется электронное письмо.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8D339BE9-332A-C03D-7F64-F371E29AA4B0}"/>
              </a:ext>
            </a:extLst>
          </p:cNvPr>
          <p:cNvGrpSpPr/>
          <p:nvPr/>
        </p:nvGrpSpPr>
        <p:grpSpPr>
          <a:xfrm>
            <a:off x="948061" y="986754"/>
            <a:ext cx="6772072" cy="5146364"/>
            <a:chOff x="8103066" y="1198563"/>
            <a:chExt cx="3519022" cy="5083175"/>
          </a:xfrm>
        </p:grpSpPr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CEBCF1FF-2E3F-4857-B85A-AF691CDFB51D}"/>
                </a:ext>
              </a:extLst>
            </p:cNvPr>
            <p:cNvGrpSpPr/>
            <p:nvPr/>
          </p:nvGrpSpPr>
          <p:grpSpPr>
            <a:xfrm>
              <a:off x="8103066" y="1198563"/>
              <a:ext cx="3519022" cy="5083175"/>
              <a:chOff x="568790" y="1198563"/>
              <a:chExt cx="3519022" cy="3338710"/>
            </a:xfrm>
          </p:grpSpPr>
          <p:sp>
            <p:nvSpPr>
              <p:cNvPr id="20" name="Прямоугольник 19">
                <a:extLst>
                  <a:ext uri="{FF2B5EF4-FFF2-40B4-BE49-F238E27FC236}">
                    <a16:creationId xmlns:a16="http://schemas.microsoft.com/office/drawing/2014/main" id="{0DFF724E-DFED-4B88-881F-49D1B408FB99}"/>
                  </a:ext>
                </a:extLst>
              </p:cNvPr>
              <p:cNvSpPr/>
              <p:nvPr/>
            </p:nvSpPr>
            <p:spPr>
              <a:xfrm>
                <a:off x="575959" y="1198563"/>
                <a:ext cx="3511853" cy="333871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ru-RU" sz="1400" dirty="0">
                  <a:latin typeface="+mj-lt"/>
                </a:endParaRPr>
              </a:p>
            </p:txBody>
          </p:sp>
          <p:cxnSp>
            <p:nvCxnSpPr>
              <p:cNvPr id="21" name="Прямая соединительная линия 20">
                <a:extLst>
                  <a:ext uri="{FF2B5EF4-FFF2-40B4-BE49-F238E27FC236}">
                    <a16:creationId xmlns:a16="http://schemas.microsoft.com/office/drawing/2014/main" id="{EEEAFE08-AE25-4568-9858-5374494EAC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8790" y="1198563"/>
                <a:ext cx="3519022" cy="0"/>
              </a:xfrm>
              <a:prstGeom prst="line">
                <a:avLst/>
              </a:prstGeom>
              <a:ln w="285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A746D731-4668-B2E0-F8F8-5FEF4054438D}"/>
                </a:ext>
              </a:extLst>
            </p:cNvPr>
            <p:cNvCxnSpPr>
              <a:cxnSpLocks/>
            </p:cNvCxnSpPr>
            <p:nvPr/>
          </p:nvCxnSpPr>
          <p:spPr>
            <a:xfrm>
              <a:off x="8103066" y="1780587"/>
              <a:ext cx="351902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A746D731-4668-B2E0-F8F8-5FEF4054438D}"/>
              </a:ext>
            </a:extLst>
          </p:cNvPr>
          <p:cNvCxnSpPr>
            <a:cxnSpLocks/>
          </p:cNvCxnSpPr>
          <p:nvPr/>
        </p:nvCxnSpPr>
        <p:spPr>
          <a:xfrm>
            <a:off x="989022" y="2978513"/>
            <a:ext cx="677207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A746D731-4668-B2E0-F8F8-5FEF4054438D}"/>
              </a:ext>
            </a:extLst>
          </p:cNvPr>
          <p:cNvCxnSpPr>
            <a:cxnSpLocks/>
          </p:cNvCxnSpPr>
          <p:nvPr/>
        </p:nvCxnSpPr>
        <p:spPr>
          <a:xfrm>
            <a:off x="948061" y="4544598"/>
            <a:ext cx="677207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Рисунок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1858" y="1008076"/>
            <a:ext cx="2061645" cy="531574"/>
          </a:xfrm>
          <a:prstGeom prst="rect">
            <a:avLst/>
          </a:prstGeom>
        </p:spPr>
      </p:pic>
      <p:graphicFrame>
        <p:nvGraphicFramePr>
          <p:cNvPr id="27" name="Таблица 18">
            <a:extLst>
              <a:ext uri="{FF2B5EF4-FFF2-40B4-BE49-F238E27FC236}">
                <a16:creationId xmlns:a16="http://schemas.microsoft.com/office/drawing/2014/main" id="{B3A396E9-315B-423F-BDD8-75940AF74ED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325394" y="2380109"/>
          <a:ext cx="2856411" cy="29701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56411">
                  <a:extLst>
                    <a:ext uri="{9D8B030D-6E8A-4147-A177-3AD203B41FA5}">
                      <a16:colId xmlns:a16="http://schemas.microsoft.com/office/drawing/2014/main" val="2052779202"/>
                    </a:ext>
                  </a:extLst>
                </a:gridCol>
              </a:tblGrid>
              <a:tr h="548372">
                <a:tc>
                  <a:txBody>
                    <a:bodyPr/>
                    <a:lstStyle/>
                    <a:p>
                      <a:pPr algn="l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сновные типы</a:t>
                      </a:r>
                      <a:r>
                        <a:rPr lang="ru-RU" sz="12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нарушений в марке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225686"/>
                  </a:ext>
                </a:extLst>
              </a:tr>
              <a:tr h="3505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Марка не читается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108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0265967"/>
                  </a:ext>
                </a:extLst>
              </a:tr>
              <a:tr h="3505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Марка отсутствует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108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552207"/>
                  </a:ext>
                </a:extLst>
              </a:tr>
              <a:tr h="3505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Марка в некорректном статусе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108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324757"/>
                  </a:ext>
                </a:extLst>
              </a:tr>
              <a:tr h="3505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Марка отсутствует в базе ГИС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108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343045"/>
                  </a:ext>
                </a:extLst>
              </a:tr>
              <a:tr h="3505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Информация в марке не соответствует товару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108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020191"/>
                  </a:ext>
                </a:extLst>
              </a:tr>
              <a:tr h="3505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Марка не соответствует учёту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108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981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5920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71819" y="795176"/>
            <a:ext cx="10002539" cy="369332"/>
          </a:xfrm>
        </p:spPr>
        <p:txBody>
          <a:bodyPr/>
          <a:lstStyle/>
          <a:p>
            <a:r>
              <a:rPr lang="ru-RU" dirty="0" smtClean="0"/>
              <a:t>Основные этапы работы </a:t>
            </a:r>
            <a:r>
              <a:rPr lang="ru-RU" dirty="0"/>
              <a:t>с несоответствующим </a:t>
            </a:r>
            <a:r>
              <a:rPr lang="ru-RU" dirty="0" smtClean="0"/>
              <a:t>товаром</a:t>
            </a:r>
            <a:endParaRPr lang="ru-RU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576621" y="2269714"/>
            <a:ext cx="2095458" cy="3016900"/>
            <a:chOff x="576621" y="2269714"/>
            <a:chExt cx="2095458" cy="301690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65D0E19-EBD5-1BC0-813A-B15F60588B06}"/>
                </a:ext>
              </a:extLst>
            </p:cNvPr>
            <p:cNvSpPr txBox="1"/>
            <p:nvPr/>
          </p:nvSpPr>
          <p:spPr>
            <a:xfrm>
              <a:off x="745901" y="3506603"/>
              <a:ext cx="1756895" cy="9874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 defTabSz="671513">
                <a:spcAft>
                  <a:spcPts val="450"/>
                </a:spcAft>
                <a:buFont typeface="Arial" panose="020B0604020202020204" pitchFamily="34" charset="0"/>
                <a:buChar char="•"/>
              </a:pPr>
              <a:r>
                <a:rPr lang="ru-RU" sz="1200" dirty="0" smtClean="0"/>
                <a:t>Получение жалобы от покупателя;</a:t>
              </a:r>
            </a:p>
            <a:p>
              <a:pPr marL="171450" indent="-171450" defTabSz="671513">
                <a:spcAft>
                  <a:spcPts val="450"/>
                </a:spcAft>
                <a:buFont typeface="Arial" panose="020B0604020202020204" pitchFamily="34" charset="0"/>
                <a:buChar char="•"/>
              </a:pPr>
              <a:r>
                <a:rPr lang="ru-RU" sz="1200" dirty="0" smtClean="0"/>
                <a:t>Обнаружение некачественного товара в магазине;</a:t>
              </a:r>
            </a:p>
          </p:txBody>
        </p:sp>
        <p:grpSp>
          <p:nvGrpSpPr>
            <p:cNvPr id="7" name="Группа 6"/>
            <p:cNvGrpSpPr/>
            <p:nvPr/>
          </p:nvGrpSpPr>
          <p:grpSpPr>
            <a:xfrm>
              <a:off x="576621" y="2269714"/>
              <a:ext cx="2095458" cy="3016900"/>
              <a:chOff x="576621" y="2269714"/>
              <a:chExt cx="2095458" cy="3016900"/>
            </a:xfrm>
          </p:grpSpPr>
          <p:grpSp>
            <p:nvGrpSpPr>
              <p:cNvPr id="8" name="Группа 7">
                <a:extLst>
                  <a:ext uri="{FF2B5EF4-FFF2-40B4-BE49-F238E27FC236}">
                    <a16:creationId xmlns:a16="http://schemas.microsoft.com/office/drawing/2014/main" id="{F4B25B1F-AF17-EE6C-EFAA-7F57F661E991}"/>
                  </a:ext>
                </a:extLst>
              </p:cNvPr>
              <p:cNvGrpSpPr/>
              <p:nvPr/>
            </p:nvGrpSpPr>
            <p:grpSpPr>
              <a:xfrm>
                <a:off x="576621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12" name="Прямоугольник 36">
                  <a:extLst>
                    <a:ext uri="{FF2B5EF4-FFF2-40B4-BE49-F238E27FC236}">
                      <a16:creationId xmlns:a16="http://schemas.microsoft.com/office/drawing/2014/main" id="{1DD3D5EA-E28D-BFAE-0003-6ECED0CD73D5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3" name="Прямая соединительная линия 12">
                  <a:extLst>
                    <a:ext uri="{FF2B5EF4-FFF2-40B4-BE49-F238E27FC236}">
                      <a16:creationId xmlns:a16="http://schemas.microsoft.com/office/drawing/2014/main" id="{F78E17E4-B6EC-FCD1-DE50-9C039168BD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" name="Овал 9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1284489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16" name="Текст 2">
            <a:extLst>
              <a:ext uri="{FF2B5EF4-FFF2-40B4-BE49-F238E27FC236}">
                <a16:creationId xmlns:a16="http://schemas.microsoft.com/office/drawing/2014/main" id="{2B38C693-911D-4131-8E93-29CC5671D516}"/>
              </a:ext>
            </a:extLst>
          </p:cNvPr>
          <p:cNvSpPr txBox="1">
            <a:spLocks/>
          </p:cNvSpPr>
          <p:nvPr/>
        </p:nvSpPr>
        <p:spPr>
          <a:xfrm>
            <a:off x="571500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1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2814123" y="2269714"/>
            <a:ext cx="2095458" cy="3016900"/>
            <a:chOff x="2814123" y="2269714"/>
            <a:chExt cx="2095458" cy="30169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A4649EE-FF7D-60E1-FE74-9BD019886BB7}"/>
                </a:ext>
              </a:extLst>
            </p:cNvPr>
            <p:cNvSpPr txBox="1"/>
            <p:nvPr/>
          </p:nvSpPr>
          <p:spPr>
            <a:xfrm>
              <a:off x="3001170" y="3538663"/>
              <a:ext cx="172136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spcAft>
                  <a:spcPts val="500"/>
                </a:spcAft>
                <a:buClr>
                  <a:srgbClr val="2FCBFF"/>
                </a:buClr>
                <a:defRPr/>
              </a:pPr>
              <a:r>
                <a:rPr lang="ru-RU" sz="1200" dirty="0"/>
                <a:t>Информирование отдела </a:t>
              </a:r>
              <a:r>
                <a:rPr lang="ru-RU" sz="1200" dirty="0" smtClean="0"/>
                <a:t>качества.</a:t>
              </a:r>
              <a:endParaRPr lang="ru-RU" sz="1200" dirty="0"/>
            </a:p>
          </p:txBody>
        </p:sp>
        <p:grpSp>
          <p:nvGrpSpPr>
            <p:cNvPr id="19" name="Группа 18"/>
            <p:cNvGrpSpPr/>
            <p:nvPr/>
          </p:nvGrpSpPr>
          <p:grpSpPr>
            <a:xfrm>
              <a:off x="2814123" y="2269714"/>
              <a:ext cx="2095458" cy="3016900"/>
              <a:chOff x="2814123" y="2269714"/>
              <a:chExt cx="2095458" cy="3016900"/>
            </a:xfrm>
          </p:grpSpPr>
          <p:grpSp>
            <p:nvGrpSpPr>
              <p:cNvPr id="20" name="Группа 19">
                <a:extLst>
                  <a:ext uri="{FF2B5EF4-FFF2-40B4-BE49-F238E27FC236}">
                    <a16:creationId xmlns:a16="http://schemas.microsoft.com/office/drawing/2014/main" id="{13B31DC7-5DA8-7A66-704E-9BEC6B139BE2}"/>
                  </a:ext>
                </a:extLst>
              </p:cNvPr>
              <p:cNvGrpSpPr/>
              <p:nvPr/>
            </p:nvGrpSpPr>
            <p:grpSpPr>
              <a:xfrm>
                <a:off x="2814123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24" name="Прямоугольник 36">
                  <a:extLst>
                    <a:ext uri="{FF2B5EF4-FFF2-40B4-BE49-F238E27FC236}">
                      <a16:creationId xmlns:a16="http://schemas.microsoft.com/office/drawing/2014/main" id="{E8181398-4B0D-C932-2CD4-9B3336DA1930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5" name="Прямая соединительная линия 24">
                  <a:extLst>
                    <a:ext uri="{FF2B5EF4-FFF2-40B4-BE49-F238E27FC236}">
                      <a16:creationId xmlns:a16="http://schemas.microsoft.com/office/drawing/2014/main" id="{805767A0-2302-DD34-E435-F62541346D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2333BA61-C33E-F63D-2012-A6614A6231AF}"/>
                  </a:ext>
                </a:extLst>
              </p:cNvPr>
              <p:cNvSpPr/>
              <p:nvPr/>
            </p:nvSpPr>
            <p:spPr>
              <a:xfrm>
                <a:off x="3521991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28" name="Текст 2">
            <a:extLst>
              <a:ext uri="{FF2B5EF4-FFF2-40B4-BE49-F238E27FC236}">
                <a16:creationId xmlns:a16="http://schemas.microsoft.com/office/drawing/2014/main" id="{81DE2CE4-D72F-D5BC-7577-2B164F6B1F6F}"/>
              </a:ext>
            </a:extLst>
          </p:cNvPr>
          <p:cNvSpPr txBox="1">
            <a:spLocks/>
          </p:cNvSpPr>
          <p:nvPr/>
        </p:nvSpPr>
        <p:spPr>
          <a:xfrm>
            <a:off x="2809002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2</a:t>
            </a:r>
          </a:p>
        </p:txBody>
      </p:sp>
      <p:grpSp>
        <p:nvGrpSpPr>
          <p:cNvPr id="29" name="Группа 28"/>
          <p:cNvGrpSpPr/>
          <p:nvPr/>
        </p:nvGrpSpPr>
        <p:grpSpPr>
          <a:xfrm>
            <a:off x="5051625" y="2269714"/>
            <a:ext cx="2095458" cy="3016900"/>
            <a:chOff x="5051625" y="2269714"/>
            <a:chExt cx="2095458" cy="3016900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FC7BDBD-AD4F-C856-7FAF-5935F32B2320}"/>
                </a:ext>
              </a:extLst>
            </p:cNvPr>
            <p:cNvSpPr txBox="1"/>
            <p:nvPr/>
          </p:nvSpPr>
          <p:spPr>
            <a:xfrm>
              <a:off x="5196454" y="3538663"/>
              <a:ext cx="1721362" cy="13567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lvl="0" indent="-171450" defTabSz="671513">
                <a:spcAft>
                  <a:spcPts val="45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dirty="0"/>
                <a:t>Информирование поставщика о выявленном несоответствии;</a:t>
              </a:r>
            </a:p>
            <a:p>
              <a:pPr marL="171450" lvl="0" indent="-171450" defTabSz="671513">
                <a:spcAft>
                  <a:spcPts val="45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dirty="0"/>
                <a:t>Запрос проведения корректирующих </a:t>
              </a:r>
              <a:r>
                <a:rPr lang="ru-RU" sz="1200" dirty="0" smtClean="0"/>
                <a:t>мероприятий.</a:t>
              </a:r>
              <a:endParaRPr lang="ru-RU" sz="1200" dirty="0"/>
            </a:p>
          </p:txBody>
        </p:sp>
        <p:grpSp>
          <p:nvGrpSpPr>
            <p:cNvPr id="31" name="Группа 30"/>
            <p:cNvGrpSpPr/>
            <p:nvPr/>
          </p:nvGrpSpPr>
          <p:grpSpPr>
            <a:xfrm>
              <a:off x="5051625" y="2269714"/>
              <a:ext cx="2095458" cy="3016900"/>
              <a:chOff x="5051625" y="2269714"/>
              <a:chExt cx="2095458" cy="3016900"/>
            </a:xfrm>
          </p:grpSpPr>
          <p:grpSp>
            <p:nvGrpSpPr>
              <p:cNvPr id="32" name="Группа 31">
                <a:extLst>
                  <a:ext uri="{FF2B5EF4-FFF2-40B4-BE49-F238E27FC236}">
                    <a16:creationId xmlns:a16="http://schemas.microsoft.com/office/drawing/2014/main" id="{9E37940C-E2B8-BEC0-BB7B-F08FEF070149}"/>
                  </a:ext>
                </a:extLst>
              </p:cNvPr>
              <p:cNvGrpSpPr/>
              <p:nvPr/>
            </p:nvGrpSpPr>
            <p:grpSpPr>
              <a:xfrm>
                <a:off x="5051625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36" name="Прямоугольник 36">
                  <a:extLst>
                    <a:ext uri="{FF2B5EF4-FFF2-40B4-BE49-F238E27FC236}">
                      <a16:creationId xmlns:a16="http://schemas.microsoft.com/office/drawing/2014/main" id="{D78938C7-119D-0C5A-3A0C-2054B3259218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37" name="Прямая соединительная линия 36">
                  <a:extLst>
                    <a:ext uri="{FF2B5EF4-FFF2-40B4-BE49-F238E27FC236}">
                      <a16:creationId xmlns:a16="http://schemas.microsoft.com/office/drawing/2014/main" id="{20BFE763-C2FB-5836-7D77-E1FDF18E30E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9B68B848-1D39-3236-D4C4-C93EFAF8BBF5}"/>
                  </a:ext>
                </a:extLst>
              </p:cNvPr>
              <p:cNvSpPr/>
              <p:nvPr/>
            </p:nvSpPr>
            <p:spPr>
              <a:xfrm>
                <a:off x="5759493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40" name="Текст 2">
            <a:extLst>
              <a:ext uri="{FF2B5EF4-FFF2-40B4-BE49-F238E27FC236}">
                <a16:creationId xmlns:a16="http://schemas.microsoft.com/office/drawing/2014/main" id="{2EDD7165-13C6-C99D-AEBE-E23BF4F7A494}"/>
              </a:ext>
            </a:extLst>
          </p:cNvPr>
          <p:cNvSpPr txBox="1">
            <a:spLocks/>
          </p:cNvSpPr>
          <p:nvPr/>
        </p:nvSpPr>
        <p:spPr>
          <a:xfrm>
            <a:off x="5046504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3</a:t>
            </a:r>
          </a:p>
        </p:txBody>
      </p:sp>
      <p:grpSp>
        <p:nvGrpSpPr>
          <p:cNvPr id="41" name="Группа 40"/>
          <p:cNvGrpSpPr/>
          <p:nvPr/>
        </p:nvGrpSpPr>
        <p:grpSpPr>
          <a:xfrm>
            <a:off x="7289127" y="2269714"/>
            <a:ext cx="2095458" cy="3016900"/>
            <a:chOff x="7289127" y="2269714"/>
            <a:chExt cx="2095458" cy="3016900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923C3B7-B632-8FE3-0010-EF2BE244B07B}"/>
                </a:ext>
              </a:extLst>
            </p:cNvPr>
            <p:cNvSpPr txBox="1"/>
            <p:nvPr/>
          </p:nvSpPr>
          <p:spPr>
            <a:xfrm>
              <a:off x="7452938" y="3572928"/>
              <a:ext cx="1721362" cy="13850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lvl="0" indent="-171450">
                <a:spcAft>
                  <a:spcPts val="50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dirty="0"/>
                <a:t>Проведение массового опроса магазинов о </a:t>
              </a:r>
              <a:r>
                <a:rPr lang="ru-RU" sz="1200" dirty="0" smtClean="0"/>
                <a:t>соответствии качества остатков;</a:t>
              </a:r>
            </a:p>
            <a:p>
              <a:pPr marL="171450" lvl="0" indent="-171450">
                <a:spcAft>
                  <a:spcPts val="50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dirty="0" smtClean="0"/>
                <a:t>Проверка </a:t>
              </a:r>
              <a:r>
                <a:rPr lang="ru-RU" sz="1200" dirty="0"/>
                <a:t>на складе (РЦ</a:t>
              </a:r>
              <a:r>
                <a:rPr lang="ru-RU" sz="1200" dirty="0" smtClean="0"/>
                <a:t>).</a:t>
              </a:r>
              <a:endParaRPr lang="ru-RU" sz="1200" dirty="0"/>
            </a:p>
          </p:txBody>
        </p:sp>
        <p:grpSp>
          <p:nvGrpSpPr>
            <p:cNvPr id="43" name="Группа 42"/>
            <p:cNvGrpSpPr/>
            <p:nvPr/>
          </p:nvGrpSpPr>
          <p:grpSpPr>
            <a:xfrm>
              <a:off x="7289127" y="2269714"/>
              <a:ext cx="2095458" cy="3016900"/>
              <a:chOff x="7289127" y="2269714"/>
              <a:chExt cx="2095458" cy="3016900"/>
            </a:xfrm>
          </p:grpSpPr>
          <p:grpSp>
            <p:nvGrpSpPr>
              <p:cNvPr id="44" name="Группа 43">
                <a:extLst>
                  <a:ext uri="{FF2B5EF4-FFF2-40B4-BE49-F238E27FC236}">
                    <a16:creationId xmlns:a16="http://schemas.microsoft.com/office/drawing/2014/main" id="{D5F3F11E-6560-0B23-130F-071931B1EEA7}"/>
                  </a:ext>
                </a:extLst>
              </p:cNvPr>
              <p:cNvGrpSpPr/>
              <p:nvPr/>
            </p:nvGrpSpPr>
            <p:grpSpPr>
              <a:xfrm>
                <a:off x="7289127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48" name="Прямоугольник 36">
                  <a:extLst>
                    <a:ext uri="{FF2B5EF4-FFF2-40B4-BE49-F238E27FC236}">
                      <a16:creationId xmlns:a16="http://schemas.microsoft.com/office/drawing/2014/main" id="{75F72633-0CC4-CCB6-98BE-05693F4F567A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49" name="Прямая соединительная линия 48">
                  <a:extLst>
                    <a:ext uri="{FF2B5EF4-FFF2-40B4-BE49-F238E27FC236}">
                      <a16:creationId xmlns:a16="http://schemas.microsoft.com/office/drawing/2014/main" id="{8C93A341-2881-87B6-C415-6E99EB68F1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EC84DCAA-475C-0D99-4B11-F2F544F12306}"/>
                  </a:ext>
                </a:extLst>
              </p:cNvPr>
              <p:cNvSpPr/>
              <p:nvPr/>
            </p:nvSpPr>
            <p:spPr>
              <a:xfrm>
                <a:off x="7996995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52" name="Текст 2">
            <a:extLst>
              <a:ext uri="{FF2B5EF4-FFF2-40B4-BE49-F238E27FC236}">
                <a16:creationId xmlns:a16="http://schemas.microsoft.com/office/drawing/2014/main" id="{F1F081BE-3874-707D-946A-40DC12C4F482}"/>
              </a:ext>
            </a:extLst>
          </p:cNvPr>
          <p:cNvSpPr txBox="1">
            <a:spLocks/>
          </p:cNvSpPr>
          <p:nvPr/>
        </p:nvSpPr>
        <p:spPr>
          <a:xfrm>
            <a:off x="7284006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4</a:t>
            </a:r>
          </a:p>
        </p:txBody>
      </p:sp>
      <p:grpSp>
        <p:nvGrpSpPr>
          <p:cNvPr id="53" name="Группа 52"/>
          <p:cNvGrpSpPr/>
          <p:nvPr/>
        </p:nvGrpSpPr>
        <p:grpSpPr>
          <a:xfrm>
            <a:off x="9521509" y="2269714"/>
            <a:ext cx="2095458" cy="3016900"/>
            <a:chOff x="9526630" y="2269714"/>
            <a:chExt cx="2095458" cy="3016900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6C9668F-CC71-ED71-64BD-0BB8E261ACA0}"/>
                </a:ext>
              </a:extLst>
            </p:cNvPr>
            <p:cNvSpPr txBox="1"/>
            <p:nvPr/>
          </p:nvSpPr>
          <p:spPr>
            <a:xfrm>
              <a:off x="9713677" y="3538663"/>
              <a:ext cx="1721362" cy="16055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chemeClr val="tx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/>
                <a:t>Информирование поставщика о выявленных количествах;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chemeClr val="tx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/>
                <a:t>Согласование способа компенсации.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chemeClr val="tx1"/>
                </a:buClr>
                <a:buSzTx/>
                <a:tabLst/>
                <a:defRPr/>
              </a:pPr>
              <a:endParaRPr lang="ru-RU" sz="1200" dirty="0" smtClean="0"/>
            </a:p>
          </p:txBody>
        </p:sp>
        <p:grpSp>
          <p:nvGrpSpPr>
            <p:cNvPr id="55" name="Группа 54"/>
            <p:cNvGrpSpPr/>
            <p:nvPr/>
          </p:nvGrpSpPr>
          <p:grpSpPr>
            <a:xfrm>
              <a:off x="9526630" y="2269714"/>
              <a:ext cx="2095458" cy="3016900"/>
              <a:chOff x="9526630" y="2269714"/>
              <a:chExt cx="2095458" cy="3016900"/>
            </a:xfrm>
          </p:grpSpPr>
          <p:grpSp>
            <p:nvGrpSpPr>
              <p:cNvPr id="56" name="Группа 55">
                <a:extLst>
                  <a:ext uri="{FF2B5EF4-FFF2-40B4-BE49-F238E27FC236}">
                    <a16:creationId xmlns:a16="http://schemas.microsoft.com/office/drawing/2014/main" id="{1035791F-EF2B-D263-5803-1252057D8D89}"/>
                  </a:ext>
                </a:extLst>
              </p:cNvPr>
              <p:cNvGrpSpPr/>
              <p:nvPr/>
            </p:nvGrpSpPr>
            <p:grpSpPr>
              <a:xfrm>
                <a:off x="9526630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60" name="Прямоугольник 36">
                  <a:extLst>
                    <a:ext uri="{FF2B5EF4-FFF2-40B4-BE49-F238E27FC236}">
                      <a16:creationId xmlns:a16="http://schemas.microsoft.com/office/drawing/2014/main" id="{53C30048-E754-6AD2-18D0-ACF2E2BFA9FD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61" name="Прямая соединительная линия 60">
                  <a:extLst>
                    <a:ext uri="{FF2B5EF4-FFF2-40B4-BE49-F238E27FC236}">
                      <a16:creationId xmlns:a16="http://schemas.microsoft.com/office/drawing/2014/main" id="{55D57802-867E-8CDE-74C6-746E8B80AD0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id="{B1349C9E-117E-7E92-C7A7-1BAE3026288F}"/>
                  </a:ext>
                </a:extLst>
              </p:cNvPr>
              <p:cNvSpPr/>
              <p:nvPr/>
            </p:nvSpPr>
            <p:spPr>
              <a:xfrm>
                <a:off x="10234498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64" name="Текст 2">
            <a:extLst>
              <a:ext uri="{FF2B5EF4-FFF2-40B4-BE49-F238E27FC236}">
                <a16:creationId xmlns:a16="http://schemas.microsoft.com/office/drawing/2014/main" id="{147D86EC-1F8D-036D-6B4E-1FCB14B14A8F}"/>
              </a:ext>
            </a:extLst>
          </p:cNvPr>
          <p:cNvSpPr txBox="1">
            <a:spLocks/>
          </p:cNvSpPr>
          <p:nvPr/>
        </p:nvSpPr>
        <p:spPr>
          <a:xfrm>
            <a:off x="9521509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</a:t>
            </a:r>
            <a:r>
              <a:rPr lang="ru-RU" sz="1800" b="1" dirty="0" smtClean="0"/>
              <a:t>5</a:t>
            </a:r>
            <a:endParaRPr lang="ru-RU" sz="1800" b="1" dirty="0"/>
          </a:p>
        </p:txBody>
      </p:sp>
      <p:cxnSp>
        <p:nvCxnSpPr>
          <p:cNvPr id="65" name="Прямая со стрелкой 64">
            <a:extLst>
              <a:ext uri="{FF2B5EF4-FFF2-40B4-BE49-F238E27FC236}">
                <a16:creationId xmlns:a16="http://schemas.microsoft.com/office/drawing/2014/main" id="{65D74329-DD9D-2CCE-81FE-FDA4C58F9507}"/>
              </a:ext>
            </a:extLst>
          </p:cNvPr>
          <p:cNvCxnSpPr>
            <a:cxnSpLocks/>
          </p:cNvCxnSpPr>
          <p:nvPr/>
        </p:nvCxnSpPr>
        <p:spPr>
          <a:xfrm>
            <a:off x="9080818" y="1776075"/>
            <a:ext cx="517966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 стрелкой 65">
            <a:extLst>
              <a:ext uri="{FF2B5EF4-FFF2-40B4-BE49-F238E27FC236}">
                <a16:creationId xmlns:a16="http://schemas.microsoft.com/office/drawing/2014/main" id="{B356F046-1E16-A643-D522-DF00D30F0EB7}"/>
              </a:ext>
            </a:extLst>
          </p:cNvPr>
          <p:cNvCxnSpPr>
            <a:cxnSpLocks/>
          </p:cNvCxnSpPr>
          <p:nvPr/>
        </p:nvCxnSpPr>
        <p:spPr>
          <a:xfrm>
            <a:off x="6934972" y="1776075"/>
            <a:ext cx="517966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>
            <a:extLst>
              <a:ext uri="{FF2B5EF4-FFF2-40B4-BE49-F238E27FC236}">
                <a16:creationId xmlns:a16="http://schemas.microsoft.com/office/drawing/2014/main" id="{6F94BA8C-0639-88F7-32F1-345971724B7E}"/>
              </a:ext>
            </a:extLst>
          </p:cNvPr>
          <p:cNvCxnSpPr>
            <a:cxnSpLocks/>
          </p:cNvCxnSpPr>
          <p:nvPr/>
        </p:nvCxnSpPr>
        <p:spPr>
          <a:xfrm>
            <a:off x="4697470" y="1776075"/>
            <a:ext cx="517966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 стрелкой 67">
            <a:extLst>
              <a:ext uri="{FF2B5EF4-FFF2-40B4-BE49-F238E27FC236}">
                <a16:creationId xmlns:a16="http://schemas.microsoft.com/office/drawing/2014/main" id="{C3B9DC80-458A-2CA7-D8A6-A89B68805D6A}"/>
              </a:ext>
            </a:extLst>
          </p:cNvPr>
          <p:cNvCxnSpPr>
            <a:cxnSpLocks/>
          </p:cNvCxnSpPr>
          <p:nvPr/>
        </p:nvCxnSpPr>
        <p:spPr>
          <a:xfrm>
            <a:off x="2459968" y="1776075"/>
            <a:ext cx="517966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AB4A029B-B121-4774-9D7D-254772A487BD}"/>
              </a:ext>
            </a:extLst>
          </p:cNvPr>
          <p:cNvGrpSpPr/>
          <p:nvPr/>
        </p:nvGrpSpPr>
        <p:grpSpPr>
          <a:xfrm>
            <a:off x="1399429" y="2379225"/>
            <a:ext cx="421884" cy="413004"/>
            <a:chOff x="4100985" y="1204101"/>
            <a:chExt cx="542363" cy="564924"/>
          </a:xfrm>
          <a:solidFill>
            <a:schemeClr val="tx2"/>
          </a:solidFill>
        </p:grpSpPr>
        <p:sp>
          <p:nvSpPr>
            <p:cNvPr id="70" name="Полилиния: фигура 160">
              <a:extLst>
                <a:ext uri="{FF2B5EF4-FFF2-40B4-BE49-F238E27FC236}">
                  <a16:creationId xmlns:a16="http://schemas.microsoft.com/office/drawing/2014/main" id="{ADA465FE-7CC7-45AC-B79C-F5E4C29C80D4}"/>
                </a:ext>
              </a:extLst>
            </p:cNvPr>
            <p:cNvSpPr/>
            <p:nvPr/>
          </p:nvSpPr>
          <p:spPr>
            <a:xfrm>
              <a:off x="4100985" y="1204101"/>
              <a:ext cx="542363" cy="564924"/>
            </a:xfrm>
            <a:custGeom>
              <a:avLst/>
              <a:gdLst>
                <a:gd name="connsiteX0" fmla="*/ 271181 w 542363"/>
                <a:gd name="connsiteY0" fmla="*/ 0 h 564924"/>
                <a:gd name="connsiteX1" fmla="*/ 0 w 542363"/>
                <a:gd name="connsiteY1" fmla="*/ 271183 h 564924"/>
                <a:gd name="connsiteX2" fmla="*/ 71946 w 542363"/>
                <a:gd name="connsiteY2" fmla="*/ 455141 h 564924"/>
                <a:gd name="connsiteX3" fmla="*/ 56822 w 542363"/>
                <a:gd name="connsiteY3" fmla="*/ 552615 h 564924"/>
                <a:gd name="connsiteX4" fmla="*/ 61136 w 542363"/>
                <a:gd name="connsiteY4" fmla="*/ 562916 h 564924"/>
                <a:gd name="connsiteX5" fmla="*/ 67367 w 542363"/>
                <a:gd name="connsiteY5" fmla="*/ 564924 h 564924"/>
                <a:gd name="connsiteX6" fmla="*/ 72274 w 542363"/>
                <a:gd name="connsiteY6" fmla="*/ 563729 h 564924"/>
                <a:gd name="connsiteX7" fmla="*/ 159706 w 542363"/>
                <a:gd name="connsiteY7" fmla="*/ 518451 h 564924"/>
                <a:gd name="connsiteX8" fmla="*/ 271181 w 542363"/>
                <a:gd name="connsiteY8" fmla="*/ 542367 h 564924"/>
                <a:gd name="connsiteX9" fmla="*/ 542364 w 542363"/>
                <a:gd name="connsiteY9" fmla="*/ 271184 h 564924"/>
                <a:gd name="connsiteX10" fmla="*/ 271181 w 542363"/>
                <a:gd name="connsiteY10" fmla="*/ 0 h 564924"/>
                <a:gd name="connsiteX11" fmla="*/ 271181 w 542363"/>
                <a:gd name="connsiteY11" fmla="*/ 521021 h 564924"/>
                <a:gd name="connsiteX12" fmla="*/ 164028 w 542363"/>
                <a:gd name="connsiteY12" fmla="*/ 496929 h 564924"/>
                <a:gd name="connsiteX13" fmla="*/ 154538 w 542363"/>
                <a:gd name="connsiteY13" fmla="*/ 497090 h 564924"/>
                <a:gd name="connsiteX14" fmla="*/ 81138 w 542363"/>
                <a:gd name="connsiteY14" fmla="*/ 535101 h 564924"/>
                <a:gd name="connsiteX15" fmla="*/ 93838 w 542363"/>
                <a:gd name="connsiteY15" fmla="*/ 453257 h 564924"/>
                <a:gd name="connsiteX16" fmla="*/ 90989 w 542363"/>
                <a:gd name="connsiteY16" fmla="*/ 444227 h 564924"/>
                <a:gd name="connsiteX17" fmla="*/ 21343 w 542363"/>
                <a:gd name="connsiteY17" fmla="*/ 271181 h 564924"/>
                <a:gd name="connsiteX18" fmla="*/ 271181 w 542363"/>
                <a:gd name="connsiteY18" fmla="*/ 21343 h 564924"/>
                <a:gd name="connsiteX19" fmla="*/ 521019 w 542363"/>
                <a:gd name="connsiteY19" fmla="*/ 271182 h 564924"/>
                <a:gd name="connsiteX20" fmla="*/ 271181 w 542363"/>
                <a:gd name="connsiteY20" fmla="*/ 521021 h 56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2363" h="564924">
                  <a:moveTo>
                    <a:pt x="271181" y="0"/>
                  </a:moveTo>
                  <a:cubicBezTo>
                    <a:pt x="121649" y="0"/>
                    <a:pt x="0" y="121652"/>
                    <a:pt x="0" y="271183"/>
                  </a:cubicBezTo>
                  <a:cubicBezTo>
                    <a:pt x="0" y="339780"/>
                    <a:pt x="25510" y="404895"/>
                    <a:pt x="71946" y="455141"/>
                  </a:cubicBezTo>
                  <a:lnTo>
                    <a:pt x="56822" y="552615"/>
                  </a:lnTo>
                  <a:cubicBezTo>
                    <a:pt x="56207" y="556588"/>
                    <a:pt x="57874" y="560568"/>
                    <a:pt x="61136" y="562916"/>
                  </a:cubicBezTo>
                  <a:cubicBezTo>
                    <a:pt x="62987" y="564248"/>
                    <a:pt x="65171" y="564924"/>
                    <a:pt x="67367" y="564924"/>
                  </a:cubicBezTo>
                  <a:cubicBezTo>
                    <a:pt x="69044" y="564924"/>
                    <a:pt x="70728" y="564530"/>
                    <a:pt x="72274" y="563729"/>
                  </a:cubicBezTo>
                  <a:lnTo>
                    <a:pt x="159706" y="518451"/>
                  </a:lnTo>
                  <a:cubicBezTo>
                    <a:pt x="194820" y="534325"/>
                    <a:pt x="232294" y="542367"/>
                    <a:pt x="271181" y="542367"/>
                  </a:cubicBezTo>
                  <a:cubicBezTo>
                    <a:pt x="420710" y="542367"/>
                    <a:pt x="542364" y="420715"/>
                    <a:pt x="542364" y="271184"/>
                  </a:cubicBezTo>
                  <a:cubicBezTo>
                    <a:pt x="542364" y="121652"/>
                    <a:pt x="420712" y="0"/>
                    <a:pt x="271181" y="0"/>
                  </a:cubicBezTo>
                  <a:close/>
                  <a:moveTo>
                    <a:pt x="271181" y="521021"/>
                  </a:moveTo>
                  <a:cubicBezTo>
                    <a:pt x="233696" y="521021"/>
                    <a:pt x="197646" y="512915"/>
                    <a:pt x="164028" y="496929"/>
                  </a:cubicBezTo>
                  <a:cubicBezTo>
                    <a:pt x="161015" y="495495"/>
                    <a:pt x="157503" y="495556"/>
                    <a:pt x="154538" y="497090"/>
                  </a:cubicBezTo>
                  <a:lnTo>
                    <a:pt x="81138" y="535101"/>
                  </a:lnTo>
                  <a:lnTo>
                    <a:pt x="93838" y="453257"/>
                  </a:lnTo>
                  <a:cubicBezTo>
                    <a:pt x="94349" y="449967"/>
                    <a:pt x="93294" y="446629"/>
                    <a:pt x="90989" y="444227"/>
                  </a:cubicBezTo>
                  <a:cubicBezTo>
                    <a:pt x="46078" y="397474"/>
                    <a:pt x="21343" y="336018"/>
                    <a:pt x="21343" y="271181"/>
                  </a:cubicBezTo>
                  <a:cubicBezTo>
                    <a:pt x="21343" y="133421"/>
                    <a:pt x="133420" y="21343"/>
                    <a:pt x="271181" y="21343"/>
                  </a:cubicBezTo>
                  <a:cubicBezTo>
                    <a:pt x="408941" y="21343"/>
                    <a:pt x="521019" y="133420"/>
                    <a:pt x="521019" y="271182"/>
                  </a:cubicBezTo>
                  <a:cubicBezTo>
                    <a:pt x="521019" y="408944"/>
                    <a:pt x="408942" y="521021"/>
                    <a:pt x="271181" y="521021"/>
                  </a:cubicBez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: фигура 161">
              <a:extLst>
                <a:ext uri="{FF2B5EF4-FFF2-40B4-BE49-F238E27FC236}">
                  <a16:creationId xmlns:a16="http://schemas.microsoft.com/office/drawing/2014/main" id="{8F64117C-FB99-485B-81F9-4036DC805436}"/>
                </a:ext>
              </a:extLst>
            </p:cNvPr>
            <p:cNvSpPr/>
            <p:nvPr/>
          </p:nvSpPr>
          <p:spPr>
            <a:xfrm>
              <a:off x="4315665" y="1282117"/>
              <a:ext cx="113002" cy="113002"/>
            </a:xfrm>
            <a:custGeom>
              <a:avLst/>
              <a:gdLst>
                <a:gd name="connsiteX0" fmla="*/ 56501 w 113002"/>
                <a:gd name="connsiteY0" fmla="*/ 0 h 113002"/>
                <a:gd name="connsiteX1" fmla="*/ 0 w 113002"/>
                <a:gd name="connsiteY1" fmla="*/ 56501 h 113002"/>
                <a:gd name="connsiteX2" fmla="*/ 56501 w 113002"/>
                <a:gd name="connsiteY2" fmla="*/ 113002 h 113002"/>
                <a:gd name="connsiteX3" fmla="*/ 113002 w 113002"/>
                <a:gd name="connsiteY3" fmla="*/ 56501 h 113002"/>
                <a:gd name="connsiteX4" fmla="*/ 56501 w 113002"/>
                <a:gd name="connsiteY4" fmla="*/ 0 h 113002"/>
                <a:gd name="connsiteX5" fmla="*/ 56501 w 113002"/>
                <a:gd name="connsiteY5" fmla="*/ 91659 h 113002"/>
                <a:gd name="connsiteX6" fmla="*/ 21343 w 113002"/>
                <a:gd name="connsiteY6" fmla="*/ 56501 h 113002"/>
                <a:gd name="connsiteX7" fmla="*/ 56501 w 113002"/>
                <a:gd name="connsiteY7" fmla="*/ 21344 h 113002"/>
                <a:gd name="connsiteX8" fmla="*/ 91659 w 113002"/>
                <a:gd name="connsiteY8" fmla="*/ 56501 h 113002"/>
                <a:gd name="connsiteX9" fmla="*/ 56501 w 113002"/>
                <a:gd name="connsiteY9" fmla="*/ 91659 h 113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002" h="113002">
                  <a:moveTo>
                    <a:pt x="56501" y="0"/>
                  </a:moveTo>
                  <a:cubicBezTo>
                    <a:pt x="25347" y="0"/>
                    <a:pt x="0" y="25347"/>
                    <a:pt x="0" y="56501"/>
                  </a:cubicBezTo>
                  <a:cubicBezTo>
                    <a:pt x="0" y="87656"/>
                    <a:pt x="25347" y="113002"/>
                    <a:pt x="56501" y="113002"/>
                  </a:cubicBezTo>
                  <a:cubicBezTo>
                    <a:pt x="87658" y="113002"/>
                    <a:pt x="113002" y="87656"/>
                    <a:pt x="113002" y="56501"/>
                  </a:cubicBezTo>
                  <a:cubicBezTo>
                    <a:pt x="113002" y="25344"/>
                    <a:pt x="87656" y="0"/>
                    <a:pt x="56501" y="0"/>
                  </a:cubicBezTo>
                  <a:close/>
                  <a:moveTo>
                    <a:pt x="56501" y="91659"/>
                  </a:moveTo>
                  <a:cubicBezTo>
                    <a:pt x="37115" y="91659"/>
                    <a:pt x="21343" y="75887"/>
                    <a:pt x="21343" y="56501"/>
                  </a:cubicBezTo>
                  <a:cubicBezTo>
                    <a:pt x="21343" y="37115"/>
                    <a:pt x="37115" y="21344"/>
                    <a:pt x="56501" y="21344"/>
                  </a:cubicBezTo>
                  <a:cubicBezTo>
                    <a:pt x="75888" y="21344"/>
                    <a:pt x="91659" y="37115"/>
                    <a:pt x="91659" y="56501"/>
                  </a:cubicBezTo>
                  <a:cubicBezTo>
                    <a:pt x="91659" y="75887"/>
                    <a:pt x="75887" y="91659"/>
                    <a:pt x="56501" y="91659"/>
                  </a:cubicBez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Полилиния: фигура 162">
              <a:extLst>
                <a:ext uri="{FF2B5EF4-FFF2-40B4-BE49-F238E27FC236}">
                  <a16:creationId xmlns:a16="http://schemas.microsoft.com/office/drawing/2014/main" id="{633955A6-5F41-49DB-ACBA-9B7866EF2D37}"/>
                </a:ext>
              </a:extLst>
            </p:cNvPr>
            <p:cNvSpPr/>
            <p:nvPr/>
          </p:nvSpPr>
          <p:spPr>
            <a:xfrm>
              <a:off x="4298873" y="1413162"/>
              <a:ext cx="146590" cy="242466"/>
            </a:xfrm>
            <a:custGeom>
              <a:avLst/>
              <a:gdLst>
                <a:gd name="connsiteX0" fmla="*/ 135918 w 146590"/>
                <a:gd name="connsiteY0" fmla="*/ 185657 h 242466"/>
                <a:gd name="connsiteX1" fmla="*/ 123767 w 146590"/>
                <a:gd name="connsiteY1" fmla="*/ 185657 h 242466"/>
                <a:gd name="connsiteX2" fmla="*/ 123767 w 146590"/>
                <a:gd name="connsiteY2" fmla="*/ 10672 h 242466"/>
                <a:gd name="connsiteX3" fmla="*/ 113095 w 146590"/>
                <a:gd name="connsiteY3" fmla="*/ 0 h 242466"/>
                <a:gd name="connsiteX4" fmla="*/ 10672 w 146590"/>
                <a:gd name="connsiteY4" fmla="*/ 0 h 242466"/>
                <a:gd name="connsiteX5" fmla="*/ 0 w 146590"/>
                <a:gd name="connsiteY5" fmla="*/ 10672 h 242466"/>
                <a:gd name="connsiteX6" fmla="*/ 0 w 146590"/>
                <a:gd name="connsiteY6" fmla="*/ 46137 h 242466"/>
                <a:gd name="connsiteX7" fmla="*/ 10672 w 146590"/>
                <a:gd name="connsiteY7" fmla="*/ 56809 h 242466"/>
                <a:gd name="connsiteX8" fmla="*/ 22823 w 146590"/>
                <a:gd name="connsiteY8" fmla="*/ 56809 h 242466"/>
                <a:gd name="connsiteX9" fmla="*/ 22823 w 146590"/>
                <a:gd name="connsiteY9" fmla="*/ 185657 h 242466"/>
                <a:gd name="connsiteX10" fmla="*/ 10672 w 146590"/>
                <a:gd name="connsiteY10" fmla="*/ 185657 h 242466"/>
                <a:gd name="connsiteX11" fmla="*/ 0 w 146590"/>
                <a:gd name="connsiteY11" fmla="*/ 196328 h 242466"/>
                <a:gd name="connsiteX12" fmla="*/ 0 w 146590"/>
                <a:gd name="connsiteY12" fmla="*/ 231794 h 242466"/>
                <a:gd name="connsiteX13" fmla="*/ 10672 w 146590"/>
                <a:gd name="connsiteY13" fmla="*/ 242467 h 242466"/>
                <a:gd name="connsiteX14" fmla="*/ 135919 w 146590"/>
                <a:gd name="connsiteY14" fmla="*/ 242467 h 242466"/>
                <a:gd name="connsiteX15" fmla="*/ 146591 w 146590"/>
                <a:gd name="connsiteY15" fmla="*/ 231795 h 242466"/>
                <a:gd name="connsiteX16" fmla="*/ 146591 w 146590"/>
                <a:gd name="connsiteY16" fmla="*/ 196330 h 242466"/>
                <a:gd name="connsiteX17" fmla="*/ 135918 w 146590"/>
                <a:gd name="connsiteY17" fmla="*/ 185657 h 242466"/>
                <a:gd name="connsiteX18" fmla="*/ 125245 w 146590"/>
                <a:gd name="connsiteY18" fmla="*/ 221123 h 242466"/>
                <a:gd name="connsiteX19" fmla="*/ 21341 w 146590"/>
                <a:gd name="connsiteY19" fmla="*/ 221123 h 242466"/>
                <a:gd name="connsiteX20" fmla="*/ 21341 w 146590"/>
                <a:gd name="connsiteY20" fmla="*/ 207000 h 242466"/>
                <a:gd name="connsiteX21" fmla="*/ 33493 w 146590"/>
                <a:gd name="connsiteY21" fmla="*/ 207000 h 242466"/>
                <a:gd name="connsiteX22" fmla="*/ 44164 w 146590"/>
                <a:gd name="connsiteY22" fmla="*/ 196328 h 242466"/>
                <a:gd name="connsiteX23" fmla="*/ 44164 w 146590"/>
                <a:gd name="connsiteY23" fmla="*/ 46137 h 242466"/>
                <a:gd name="connsiteX24" fmla="*/ 33493 w 146590"/>
                <a:gd name="connsiteY24" fmla="*/ 35465 h 242466"/>
                <a:gd name="connsiteX25" fmla="*/ 21341 w 146590"/>
                <a:gd name="connsiteY25" fmla="*/ 35465 h 242466"/>
                <a:gd name="connsiteX26" fmla="*/ 21341 w 146590"/>
                <a:gd name="connsiteY26" fmla="*/ 21345 h 242466"/>
                <a:gd name="connsiteX27" fmla="*/ 102422 w 146590"/>
                <a:gd name="connsiteY27" fmla="*/ 21345 h 242466"/>
                <a:gd name="connsiteX28" fmla="*/ 102422 w 146590"/>
                <a:gd name="connsiteY28" fmla="*/ 196331 h 242466"/>
                <a:gd name="connsiteX29" fmla="*/ 113094 w 146590"/>
                <a:gd name="connsiteY29" fmla="*/ 207002 h 242466"/>
                <a:gd name="connsiteX30" fmla="*/ 125245 w 146590"/>
                <a:gd name="connsiteY30" fmla="*/ 207002 h 242466"/>
                <a:gd name="connsiteX31" fmla="*/ 125245 w 146590"/>
                <a:gd name="connsiteY31" fmla="*/ 221123 h 242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6590" h="242466">
                  <a:moveTo>
                    <a:pt x="135918" y="185657"/>
                  </a:moveTo>
                  <a:lnTo>
                    <a:pt x="123767" y="185657"/>
                  </a:lnTo>
                  <a:lnTo>
                    <a:pt x="123767" y="10672"/>
                  </a:lnTo>
                  <a:cubicBezTo>
                    <a:pt x="123767" y="4778"/>
                    <a:pt x="118988" y="0"/>
                    <a:pt x="113095" y="0"/>
                  </a:cubicBezTo>
                  <a:lnTo>
                    <a:pt x="10672" y="0"/>
                  </a:lnTo>
                  <a:cubicBezTo>
                    <a:pt x="4778" y="0"/>
                    <a:pt x="0" y="4779"/>
                    <a:pt x="0" y="10672"/>
                  </a:cubicBezTo>
                  <a:lnTo>
                    <a:pt x="0" y="46137"/>
                  </a:lnTo>
                  <a:cubicBezTo>
                    <a:pt x="0" y="52031"/>
                    <a:pt x="4779" y="56809"/>
                    <a:pt x="10672" y="56809"/>
                  </a:cubicBezTo>
                  <a:lnTo>
                    <a:pt x="22823" y="56809"/>
                  </a:lnTo>
                  <a:lnTo>
                    <a:pt x="22823" y="185657"/>
                  </a:lnTo>
                  <a:lnTo>
                    <a:pt x="10672" y="185657"/>
                  </a:lnTo>
                  <a:cubicBezTo>
                    <a:pt x="4778" y="185657"/>
                    <a:pt x="0" y="190435"/>
                    <a:pt x="0" y="196328"/>
                  </a:cubicBezTo>
                  <a:lnTo>
                    <a:pt x="0" y="231794"/>
                  </a:lnTo>
                  <a:cubicBezTo>
                    <a:pt x="0" y="237689"/>
                    <a:pt x="4779" y="242467"/>
                    <a:pt x="10672" y="242467"/>
                  </a:cubicBezTo>
                  <a:lnTo>
                    <a:pt x="135919" y="242467"/>
                  </a:lnTo>
                  <a:cubicBezTo>
                    <a:pt x="141813" y="242467"/>
                    <a:pt x="146591" y="237688"/>
                    <a:pt x="146591" y="231795"/>
                  </a:cubicBezTo>
                  <a:lnTo>
                    <a:pt x="146591" y="196330"/>
                  </a:lnTo>
                  <a:cubicBezTo>
                    <a:pt x="146590" y="190435"/>
                    <a:pt x="141811" y="185657"/>
                    <a:pt x="135918" y="185657"/>
                  </a:cubicBezTo>
                  <a:close/>
                  <a:moveTo>
                    <a:pt x="125245" y="221123"/>
                  </a:moveTo>
                  <a:lnTo>
                    <a:pt x="21341" y="221123"/>
                  </a:lnTo>
                  <a:lnTo>
                    <a:pt x="21341" y="207000"/>
                  </a:lnTo>
                  <a:lnTo>
                    <a:pt x="33493" y="207000"/>
                  </a:lnTo>
                  <a:cubicBezTo>
                    <a:pt x="39387" y="207000"/>
                    <a:pt x="44164" y="202221"/>
                    <a:pt x="44164" y="196328"/>
                  </a:cubicBezTo>
                  <a:lnTo>
                    <a:pt x="44164" y="46137"/>
                  </a:lnTo>
                  <a:cubicBezTo>
                    <a:pt x="44164" y="40243"/>
                    <a:pt x="39386" y="35465"/>
                    <a:pt x="33493" y="35465"/>
                  </a:cubicBezTo>
                  <a:lnTo>
                    <a:pt x="21341" y="35465"/>
                  </a:lnTo>
                  <a:lnTo>
                    <a:pt x="21341" y="21345"/>
                  </a:lnTo>
                  <a:lnTo>
                    <a:pt x="102422" y="21345"/>
                  </a:lnTo>
                  <a:lnTo>
                    <a:pt x="102422" y="196331"/>
                  </a:lnTo>
                  <a:cubicBezTo>
                    <a:pt x="102422" y="202225"/>
                    <a:pt x="107201" y="207002"/>
                    <a:pt x="113094" y="207002"/>
                  </a:cubicBezTo>
                  <a:lnTo>
                    <a:pt x="125245" y="207002"/>
                  </a:lnTo>
                  <a:lnTo>
                    <a:pt x="125245" y="221123"/>
                  </a:ln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AB4A029B-B121-4774-9D7D-254772A487BD}"/>
              </a:ext>
            </a:extLst>
          </p:cNvPr>
          <p:cNvGrpSpPr/>
          <p:nvPr/>
        </p:nvGrpSpPr>
        <p:grpSpPr>
          <a:xfrm>
            <a:off x="3626363" y="2369854"/>
            <a:ext cx="421884" cy="413004"/>
            <a:chOff x="4100985" y="1204101"/>
            <a:chExt cx="542363" cy="564924"/>
          </a:xfrm>
          <a:solidFill>
            <a:schemeClr val="tx2"/>
          </a:solidFill>
        </p:grpSpPr>
        <p:sp>
          <p:nvSpPr>
            <p:cNvPr id="74" name="Полилиния: фигура 160">
              <a:extLst>
                <a:ext uri="{FF2B5EF4-FFF2-40B4-BE49-F238E27FC236}">
                  <a16:creationId xmlns:a16="http://schemas.microsoft.com/office/drawing/2014/main" id="{ADA465FE-7CC7-45AC-B79C-F5E4C29C80D4}"/>
                </a:ext>
              </a:extLst>
            </p:cNvPr>
            <p:cNvSpPr/>
            <p:nvPr/>
          </p:nvSpPr>
          <p:spPr>
            <a:xfrm>
              <a:off x="4100985" y="1204101"/>
              <a:ext cx="542363" cy="564924"/>
            </a:xfrm>
            <a:custGeom>
              <a:avLst/>
              <a:gdLst>
                <a:gd name="connsiteX0" fmla="*/ 271181 w 542363"/>
                <a:gd name="connsiteY0" fmla="*/ 0 h 564924"/>
                <a:gd name="connsiteX1" fmla="*/ 0 w 542363"/>
                <a:gd name="connsiteY1" fmla="*/ 271183 h 564924"/>
                <a:gd name="connsiteX2" fmla="*/ 71946 w 542363"/>
                <a:gd name="connsiteY2" fmla="*/ 455141 h 564924"/>
                <a:gd name="connsiteX3" fmla="*/ 56822 w 542363"/>
                <a:gd name="connsiteY3" fmla="*/ 552615 h 564924"/>
                <a:gd name="connsiteX4" fmla="*/ 61136 w 542363"/>
                <a:gd name="connsiteY4" fmla="*/ 562916 h 564924"/>
                <a:gd name="connsiteX5" fmla="*/ 67367 w 542363"/>
                <a:gd name="connsiteY5" fmla="*/ 564924 h 564924"/>
                <a:gd name="connsiteX6" fmla="*/ 72274 w 542363"/>
                <a:gd name="connsiteY6" fmla="*/ 563729 h 564924"/>
                <a:gd name="connsiteX7" fmla="*/ 159706 w 542363"/>
                <a:gd name="connsiteY7" fmla="*/ 518451 h 564924"/>
                <a:gd name="connsiteX8" fmla="*/ 271181 w 542363"/>
                <a:gd name="connsiteY8" fmla="*/ 542367 h 564924"/>
                <a:gd name="connsiteX9" fmla="*/ 542364 w 542363"/>
                <a:gd name="connsiteY9" fmla="*/ 271184 h 564924"/>
                <a:gd name="connsiteX10" fmla="*/ 271181 w 542363"/>
                <a:gd name="connsiteY10" fmla="*/ 0 h 564924"/>
                <a:gd name="connsiteX11" fmla="*/ 271181 w 542363"/>
                <a:gd name="connsiteY11" fmla="*/ 521021 h 564924"/>
                <a:gd name="connsiteX12" fmla="*/ 164028 w 542363"/>
                <a:gd name="connsiteY12" fmla="*/ 496929 h 564924"/>
                <a:gd name="connsiteX13" fmla="*/ 154538 w 542363"/>
                <a:gd name="connsiteY13" fmla="*/ 497090 h 564924"/>
                <a:gd name="connsiteX14" fmla="*/ 81138 w 542363"/>
                <a:gd name="connsiteY14" fmla="*/ 535101 h 564924"/>
                <a:gd name="connsiteX15" fmla="*/ 93838 w 542363"/>
                <a:gd name="connsiteY15" fmla="*/ 453257 h 564924"/>
                <a:gd name="connsiteX16" fmla="*/ 90989 w 542363"/>
                <a:gd name="connsiteY16" fmla="*/ 444227 h 564924"/>
                <a:gd name="connsiteX17" fmla="*/ 21343 w 542363"/>
                <a:gd name="connsiteY17" fmla="*/ 271181 h 564924"/>
                <a:gd name="connsiteX18" fmla="*/ 271181 w 542363"/>
                <a:gd name="connsiteY18" fmla="*/ 21343 h 564924"/>
                <a:gd name="connsiteX19" fmla="*/ 521019 w 542363"/>
                <a:gd name="connsiteY19" fmla="*/ 271182 h 564924"/>
                <a:gd name="connsiteX20" fmla="*/ 271181 w 542363"/>
                <a:gd name="connsiteY20" fmla="*/ 521021 h 56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2363" h="564924">
                  <a:moveTo>
                    <a:pt x="271181" y="0"/>
                  </a:moveTo>
                  <a:cubicBezTo>
                    <a:pt x="121649" y="0"/>
                    <a:pt x="0" y="121652"/>
                    <a:pt x="0" y="271183"/>
                  </a:cubicBezTo>
                  <a:cubicBezTo>
                    <a:pt x="0" y="339780"/>
                    <a:pt x="25510" y="404895"/>
                    <a:pt x="71946" y="455141"/>
                  </a:cubicBezTo>
                  <a:lnTo>
                    <a:pt x="56822" y="552615"/>
                  </a:lnTo>
                  <a:cubicBezTo>
                    <a:pt x="56207" y="556588"/>
                    <a:pt x="57874" y="560568"/>
                    <a:pt x="61136" y="562916"/>
                  </a:cubicBezTo>
                  <a:cubicBezTo>
                    <a:pt x="62987" y="564248"/>
                    <a:pt x="65171" y="564924"/>
                    <a:pt x="67367" y="564924"/>
                  </a:cubicBezTo>
                  <a:cubicBezTo>
                    <a:pt x="69044" y="564924"/>
                    <a:pt x="70728" y="564530"/>
                    <a:pt x="72274" y="563729"/>
                  </a:cubicBezTo>
                  <a:lnTo>
                    <a:pt x="159706" y="518451"/>
                  </a:lnTo>
                  <a:cubicBezTo>
                    <a:pt x="194820" y="534325"/>
                    <a:pt x="232294" y="542367"/>
                    <a:pt x="271181" y="542367"/>
                  </a:cubicBezTo>
                  <a:cubicBezTo>
                    <a:pt x="420710" y="542367"/>
                    <a:pt x="542364" y="420715"/>
                    <a:pt x="542364" y="271184"/>
                  </a:cubicBezTo>
                  <a:cubicBezTo>
                    <a:pt x="542364" y="121652"/>
                    <a:pt x="420712" y="0"/>
                    <a:pt x="271181" y="0"/>
                  </a:cubicBezTo>
                  <a:close/>
                  <a:moveTo>
                    <a:pt x="271181" y="521021"/>
                  </a:moveTo>
                  <a:cubicBezTo>
                    <a:pt x="233696" y="521021"/>
                    <a:pt x="197646" y="512915"/>
                    <a:pt x="164028" y="496929"/>
                  </a:cubicBezTo>
                  <a:cubicBezTo>
                    <a:pt x="161015" y="495495"/>
                    <a:pt x="157503" y="495556"/>
                    <a:pt x="154538" y="497090"/>
                  </a:cubicBezTo>
                  <a:lnTo>
                    <a:pt x="81138" y="535101"/>
                  </a:lnTo>
                  <a:lnTo>
                    <a:pt x="93838" y="453257"/>
                  </a:lnTo>
                  <a:cubicBezTo>
                    <a:pt x="94349" y="449967"/>
                    <a:pt x="93294" y="446629"/>
                    <a:pt x="90989" y="444227"/>
                  </a:cubicBezTo>
                  <a:cubicBezTo>
                    <a:pt x="46078" y="397474"/>
                    <a:pt x="21343" y="336018"/>
                    <a:pt x="21343" y="271181"/>
                  </a:cubicBezTo>
                  <a:cubicBezTo>
                    <a:pt x="21343" y="133421"/>
                    <a:pt x="133420" y="21343"/>
                    <a:pt x="271181" y="21343"/>
                  </a:cubicBezTo>
                  <a:cubicBezTo>
                    <a:pt x="408941" y="21343"/>
                    <a:pt x="521019" y="133420"/>
                    <a:pt x="521019" y="271182"/>
                  </a:cubicBezTo>
                  <a:cubicBezTo>
                    <a:pt x="521019" y="408944"/>
                    <a:pt x="408942" y="521021"/>
                    <a:pt x="271181" y="521021"/>
                  </a:cubicBez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: фигура 161">
              <a:extLst>
                <a:ext uri="{FF2B5EF4-FFF2-40B4-BE49-F238E27FC236}">
                  <a16:creationId xmlns:a16="http://schemas.microsoft.com/office/drawing/2014/main" id="{8F64117C-FB99-485B-81F9-4036DC805436}"/>
                </a:ext>
              </a:extLst>
            </p:cNvPr>
            <p:cNvSpPr/>
            <p:nvPr/>
          </p:nvSpPr>
          <p:spPr>
            <a:xfrm>
              <a:off x="4315665" y="1282117"/>
              <a:ext cx="113002" cy="113002"/>
            </a:xfrm>
            <a:custGeom>
              <a:avLst/>
              <a:gdLst>
                <a:gd name="connsiteX0" fmla="*/ 56501 w 113002"/>
                <a:gd name="connsiteY0" fmla="*/ 0 h 113002"/>
                <a:gd name="connsiteX1" fmla="*/ 0 w 113002"/>
                <a:gd name="connsiteY1" fmla="*/ 56501 h 113002"/>
                <a:gd name="connsiteX2" fmla="*/ 56501 w 113002"/>
                <a:gd name="connsiteY2" fmla="*/ 113002 h 113002"/>
                <a:gd name="connsiteX3" fmla="*/ 113002 w 113002"/>
                <a:gd name="connsiteY3" fmla="*/ 56501 h 113002"/>
                <a:gd name="connsiteX4" fmla="*/ 56501 w 113002"/>
                <a:gd name="connsiteY4" fmla="*/ 0 h 113002"/>
                <a:gd name="connsiteX5" fmla="*/ 56501 w 113002"/>
                <a:gd name="connsiteY5" fmla="*/ 91659 h 113002"/>
                <a:gd name="connsiteX6" fmla="*/ 21343 w 113002"/>
                <a:gd name="connsiteY6" fmla="*/ 56501 h 113002"/>
                <a:gd name="connsiteX7" fmla="*/ 56501 w 113002"/>
                <a:gd name="connsiteY7" fmla="*/ 21344 h 113002"/>
                <a:gd name="connsiteX8" fmla="*/ 91659 w 113002"/>
                <a:gd name="connsiteY8" fmla="*/ 56501 h 113002"/>
                <a:gd name="connsiteX9" fmla="*/ 56501 w 113002"/>
                <a:gd name="connsiteY9" fmla="*/ 91659 h 113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002" h="113002">
                  <a:moveTo>
                    <a:pt x="56501" y="0"/>
                  </a:moveTo>
                  <a:cubicBezTo>
                    <a:pt x="25347" y="0"/>
                    <a:pt x="0" y="25347"/>
                    <a:pt x="0" y="56501"/>
                  </a:cubicBezTo>
                  <a:cubicBezTo>
                    <a:pt x="0" y="87656"/>
                    <a:pt x="25347" y="113002"/>
                    <a:pt x="56501" y="113002"/>
                  </a:cubicBezTo>
                  <a:cubicBezTo>
                    <a:pt x="87658" y="113002"/>
                    <a:pt x="113002" y="87656"/>
                    <a:pt x="113002" y="56501"/>
                  </a:cubicBezTo>
                  <a:cubicBezTo>
                    <a:pt x="113002" y="25344"/>
                    <a:pt x="87656" y="0"/>
                    <a:pt x="56501" y="0"/>
                  </a:cubicBezTo>
                  <a:close/>
                  <a:moveTo>
                    <a:pt x="56501" y="91659"/>
                  </a:moveTo>
                  <a:cubicBezTo>
                    <a:pt x="37115" y="91659"/>
                    <a:pt x="21343" y="75887"/>
                    <a:pt x="21343" y="56501"/>
                  </a:cubicBezTo>
                  <a:cubicBezTo>
                    <a:pt x="21343" y="37115"/>
                    <a:pt x="37115" y="21344"/>
                    <a:pt x="56501" y="21344"/>
                  </a:cubicBezTo>
                  <a:cubicBezTo>
                    <a:pt x="75888" y="21344"/>
                    <a:pt x="91659" y="37115"/>
                    <a:pt x="91659" y="56501"/>
                  </a:cubicBezTo>
                  <a:cubicBezTo>
                    <a:pt x="91659" y="75887"/>
                    <a:pt x="75887" y="91659"/>
                    <a:pt x="56501" y="91659"/>
                  </a:cubicBez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: фигура 162">
              <a:extLst>
                <a:ext uri="{FF2B5EF4-FFF2-40B4-BE49-F238E27FC236}">
                  <a16:creationId xmlns:a16="http://schemas.microsoft.com/office/drawing/2014/main" id="{633955A6-5F41-49DB-ACBA-9B7866EF2D37}"/>
                </a:ext>
              </a:extLst>
            </p:cNvPr>
            <p:cNvSpPr/>
            <p:nvPr/>
          </p:nvSpPr>
          <p:spPr>
            <a:xfrm>
              <a:off x="4298873" y="1413162"/>
              <a:ext cx="146590" cy="242466"/>
            </a:xfrm>
            <a:custGeom>
              <a:avLst/>
              <a:gdLst>
                <a:gd name="connsiteX0" fmla="*/ 135918 w 146590"/>
                <a:gd name="connsiteY0" fmla="*/ 185657 h 242466"/>
                <a:gd name="connsiteX1" fmla="*/ 123767 w 146590"/>
                <a:gd name="connsiteY1" fmla="*/ 185657 h 242466"/>
                <a:gd name="connsiteX2" fmla="*/ 123767 w 146590"/>
                <a:gd name="connsiteY2" fmla="*/ 10672 h 242466"/>
                <a:gd name="connsiteX3" fmla="*/ 113095 w 146590"/>
                <a:gd name="connsiteY3" fmla="*/ 0 h 242466"/>
                <a:gd name="connsiteX4" fmla="*/ 10672 w 146590"/>
                <a:gd name="connsiteY4" fmla="*/ 0 h 242466"/>
                <a:gd name="connsiteX5" fmla="*/ 0 w 146590"/>
                <a:gd name="connsiteY5" fmla="*/ 10672 h 242466"/>
                <a:gd name="connsiteX6" fmla="*/ 0 w 146590"/>
                <a:gd name="connsiteY6" fmla="*/ 46137 h 242466"/>
                <a:gd name="connsiteX7" fmla="*/ 10672 w 146590"/>
                <a:gd name="connsiteY7" fmla="*/ 56809 h 242466"/>
                <a:gd name="connsiteX8" fmla="*/ 22823 w 146590"/>
                <a:gd name="connsiteY8" fmla="*/ 56809 h 242466"/>
                <a:gd name="connsiteX9" fmla="*/ 22823 w 146590"/>
                <a:gd name="connsiteY9" fmla="*/ 185657 h 242466"/>
                <a:gd name="connsiteX10" fmla="*/ 10672 w 146590"/>
                <a:gd name="connsiteY10" fmla="*/ 185657 h 242466"/>
                <a:gd name="connsiteX11" fmla="*/ 0 w 146590"/>
                <a:gd name="connsiteY11" fmla="*/ 196328 h 242466"/>
                <a:gd name="connsiteX12" fmla="*/ 0 w 146590"/>
                <a:gd name="connsiteY12" fmla="*/ 231794 h 242466"/>
                <a:gd name="connsiteX13" fmla="*/ 10672 w 146590"/>
                <a:gd name="connsiteY13" fmla="*/ 242467 h 242466"/>
                <a:gd name="connsiteX14" fmla="*/ 135919 w 146590"/>
                <a:gd name="connsiteY14" fmla="*/ 242467 h 242466"/>
                <a:gd name="connsiteX15" fmla="*/ 146591 w 146590"/>
                <a:gd name="connsiteY15" fmla="*/ 231795 h 242466"/>
                <a:gd name="connsiteX16" fmla="*/ 146591 w 146590"/>
                <a:gd name="connsiteY16" fmla="*/ 196330 h 242466"/>
                <a:gd name="connsiteX17" fmla="*/ 135918 w 146590"/>
                <a:gd name="connsiteY17" fmla="*/ 185657 h 242466"/>
                <a:gd name="connsiteX18" fmla="*/ 125245 w 146590"/>
                <a:gd name="connsiteY18" fmla="*/ 221123 h 242466"/>
                <a:gd name="connsiteX19" fmla="*/ 21341 w 146590"/>
                <a:gd name="connsiteY19" fmla="*/ 221123 h 242466"/>
                <a:gd name="connsiteX20" fmla="*/ 21341 w 146590"/>
                <a:gd name="connsiteY20" fmla="*/ 207000 h 242466"/>
                <a:gd name="connsiteX21" fmla="*/ 33493 w 146590"/>
                <a:gd name="connsiteY21" fmla="*/ 207000 h 242466"/>
                <a:gd name="connsiteX22" fmla="*/ 44164 w 146590"/>
                <a:gd name="connsiteY22" fmla="*/ 196328 h 242466"/>
                <a:gd name="connsiteX23" fmla="*/ 44164 w 146590"/>
                <a:gd name="connsiteY23" fmla="*/ 46137 h 242466"/>
                <a:gd name="connsiteX24" fmla="*/ 33493 w 146590"/>
                <a:gd name="connsiteY24" fmla="*/ 35465 h 242466"/>
                <a:gd name="connsiteX25" fmla="*/ 21341 w 146590"/>
                <a:gd name="connsiteY25" fmla="*/ 35465 h 242466"/>
                <a:gd name="connsiteX26" fmla="*/ 21341 w 146590"/>
                <a:gd name="connsiteY26" fmla="*/ 21345 h 242466"/>
                <a:gd name="connsiteX27" fmla="*/ 102422 w 146590"/>
                <a:gd name="connsiteY27" fmla="*/ 21345 h 242466"/>
                <a:gd name="connsiteX28" fmla="*/ 102422 w 146590"/>
                <a:gd name="connsiteY28" fmla="*/ 196331 h 242466"/>
                <a:gd name="connsiteX29" fmla="*/ 113094 w 146590"/>
                <a:gd name="connsiteY29" fmla="*/ 207002 h 242466"/>
                <a:gd name="connsiteX30" fmla="*/ 125245 w 146590"/>
                <a:gd name="connsiteY30" fmla="*/ 207002 h 242466"/>
                <a:gd name="connsiteX31" fmla="*/ 125245 w 146590"/>
                <a:gd name="connsiteY31" fmla="*/ 221123 h 242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6590" h="242466">
                  <a:moveTo>
                    <a:pt x="135918" y="185657"/>
                  </a:moveTo>
                  <a:lnTo>
                    <a:pt x="123767" y="185657"/>
                  </a:lnTo>
                  <a:lnTo>
                    <a:pt x="123767" y="10672"/>
                  </a:lnTo>
                  <a:cubicBezTo>
                    <a:pt x="123767" y="4778"/>
                    <a:pt x="118988" y="0"/>
                    <a:pt x="113095" y="0"/>
                  </a:cubicBezTo>
                  <a:lnTo>
                    <a:pt x="10672" y="0"/>
                  </a:lnTo>
                  <a:cubicBezTo>
                    <a:pt x="4778" y="0"/>
                    <a:pt x="0" y="4779"/>
                    <a:pt x="0" y="10672"/>
                  </a:cubicBezTo>
                  <a:lnTo>
                    <a:pt x="0" y="46137"/>
                  </a:lnTo>
                  <a:cubicBezTo>
                    <a:pt x="0" y="52031"/>
                    <a:pt x="4779" y="56809"/>
                    <a:pt x="10672" y="56809"/>
                  </a:cubicBezTo>
                  <a:lnTo>
                    <a:pt x="22823" y="56809"/>
                  </a:lnTo>
                  <a:lnTo>
                    <a:pt x="22823" y="185657"/>
                  </a:lnTo>
                  <a:lnTo>
                    <a:pt x="10672" y="185657"/>
                  </a:lnTo>
                  <a:cubicBezTo>
                    <a:pt x="4778" y="185657"/>
                    <a:pt x="0" y="190435"/>
                    <a:pt x="0" y="196328"/>
                  </a:cubicBezTo>
                  <a:lnTo>
                    <a:pt x="0" y="231794"/>
                  </a:lnTo>
                  <a:cubicBezTo>
                    <a:pt x="0" y="237689"/>
                    <a:pt x="4779" y="242467"/>
                    <a:pt x="10672" y="242467"/>
                  </a:cubicBezTo>
                  <a:lnTo>
                    <a:pt x="135919" y="242467"/>
                  </a:lnTo>
                  <a:cubicBezTo>
                    <a:pt x="141813" y="242467"/>
                    <a:pt x="146591" y="237688"/>
                    <a:pt x="146591" y="231795"/>
                  </a:cubicBezTo>
                  <a:lnTo>
                    <a:pt x="146591" y="196330"/>
                  </a:lnTo>
                  <a:cubicBezTo>
                    <a:pt x="146590" y="190435"/>
                    <a:pt x="141811" y="185657"/>
                    <a:pt x="135918" y="185657"/>
                  </a:cubicBezTo>
                  <a:close/>
                  <a:moveTo>
                    <a:pt x="125245" y="221123"/>
                  </a:moveTo>
                  <a:lnTo>
                    <a:pt x="21341" y="221123"/>
                  </a:lnTo>
                  <a:lnTo>
                    <a:pt x="21341" y="207000"/>
                  </a:lnTo>
                  <a:lnTo>
                    <a:pt x="33493" y="207000"/>
                  </a:lnTo>
                  <a:cubicBezTo>
                    <a:pt x="39387" y="207000"/>
                    <a:pt x="44164" y="202221"/>
                    <a:pt x="44164" y="196328"/>
                  </a:cubicBezTo>
                  <a:lnTo>
                    <a:pt x="44164" y="46137"/>
                  </a:lnTo>
                  <a:cubicBezTo>
                    <a:pt x="44164" y="40243"/>
                    <a:pt x="39386" y="35465"/>
                    <a:pt x="33493" y="35465"/>
                  </a:cubicBezTo>
                  <a:lnTo>
                    <a:pt x="21341" y="35465"/>
                  </a:lnTo>
                  <a:lnTo>
                    <a:pt x="21341" y="21345"/>
                  </a:lnTo>
                  <a:lnTo>
                    <a:pt x="102422" y="21345"/>
                  </a:lnTo>
                  <a:lnTo>
                    <a:pt x="102422" y="196331"/>
                  </a:lnTo>
                  <a:cubicBezTo>
                    <a:pt x="102422" y="202225"/>
                    <a:pt x="107201" y="207002"/>
                    <a:pt x="113094" y="207002"/>
                  </a:cubicBezTo>
                  <a:lnTo>
                    <a:pt x="125245" y="207002"/>
                  </a:lnTo>
                  <a:lnTo>
                    <a:pt x="125245" y="221123"/>
                  </a:ln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AB4A029B-B121-4774-9D7D-254772A487BD}"/>
              </a:ext>
            </a:extLst>
          </p:cNvPr>
          <p:cNvGrpSpPr/>
          <p:nvPr/>
        </p:nvGrpSpPr>
        <p:grpSpPr>
          <a:xfrm>
            <a:off x="5863865" y="2385033"/>
            <a:ext cx="421884" cy="413004"/>
            <a:chOff x="4100985" y="1204101"/>
            <a:chExt cx="542363" cy="564924"/>
          </a:xfrm>
          <a:solidFill>
            <a:schemeClr val="tx2"/>
          </a:solidFill>
        </p:grpSpPr>
        <p:sp>
          <p:nvSpPr>
            <p:cNvPr id="78" name="Полилиния: фигура 160">
              <a:extLst>
                <a:ext uri="{FF2B5EF4-FFF2-40B4-BE49-F238E27FC236}">
                  <a16:creationId xmlns:a16="http://schemas.microsoft.com/office/drawing/2014/main" id="{ADA465FE-7CC7-45AC-B79C-F5E4C29C80D4}"/>
                </a:ext>
              </a:extLst>
            </p:cNvPr>
            <p:cNvSpPr/>
            <p:nvPr/>
          </p:nvSpPr>
          <p:spPr>
            <a:xfrm>
              <a:off x="4100985" y="1204101"/>
              <a:ext cx="542363" cy="564924"/>
            </a:xfrm>
            <a:custGeom>
              <a:avLst/>
              <a:gdLst>
                <a:gd name="connsiteX0" fmla="*/ 271181 w 542363"/>
                <a:gd name="connsiteY0" fmla="*/ 0 h 564924"/>
                <a:gd name="connsiteX1" fmla="*/ 0 w 542363"/>
                <a:gd name="connsiteY1" fmla="*/ 271183 h 564924"/>
                <a:gd name="connsiteX2" fmla="*/ 71946 w 542363"/>
                <a:gd name="connsiteY2" fmla="*/ 455141 h 564924"/>
                <a:gd name="connsiteX3" fmla="*/ 56822 w 542363"/>
                <a:gd name="connsiteY3" fmla="*/ 552615 h 564924"/>
                <a:gd name="connsiteX4" fmla="*/ 61136 w 542363"/>
                <a:gd name="connsiteY4" fmla="*/ 562916 h 564924"/>
                <a:gd name="connsiteX5" fmla="*/ 67367 w 542363"/>
                <a:gd name="connsiteY5" fmla="*/ 564924 h 564924"/>
                <a:gd name="connsiteX6" fmla="*/ 72274 w 542363"/>
                <a:gd name="connsiteY6" fmla="*/ 563729 h 564924"/>
                <a:gd name="connsiteX7" fmla="*/ 159706 w 542363"/>
                <a:gd name="connsiteY7" fmla="*/ 518451 h 564924"/>
                <a:gd name="connsiteX8" fmla="*/ 271181 w 542363"/>
                <a:gd name="connsiteY8" fmla="*/ 542367 h 564924"/>
                <a:gd name="connsiteX9" fmla="*/ 542364 w 542363"/>
                <a:gd name="connsiteY9" fmla="*/ 271184 h 564924"/>
                <a:gd name="connsiteX10" fmla="*/ 271181 w 542363"/>
                <a:gd name="connsiteY10" fmla="*/ 0 h 564924"/>
                <a:gd name="connsiteX11" fmla="*/ 271181 w 542363"/>
                <a:gd name="connsiteY11" fmla="*/ 521021 h 564924"/>
                <a:gd name="connsiteX12" fmla="*/ 164028 w 542363"/>
                <a:gd name="connsiteY12" fmla="*/ 496929 h 564924"/>
                <a:gd name="connsiteX13" fmla="*/ 154538 w 542363"/>
                <a:gd name="connsiteY13" fmla="*/ 497090 h 564924"/>
                <a:gd name="connsiteX14" fmla="*/ 81138 w 542363"/>
                <a:gd name="connsiteY14" fmla="*/ 535101 h 564924"/>
                <a:gd name="connsiteX15" fmla="*/ 93838 w 542363"/>
                <a:gd name="connsiteY15" fmla="*/ 453257 h 564924"/>
                <a:gd name="connsiteX16" fmla="*/ 90989 w 542363"/>
                <a:gd name="connsiteY16" fmla="*/ 444227 h 564924"/>
                <a:gd name="connsiteX17" fmla="*/ 21343 w 542363"/>
                <a:gd name="connsiteY17" fmla="*/ 271181 h 564924"/>
                <a:gd name="connsiteX18" fmla="*/ 271181 w 542363"/>
                <a:gd name="connsiteY18" fmla="*/ 21343 h 564924"/>
                <a:gd name="connsiteX19" fmla="*/ 521019 w 542363"/>
                <a:gd name="connsiteY19" fmla="*/ 271182 h 564924"/>
                <a:gd name="connsiteX20" fmla="*/ 271181 w 542363"/>
                <a:gd name="connsiteY20" fmla="*/ 521021 h 56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2363" h="564924">
                  <a:moveTo>
                    <a:pt x="271181" y="0"/>
                  </a:moveTo>
                  <a:cubicBezTo>
                    <a:pt x="121649" y="0"/>
                    <a:pt x="0" y="121652"/>
                    <a:pt x="0" y="271183"/>
                  </a:cubicBezTo>
                  <a:cubicBezTo>
                    <a:pt x="0" y="339780"/>
                    <a:pt x="25510" y="404895"/>
                    <a:pt x="71946" y="455141"/>
                  </a:cubicBezTo>
                  <a:lnTo>
                    <a:pt x="56822" y="552615"/>
                  </a:lnTo>
                  <a:cubicBezTo>
                    <a:pt x="56207" y="556588"/>
                    <a:pt x="57874" y="560568"/>
                    <a:pt x="61136" y="562916"/>
                  </a:cubicBezTo>
                  <a:cubicBezTo>
                    <a:pt x="62987" y="564248"/>
                    <a:pt x="65171" y="564924"/>
                    <a:pt x="67367" y="564924"/>
                  </a:cubicBezTo>
                  <a:cubicBezTo>
                    <a:pt x="69044" y="564924"/>
                    <a:pt x="70728" y="564530"/>
                    <a:pt x="72274" y="563729"/>
                  </a:cubicBezTo>
                  <a:lnTo>
                    <a:pt x="159706" y="518451"/>
                  </a:lnTo>
                  <a:cubicBezTo>
                    <a:pt x="194820" y="534325"/>
                    <a:pt x="232294" y="542367"/>
                    <a:pt x="271181" y="542367"/>
                  </a:cubicBezTo>
                  <a:cubicBezTo>
                    <a:pt x="420710" y="542367"/>
                    <a:pt x="542364" y="420715"/>
                    <a:pt x="542364" y="271184"/>
                  </a:cubicBezTo>
                  <a:cubicBezTo>
                    <a:pt x="542364" y="121652"/>
                    <a:pt x="420712" y="0"/>
                    <a:pt x="271181" y="0"/>
                  </a:cubicBezTo>
                  <a:close/>
                  <a:moveTo>
                    <a:pt x="271181" y="521021"/>
                  </a:moveTo>
                  <a:cubicBezTo>
                    <a:pt x="233696" y="521021"/>
                    <a:pt x="197646" y="512915"/>
                    <a:pt x="164028" y="496929"/>
                  </a:cubicBezTo>
                  <a:cubicBezTo>
                    <a:pt x="161015" y="495495"/>
                    <a:pt x="157503" y="495556"/>
                    <a:pt x="154538" y="497090"/>
                  </a:cubicBezTo>
                  <a:lnTo>
                    <a:pt x="81138" y="535101"/>
                  </a:lnTo>
                  <a:lnTo>
                    <a:pt x="93838" y="453257"/>
                  </a:lnTo>
                  <a:cubicBezTo>
                    <a:pt x="94349" y="449967"/>
                    <a:pt x="93294" y="446629"/>
                    <a:pt x="90989" y="444227"/>
                  </a:cubicBezTo>
                  <a:cubicBezTo>
                    <a:pt x="46078" y="397474"/>
                    <a:pt x="21343" y="336018"/>
                    <a:pt x="21343" y="271181"/>
                  </a:cubicBezTo>
                  <a:cubicBezTo>
                    <a:pt x="21343" y="133421"/>
                    <a:pt x="133420" y="21343"/>
                    <a:pt x="271181" y="21343"/>
                  </a:cubicBezTo>
                  <a:cubicBezTo>
                    <a:pt x="408941" y="21343"/>
                    <a:pt x="521019" y="133420"/>
                    <a:pt x="521019" y="271182"/>
                  </a:cubicBezTo>
                  <a:cubicBezTo>
                    <a:pt x="521019" y="408944"/>
                    <a:pt x="408942" y="521021"/>
                    <a:pt x="271181" y="521021"/>
                  </a:cubicBez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: фигура 161">
              <a:extLst>
                <a:ext uri="{FF2B5EF4-FFF2-40B4-BE49-F238E27FC236}">
                  <a16:creationId xmlns:a16="http://schemas.microsoft.com/office/drawing/2014/main" id="{8F64117C-FB99-485B-81F9-4036DC805436}"/>
                </a:ext>
              </a:extLst>
            </p:cNvPr>
            <p:cNvSpPr/>
            <p:nvPr/>
          </p:nvSpPr>
          <p:spPr>
            <a:xfrm>
              <a:off x="4315665" y="1282117"/>
              <a:ext cx="113002" cy="113002"/>
            </a:xfrm>
            <a:custGeom>
              <a:avLst/>
              <a:gdLst>
                <a:gd name="connsiteX0" fmla="*/ 56501 w 113002"/>
                <a:gd name="connsiteY0" fmla="*/ 0 h 113002"/>
                <a:gd name="connsiteX1" fmla="*/ 0 w 113002"/>
                <a:gd name="connsiteY1" fmla="*/ 56501 h 113002"/>
                <a:gd name="connsiteX2" fmla="*/ 56501 w 113002"/>
                <a:gd name="connsiteY2" fmla="*/ 113002 h 113002"/>
                <a:gd name="connsiteX3" fmla="*/ 113002 w 113002"/>
                <a:gd name="connsiteY3" fmla="*/ 56501 h 113002"/>
                <a:gd name="connsiteX4" fmla="*/ 56501 w 113002"/>
                <a:gd name="connsiteY4" fmla="*/ 0 h 113002"/>
                <a:gd name="connsiteX5" fmla="*/ 56501 w 113002"/>
                <a:gd name="connsiteY5" fmla="*/ 91659 h 113002"/>
                <a:gd name="connsiteX6" fmla="*/ 21343 w 113002"/>
                <a:gd name="connsiteY6" fmla="*/ 56501 h 113002"/>
                <a:gd name="connsiteX7" fmla="*/ 56501 w 113002"/>
                <a:gd name="connsiteY7" fmla="*/ 21344 h 113002"/>
                <a:gd name="connsiteX8" fmla="*/ 91659 w 113002"/>
                <a:gd name="connsiteY8" fmla="*/ 56501 h 113002"/>
                <a:gd name="connsiteX9" fmla="*/ 56501 w 113002"/>
                <a:gd name="connsiteY9" fmla="*/ 91659 h 113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002" h="113002">
                  <a:moveTo>
                    <a:pt x="56501" y="0"/>
                  </a:moveTo>
                  <a:cubicBezTo>
                    <a:pt x="25347" y="0"/>
                    <a:pt x="0" y="25347"/>
                    <a:pt x="0" y="56501"/>
                  </a:cubicBezTo>
                  <a:cubicBezTo>
                    <a:pt x="0" y="87656"/>
                    <a:pt x="25347" y="113002"/>
                    <a:pt x="56501" y="113002"/>
                  </a:cubicBezTo>
                  <a:cubicBezTo>
                    <a:pt x="87658" y="113002"/>
                    <a:pt x="113002" y="87656"/>
                    <a:pt x="113002" y="56501"/>
                  </a:cubicBezTo>
                  <a:cubicBezTo>
                    <a:pt x="113002" y="25344"/>
                    <a:pt x="87656" y="0"/>
                    <a:pt x="56501" y="0"/>
                  </a:cubicBezTo>
                  <a:close/>
                  <a:moveTo>
                    <a:pt x="56501" y="91659"/>
                  </a:moveTo>
                  <a:cubicBezTo>
                    <a:pt x="37115" y="91659"/>
                    <a:pt x="21343" y="75887"/>
                    <a:pt x="21343" y="56501"/>
                  </a:cubicBezTo>
                  <a:cubicBezTo>
                    <a:pt x="21343" y="37115"/>
                    <a:pt x="37115" y="21344"/>
                    <a:pt x="56501" y="21344"/>
                  </a:cubicBezTo>
                  <a:cubicBezTo>
                    <a:pt x="75888" y="21344"/>
                    <a:pt x="91659" y="37115"/>
                    <a:pt x="91659" y="56501"/>
                  </a:cubicBezTo>
                  <a:cubicBezTo>
                    <a:pt x="91659" y="75887"/>
                    <a:pt x="75887" y="91659"/>
                    <a:pt x="56501" y="91659"/>
                  </a:cubicBez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: фигура 162">
              <a:extLst>
                <a:ext uri="{FF2B5EF4-FFF2-40B4-BE49-F238E27FC236}">
                  <a16:creationId xmlns:a16="http://schemas.microsoft.com/office/drawing/2014/main" id="{633955A6-5F41-49DB-ACBA-9B7866EF2D37}"/>
                </a:ext>
              </a:extLst>
            </p:cNvPr>
            <p:cNvSpPr/>
            <p:nvPr/>
          </p:nvSpPr>
          <p:spPr>
            <a:xfrm>
              <a:off x="4298873" y="1413162"/>
              <a:ext cx="146590" cy="242466"/>
            </a:xfrm>
            <a:custGeom>
              <a:avLst/>
              <a:gdLst>
                <a:gd name="connsiteX0" fmla="*/ 135918 w 146590"/>
                <a:gd name="connsiteY0" fmla="*/ 185657 h 242466"/>
                <a:gd name="connsiteX1" fmla="*/ 123767 w 146590"/>
                <a:gd name="connsiteY1" fmla="*/ 185657 h 242466"/>
                <a:gd name="connsiteX2" fmla="*/ 123767 w 146590"/>
                <a:gd name="connsiteY2" fmla="*/ 10672 h 242466"/>
                <a:gd name="connsiteX3" fmla="*/ 113095 w 146590"/>
                <a:gd name="connsiteY3" fmla="*/ 0 h 242466"/>
                <a:gd name="connsiteX4" fmla="*/ 10672 w 146590"/>
                <a:gd name="connsiteY4" fmla="*/ 0 h 242466"/>
                <a:gd name="connsiteX5" fmla="*/ 0 w 146590"/>
                <a:gd name="connsiteY5" fmla="*/ 10672 h 242466"/>
                <a:gd name="connsiteX6" fmla="*/ 0 w 146590"/>
                <a:gd name="connsiteY6" fmla="*/ 46137 h 242466"/>
                <a:gd name="connsiteX7" fmla="*/ 10672 w 146590"/>
                <a:gd name="connsiteY7" fmla="*/ 56809 h 242466"/>
                <a:gd name="connsiteX8" fmla="*/ 22823 w 146590"/>
                <a:gd name="connsiteY8" fmla="*/ 56809 h 242466"/>
                <a:gd name="connsiteX9" fmla="*/ 22823 w 146590"/>
                <a:gd name="connsiteY9" fmla="*/ 185657 h 242466"/>
                <a:gd name="connsiteX10" fmla="*/ 10672 w 146590"/>
                <a:gd name="connsiteY10" fmla="*/ 185657 h 242466"/>
                <a:gd name="connsiteX11" fmla="*/ 0 w 146590"/>
                <a:gd name="connsiteY11" fmla="*/ 196328 h 242466"/>
                <a:gd name="connsiteX12" fmla="*/ 0 w 146590"/>
                <a:gd name="connsiteY12" fmla="*/ 231794 h 242466"/>
                <a:gd name="connsiteX13" fmla="*/ 10672 w 146590"/>
                <a:gd name="connsiteY13" fmla="*/ 242467 h 242466"/>
                <a:gd name="connsiteX14" fmla="*/ 135919 w 146590"/>
                <a:gd name="connsiteY14" fmla="*/ 242467 h 242466"/>
                <a:gd name="connsiteX15" fmla="*/ 146591 w 146590"/>
                <a:gd name="connsiteY15" fmla="*/ 231795 h 242466"/>
                <a:gd name="connsiteX16" fmla="*/ 146591 w 146590"/>
                <a:gd name="connsiteY16" fmla="*/ 196330 h 242466"/>
                <a:gd name="connsiteX17" fmla="*/ 135918 w 146590"/>
                <a:gd name="connsiteY17" fmla="*/ 185657 h 242466"/>
                <a:gd name="connsiteX18" fmla="*/ 125245 w 146590"/>
                <a:gd name="connsiteY18" fmla="*/ 221123 h 242466"/>
                <a:gd name="connsiteX19" fmla="*/ 21341 w 146590"/>
                <a:gd name="connsiteY19" fmla="*/ 221123 h 242466"/>
                <a:gd name="connsiteX20" fmla="*/ 21341 w 146590"/>
                <a:gd name="connsiteY20" fmla="*/ 207000 h 242466"/>
                <a:gd name="connsiteX21" fmla="*/ 33493 w 146590"/>
                <a:gd name="connsiteY21" fmla="*/ 207000 h 242466"/>
                <a:gd name="connsiteX22" fmla="*/ 44164 w 146590"/>
                <a:gd name="connsiteY22" fmla="*/ 196328 h 242466"/>
                <a:gd name="connsiteX23" fmla="*/ 44164 w 146590"/>
                <a:gd name="connsiteY23" fmla="*/ 46137 h 242466"/>
                <a:gd name="connsiteX24" fmla="*/ 33493 w 146590"/>
                <a:gd name="connsiteY24" fmla="*/ 35465 h 242466"/>
                <a:gd name="connsiteX25" fmla="*/ 21341 w 146590"/>
                <a:gd name="connsiteY25" fmla="*/ 35465 h 242466"/>
                <a:gd name="connsiteX26" fmla="*/ 21341 w 146590"/>
                <a:gd name="connsiteY26" fmla="*/ 21345 h 242466"/>
                <a:gd name="connsiteX27" fmla="*/ 102422 w 146590"/>
                <a:gd name="connsiteY27" fmla="*/ 21345 h 242466"/>
                <a:gd name="connsiteX28" fmla="*/ 102422 w 146590"/>
                <a:gd name="connsiteY28" fmla="*/ 196331 h 242466"/>
                <a:gd name="connsiteX29" fmla="*/ 113094 w 146590"/>
                <a:gd name="connsiteY29" fmla="*/ 207002 h 242466"/>
                <a:gd name="connsiteX30" fmla="*/ 125245 w 146590"/>
                <a:gd name="connsiteY30" fmla="*/ 207002 h 242466"/>
                <a:gd name="connsiteX31" fmla="*/ 125245 w 146590"/>
                <a:gd name="connsiteY31" fmla="*/ 221123 h 242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6590" h="242466">
                  <a:moveTo>
                    <a:pt x="135918" y="185657"/>
                  </a:moveTo>
                  <a:lnTo>
                    <a:pt x="123767" y="185657"/>
                  </a:lnTo>
                  <a:lnTo>
                    <a:pt x="123767" y="10672"/>
                  </a:lnTo>
                  <a:cubicBezTo>
                    <a:pt x="123767" y="4778"/>
                    <a:pt x="118988" y="0"/>
                    <a:pt x="113095" y="0"/>
                  </a:cubicBezTo>
                  <a:lnTo>
                    <a:pt x="10672" y="0"/>
                  </a:lnTo>
                  <a:cubicBezTo>
                    <a:pt x="4778" y="0"/>
                    <a:pt x="0" y="4779"/>
                    <a:pt x="0" y="10672"/>
                  </a:cubicBezTo>
                  <a:lnTo>
                    <a:pt x="0" y="46137"/>
                  </a:lnTo>
                  <a:cubicBezTo>
                    <a:pt x="0" y="52031"/>
                    <a:pt x="4779" y="56809"/>
                    <a:pt x="10672" y="56809"/>
                  </a:cubicBezTo>
                  <a:lnTo>
                    <a:pt x="22823" y="56809"/>
                  </a:lnTo>
                  <a:lnTo>
                    <a:pt x="22823" y="185657"/>
                  </a:lnTo>
                  <a:lnTo>
                    <a:pt x="10672" y="185657"/>
                  </a:lnTo>
                  <a:cubicBezTo>
                    <a:pt x="4778" y="185657"/>
                    <a:pt x="0" y="190435"/>
                    <a:pt x="0" y="196328"/>
                  </a:cubicBezTo>
                  <a:lnTo>
                    <a:pt x="0" y="231794"/>
                  </a:lnTo>
                  <a:cubicBezTo>
                    <a:pt x="0" y="237689"/>
                    <a:pt x="4779" y="242467"/>
                    <a:pt x="10672" y="242467"/>
                  </a:cubicBezTo>
                  <a:lnTo>
                    <a:pt x="135919" y="242467"/>
                  </a:lnTo>
                  <a:cubicBezTo>
                    <a:pt x="141813" y="242467"/>
                    <a:pt x="146591" y="237688"/>
                    <a:pt x="146591" y="231795"/>
                  </a:cubicBezTo>
                  <a:lnTo>
                    <a:pt x="146591" y="196330"/>
                  </a:lnTo>
                  <a:cubicBezTo>
                    <a:pt x="146590" y="190435"/>
                    <a:pt x="141811" y="185657"/>
                    <a:pt x="135918" y="185657"/>
                  </a:cubicBezTo>
                  <a:close/>
                  <a:moveTo>
                    <a:pt x="125245" y="221123"/>
                  </a:moveTo>
                  <a:lnTo>
                    <a:pt x="21341" y="221123"/>
                  </a:lnTo>
                  <a:lnTo>
                    <a:pt x="21341" y="207000"/>
                  </a:lnTo>
                  <a:lnTo>
                    <a:pt x="33493" y="207000"/>
                  </a:lnTo>
                  <a:cubicBezTo>
                    <a:pt x="39387" y="207000"/>
                    <a:pt x="44164" y="202221"/>
                    <a:pt x="44164" y="196328"/>
                  </a:cubicBezTo>
                  <a:lnTo>
                    <a:pt x="44164" y="46137"/>
                  </a:lnTo>
                  <a:cubicBezTo>
                    <a:pt x="44164" y="40243"/>
                    <a:pt x="39386" y="35465"/>
                    <a:pt x="33493" y="35465"/>
                  </a:cubicBezTo>
                  <a:lnTo>
                    <a:pt x="21341" y="35465"/>
                  </a:lnTo>
                  <a:lnTo>
                    <a:pt x="21341" y="21345"/>
                  </a:lnTo>
                  <a:lnTo>
                    <a:pt x="102422" y="21345"/>
                  </a:lnTo>
                  <a:lnTo>
                    <a:pt x="102422" y="196331"/>
                  </a:lnTo>
                  <a:cubicBezTo>
                    <a:pt x="102422" y="202225"/>
                    <a:pt x="107201" y="207002"/>
                    <a:pt x="113094" y="207002"/>
                  </a:cubicBezTo>
                  <a:lnTo>
                    <a:pt x="125245" y="207002"/>
                  </a:lnTo>
                  <a:lnTo>
                    <a:pt x="125245" y="221123"/>
                  </a:ln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1" name="Рисунок 67">
            <a:extLst>
              <a:ext uri="{FF2B5EF4-FFF2-40B4-BE49-F238E27FC236}">
                <a16:creationId xmlns:a16="http://schemas.microsoft.com/office/drawing/2014/main" id="{CE4E6F20-FE44-4184-BDAC-2D85A0D798B4}"/>
              </a:ext>
            </a:extLst>
          </p:cNvPr>
          <p:cNvGrpSpPr/>
          <p:nvPr/>
        </p:nvGrpSpPr>
        <p:grpSpPr>
          <a:xfrm>
            <a:off x="8134184" y="2369854"/>
            <a:ext cx="379025" cy="357645"/>
            <a:chOff x="5293882" y="1225568"/>
            <a:chExt cx="481314" cy="523683"/>
          </a:xfrm>
          <a:solidFill>
            <a:schemeClr val="tx2"/>
          </a:solidFill>
        </p:grpSpPr>
        <p:sp>
          <p:nvSpPr>
            <p:cNvPr id="82" name="Полилиния: фигура 283">
              <a:extLst>
                <a:ext uri="{FF2B5EF4-FFF2-40B4-BE49-F238E27FC236}">
                  <a16:creationId xmlns:a16="http://schemas.microsoft.com/office/drawing/2014/main" id="{332E0C36-A901-46D8-887C-95DB12DDD702}"/>
                </a:ext>
              </a:extLst>
            </p:cNvPr>
            <p:cNvSpPr/>
            <p:nvPr/>
          </p:nvSpPr>
          <p:spPr>
            <a:xfrm>
              <a:off x="5483131" y="1225568"/>
              <a:ext cx="102815" cy="102815"/>
            </a:xfrm>
            <a:custGeom>
              <a:avLst/>
              <a:gdLst>
                <a:gd name="connsiteX0" fmla="*/ 51408 w 102815"/>
                <a:gd name="connsiteY0" fmla="*/ 102816 h 102815"/>
                <a:gd name="connsiteX1" fmla="*/ 102816 w 102815"/>
                <a:gd name="connsiteY1" fmla="*/ 51408 h 102815"/>
                <a:gd name="connsiteX2" fmla="*/ 51408 w 102815"/>
                <a:gd name="connsiteY2" fmla="*/ 0 h 102815"/>
                <a:gd name="connsiteX3" fmla="*/ 0 w 102815"/>
                <a:gd name="connsiteY3" fmla="*/ 51408 h 102815"/>
                <a:gd name="connsiteX4" fmla="*/ 51408 w 102815"/>
                <a:gd name="connsiteY4" fmla="*/ 102816 h 102815"/>
                <a:gd name="connsiteX5" fmla="*/ 51408 w 102815"/>
                <a:gd name="connsiteY5" fmla="*/ 17513 h 102815"/>
                <a:gd name="connsiteX6" fmla="*/ 85868 w 102815"/>
                <a:gd name="connsiteY6" fmla="*/ 51973 h 102815"/>
                <a:gd name="connsiteX7" fmla="*/ 51408 w 102815"/>
                <a:gd name="connsiteY7" fmla="*/ 85868 h 102815"/>
                <a:gd name="connsiteX8" fmla="*/ 16948 w 102815"/>
                <a:gd name="connsiteY8" fmla="*/ 51408 h 102815"/>
                <a:gd name="connsiteX9" fmla="*/ 51408 w 102815"/>
                <a:gd name="connsiteY9" fmla="*/ 17513 h 102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815" h="102815">
                  <a:moveTo>
                    <a:pt x="51408" y="102816"/>
                  </a:moveTo>
                  <a:cubicBezTo>
                    <a:pt x="79654" y="102816"/>
                    <a:pt x="102816" y="79654"/>
                    <a:pt x="102816" y="51408"/>
                  </a:cubicBezTo>
                  <a:cubicBezTo>
                    <a:pt x="102816" y="23162"/>
                    <a:pt x="79654" y="0"/>
                    <a:pt x="51408" y="0"/>
                  </a:cubicBezTo>
                  <a:cubicBezTo>
                    <a:pt x="23162" y="0"/>
                    <a:pt x="0" y="23162"/>
                    <a:pt x="0" y="51408"/>
                  </a:cubicBezTo>
                  <a:cubicBezTo>
                    <a:pt x="0" y="79654"/>
                    <a:pt x="23162" y="102816"/>
                    <a:pt x="51408" y="102816"/>
                  </a:cubicBezTo>
                  <a:close/>
                  <a:moveTo>
                    <a:pt x="51408" y="17513"/>
                  </a:moveTo>
                  <a:cubicBezTo>
                    <a:pt x="70050" y="17513"/>
                    <a:pt x="85868" y="32766"/>
                    <a:pt x="85868" y="51973"/>
                  </a:cubicBezTo>
                  <a:cubicBezTo>
                    <a:pt x="85868" y="71180"/>
                    <a:pt x="70050" y="85868"/>
                    <a:pt x="51408" y="85868"/>
                  </a:cubicBezTo>
                  <a:cubicBezTo>
                    <a:pt x="32766" y="85868"/>
                    <a:pt x="16948" y="70615"/>
                    <a:pt x="16948" y="51408"/>
                  </a:cubicBezTo>
                  <a:cubicBezTo>
                    <a:pt x="16948" y="32201"/>
                    <a:pt x="32766" y="17513"/>
                    <a:pt x="51408" y="1751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: фигура 284">
              <a:extLst>
                <a:ext uri="{FF2B5EF4-FFF2-40B4-BE49-F238E27FC236}">
                  <a16:creationId xmlns:a16="http://schemas.microsoft.com/office/drawing/2014/main" id="{6BF61F7D-648E-4E6E-A325-0ABC30E0F370}"/>
                </a:ext>
              </a:extLst>
            </p:cNvPr>
            <p:cNvSpPr/>
            <p:nvPr/>
          </p:nvSpPr>
          <p:spPr>
            <a:xfrm>
              <a:off x="5328342" y="1344201"/>
              <a:ext cx="412393" cy="296584"/>
            </a:xfrm>
            <a:custGeom>
              <a:avLst/>
              <a:gdLst>
                <a:gd name="connsiteX0" fmla="*/ 51408 w 412393"/>
                <a:gd name="connsiteY0" fmla="*/ 296585 h 296584"/>
                <a:gd name="connsiteX1" fmla="*/ 102816 w 412393"/>
                <a:gd name="connsiteY1" fmla="*/ 245177 h 296584"/>
                <a:gd name="connsiteX2" fmla="*/ 59882 w 412393"/>
                <a:gd name="connsiteY2" fmla="*/ 194898 h 296584"/>
                <a:gd name="connsiteX3" fmla="*/ 59882 w 412393"/>
                <a:gd name="connsiteY3" fmla="*/ 139536 h 296584"/>
                <a:gd name="connsiteX4" fmla="*/ 197723 w 412393"/>
                <a:gd name="connsiteY4" fmla="*/ 139536 h 296584"/>
                <a:gd name="connsiteX5" fmla="*/ 197723 w 412393"/>
                <a:gd name="connsiteY5" fmla="*/ 194898 h 296584"/>
                <a:gd name="connsiteX6" fmla="*/ 154789 w 412393"/>
                <a:gd name="connsiteY6" fmla="*/ 245177 h 296584"/>
                <a:gd name="connsiteX7" fmla="*/ 206197 w 412393"/>
                <a:gd name="connsiteY7" fmla="*/ 296585 h 296584"/>
                <a:gd name="connsiteX8" fmla="*/ 257605 w 412393"/>
                <a:gd name="connsiteY8" fmla="*/ 245177 h 296584"/>
                <a:gd name="connsiteX9" fmla="*/ 214671 w 412393"/>
                <a:gd name="connsiteY9" fmla="*/ 194898 h 296584"/>
                <a:gd name="connsiteX10" fmla="*/ 214671 w 412393"/>
                <a:gd name="connsiteY10" fmla="*/ 139536 h 296584"/>
                <a:gd name="connsiteX11" fmla="*/ 352512 w 412393"/>
                <a:gd name="connsiteY11" fmla="*/ 139536 h 296584"/>
                <a:gd name="connsiteX12" fmla="*/ 352512 w 412393"/>
                <a:gd name="connsiteY12" fmla="*/ 194898 h 296584"/>
                <a:gd name="connsiteX13" fmla="*/ 309578 w 412393"/>
                <a:gd name="connsiteY13" fmla="*/ 245177 h 296584"/>
                <a:gd name="connsiteX14" fmla="*/ 360986 w 412393"/>
                <a:gd name="connsiteY14" fmla="*/ 296585 h 296584"/>
                <a:gd name="connsiteX15" fmla="*/ 412394 w 412393"/>
                <a:gd name="connsiteY15" fmla="*/ 245177 h 296584"/>
                <a:gd name="connsiteX16" fmla="*/ 369460 w 412393"/>
                <a:gd name="connsiteY16" fmla="*/ 194898 h 296584"/>
                <a:gd name="connsiteX17" fmla="*/ 369460 w 412393"/>
                <a:gd name="connsiteY17" fmla="*/ 131062 h 296584"/>
                <a:gd name="connsiteX18" fmla="*/ 360986 w 412393"/>
                <a:gd name="connsiteY18" fmla="*/ 122588 h 296584"/>
                <a:gd name="connsiteX19" fmla="*/ 214671 w 412393"/>
                <a:gd name="connsiteY19" fmla="*/ 122588 h 296584"/>
                <a:gd name="connsiteX20" fmla="*/ 214671 w 412393"/>
                <a:gd name="connsiteY20" fmla="*/ 93212 h 296584"/>
                <a:gd name="connsiteX21" fmla="*/ 283026 w 412393"/>
                <a:gd name="connsiteY21" fmla="*/ 93212 h 296584"/>
                <a:gd name="connsiteX22" fmla="*/ 291500 w 412393"/>
                <a:gd name="connsiteY22" fmla="*/ 84738 h 296584"/>
                <a:gd name="connsiteX23" fmla="*/ 291500 w 412393"/>
                <a:gd name="connsiteY23" fmla="*/ 83044 h 296584"/>
                <a:gd name="connsiteX24" fmla="*/ 291500 w 412393"/>
                <a:gd name="connsiteY24" fmla="*/ 79654 h 296584"/>
                <a:gd name="connsiteX25" fmla="*/ 205632 w 412393"/>
                <a:gd name="connsiteY25" fmla="*/ 0 h 296584"/>
                <a:gd name="connsiteX26" fmla="*/ 119764 w 412393"/>
                <a:gd name="connsiteY26" fmla="*/ 79654 h 296584"/>
                <a:gd name="connsiteX27" fmla="*/ 120329 w 412393"/>
                <a:gd name="connsiteY27" fmla="*/ 85868 h 296584"/>
                <a:gd name="connsiteX28" fmla="*/ 128802 w 412393"/>
                <a:gd name="connsiteY28" fmla="*/ 92647 h 296584"/>
                <a:gd name="connsiteX29" fmla="*/ 197158 w 412393"/>
                <a:gd name="connsiteY29" fmla="*/ 92647 h 296584"/>
                <a:gd name="connsiteX30" fmla="*/ 197158 w 412393"/>
                <a:gd name="connsiteY30" fmla="*/ 122023 h 296584"/>
                <a:gd name="connsiteX31" fmla="*/ 51408 w 412393"/>
                <a:gd name="connsiteY31" fmla="*/ 122023 h 296584"/>
                <a:gd name="connsiteX32" fmla="*/ 42934 w 412393"/>
                <a:gd name="connsiteY32" fmla="*/ 130497 h 296584"/>
                <a:gd name="connsiteX33" fmla="*/ 42934 w 412393"/>
                <a:gd name="connsiteY33" fmla="*/ 194334 h 296584"/>
                <a:gd name="connsiteX34" fmla="*/ 0 w 412393"/>
                <a:gd name="connsiteY34" fmla="*/ 244612 h 296584"/>
                <a:gd name="connsiteX35" fmla="*/ 51408 w 412393"/>
                <a:gd name="connsiteY35" fmla="*/ 296585 h 296584"/>
                <a:gd name="connsiteX36" fmla="*/ 240657 w 412393"/>
                <a:gd name="connsiteY36" fmla="*/ 245177 h 296584"/>
                <a:gd name="connsiteX37" fmla="*/ 206197 w 412393"/>
                <a:gd name="connsiteY37" fmla="*/ 279637 h 296584"/>
                <a:gd name="connsiteX38" fmla="*/ 171737 w 412393"/>
                <a:gd name="connsiteY38" fmla="*/ 245177 h 296584"/>
                <a:gd name="connsiteX39" fmla="*/ 206197 w 412393"/>
                <a:gd name="connsiteY39" fmla="*/ 210716 h 296584"/>
                <a:gd name="connsiteX40" fmla="*/ 240657 w 412393"/>
                <a:gd name="connsiteY40" fmla="*/ 245177 h 296584"/>
                <a:gd name="connsiteX41" fmla="*/ 394881 w 412393"/>
                <a:gd name="connsiteY41" fmla="*/ 245177 h 296584"/>
                <a:gd name="connsiteX42" fmla="*/ 360421 w 412393"/>
                <a:gd name="connsiteY42" fmla="*/ 279637 h 296584"/>
                <a:gd name="connsiteX43" fmla="*/ 325961 w 412393"/>
                <a:gd name="connsiteY43" fmla="*/ 245177 h 296584"/>
                <a:gd name="connsiteX44" fmla="*/ 360421 w 412393"/>
                <a:gd name="connsiteY44" fmla="*/ 210716 h 296584"/>
                <a:gd name="connsiteX45" fmla="*/ 394881 w 412393"/>
                <a:gd name="connsiteY45" fmla="*/ 245177 h 296584"/>
                <a:gd name="connsiteX46" fmla="*/ 206197 w 412393"/>
                <a:gd name="connsiteY46" fmla="*/ 16948 h 296584"/>
                <a:gd name="connsiteX47" fmla="*/ 274553 w 412393"/>
                <a:gd name="connsiteY47" fmla="*/ 76265 h 296584"/>
                <a:gd name="connsiteX48" fmla="*/ 137276 w 412393"/>
                <a:gd name="connsiteY48" fmla="*/ 76265 h 296584"/>
                <a:gd name="connsiteX49" fmla="*/ 206197 w 412393"/>
                <a:gd name="connsiteY49" fmla="*/ 16948 h 296584"/>
                <a:gd name="connsiteX50" fmla="*/ 51408 w 412393"/>
                <a:gd name="connsiteY50" fmla="*/ 210716 h 296584"/>
                <a:gd name="connsiteX51" fmla="*/ 85868 w 412393"/>
                <a:gd name="connsiteY51" fmla="*/ 245177 h 296584"/>
                <a:gd name="connsiteX52" fmla="*/ 51408 w 412393"/>
                <a:gd name="connsiteY52" fmla="*/ 279637 h 296584"/>
                <a:gd name="connsiteX53" fmla="*/ 16948 w 412393"/>
                <a:gd name="connsiteY53" fmla="*/ 245177 h 296584"/>
                <a:gd name="connsiteX54" fmla="*/ 51408 w 412393"/>
                <a:gd name="connsiteY54" fmla="*/ 210716 h 29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12393" h="296584">
                  <a:moveTo>
                    <a:pt x="51408" y="296585"/>
                  </a:moveTo>
                  <a:cubicBezTo>
                    <a:pt x="79654" y="296585"/>
                    <a:pt x="102816" y="273423"/>
                    <a:pt x="102816" y="245177"/>
                  </a:cubicBezTo>
                  <a:cubicBezTo>
                    <a:pt x="102816" y="219755"/>
                    <a:pt x="84174" y="198853"/>
                    <a:pt x="59882" y="194898"/>
                  </a:cubicBezTo>
                  <a:lnTo>
                    <a:pt x="59882" y="139536"/>
                  </a:lnTo>
                  <a:lnTo>
                    <a:pt x="197723" y="139536"/>
                  </a:lnTo>
                  <a:lnTo>
                    <a:pt x="197723" y="194898"/>
                  </a:lnTo>
                  <a:cubicBezTo>
                    <a:pt x="173431" y="198853"/>
                    <a:pt x="154789" y="219755"/>
                    <a:pt x="154789" y="245177"/>
                  </a:cubicBezTo>
                  <a:cubicBezTo>
                    <a:pt x="154789" y="273423"/>
                    <a:pt x="177951" y="296585"/>
                    <a:pt x="206197" y="296585"/>
                  </a:cubicBezTo>
                  <a:cubicBezTo>
                    <a:pt x="234443" y="296585"/>
                    <a:pt x="257605" y="273423"/>
                    <a:pt x="257605" y="245177"/>
                  </a:cubicBezTo>
                  <a:cubicBezTo>
                    <a:pt x="257605" y="219755"/>
                    <a:pt x="238962" y="198853"/>
                    <a:pt x="214671" y="194898"/>
                  </a:cubicBezTo>
                  <a:lnTo>
                    <a:pt x="214671" y="139536"/>
                  </a:lnTo>
                  <a:lnTo>
                    <a:pt x="352512" y="139536"/>
                  </a:lnTo>
                  <a:lnTo>
                    <a:pt x="352512" y="194898"/>
                  </a:lnTo>
                  <a:cubicBezTo>
                    <a:pt x="328220" y="198853"/>
                    <a:pt x="309578" y="219755"/>
                    <a:pt x="309578" y="245177"/>
                  </a:cubicBezTo>
                  <a:cubicBezTo>
                    <a:pt x="309578" y="273423"/>
                    <a:pt x="332740" y="296585"/>
                    <a:pt x="360986" y="296585"/>
                  </a:cubicBezTo>
                  <a:cubicBezTo>
                    <a:pt x="389232" y="296585"/>
                    <a:pt x="412394" y="273423"/>
                    <a:pt x="412394" y="245177"/>
                  </a:cubicBezTo>
                  <a:cubicBezTo>
                    <a:pt x="412394" y="219755"/>
                    <a:pt x="393751" y="198853"/>
                    <a:pt x="369460" y="194898"/>
                  </a:cubicBezTo>
                  <a:lnTo>
                    <a:pt x="369460" y="131062"/>
                  </a:lnTo>
                  <a:cubicBezTo>
                    <a:pt x="369460" y="126543"/>
                    <a:pt x="365505" y="122588"/>
                    <a:pt x="360986" y="122588"/>
                  </a:cubicBezTo>
                  <a:lnTo>
                    <a:pt x="214671" y="122588"/>
                  </a:lnTo>
                  <a:lnTo>
                    <a:pt x="214671" y="93212"/>
                  </a:lnTo>
                  <a:lnTo>
                    <a:pt x="283026" y="93212"/>
                  </a:lnTo>
                  <a:cubicBezTo>
                    <a:pt x="287546" y="93212"/>
                    <a:pt x="291500" y="89258"/>
                    <a:pt x="291500" y="84738"/>
                  </a:cubicBezTo>
                  <a:cubicBezTo>
                    <a:pt x="291500" y="84174"/>
                    <a:pt x="291500" y="83609"/>
                    <a:pt x="291500" y="83044"/>
                  </a:cubicBezTo>
                  <a:cubicBezTo>
                    <a:pt x="291500" y="81914"/>
                    <a:pt x="291500" y="80784"/>
                    <a:pt x="291500" y="79654"/>
                  </a:cubicBezTo>
                  <a:cubicBezTo>
                    <a:pt x="291500" y="35590"/>
                    <a:pt x="253086" y="0"/>
                    <a:pt x="205632" y="0"/>
                  </a:cubicBezTo>
                  <a:cubicBezTo>
                    <a:pt x="158178" y="0"/>
                    <a:pt x="119764" y="35590"/>
                    <a:pt x="119764" y="79654"/>
                  </a:cubicBezTo>
                  <a:cubicBezTo>
                    <a:pt x="119764" y="81349"/>
                    <a:pt x="119764" y="83609"/>
                    <a:pt x="120329" y="85868"/>
                  </a:cubicBezTo>
                  <a:cubicBezTo>
                    <a:pt x="120894" y="89823"/>
                    <a:pt x="124848" y="92647"/>
                    <a:pt x="128802" y="92647"/>
                  </a:cubicBezTo>
                  <a:lnTo>
                    <a:pt x="197158" y="92647"/>
                  </a:lnTo>
                  <a:lnTo>
                    <a:pt x="197158" y="122023"/>
                  </a:lnTo>
                  <a:lnTo>
                    <a:pt x="51408" y="122023"/>
                  </a:lnTo>
                  <a:cubicBezTo>
                    <a:pt x="46889" y="122023"/>
                    <a:pt x="42934" y="125978"/>
                    <a:pt x="42934" y="130497"/>
                  </a:cubicBezTo>
                  <a:lnTo>
                    <a:pt x="42934" y="194334"/>
                  </a:lnTo>
                  <a:cubicBezTo>
                    <a:pt x="18642" y="198288"/>
                    <a:pt x="0" y="219190"/>
                    <a:pt x="0" y="244612"/>
                  </a:cubicBezTo>
                  <a:cubicBezTo>
                    <a:pt x="565" y="273423"/>
                    <a:pt x="23162" y="296585"/>
                    <a:pt x="51408" y="296585"/>
                  </a:cubicBezTo>
                  <a:close/>
                  <a:moveTo>
                    <a:pt x="240657" y="245177"/>
                  </a:moveTo>
                  <a:cubicBezTo>
                    <a:pt x="240657" y="263819"/>
                    <a:pt x="225404" y="279637"/>
                    <a:pt x="206197" y="279637"/>
                  </a:cubicBezTo>
                  <a:cubicBezTo>
                    <a:pt x="187554" y="279637"/>
                    <a:pt x="171737" y="264384"/>
                    <a:pt x="171737" y="245177"/>
                  </a:cubicBezTo>
                  <a:cubicBezTo>
                    <a:pt x="171737" y="226534"/>
                    <a:pt x="186990" y="210716"/>
                    <a:pt x="206197" y="210716"/>
                  </a:cubicBezTo>
                  <a:cubicBezTo>
                    <a:pt x="224839" y="210716"/>
                    <a:pt x="240657" y="226534"/>
                    <a:pt x="240657" y="245177"/>
                  </a:cubicBezTo>
                  <a:close/>
                  <a:moveTo>
                    <a:pt x="394881" y="245177"/>
                  </a:moveTo>
                  <a:cubicBezTo>
                    <a:pt x="394881" y="263819"/>
                    <a:pt x="379628" y="279637"/>
                    <a:pt x="360421" y="279637"/>
                  </a:cubicBezTo>
                  <a:cubicBezTo>
                    <a:pt x="341778" y="279637"/>
                    <a:pt x="325961" y="264384"/>
                    <a:pt x="325961" y="245177"/>
                  </a:cubicBezTo>
                  <a:cubicBezTo>
                    <a:pt x="325961" y="226534"/>
                    <a:pt x="341214" y="210716"/>
                    <a:pt x="360421" y="210716"/>
                  </a:cubicBezTo>
                  <a:cubicBezTo>
                    <a:pt x="379628" y="210716"/>
                    <a:pt x="394881" y="226534"/>
                    <a:pt x="394881" y="245177"/>
                  </a:cubicBezTo>
                  <a:close/>
                  <a:moveTo>
                    <a:pt x="206197" y="16948"/>
                  </a:moveTo>
                  <a:cubicBezTo>
                    <a:pt x="242917" y="16948"/>
                    <a:pt x="272858" y="42934"/>
                    <a:pt x="274553" y="76265"/>
                  </a:cubicBezTo>
                  <a:lnTo>
                    <a:pt x="137276" y="76265"/>
                  </a:lnTo>
                  <a:cubicBezTo>
                    <a:pt x="139536" y="42934"/>
                    <a:pt x="169477" y="16948"/>
                    <a:pt x="206197" y="16948"/>
                  </a:cubicBezTo>
                  <a:close/>
                  <a:moveTo>
                    <a:pt x="51408" y="210716"/>
                  </a:moveTo>
                  <a:cubicBezTo>
                    <a:pt x="70050" y="210716"/>
                    <a:pt x="85868" y="225969"/>
                    <a:pt x="85868" y="245177"/>
                  </a:cubicBezTo>
                  <a:cubicBezTo>
                    <a:pt x="85868" y="263819"/>
                    <a:pt x="70615" y="279637"/>
                    <a:pt x="51408" y="279637"/>
                  </a:cubicBezTo>
                  <a:cubicBezTo>
                    <a:pt x="32201" y="279637"/>
                    <a:pt x="16948" y="264384"/>
                    <a:pt x="16948" y="245177"/>
                  </a:cubicBezTo>
                  <a:cubicBezTo>
                    <a:pt x="17513" y="226534"/>
                    <a:pt x="32766" y="210716"/>
                    <a:pt x="51408" y="210716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Полилиния: фигура 285">
              <a:extLst>
                <a:ext uri="{FF2B5EF4-FFF2-40B4-BE49-F238E27FC236}">
                  <a16:creationId xmlns:a16="http://schemas.microsoft.com/office/drawing/2014/main" id="{748AA9AC-3B4F-4FC1-995E-74027290AD24}"/>
                </a:ext>
              </a:extLst>
            </p:cNvPr>
            <p:cNvSpPr/>
            <p:nvPr/>
          </p:nvSpPr>
          <p:spPr>
            <a:xfrm>
              <a:off x="5293882" y="1656604"/>
              <a:ext cx="481314" cy="92647"/>
            </a:xfrm>
            <a:custGeom>
              <a:avLst/>
              <a:gdLst>
                <a:gd name="connsiteX0" fmla="*/ 395446 w 481314"/>
                <a:gd name="connsiteY0" fmla="*/ 0 h 92647"/>
                <a:gd name="connsiteX1" fmla="*/ 318052 w 481314"/>
                <a:gd name="connsiteY1" fmla="*/ 45194 h 92647"/>
                <a:gd name="connsiteX2" fmla="*/ 240657 w 481314"/>
                <a:gd name="connsiteY2" fmla="*/ 0 h 92647"/>
                <a:gd name="connsiteX3" fmla="*/ 163263 w 481314"/>
                <a:gd name="connsiteY3" fmla="*/ 45194 h 92647"/>
                <a:gd name="connsiteX4" fmla="*/ 85868 w 481314"/>
                <a:gd name="connsiteY4" fmla="*/ 0 h 92647"/>
                <a:gd name="connsiteX5" fmla="*/ 0 w 481314"/>
                <a:gd name="connsiteY5" fmla="*/ 79654 h 92647"/>
                <a:gd name="connsiteX6" fmla="*/ 565 w 481314"/>
                <a:gd name="connsiteY6" fmla="*/ 85868 h 92647"/>
                <a:gd name="connsiteX7" fmla="*/ 9039 w 481314"/>
                <a:gd name="connsiteY7" fmla="*/ 92647 h 92647"/>
                <a:gd name="connsiteX8" fmla="*/ 163263 w 481314"/>
                <a:gd name="connsiteY8" fmla="*/ 92647 h 92647"/>
                <a:gd name="connsiteX9" fmla="*/ 163828 w 481314"/>
                <a:gd name="connsiteY9" fmla="*/ 92647 h 92647"/>
                <a:gd name="connsiteX10" fmla="*/ 163828 w 481314"/>
                <a:gd name="connsiteY10" fmla="*/ 92647 h 92647"/>
                <a:gd name="connsiteX11" fmla="*/ 318052 w 481314"/>
                <a:gd name="connsiteY11" fmla="*/ 92647 h 92647"/>
                <a:gd name="connsiteX12" fmla="*/ 318617 w 481314"/>
                <a:gd name="connsiteY12" fmla="*/ 92647 h 92647"/>
                <a:gd name="connsiteX13" fmla="*/ 318617 w 481314"/>
                <a:gd name="connsiteY13" fmla="*/ 92647 h 92647"/>
                <a:gd name="connsiteX14" fmla="*/ 472841 w 481314"/>
                <a:gd name="connsiteY14" fmla="*/ 92647 h 92647"/>
                <a:gd name="connsiteX15" fmla="*/ 481314 w 481314"/>
                <a:gd name="connsiteY15" fmla="*/ 84174 h 92647"/>
                <a:gd name="connsiteX16" fmla="*/ 481314 w 481314"/>
                <a:gd name="connsiteY16" fmla="*/ 82479 h 92647"/>
                <a:gd name="connsiteX17" fmla="*/ 481314 w 481314"/>
                <a:gd name="connsiteY17" fmla="*/ 79089 h 92647"/>
                <a:gd name="connsiteX18" fmla="*/ 395446 w 481314"/>
                <a:gd name="connsiteY18" fmla="*/ 0 h 92647"/>
                <a:gd name="connsiteX19" fmla="*/ 17513 w 481314"/>
                <a:gd name="connsiteY19" fmla="*/ 75700 h 92647"/>
                <a:gd name="connsiteX20" fmla="*/ 86433 w 481314"/>
                <a:gd name="connsiteY20" fmla="*/ 16383 h 92647"/>
                <a:gd name="connsiteX21" fmla="*/ 154789 w 481314"/>
                <a:gd name="connsiteY21" fmla="*/ 75700 h 92647"/>
                <a:gd name="connsiteX22" fmla="*/ 17513 w 481314"/>
                <a:gd name="connsiteY22" fmla="*/ 75700 h 92647"/>
                <a:gd name="connsiteX23" fmla="*/ 171737 w 481314"/>
                <a:gd name="connsiteY23" fmla="*/ 75700 h 92647"/>
                <a:gd name="connsiteX24" fmla="*/ 240657 w 481314"/>
                <a:gd name="connsiteY24" fmla="*/ 16383 h 92647"/>
                <a:gd name="connsiteX25" fmla="*/ 309013 w 481314"/>
                <a:gd name="connsiteY25" fmla="*/ 75700 h 92647"/>
                <a:gd name="connsiteX26" fmla="*/ 171737 w 481314"/>
                <a:gd name="connsiteY26" fmla="*/ 75700 h 92647"/>
                <a:gd name="connsiteX27" fmla="*/ 326526 w 481314"/>
                <a:gd name="connsiteY27" fmla="*/ 75700 h 92647"/>
                <a:gd name="connsiteX28" fmla="*/ 395446 w 481314"/>
                <a:gd name="connsiteY28" fmla="*/ 16383 h 92647"/>
                <a:gd name="connsiteX29" fmla="*/ 463802 w 481314"/>
                <a:gd name="connsiteY29" fmla="*/ 75700 h 92647"/>
                <a:gd name="connsiteX30" fmla="*/ 326526 w 481314"/>
                <a:gd name="connsiteY30" fmla="*/ 75700 h 92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81314" h="92647">
                  <a:moveTo>
                    <a:pt x="395446" y="0"/>
                  </a:moveTo>
                  <a:cubicBezTo>
                    <a:pt x="361551" y="0"/>
                    <a:pt x="331610" y="18642"/>
                    <a:pt x="318052" y="45194"/>
                  </a:cubicBezTo>
                  <a:cubicBezTo>
                    <a:pt x="304494" y="18642"/>
                    <a:pt x="275118" y="0"/>
                    <a:pt x="240657" y="0"/>
                  </a:cubicBezTo>
                  <a:cubicBezTo>
                    <a:pt x="206762" y="0"/>
                    <a:pt x="176821" y="18642"/>
                    <a:pt x="163263" y="45194"/>
                  </a:cubicBezTo>
                  <a:cubicBezTo>
                    <a:pt x="149705" y="18642"/>
                    <a:pt x="120329" y="0"/>
                    <a:pt x="85868" y="0"/>
                  </a:cubicBezTo>
                  <a:cubicBezTo>
                    <a:pt x="38415" y="0"/>
                    <a:pt x="0" y="35590"/>
                    <a:pt x="0" y="79654"/>
                  </a:cubicBezTo>
                  <a:cubicBezTo>
                    <a:pt x="0" y="81349"/>
                    <a:pt x="0" y="83609"/>
                    <a:pt x="565" y="85868"/>
                  </a:cubicBezTo>
                  <a:cubicBezTo>
                    <a:pt x="1130" y="89823"/>
                    <a:pt x="5084" y="92647"/>
                    <a:pt x="9039" y="92647"/>
                  </a:cubicBezTo>
                  <a:lnTo>
                    <a:pt x="163263" y="92647"/>
                  </a:lnTo>
                  <a:cubicBezTo>
                    <a:pt x="163263" y="92647"/>
                    <a:pt x="163263" y="92647"/>
                    <a:pt x="163828" y="92647"/>
                  </a:cubicBezTo>
                  <a:cubicBezTo>
                    <a:pt x="163828" y="92647"/>
                    <a:pt x="163828" y="92647"/>
                    <a:pt x="163828" y="92647"/>
                  </a:cubicBezTo>
                  <a:lnTo>
                    <a:pt x="318052" y="92647"/>
                  </a:lnTo>
                  <a:cubicBezTo>
                    <a:pt x="318052" y="92647"/>
                    <a:pt x="318052" y="92647"/>
                    <a:pt x="318617" y="92647"/>
                  </a:cubicBezTo>
                  <a:cubicBezTo>
                    <a:pt x="318617" y="92647"/>
                    <a:pt x="318617" y="92647"/>
                    <a:pt x="318617" y="92647"/>
                  </a:cubicBezTo>
                  <a:lnTo>
                    <a:pt x="472841" y="92647"/>
                  </a:lnTo>
                  <a:cubicBezTo>
                    <a:pt x="477360" y="92647"/>
                    <a:pt x="481314" y="88693"/>
                    <a:pt x="481314" y="84174"/>
                  </a:cubicBezTo>
                  <a:cubicBezTo>
                    <a:pt x="481314" y="83609"/>
                    <a:pt x="481314" y="83044"/>
                    <a:pt x="481314" y="82479"/>
                  </a:cubicBezTo>
                  <a:cubicBezTo>
                    <a:pt x="481314" y="81349"/>
                    <a:pt x="481314" y="80219"/>
                    <a:pt x="481314" y="79089"/>
                  </a:cubicBezTo>
                  <a:cubicBezTo>
                    <a:pt x="481314" y="35590"/>
                    <a:pt x="442900" y="0"/>
                    <a:pt x="395446" y="0"/>
                  </a:cubicBezTo>
                  <a:close/>
                  <a:moveTo>
                    <a:pt x="17513" y="75700"/>
                  </a:moveTo>
                  <a:cubicBezTo>
                    <a:pt x="19772" y="42934"/>
                    <a:pt x="49713" y="16383"/>
                    <a:pt x="86433" y="16383"/>
                  </a:cubicBezTo>
                  <a:cubicBezTo>
                    <a:pt x="123153" y="16383"/>
                    <a:pt x="153094" y="42369"/>
                    <a:pt x="154789" y="75700"/>
                  </a:cubicBezTo>
                  <a:lnTo>
                    <a:pt x="17513" y="75700"/>
                  </a:lnTo>
                  <a:close/>
                  <a:moveTo>
                    <a:pt x="171737" y="75700"/>
                  </a:moveTo>
                  <a:cubicBezTo>
                    <a:pt x="173996" y="42934"/>
                    <a:pt x="203937" y="16383"/>
                    <a:pt x="240657" y="16383"/>
                  </a:cubicBezTo>
                  <a:cubicBezTo>
                    <a:pt x="277377" y="16383"/>
                    <a:pt x="307318" y="42369"/>
                    <a:pt x="309013" y="75700"/>
                  </a:cubicBezTo>
                  <a:lnTo>
                    <a:pt x="171737" y="75700"/>
                  </a:lnTo>
                  <a:close/>
                  <a:moveTo>
                    <a:pt x="326526" y="75700"/>
                  </a:moveTo>
                  <a:cubicBezTo>
                    <a:pt x="328785" y="42934"/>
                    <a:pt x="358726" y="16383"/>
                    <a:pt x="395446" y="16383"/>
                  </a:cubicBezTo>
                  <a:cubicBezTo>
                    <a:pt x="432166" y="16383"/>
                    <a:pt x="462107" y="42369"/>
                    <a:pt x="463802" y="75700"/>
                  </a:cubicBezTo>
                  <a:lnTo>
                    <a:pt x="326526" y="75700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4" name="Рисунок 51">
            <a:extLst>
              <a:ext uri="{FF2B5EF4-FFF2-40B4-BE49-F238E27FC236}">
                <a16:creationId xmlns:a16="http://schemas.microsoft.com/office/drawing/2014/main" id="{DA0A9BE6-AB18-49AE-BB46-5059D89F274C}"/>
              </a:ext>
            </a:extLst>
          </p:cNvPr>
          <p:cNvGrpSpPr/>
          <p:nvPr/>
        </p:nvGrpSpPr>
        <p:grpSpPr>
          <a:xfrm>
            <a:off x="10367824" y="2383181"/>
            <a:ext cx="353734" cy="386349"/>
            <a:chOff x="5332630" y="2335248"/>
            <a:chExt cx="403564" cy="477874"/>
          </a:xfrm>
          <a:solidFill>
            <a:schemeClr val="accent1"/>
          </a:solidFill>
        </p:grpSpPr>
        <p:sp>
          <p:nvSpPr>
            <p:cNvPr id="95" name="Полилиния: фигура 217">
              <a:extLst>
                <a:ext uri="{FF2B5EF4-FFF2-40B4-BE49-F238E27FC236}">
                  <a16:creationId xmlns:a16="http://schemas.microsoft.com/office/drawing/2014/main" id="{46FB63AA-3D7B-44D8-9497-9A969341EF22}"/>
                </a:ext>
              </a:extLst>
            </p:cNvPr>
            <p:cNvSpPr/>
            <p:nvPr/>
          </p:nvSpPr>
          <p:spPr>
            <a:xfrm>
              <a:off x="5332630" y="2335248"/>
              <a:ext cx="403564" cy="477874"/>
            </a:xfrm>
            <a:custGeom>
              <a:avLst/>
              <a:gdLst>
                <a:gd name="connsiteX0" fmla="*/ 395085 w 403564"/>
                <a:gd name="connsiteY0" fmla="*/ 0 h 477874"/>
                <a:gd name="connsiteX1" fmla="*/ 8474 w 403564"/>
                <a:gd name="connsiteY1" fmla="*/ 0 h 477874"/>
                <a:gd name="connsiteX2" fmla="*/ 0 w 403564"/>
                <a:gd name="connsiteY2" fmla="*/ 8474 h 477874"/>
                <a:gd name="connsiteX3" fmla="*/ 0 w 403564"/>
                <a:gd name="connsiteY3" fmla="*/ 469400 h 477874"/>
                <a:gd name="connsiteX4" fmla="*/ 8474 w 403564"/>
                <a:gd name="connsiteY4" fmla="*/ 477874 h 477874"/>
                <a:gd name="connsiteX5" fmla="*/ 395090 w 403564"/>
                <a:gd name="connsiteY5" fmla="*/ 477874 h 477874"/>
                <a:gd name="connsiteX6" fmla="*/ 403564 w 403564"/>
                <a:gd name="connsiteY6" fmla="*/ 469400 h 477874"/>
                <a:gd name="connsiteX7" fmla="*/ 403564 w 403564"/>
                <a:gd name="connsiteY7" fmla="*/ 8474 h 477874"/>
                <a:gd name="connsiteX8" fmla="*/ 395085 w 403564"/>
                <a:gd name="connsiteY8" fmla="*/ 0 h 477874"/>
                <a:gd name="connsiteX9" fmla="*/ 386611 w 403564"/>
                <a:gd name="connsiteY9" fmla="*/ 460921 h 477874"/>
                <a:gd name="connsiteX10" fmla="*/ 16948 w 403564"/>
                <a:gd name="connsiteY10" fmla="*/ 460921 h 477874"/>
                <a:gd name="connsiteX11" fmla="*/ 16948 w 403564"/>
                <a:gd name="connsiteY11" fmla="*/ 16948 h 477874"/>
                <a:gd name="connsiteX12" fmla="*/ 386616 w 403564"/>
                <a:gd name="connsiteY12" fmla="*/ 16948 h 477874"/>
                <a:gd name="connsiteX13" fmla="*/ 386611 w 403564"/>
                <a:gd name="connsiteY13" fmla="*/ 460921 h 477874"/>
                <a:gd name="connsiteX14" fmla="*/ 386611 w 403564"/>
                <a:gd name="connsiteY14" fmla="*/ 460921 h 477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03564" h="477874">
                  <a:moveTo>
                    <a:pt x="395085" y="0"/>
                  </a:moveTo>
                  <a:lnTo>
                    <a:pt x="8474" y="0"/>
                  </a:lnTo>
                  <a:cubicBezTo>
                    <a:pt x="3791" y="0"/>
                    <a:pt x="0" y="3791"/>
                    <a:pt x="0" y="8474"/>
                  </a:cubicBezTo>
                  <a:lnTo>
                    <a:pt x="0" y="469400"/>
                  </a:lnTo>
                  <a:cubicBezTo>
                    <a:pt x="0" y="474078"/>
                    <a:pt x="3791" y="477874"/>
                    <a:pt x="8474" y="477874"/>
                  </a:cubicBezTo>
                  <a:lnTo>
                    <a:pt x="395090" y="477874"/>
                  </a:lnTo>
                  <a:cubicBezTo>
                    <a:pt x="399768" y="477874"/>
                    <a:pt x="403564" y="474078"/>
                    <a:pt x="403564" y="469400"/>
                  </a:cubicBezTo>
                  <a:lnTo>
                    <a:pt x="403564" y="8474"/>
                  </a:lnTo>
                  <a:cubicBezTo>
                    <a:pt x="403558" y="3791"/>
                    <a:pt x="399762" y="0"/>
                    <a:pt x="395085" y="0"/>
                  </a:cubicBezTo>
                  <a:close/>
                  <a:moveTo>
                    <a:pt x="386611" y="460921"/>
                  </a:moveTo>
                  <a:lnTo>
                    <a:pt x="16948" y="460921"/>
                  </a:lnTo>
                  <a:lnTo>
                    <a:pt x="16948" y="16948"/>
                  </a:lnTo>
                  <a:lnTo>
                    <a:pt x="386616" y="16948"/>
                  </a:lnTo>
                  <a:lnTo>
                    <a:pt x="386611" y="460921"/>
                  </a:lnTo>
                  <a:lnTo>
                    <a:pt x="386611" y="460921"/>
                  </a:lnTo>
                  <a:close/>
                </a:path>
              </a:pathLst>
            </a:custGeom>
            <a:grpFill/>
            <a:ln w="1083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Полилиния: фигура 218">
              <a:extLst>
                <a:ext uri="{FF2B5EF4-FFF2-40B4-BE49-F238E27FC236}">
                  <a16:creationId xmlns:a16="http://schemas.microsoft.com/office/drawing/2014/main" id="{E4D115C8-5C66-4549-9744-D3E2162E8972}"/>
                </a:ext>
              </a:extLst>
            </p:cNvPr>
            <p:cNvSpPr/>
            <p:nvPr/>
          </p:nvSpPr>
          <p:spPr>
            <a:xfrm>
              <a:off x="5385139" y="2385159"/>
              <a:ext cx="301103" cy="132525"/>
            </a:xfrm>
            <a:custGeom>
              <a:avLst/>
              <a:gdLst>
                <a:gd name="connsiteX0" fmla="*/ 8474 w 301103"/>
                <a:gd name="connsiteY0" fmla="*/ 132525 h 132525"/>
                <a:gd name="connsiteX1" fmla="*/ 292630 w 301103"/>
                <a:gd name="connsiteY1" fmla="*/ 132525 h 132525"/>
                <a:gd name="connsiteX2" fmla="*/ 301104 w 301103"/>
                <a:gd name="connsiteY2" fmla="*/ 124051 h 132525"/>
                <a:gd name="connsiteX3" fmla="*/ 301104 w 301103"/>
                <a:gd name="connsiteY3" fmla="*/ 8474 h 132525"/>
                <a:gd name="connsiteX4" fmla="*/ 292630 w 301103"/>
                <a:gd name="connsiteY4" fmla="*/ 0 h 132525"/>
                <a:gd name="connsiteX5" fmla="*/ 8474 w 301103"/>
                <a:gd name="connsiteY5" fmla="*/ 0 h 132525"/>
                <a:gd name="connsiteX6" fmla="*/ 0 w 301103"/>
                <a:gd name="connsiteY6" fmla="*/ 8474 h 132525"/>
                <a:gd name="connsiteX7" fmla="*/ 0 w 301103"/>
                <a:gd name="connsiteY7" fmla="*/ 124046 h 132525"/>
                <a:gd name="connsiteX8" fmla="*/ 8474 w 301103"/>
                <a:gd name="connsiteY8" fmla="*/ 132525 h 132525"/>
                <a:gd name="connsiteX9" fmla="*/ 16948 w 301103"/>
                <a:gd name="connsiteY9" fmla="*/ 16953 h 132525"/>
                <a:gd name="connsiteX10" fmla="*/ 284156 w 301103"/>
                <a:gd name="connsiteY10" fmla="*/ 16953 h 132525"/>
                <a:gd name="connsiteX11" fmla="*/ 284156 w 301103"/>
                <a:gd name="connsiteY11" fmla="*/ 115578 h 132525"/>
                <a:gd name="connsiteX12" fmla="*/ 16948 w 301103"/>
                <a:gd name="connsiteY12" fmla="*/ 115578 h 132525"/>
                <a:gd name="connsiteX13" fmla="*/ 16948 w 301103"/>
                <a:gd name="connsiteY13" fmla="*/ 16953 h 132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1103" h="132525">
                  <a:moveTo>
                    <a:pt x="8474" y="132525"/>
                  </a:moveTo>
                  <a:lnTo>
                    <a:pt x="292630" y="132525"/>
                  </a:lnTo>
                  <a:cubicBezTo>
                    <a:pt x="297313" y="132525"/>
                    <a:pt x="301104" y="128729"/>
                    <a:pt x="301104" y="124051"/>
                  </a:cubicBezTo>
                  <a:lnTo>
                    <a:pt x="301104" y="8474"/>
                  </a:lnTo>
                  <a:cubicBezTo>
                    <a:pt x="301104" y="3791"/>
                    <a:pt x="297313" y="0"/>
                    <a:pt x="292630" y="0"/>
                  </a:cubicBezTo>
                  <a:lnTo>
                    <a:pt x="8474" y="0"/>
                  </a:lnTo>
                  <a:cubicBezTo>
                    <a:pt x="3791" y="0"/>
                    <a:pt x="0" y="3791"/>
                    <a:pt x="0" y="8474"/>
                  </a:cubicBezTo>
                  <a:lnTo>
                    <a:pt x="0" y="124046"/>
                  </a:lnTo>
                  <a:cubicBezTo>
                    <a:pt x="0" y="128729"/>
                    <a:pt x="3791" y="132525"/>
                    <a:pt x="8474" y="132525"/>
                  </a:cubicBezTo>
                  <a:close/>
                  <a:moveTo>
                    <a:pt x="16948" y="16953"/>
                  </a:moveTo>
                  <a:lnTo>
                    <a:pt x="284156" y="16953"/>
                  </a:lnTo>
                  <a:lnTo>
                    <a:pt x="284156" y="115578"/>
                  </a:lnTo>
                  <a:lnTo>
                    <a:pt x="16948" y="115578"/>
                  </a:lnTo>
                  <a:cubicBezTo>
                    <a:pt x="16948" y="115578"/>
                    <a:pt x="16948" y="16953"/>
                    <a:pt x="16948" y="16953"/>
                  </a:cubicBezTo>
                  <a:close/>
                </a:path>
              </a:pathLst>
            </a:custGeom>
            <a:grpFill/>
            <a:ln w="1083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Полилиния: фигура 219">
              <a:extLst>
                <a:ext uri="{FF2B5EF4-FFF2-40B4-BE49-F238E27FC236}">
                  <a16:creationId xmlns:a16="http://schemas.microsoft.com/office/drawing/2014/main" id="{B63294A5-9A30-463E-9B2F-7F46068174B4}"/>
                </a:ext>
              </a:extLst>
            </p:cNvPr>
            <p:cNvSpPr/>
            <p:nvPr/>
          </p:nvSpPr>
          <p:spPr>
            <a:xfrm>
              <a:off x="5388122" y="2558929"/>
              <a:ext cx="74490" cy="74496"/>
            </a:xfrm>
            <a:custGeom>
              <a:avLst/>
              <a:gdLst>
                <a:gd name="connsiteX0" fmla="*/ 66017 w 74490"/>
                <a:gd name="connsiteY0" fmla="*/ 0 h 74496"/>
                <a:gd name="connsiteX1" fmla="*/ 8474 w 74490"/>
                <a:gd name="connsiteY1" fmla="*/ 0 h 74496"/>
                <a:gd name="connsiteX2" fmla="*/ 0 w 74490"/>
                <a:gd name="connsiteY2" fmla="*/ 8474 h 74496"/>
                <a:gd name="connsiteX3" fmla="*/ 0 w 74490"/>
                <a:gd name="connsiteY3" fmla="*/ 66023 h 74496"/>
                <a:gd name="connsiteX4" fmla="*/ 8474 w 74490"/>
                <a:gd name="connsiteY4" fmla="*/ 74496 h 74496"/>
                <a:gd name="connsiteX5" fmla="*/ 66017 w 74490"/>
                <a:gd name="connsiteY5" fmla="*/ 74496 h 74496"/>
                <a:gd name="connsiteX6" fmla="*/ 74491 w 74490"/>
                <a:gd name="connsiteY6" fmla="*/ 66023 h 74496"/>
                <a:gd name="connsiteX7" fmla="*/ 74491 w 74490"/>
                <a:gd name="connsiteY7" fmla="*/ 8474 h 74496"/>
                <a:gd name="connsiteX8" fmla="*/ 66017 w 74490"/>
                <a:gd name="connsiteY8" fmla="*/ 0 h 74496"/>
                <a:gd name="connsiteX9" fmla="*/ 57543 w 74490"/>
                <a:gd name="connsiteY9" fmla="*/ 57549 h 74496"/>
                <a:gd name="connsiteX10" fmla="*/ 16948 w 74490"/>
                <a:gd name="connsiteY10" fmla="*/ 57549 h 74496"/>
                <a:gd name="connsiteX11" fmla="*/ 16948 w 74490"/>
                <a:gd name="connsiteY11" fmla="*/ 16948 h 74496"/>
                <a:gd name="connsiteX12" fmla="*/ 57543 w 74490"/>
                <a:gd name="connsiteY12" fmla="*/ 16948 h 74496"/>
                <a:gd name="connsiteX13" fmla="*/ 57543 w 74490"/>
                <a:gd name="connsiteY13" fmla="*/ 57549 h 74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490" h="74496">
                  <a:moveTo>
                    <a:pt x="66017" y="0"/>
                  </a:moveTo>
                  <a:lnTo>
                    <a:pt x="8474" y="0"/>
                  </a:lnTo>
                  <a:cubicBezTo>
                    <a:pt x="3791" y="0"/>
                    <a:pt x="0" y="3796"/>
                    <a:pt x="0" y="8474"/>
                  </a:cubicBezTo>
                  <a:lnTo>
                    <a:pt x="0" y="66023"/>
                  </a:lnTo>
                  <a:cubicBezTo>
                    <a:pt x="0" y="70700"/>
                    <a:pt x="3791" y="74496"/>
                    <a:pt x="8474" y="74496"/>
                  </a:cubicBezTo>
                  <a:lnTo>
                    <a:pt x="66017" y="74496"/>
                  </a:lnTo>
                  <a:cubicBezTo>
                    <a:pt x="70700" y="74496"/>
                    <a:pt x="74491" y="70700"/>
                    <a:pt x="74491" y="66023"/>
                  </a:cubicBezTo>
                  <a:lnTo>
                    <a:pt x="74491" y="8474"/>
                  </a:lnTo>
                  <a:cubicBezTo>
                    <a:pt x="74491" y="3796"/>
                    <a:pt x="70694" y="0"/>
                    <a:pt x="66017" y="0"/>
                  </a:cubicBezTo>
                  <a:close/>
                  <a:moveTo>
                    <a:pt x="57543" y="57549"/>
                  </a:moveTo>
                  <a:lnTo>
                    <a:pt x="16948" y="57549"/>
                  </a:lnTo>
                  <a:lnTo>
                    <a:pt x="16948" y="16948"/>
                  </a:lnTo>
                  <a:lnTo>
                    <a:pt x="57543" y="16948"/>
                  </a:lnTo>
                  <a:lnTo>
                    <a:pt x="57543" y="57549"/>
                  </a:lnTo>
                  <a:close/>
                </a:path>
              </a:pathLst>
            </a:custGeom>
            <a:grpFill/>
            <a:ln w="1083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Полилиния: фигура 220">
              <a:extLst>
                <a:ext uri="{FF2B5EF4-FFF2-40B4-BE49-F238E27FC236}">
                  <a16:creationId xmlns:a16="http://schemas.microsoft.com/office/drawing/2014/main" id="{8D28B0E7-FAE7-46CA-B915-6CD5EA578452}"/>
                </a:ext>
              </a:extLst>
            </p:cNvPr>
            <p:cNvSpPr/>
            <p:nvPr/>
          </p:nvSpPr>
          <p:spPr>
            <a:xfrm>
              <a:off x="5388122" y="2670434"/>
              <a:ext cx="74490" cy="74490"/>
            </a:xfrm>
            <a:custGeom>
              <a:avLst/>
              <a:gdLst>
                <a:gd name="connsiteX0" fmla="*/ 66017 w 74490"/>
                <a:gd name="connsiteY0" fmla="*/ 0 h 74490"/>
                <a:gd name="connsiteX1" fmla="*/ 8474 w 74490"/>
                <a:gd name="connsiteY1" fmla="*/ 0 h 74490"/>
                <a:gd name="connsiteX2" fmla="*/ 0 w 74490"/>
                <a:gd name="connsiteY2" fmla="*/ 8474 h 74490"/>
                <a:gd name="connsiteX3" fmla="*/ 0 w 74490"/>
                <a:gd name="connsiteY3" fmla="*/ 66017 h 74490"/>
                <a:gd name="connsiteX4" fmla="*/ 8474 w 74490"/>
                <a:gd name="connsiteY4" fmla="*/ 74491 h 74490"/>
                <a:gd name="connsiteX5" fmla="*/ 66017 w 74490"/>
                <a:gd name="connsiteY5" fmla="*/ 74491 h 74490"/>
                <a:gd name="connsiteX6" fmla="*/ 74491 w 74490"/>
                <a:gd name="connsiteY6" fmla="*/ 66017 h 74490"/>
                <a:gd name="connsiteX7" fmla="*/ 74491 w 74490"/>
                <a:gd name="connsiteY7" fmla="*/ 8474 h 74490"/>
                <a:gd name="connsiteX8" fmla="*/ 66017 w 74490"/>
                <a:gd name="connsiteY8" fmla="*/ 0 h 74490"/>
                <a:gd name="connsiteX9" fmla="*/ 57543 w 74490"/>
                <a:gd name="connsiteY9" fmla="*/ 57543 h 74490"/>
                <a:gd name="connsiteX10" fmla="*/ 16948 w 74490"/>
                <a:gd name="connsiteY10" fmla="*/ 57543 h 74490"/>
                <a:gd name="connsiteX11" fmla="*/ 16948 w 74490"/>
                <a:gd name="connsiteY11" fmla="*/ 16942 h 74490"/>
                <a:gd name="connsiteX12" fmla="*/ 57543 w 74490"/>
                <a:gd name="connsiteY12" fmla="*/ 16942 h 74490"/>
                <a:gd name="connsiteX13" fmla="*/ 57543 w 74490"/>
                <a:gd name="connsiteY13" fmla="*/ 57543 h 7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490" h="74490">
                  <a:moveTo>
                    <a:pt x="66017" y="0"/>
                  </a:moveTo>
                  <a:lnTo>
                    <a:pt x="8474" y="0"/>
                  </a:lnTo>
                  <a:cubicBezTo>
                    <a:pt x="3791" y="0"/>
                    <a:pt x="0" y="3796"/>
                    <a:pt x="0" y="8474"/>
                  </a:cubicBezTo>
                  <a:lnTo>
                    <a:pt x="0" y="66017"/>
                  </a:lnTo>
                  <a:cubicBezTo>
                    <a:pt x="0" y="70694"/>
                    <a:pt x="3791" y="74491"/>
                    <a:pt x="8474" y="74491"/>
                  </a:cubicBezTo>
                  <a:lnTo>
                    <a:pt x="66017" y="74491"/>
                  </a:lnTo>
                  <a:cubicBezTo>
                    <a:pt x="70700" y="74491"/>
                    <a:pt x="74491" y="70694"/>
                    <a:pt x="74491" y="66017"/>
                  </a:cubicBezTo>
                  <a:lnTo>
                    <a:pt x="74491" y="8474"/>
                  </a:lnTo>
                  <a:cubicBezTo>
                    <a:pt x="74491" y="3791"/>
                    <a:pt x="70694" y="0"/>
                    <a:pt x="66017" y="0"/>
                  </a:cubicBezTo>
                  <a:close/>
                  <a:moveTo>
                    <a:pt x="57543" y="57543"/>
                  </a:moveTo>
                  <a:lnTo>
                    <a:pt x="16948" y="57543"/>
                  </a:lnTo>
                  <a:lnTo>
                    <a:pt x="16948" y="16942"/>
                  </a:lnTo>
                  <a:lnTo>
                    <a:pt x="57543" y="16942"/>
                  </a:lnTo>
                  <a:lnTo>
                    <a:pt x="57543" y="57543"/>
                  </a:lnTo>
                  <a:close/>
                </a:path>
              </a:pathLst>
            </a:custGeom>
            <a:grpFill/>
            <a:ln w="1083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Полилиния: фигура 221">
              <a:extLst>
                <a:ext uri="{FF2B5EF4-FFF2-40B4-BE49-F238E27FC236}">
                  <a16:creationId xmlns:a16="http://schemas.microsoft.com/office/drawing/2014/main" id="{3C13A372-8AF6-48AD-83BA-4635E7A7076C}"/>
                </a:ext>
              </a:extLst>
            </p:cNvPr>
            <p:cNvSpPr/>
            <p:nvPr/>
          </p:nvSpPr>
          <p:spPr>
            <a:xfrm>
              <a:off x="5608770" y="2558929"/>
              <a:ext cx="74490" cy="74496"/>
            </a:xfrm>
            <a:custGeom>
              <a:avLst/>
              <a:gdLst>
                <a:gd name="connsiteX0" fmla="*/ 66011 w 74490"/>
                <a:gd name="connsiteY0" fmla="*/ 0 h 74496"/>
                <a:gd name="connsiteX1" fmla="*/ 8474 w 74490"/>
                <a:gd name="connsiteY1" fmla="*/ 0 h 74496"/>
                <a:gd name="connsiteX2" fmla="*/ 0 w 74490"/>
                <a:gd name="connsiteY2" fmla="*/ 8474 h 74496"/>
                <a:gd name="connsiteX3" fmla="*/ 0 w 74490"/>
                <a:gd name="connsiteY3" fmla="*/ 66023 h 74496"/>
                <a:gd name="connsiteX4" fmla="*/ 8474 w 74490"/>
                <a:gd name="connsiteY4" fmla="*/ 74496 h 74496"/>
                <a:gd name="connsiteX5" fmla="*/ 66017 w 74490"/>
                <a:gd name="connsiteY5" fmla="*/ 74496 h 74496"/>
                <a:gd name="connsiteX6" fmla="*/ 74491 w 74490"/>
                <a:gd name="connsiteY6" fmla="*/ 66023 h 74496"/>
                <a:gd name="connsiteX7" fmla="*/ 74491 w 74490"/>
                <a:gd name="connsiteY7" fmla="*/ 8474 h 74496"/>
                <a:gd name="connsiteX8" fmla="*/ 66011 w 74490"/>
                <a:gd name="connsiteY8" fmla="*/ 0 h 74496"/>
                <a:gd name="connsiteX9" fmla="*/ 57537 w 74490"/>
                <a:gd name="connsiteY9" fmla="*/ 57549 h 74496"/>
                <a:gd name="connsiteX10" fmla="*/ 16948 w 74490"/>
                <a:gd name="connsiteY10" fmla="*/ 57549 h 74496"/>
                <a:gd name="connsiteX11" fmla="*/ 16948 w 74490"/>
                <a:gd name="connsiteY11" fmla="*/ 16948 h 74496"/>
                <a:gd name="connsiteX12" fmla="*/ 57543 w 74490"/>
                <a:gd name="connsiteY12" fmla="*/ 16948 h 74496"/>
                <a:gd name="connsiteX13" fmla="*/ 57537 w 74490"/>
                <a:gd name="connsiteY13" fmla="*/ 57549 h 74496"/>
                <a:gd name="connsiteX14" fmla="*/ 57537 w 74490"/>
                <a:gd name="connsiteY14" fmla="*/ 57549 h 74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490" h="74496">
                  <a:moveTo>
                    <a:pt x="66011" y="0"/>
                  </a:moveTo>
                  <a:lnTo>
                    <a:pt x="8474" y="0"/>
                  </a:lnTo>
                  <a:cubicBezTo>
                    <a:pt x="3791" y="0"/>
                    <a:pt x="0" y="3796"/>
                    <a:pt x="0" y="8474"/>
                  </a:cubicBezTo>
                  <a:lnTo>
                    <a:pt x="0" y="66023"/>
                  </a:lnTo>
                  <a:cubicBezTo>
                    <a:pt x="0" y="70700"/>
                    <a:pt x="3791" y="74496"/>
                    <a:pt x="8474" y="74496"/>
                  </a:cubicBezTo>
                  <a:lnTo>
                    <a:pt x="66017" y="74496"/>
                  </a:lnTo>
                  <a:cubicBezTo>
                    <a:pt x="70700" y="74496"/>
                    <a:pt x="74491" y="70700"/>
                    <a:pt x="74491" y="66023"/>
                  </a:cubicBezTo>
                  <a:lnTo>
                    <a:pt x="74491" y="8474"/>
                  </a:lnTo>
                  <a:cubicBezTo>
                    <a:pt x="74485" y="3796"/>
                    <a:pt x="70694" y="0"/>
                    <a:pt x="66011" y="0"/>
                  </a:cubicBezTo>
                  <a:close/>
                  <a:moveTo>
                    <a:pt x="57537" y="57549"/>
                  </a:moveTo>
                  <a:lnTo>
                    <a:pt x="16948" y="57549"/>
                  </a:lnTo>
                  <a:lnTo>
                    <a:pt x="16948" y="16948"/>
                  </a:lnTo>
                  <a:lnTo>
                    <a:pt x="57543" y="16948"/>
                  </a:lnTo>
                  <a:lnTo>
                    <a:pt x="57537" y="57549"/>
                  </a:lnTo>
                  <a:lnTo>
                    <a:pt x="57537" y="57549"/>
                  </a:lnTo>
                  <a:close/>
                </a:path>
              </a:pathLst>
            </a:custGeom>
            <a:grpFill/>
            <a:ln w="1083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Полилиния: фигура 222">
              <a:extLst>
                <a:ext uri="{FF2B5EF4-FFF2-40B4-BE49-F238E27FC236}">
                  <a16:creationId xmlns:a16="http://schemas.microsoft.com/office/drawing/2014/main" id="{56B0D830-1DCD-4CA0-AA29-5FE2707565C4}"/>
                </a:ext>
              </a:extLst>
            </p:cNvPr>
            <p:cNvSpPr/>
            <p:nvPr/>
          </p:nvSpPr>
          <p:spPr>
            <a:xfrm>
              <a:off x="5608770" y="2670434"/>
              <a:ext cx="74490" cy="74490"/>
            </a:xfrm>
            <a:custGeom>
              <a:avLst/>
              <a:gdLst>
                <a:gd name="connsiteX0" fmla="*/ 66011 w 74490"/>
                <a:gd name="connsiteY0" fmla="*/ 0 h 74490"/>
                <a:gd name="connsiteX1" fmla="*/ 8474 w 74490"/>
                <a:gd name="connsiteY1" fmla="*/ 0 h 74490"/>
                <a:gd name="connsiteX2" fmla="*/ 0 w 74490"/>
                <a:gd name="connsiteY2" fmla="*/ 8474 h 74490"/>
                <a:gd name="connsiteX3" fmla="*/ 0 w 74490"/>
                <a:gd name="connsiteY3" fmla="*/ 66017 h 74490"/>
                <a:gd name="connsiteX4" fmla="*/ 8474 w 74490"/>
                <a:gd name="connsiteY4" fmla="*/ 74491 h 74490"/>
                <a:gd name="connsiteX5" fmla="*/ 66017 w 74490"/>
                <a:gd name="connsiteY5" fmla="*/ 74491 h 74490"/>
                <a:gd name="connsiteX6" fmla="*/ 74491 w 74490"/>
                <a:gd name="connsiteY6" fmla="*/ 66017 h 74490"/>
                <a:gd name="connsiteX7" fmla="*/ 74491 w 74490"/>
                <a:gd name="connsiteY7" fmla="*/ 8474 h 74490"/>
                <a:gd name="connsiteX8" fmla="*/ 66011 w 74490"/>
                <a:gd name="connsiteY8" fmla="*/ 0 h 74490"/>
                <a:gd name="connsiteX9" fmla="*/ 57537 w 74490"/>
                <a:gd name="connsiteY9" fmla="*/ 57543 h 74490"/>
                <a:gd name="connsiteX10" fmla="*/ 16948 w 74490"/>
                <a:gd name="connsiteY10" fmla="*/ 57543 h 74490"/>
                <a:gd name="connsiteX11" fmla="*/ 16948 w 74490"/>
                <a:gd name="connsiteY11" fmla="*/ 16942 h 74490"/>
                <a:gd name="connsiteX12" fmla="*/ 57543 w 74490"/>
                <a:gd name="connsiteY12" fmla="*/ 16942 h 74490"/>
                <a:gd name="connsiteX13" fmla="*/ 57537 w 74490"/>
                <a:gd name="connsiteY13" fmla="*/ 57543 h 74490"/>
                <a:gd name="connsiteX14" fmla="*/ 57537 w 74490"/>
                <a:gd name="connsiteY14" fmla="*/ 57543 h 7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490" h="74490">
                  <a:moveTo>
                    <a:pt x="66011" y="0"/>
                  </a:moveTo>
                  <a:lnTo>
                    <a:pt x="8474" y="0"/>
                  </a:lnTo>
                  <a:cubicBezTo>
                    <a:pt x="3791" y="0"/>
                    <a:pt x="0" y="3796"/>
                    <a:pt x="0" y="8474"/>
                  </a:cubicBezTo>
                  <a:lnTo>
                    <a:pt x="0" y="66017"/>
                  </a:lnTo>
                  <a:cubicBezTo>
                    <a:pt x="0" y="70694"/>
                    <a:pt x="3791" y="74491"/>
                    <a:pt x="8474" y="74491"/>
                  </a:cubicBezTo>
                  <a:lnTo>
                    <a:pt x="66017" y="74491"/>
                  </a:lnTo>
                  <a:cubicBezTo>
                    <a:pt x="70700" y="74491"/>
                    <a:pt x="74491" y="70694"/>
                    <a:pt x="74491" y="66017"/>
                  </a:cubicBezTo>
                  <a:lnTo>
                    <a:pt x="74491" y="8474"/>
                  </a:lnTo>
                  <a:cubicBezTo>
                    <a:pt x="74485" y="3791"/>
                    <a:pt x="70694" y="0"/>
                    <a:pt x="66011" y="0"/>
                  </a:cubicBezTo>
                  <a:close/>
                  <a:moveTo>
                    <a:pt x="57537" y="57543"/>
                  </a:moveTo>
                  <a:lnTo>
                    <a:pt x="16948" y="57543"/>
                  </a:lnTo>
                  <a:lnTo>
                    <a:pt x="16948" y="16942"/>
                  </a:lnTo>
                  <a:lnTo>
                    <a:pt x="57543" y="16942"/>
                  </a:lnTo>
                  <a:lnTo>
                    <a:pt x="57537" y="57543"/>
                  </a:lnTo>
                  <a:lnTo>
                    <a:pt x="57537" y="57543"/>
                  </a:lnTo>
                  <a:close/>
                </a:path>
              </a:pathLst>
            </a:custGeom>
            <a:grpFill/>
            <a:ln w="1083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Полилиния: фигура 223">
              <a:extLst>
                <a:ext uri="{FF2B5EF4-FFF2-40B4-BE49-F238E27FC236}">
                  <a16:creationId xmlns:a16="http://schemas.microsoft.com/office/drawing/2014/main" id="{8C36DB70-46D0-499A-ABCD-97F10248621A}"/>
                </a:ext>
              </a:extLst>
            </p:cNvPr>
            <p:cNvSpPr/>
            <p:nvPr/>
          </p:nvSpPr>
          <p:spPr>
            <a:xfrm>
              <a:off x="5500350" y="2557037"/>
              <a:ext cx="74473" cy="74496"/>
            </a:xfrm>
            <a:custGeom>
              <a:avLst/>
              <a:gdLst>
                <a:gd name="connsiteX0" fmla="*/ 66000 w 74473"/>
                <a:gd name="connsiteY0" fmla="*/ 0 h 74496"/>
                <a:gd name="connsiteX1" fmla="*/ 8474 w 74473"/>
                <a:gd name="connsiteY1" fmla="*/ 0 h 74496"/>
                <a:gd name="connsiteX2" fmla="*/ 0 w 74473"/>
                <a:gd name="connsiteY2" fmla="*/ 8474 h 74496"/>
                <a:gd name="connsiteX3" fmla="*/ 0 w 74473"/>
                <a:gd name="connsiteY3" fmla="*/ 66023 h 74496"/>
                <a:gd name="connsiteX4" fmla="*/ 8474 w 74473"/>
                <a:gd name="connsiteY4" fmla="*/ 74496 h 74496"/>
                <a:gd name="connsiteX5" fmla="*/ 66000 w 74473"/>
                <a:gd name="connsiteY5" fmla="*/ 74496 h 74496"/>
                <a:gd name="connsiteX6" fmla="*/ 74474 w 74473"/>
                <a:gd name="connsiteY6" fmla="*/ 66023 h 74496"/>
                <a:gd name="connsiteX7" fmla="*/ 74474 w 74473"/>
                <a:gd name="connsiteY7" fmla="*/ 8474 h 74496"/>
                <a:gd name="connsiteX8" fmla="*/ 66000 w 74473"/>
                <a:gd name="connsiteY8" fmla="*/ 0 h 74496"/>
                <a:gd name="connsiteX9" fmla="*/ 57526 w 74473"/>
                <a:gd name="connsiteY9" fmla="*/ 57549 h 74496"/>
                <a:gd name="connsiteX10" fmla="*/ 16948 w 74473"/>
                <a:gd name="connsiteY10" fmla="*/ 57549 h 74496"/>
                <a:gd name="connsiteX11" fmla="*/ 16948 w 74473"/>
                <a:gd name="connsiteY11" fmla="*/ 16948 h 74496"/>
                <a:gd name="connsiteX12" fmla="*/ 57526 w 74473"/>
                <a:gd name="connsiteY12" fmla="*/ 16948 h 74496"/>
                <a:gd name="connsiteX13" fmla="*/ 57526 w 74473"/>
                <a:gd name="connsiteY13" fmla="*/ 57549 h 74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473" h="74496">
                  <a:moveTo>
                    <a:pt x="66000" y="0"/>
                  </a:moveTo>
                  <a:lnTo>
                    <a:pt x="8474" y="0"/>
                  </a:lnTo>
                  <a:cubicBezTo>
                    <a:pt x="3791" y="0"/>
                    <a:pt x="0" y="3796"/>
                    <a:pt x="0" y="8474"/>
                  </a:cubicBezTo>
                  <a:lnTo>
                    <a:pt x="0" y="66023"/>
                  </a:lnTo>
                  <a:cubicBezTo>
                    <a:pt x="0" y="70700"/>
                    <a:pt x="3791" y="74496"/>
                    <a:pt x="8474" y="74496"/>
                  </a:cubicBezTo>
                  <a:lnTo>
                    <a:pt x="66000" y="74496"/>
                  </a:lnTo>
                  <a:cubicBezTo>
                    <a:pt x="70683" y="74496"/>
                    <a:pt x="74474" y="70700"/>
                    <a:pt x="74474" y="66023"/>
                  </a:cubicBezTo>
                  <a:lnTo>
                    <a:pt x="74474" y="8474"/>
                  </a:lnTo>
                  <a:cubicBezTo>
                    <a:pt x="74474" y="3796"/>
                    <a:pt x="70678" y="0"/>
                    <a:pt x="66000" y="0"/>
                  </a:cubicBezTo>
                  <a:close/>
                  <a:moveTo>
                    <a:pt x="57526" y="57549"/>
                  </a:moveTo>
                  <a:lnTo>
                    <a:pt x="16948" y="57549"/>
                  </a:lnTo>
                  <a:lnTo>
                    <a:pt x="16948" y="16948"/>
                  </a:lnTo>
                  <a:lnTo>
                    <a:pt x="57526" y="16948"/>
                  </a:lnTo>
                  <a:lnTo>
                    <a:pt x="57526" y="57549"/>
                  </a:lnTo>
                  <a:close/>
                </a:path>
              </a:pathLst>
            </a:custGeom>
            <a:grpFill/>
            <a:ln w="1083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Полилиния: фигура 224">
              <a:extLst>
                <a:ext uri="{FF2B5EF4-FFF2-40B4-BE49-F238E27FC236}">
                  <a16:creationId xmlns:a16="http://schemas.microsoft.com/office/drawing/2014/main" id="{F17596F1-5496-46D6-872E-6EB410A5D8E2}"/>
                </a:ext>
              </a:extLst>
            </p:cNvPr>
            <p:cNvSpPr/>
            <p:nvPr/>
          </p:nvSpPr>
          <p:spPr>
            <a:xfrm>
              <a:off x="5500350" y="2668536"/>
              <a:ext cx="74473" cy="74502"/>
            </a:xfrm>
            <a:custGeom>
              <a:avLst/>
              <a:gdLst>
                <a:gd name="connsiteX0" fmla="*/ 66000 w 74473"/>
                <a:gd name="connsiteY0" fmla="*/ 0 h 74502"/>
                <a:gd name="connsiteX1" fmla="*/ 8474 w 74473"/>
                <a:gd name="connsiteY1" fmla="*/ 0 h 74502"/>
                <a:gd name="connsiteX2" fmla="*/ 0 w 74473"/>
                <a:gd name="connsiteY2" fmla="*/ 8474 h 74502"/>
                <a:gd name="connsiteX3" fmla="*/ 0 w 74473"/>
                <a:gd name="connsiteY3" fmla="*/ 66028 h 74502"/>
                <a:gd name="connsiteX4" fmla="*/ 8474 w 74473"/>
                <a:gd name="connsiteY4" fmla="*/ 74502 h 74502"/>
                <a:gd name="connsiteX5" fmla="*/ 66000 w 74473"/>
                <a:gd name="connsiteY5" fmla="*/ 74502 h 74502"/>
                <a:gd name="connsiteX6" fmla="*/ 74474 w 74473"/>
                <a:gd name="connsiteY6" fmla="*/ 66028 h 74502"/>
                <a:gd name="connsiteX7" fmla="*/ 74474 w 74473"/>
                <a:gd name="connsiteY7" fmla="*/ 8474 h 74502"/>
                <a:gd name="connsiteX8" fmla="*/ 66000 w 74473"/>
                <a:gd name="connsiteY8" fmla="*/ 0 h 74502"/>
                <a:gd name="connsiteX9" fmla="*/ 57526 w 74473"/>
                <a:gd name="connsiteY9" fmla="*/ 57549 h 74502"/>
                <a:gd name="connsiteX10" fmla="*/ 16948 w 74473"/>
                <a:gd name="connsiteY10" fmla="*/ 57549 h 74502"/>
                <a:gd name="connsiteX11" fmla="*/ 16948 w 74473"/>
                <a:gd name="connsiteY11" fmla="*/ 16942 h 74502"/>
                <a:gd name="connsiteX12" fmla="*/ 57526 w 74473"/>
                <a:gd name="connsiteY12" fmla="*/ 16942 h 74502"/>
                <a:gd name="connsiteX13" fmla="*/ 57526 w 74473"/>
                <a:gd name="connsiteY13" fmla="*/ 57549 h 74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473" h="74502">
                  <a:moveTo>
                    <a:pt x="66000" y="0"/>
                  </a:moveTo>
                  <a:lnTo>
                    <a:pt x="8474" y="0"/>
                  </a:lnTo>
                  <a:cubicBezTo>
                    <a:pt x="3791" y="0"/>
                    <a:pt x="0" y="3796"/>
                    <a:pt x="0" y="8474"/>
                  </a:cubicBezTo>
                  <a:lnTo>
                    <a:pt x="0" y="66028"/>
                  </a:lnTo>
                  <a:cubicBezTo>
                    <a:pt x="0" y="70706"/>
                    <a:pt x="3791" y="74502"/>
                    <a:pt x="8474" y="74502"/>
                  </a:cubicBezTo>
                  <a:lnTo>
                    <a:pt x="66000" y="74502"/>
                  </a:lnTo>
                  <a:cubicBezTo>
                    <a:pt x="70683" y="74502"/>
                    <a:pt x="74474" y="70706"/>
                    <a:pt x="74474" y="66028"/>
                  </a:cubicBezTo>
                  <a:lnTo>
                    <a:pt x="74474" y="8474"/>
                  </a:lnTo>
                  <a:cubicBezTo>
                    <a:pt x="74474" y="3796"/>
                    <a:pt x="70678" y="0"/>
                    <a:pt x="66000" y="0"/>
                  </a:cubicBezTo>
                  <a:close/>
                  <a:moveTo>
                    <a:pt x="57526" y="57549"/>
                  </a:moveTo>
                  <a:lnTo>
                    <a:pt x="16948" y="57549"/>
                  </a:lnTo>
                  <a:lnTo>
                    <a:pt x="16948" y="16942"/>
                  </a:lnTo>
                  <a:lnTo>
                    <a:pt x="57526" y="16942"/>
                  </a:lnTo>
                  <a:lnTo>
                    <a:pt x="57526" y="57549"/>
                  </a:lnTo>
                  <a:close/>
                </a:path>
              </a:pathLst>
            </a:custGeom>
            <a:grpFill/>
            <a:ln w="1083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2657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66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738664"/>
          </a:xfrm>
        </p:spPr>
        <p:txBody>
          <a:bodyPr/>
          <a:lstStyle/>
          <a:p>
            <a:r>
              <a:rPr lang="ru-RU" dirty="0"/>
              <a:t>Что мы ожидаем от поставщика/изготовителя:</a:t>
            </a:r>
            <a:br>
              <a:rPr lang="ru-RU" dirty="0"/>
            </a:b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A2ACF7-3475-47A7-B4B8-31961F7C263C}"/>
              </a:ext>
            </a:extLst>
          </p:cNvPr>
          <p:cNvSpPr txBox="1"/>
          <p:nvPr/>
        </p:nvSpPr>
        <p:spPr>
          <a:xfrm>
            <a:off x="1168401" y="1533906"/>
            <a:ext cx="46608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844083">
              <a:defRPr/>
            </a:pPr>
            <a:r>
              <a:rPr lang="ru-RU" sz="1200" b="1" dirty="0" smtClean="0"/>
              <a:t>Оперативный ответ о получении сигнал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0C63AE83-3655-4706-87F3-FE4BE48A95B2}"/>
              </a:ext>
            </a:extLst>
          </p:cNvPr>
          <p:cNvGrpSpPr/>
          <p:nvPr/>
        </p:nvGrpSpPr>
        <p:grpSpPr>
          <a:xfrm>
            <a:off x="571500" y="1170623"/>
            <a:ext cx="429260" cy="814387"/>
            <a:chOff x="571500" y="1170623"/>
            <a:chExt cx="429260" cy="81438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6A0747A-AF9C-49F9-A9B2-46C29C84476B}"/>
                </a:ext>
              </a:extLst>
            </p:cNvPr>
            <p:cNvSpPr txBox="1"/>
            <p:nvPr/>
          </p:nvSpPr>
          <p:spPr>
            <a:xfrm>
              <a:off x="571500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083">
                <a:defRPr/>
              </a:pPr>
              <a:r>
                <a:rPr lang="ru-RU" b="1" dirty="0">
                  <a:solidFill>
                    <a:schemeClr val="tx2"/>
                  </a:solidFill>
                </a:rPr>
                <a:t>01</a:t>
              </a:r>
            </a:p>
          </p:txBody>
        </p: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1299959B-9B4A-424C-89AA-AC008015B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697AB1D3-FC96-4283-8F90-14E689798B7A}"/>
              </a:ext>
            </a:extLst>
          </p:cNvPr>
          <p:cNvGrpSpPr/>
          <p:nvPr/>
        </p:nvGrpSpPr>
        <p:grpSpPr>
          <a:xfrm>
            <a:off x="571500" y="2602866"/>
            <a:ext cx="429260" cy="814387"/>
            <a:chOff x="571500" y="2602866"/>
            <a:chExt cx="429260" cy="81438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40AF971-3009-4D90-93C7-4F319792A9F7}"/>
                </a:ext>
              </a:extLst>
            </p:cNvPr>
            <p:cNvSpPr txBox="1"/>
            <p:nvPr/>
          </p:nvSpPr>
          <p:spPr>
            <a:xfrm>
              <a:off x="571500" y="2602866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083">
                <a:defRPr/>
              </a:pPr>
              <a:r>
                <a:rPr lang="ru-RU" b="1" dirty="0">
                  <a:solidFill>
                    <a:schemeClr val="tx2"/>
                  </a:solidFill>
                </a:rPr>
                <a:t>02</a:t>
              </a:r>
            </a:p>
          </p:txBody>
        </p: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9638E05B-617F-4742-83A4-8F0F9492613B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2627631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BD02A883-46F7-46A7-86C1-5119E92FF2E2}"/>
              </a:ext>
            </a:extLst>
          </p:cNvPr>
          <p:cNvGrpSpPr/>
          <p:nvPr/>
        </p:nvGrpSpPr>
        <p:grpSpPr>
          <a:xfrm>
            <a:off x="571500" y="4035109"/>
            <a:ext cx="429260" cy="814387"/>
            <a:chOff x="571500" y="4035109"/>
            <a:chExt cx="429260" cy="814387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AEE7D94-32D1-4217-8557-0A076C09858E}"/>
                </a:ext>
              </a:extLst>
            </p:cNvPr>
            <p:cNvSpPr txBox="1"/>
            <p:nvPr/>
          </p:nvSpPr>
          <p:spPr>
            <a:xfrm>
              <a:off x="571500" y="4035109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083">
                <a:defRPr/>
              </a:pPr>
              <a:r>
                <a:rPr lang="ru-RU" b="1" dirty="0">
                  <a:solidFill>
                    <a:schemeClr val="tx2"/>
                  </a:solidFill>
                </a:rPr>
                <a:t>03</a:t>
              </a:r>
            </a:p>
          </p:txBody>
        </p: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649FF300-1C1A-4543-8001-31A652887519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4059874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81171135-EAC3-471B-83DF-9859AFECF223}"/>
              </a:ext>
            </a:extLst>
          </p:cNvPr>
          <p:cNvSpPr txBox="1"/>
          <p:nvPr/>
        </p:nvSpPr>
        <p:spPr>
          <a:xfrm>
            <a:off x="1168399" y="5702261"/>
            <a:ext cx="466089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844083">
              <a:defRPr/>
            </a:pPr>
            <a:r>
              <a:rPr lang="ru-RU" sz="1200" b="1" dirty="0" smtClean="0"/>
              <a:t>Конкретных </a:t>
            </a:r>
            <a:r>
              <a:rPr lang="ru-RU" sz="1200" b="1" dirty="0"/>
              <a:t>действий по устранению причин возникновения брака в установленные срок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C2E8D24D-8EFC-47F9-BC98-19908E0ABEC1}"/>
              </a:ext>
            </a:extLst>
          </p:cNvPr>
          <p:cNvGrpSpPr/>
          <p:nvPr/>
        </p:nvGrpSpPr>
        <p:grpSpPr>
          <a:xfrm>
            <a:off x="571500" y="5467351"/>
            <a:ext cx="429260" cy="814387"/>
            <a:chOff x="571500" y="5467351"/>
            <a:chExt cx="429260" cy="814387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ED84707-C7D2-4D04-BE68-68D120E72AE7}"/>
                </a:ext>
              </a:extLst>
            </p:cNvPr>
            <p:cNvSpPr txBox="1"/>
            <p:nvPr/>
          </p:nvSpPr>
          <p:spPr>
            <a:xfrm>
              <a:off x="571500" y="5467351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083">
                <a:defRPr/>
              </a:pPr>
              <a:r>
                <a:rPr lang="ru-RU" b="1" dirty="0">
                  <a:solidFill>
                    <a:schemeClr val="tx2"/>
                  </a:solidFill>
                </a:rPr>
                <a:t>04</a:t>
              </a:r>
            </a:p>
          </p:txBody>
        </p: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55180E7A-F084-4DBF-8D14-A4D9B66E9980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5492116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240E6A44-B796-4959-9948-29483FE4501D}"/>
              </a:ext>
            </a:extLst>
          </p:cNvPr>
          <p:cNvSpPr txBox="1"/>
          <p:nvPr/>
        </p:nvSpPr>
        <p:spPr>
          <a:xfrm>
            <a:off x="6959602" y="1405533"/>
            <a:ext cx="466089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844083">
              <a:defRPr/>
            </a:pPr>
            <a:r>
              <a:rPr lang="ru-RU" sz="1200" b="1" dirty="0" smtClean="0"/>
              <a:t>Согласования способа </a:t>
            </a:r>
            <a:r>
              <a:rPr lang="ru-RU" sz="1200" b="1" dirty="0"/>
              <a:t>компенсации выявленных количеств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33BF3B2D-53DD-450B-B3C8-A1497083C3A1}"/>
              </a:ext>
            </a:extLst>
          </p:cNvPr>
          <p:cNvGrpSpPr/>
          <p:nvPr/>
        </p:nvGrpSpPr>
        <p:grpSpPr>
          <a:xfrm>
            <a:off x="6362702" y="1170623"/>
            <a:ext cx="429260" cy="814387"/>
            <a:chOff x="6362702" y="1170623"/>
            <a:chExt cx="429260" cy="814387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BD0D824-2A11-421A-8CB5-4F19BD592616}"/>
                </a:ext>
              </a:extLst>
            </p:cNvPr>
            <p:cNvSpPr txBox="1"/>
            <p:nvPr/>
          </p:nvSpPr>
          <p:spPr>
            <a:xfrm>
              <a:off x="6362702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083">
                <a:defRPr/>
              </a:pPr>
              <a:r>
                <a:rPr lang="ru-RU" b="1" dirty="0">
                  <a:solidFill>
                    <a:schemeClr val="tx2"/>
                  </a:solidFill>
                </a:rPr>
                <a:t>05</a:t>
              </a:r>
            </a:p>
          </p:txBody>
        </p: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DD7DE45F-2AE1-49A2-B580-D33612DACBAB}"/>
                </a:ext>
              </a:extLst>
            </p:cNvPr>
            <p:cNvCxnSpPr>
              <a:cxnSpLocks/>
            </p:cNvCxnSpPr>
            <p:nvPr/>
          </p:nvCxnSpPr>
          <p:spPr>
            <a:xfrm>
              <a:off x="6791962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725A3F92-0716-4296-B0D1-01B72E9A5525}"/>
              </a:ext>
            </a:extLst>
          </p:cNvPr>
          <p:cNvSpPr txBox="1"/>
          <p:nvPr/>
        </p:nvSpPr>
        <p:spPr>
          <a:xfrm>
            <a:off x="6959601" y="2930109"/>
            <a:ext cx="46608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844083">
              <a:defRPr/>
            </a:pPr>
            <a:r>
              <a:rPr lang="ru-RU" sz="1200" b="1" dirty="0" smtClean="0"/>
              <a:t>Отсутствия </a:t>
            </a:r>
            <a:r>
              <a:rPr lang="ru-RU" sz="1200" b="1" dirty="0"/>
              <a:t>повторных жалоб на качество товар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B347EF65-6E37-4B26-A17A-E0D88E16012B}"/>
              </a:ext>
            </a:extLst>
          </p:cNvPr>
          <p:cNvGrpSpPr/>
          <p:nvPr/>
        </p:nvGrpSpPr>
        <p:grpSpPr>
          <a:xfrm>
            <a:off x="6362702" y="2602866"/>
            <a:ext cx="429260" cy="814387"/>
            <a:chOff x="6362702" y="2602866"/>
            <a:chExt cx="429260" cy="814387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BF2B54B-6B7D-49D4-89EF-25D5932C3103}"/>
                </a:ext>
              </a:extLst>
            </p:cNvPr>
            <p:cNvSpPr txBox="1"/>
            <p:nvPr/>
          </p:nvSpPr>
          <p:spPr>
            <a:xfrm>
              <a:off x="6362702" y="2602866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083">
                <a:defRPr/>
              </a:pPr>
              <a:r>
                <a:rPr lang="ru-RU" b="1" dirty="0">
                  <a:solidFill>
                    <a:schemeClr val="tx2"/>
                  </a:solidFill>
                </a:rPr>
                <a:t>06</a:t>
              </a:r>
            </a:p>
          </p:txBody>
        </p: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E3B63BA8-3B43-4ABF-99CE-78D48228EC8F}"/>
                </a:ext>
              </a:extLst>
            </p:cNvPr>
            <p:cNvCxnSpPr>
              <a:cxnSpLocks/>
            </p:cNvCxnSpPr>
            <p:nvPr/>
          </p:nvCxnSpPr>
          <p:spPr>
            <a:xfrm>
              <a:off x="6791962" y="2627631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81A2ACF7-3475-47A7-B4B8-31961F7C263C}"/>
              </a:ext>
            </a:extLst>
          </p:cNvPr>
          <p:cNvSpPr txBox="1"/>
          <p:nvPr/>
        </p:nvSpPr>
        <p:spPr>
          <a:xfrm>
            <a:off x="1168398" y="2710694"/>
            <a:ext cx="466089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844083">
              <a:defRPr/>
            </a:pPr>
            <a:endParaRPr lang="ru-RU" sz="1200" b="1" dirty="0" smtClean="0"/>
          </a:p>
          <a:p>
            <a:pPr lvl="0" defTabSz="844083">
              <a:defRPr/>
            </a:pPr>
            <a:r>
              <a:rPr lang="ru-RU" sz="1200" b="1" dirty="0" smtClean="0"/>
              <a:t>Проведения </a:t>
            </a:r>
            <a:r>
              <a:rPr lang="ru-RU" sz="1200" b="1" dirty="0"/>
              <a:t>проверки и </a:t>
            </a:r>
            <a:r>
              <a:rPr lang="ru-RU" sz="1200" b="1" dirty="0" smtClean="0"/>
              <a:t>лаб. исследований </a:t>
            </a:r>
            <a:r>
              <a:rPr lang="ru-RU" sz="1200" b="1" dirty="0"/>
              <a:t>с его </a:t>
            </a:r>
            <a:r>
              <a:rPr lang="ru-RU" sz="1200" b="1" dirty="0" smtClean="0"/>
              <a:t>стороны</a:t>
            </a:r>
            <a:r>
              <a:rPr lang="ru-RU" sz="1200" dirty="0"/>
              <a:t/>
            </a:r>
            <a:br>
              <a:rPr lang="ru-RU" sz="1200" dirty="0"/>
            </a:b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1A2ACF7-3475-47A7-B4B8-31961F7C263C}"/>
              </a:ext>
            </a:extLst>
          </p:cNvPr>
          <p:cNvSpPr txBox="1"/>
          <p:nvPr/>
        </p:nvSpPr>
        <p:spPr>
          <a:xfrm>
            <a:off x="1168398" y="4312108"/>
            <a:ext cx="466089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844083">
              <a:defRPr/>
            </a:pPr>
            <a:r>
              <a:rPr lang="ru-RU" sz="1200" b="1" dirty="0" smtClean="0"/>
              <a:t>Предложения </a:t>
            </a:r>
            <a:r>
              <a:rPr lang="ru-RU" sz="1200" b="1" dirty="0"/>
              <a:t>вариантов решения проблемы и корректирующие мероприяти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84358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49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Заголовок 33">
            <a:extLst>
              <a:ext uri="{FF2B5EF4-FFF2-40B4-BE49-F238E27FC236}">
                <a16:creationId xmlns:a16="http://schemas.microsoft.com/office/drawing/2014/main" id="{DFE19F94-644B-42C1-AD3F-8528C51CFA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lvl="0">
              <a:lnSpc>
                <a:spcPct val="107000"/>
              </a:lnSpc>
            </a:pPr>
            <a:r>
              <a:rPr lang="ru-RU" dirty="0"/>
              <a:t>Что будет, если товар решил сыграть в игру «угадай, что внутри»?</a:t>
            </a:r>
            <a:endParaRPr lang="ru-RU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C8C12EE-F6E3-DC38-EC5D-561226AB2A87}"/>
              </a:ext>
            </a:extLst>
          </p:cNvPr>
          <p:cNvGrpSpPr/>
          <p:nvPr/>
        </p:nvGrpSpPr>
        <p:grpSpPr>
          <a:xfrm>
            <a:off x="0" y="4895068"/>
            <a:ext cx="5700035" cy="1962956"/>
            <a:chOff x="0" y="4895068"/>
            <a:chExt cx="5700035" cy="1962956"/>
          </a:xfrm>
        </p:grpSpPr>
        <p:sp>
          <p:nvSpPr>
            <p:cNvPr id="125" name="Полилиния: фигура 7">
              <a:extLst>
                <a:ext uri="{FF2B5EF4-FFF2-40B4-BE49-F238E27FC236}">
                  <a16:creationId xmlns:a16="http://schemas.microsoft.com/office/drawing/2014/main" id="{3789CB51-94F1-F8FA-A79F-06A57F1C8DF4}"/>
                </a:ext>
              </a:extLst>
            </p:cNvPr>
            <p:cNvSpPr/>
            <p:nvPr userDrawn="1"/>
          </p:nvSpPr>
          <p:spPr>
            <a:xfrm rot="16200000">
              <a:off x="979714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Полилиния: фигура 8">
              <a:extLst>
                <a:ext uri="{FF2B5EF4-FFF2-40B4-BE49-F238E27FC236}">
                  <a16:creationId xmlns:a16="http://schemas.microsoft.com/office/drawing/2014/main" id="{A6ACED56-6CF8-39E8-A8FB-2A87C0231D3C}"/>
                </a:ext>
              </a:extLst>
            </p:cNvPr>
            <p:cNvSpPr/>
            <p:nvPr userDrawn="1"/>
          </p:nvSpPr>
          <p:spPr>
            <a:xfrm>
              <a:off x="1224642" y="6123239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Полилиния: фигура 11">
              <a:extLst>
                <a:ext uri="{FF2B5EF4-FFF2-40B4-BE49-F238E27FC236}">
                  <a16:creationId xmlns:a16="http://schemas.microsoft.com/office/drawing/2014/main" id="{5DB7683A-9BD5-4464-68F8-5EDE8AF6796A}"/>
                </a:ext>
              </a:extLst>
            </p:cNvPr>
            <p:cNvSpPr/>
            <p:nvPr userDrawn="1"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Полилиния: фигура 12">
              <a:extLst>
                <a:ext uri="{FF2B5EF4-FFF2-40B4-BE49-F238E27FC236}">
                  <a16:creationId xmlns:a16="http://schemas.microsoft.com/office/drawing/2014/main" id="{F57E5213-5C20-6A07-918A-83451D3052F3}"/>
                </a:ext>
              </a:extLst>
            </p:cNvPr>
            <p:cNvSpPr/>
            <p:nvPr userDrawn="1"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Полилиния: фигура 13">
              <a:extLst>
                <a:ext uri="{FF2B5EF4-FFF2-40B4-BE49-F238E27FC236}">
                  <a16:creationId xmlns:a16="http://schemas.microsoft.com/office/drawing/2014/main" id="{EEC48DA5-7A77-6D8F-679C-6B23C76D5E64}"/>
                </a:ext>
              </a:extLst>
            </p:cNvPr>
            <p:cNvSpPr/>
            <p:nvPr userDrawn="1"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Полилиния: фигура 14">
              <a:extLst>
                <a:ext uri="{FF2B5EF4-FFF2-40B4-BE49-F238E27FC236}">
                  <a16:creationId xmlns:a16="http://schemas.microsoft.com/office/drawing/2014/main" id="{1613629D-47BB-7796-0553-499C6821CA59}"/>
                </a:ext>
              </a:extLst>
            </p:cNvPr>
            <p:cNvSpPr/>
            <p:nvPr userDrawn="1"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Полилиния: фигура 15">
              <a:extLst>
                <a:ext uri="{FF2B5EF4-FFF2-40B4-BE49-F238E27FC236}">
                  <a16:creationId xmlns:a16="http://schemas.microsoft.com/office/drawing/2014/main" id="{C85BD5F8-F7C8-28E1-BFDB-DDC8307360F7}"/>
                </a:ext>
              </a:extLst>
            </p:cNvPr>
            <p:cNvSpPr/>
            <p:nvPr userDrawn="1"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17">
              <a:extLst>
                <a:ext uri="{FF2B5EF4-FFF2-40B4-BE49-F238E27FC236}">
                  <a16:creationId xmlns:a16="http://schemas.microsoft.com/office/drawing/2014/main" id="{0355DC7A-A024-569E-0B8D-DDEEE1CADB03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Полилиния: фигура 18">
              <a:extLst>
                <a:ext uri="{FF2B5EF4-FFF2-40B4-BE49-F238E27FC236}">
                  <a16:creationId xmlns:a16="http://schemas.microsoft.com/office/drawing/2014/main" id="{26A08EE6-873F-5FF3-69E5-49E927186F08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Полилиния: фигура 19">
              <a:extLst>
                <a:ext uri="{FF2B5EF4-FFF2-40B4-BE49-F238E27FC236}">
                  <a16:creationId xmlns:a16="http://schemas.microsoft.com/office/drawing/2014/main" id="{18ED321C-6A84-4D58-AD6B-4E8876929C0F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Полилиния: фигура 21">
              <a:extLst>
                <a:ext uri="{FF2B5EF4-FFF2-40B4-BE49-F238E27FC236}">
                  <a16:creationId xmlns:a16="http://schemas.microsoft.com/office/drawing/2014/main" id="{1D4D272C-D9B3-B449-31B4-629820975AD7}"/>
                </a:ext>
              </a:extLst>
            </p:cNvPr>
            <p:cNvSpPr/>
            <p:nvPr/>
          </p:nvSpPr>
          <p:spPr>
            <a:xfrm>
              <a:off x="1959428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Полилиния: фигура 22">
              <a:extLst>
                <a:ext uri="{FF2B5EF4-FFF2-40B4-BE49-F238E27FC236}">
                  <a16:creationId xmlns:a16="http://schemas.microsoft.com/office/drawing/2014/main" id="{4553FED2-7C22-3A82-5723-3CB1B665DA29}"/>
                </a:ext>
              </a:extLst>
            </p:cNvPr>
            <p:cNvSpPr/>
            <p:nvPr/>
          </p:nvSpPr>
          <p:spPr>
            <a:xfrm>
              <a:off x="1959428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Полилиния: фигура 23">
              <a:extLst>
                <a:ext uri="{FF2B5EF4-FFF2-40B4-BE49-F238E27FC236}">
                  <a16:creationId xmlns:a16="http://schemas.microsoft.com/office/drawing/2014/main" id="{92BE6DE7-1F2A-EC43-8771-8E2CCF1F4233}"/>
                </a:ext>
              </a:extLst>
            </p:cNvPr>
            <p:cNvSpPr/>
            <p:nvPr/>
          </p:nvSpPr>
          <p:spPr>
            <a:xfrm>
              <a:off x="2449285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Полилиния: фигура 24">
              <a:extLst>
                <a:ext uri="{FF2B5EF4-FFF2-40B4-BE49-F238E27FC236}">
                  <a16:creationId xmlns:a16="http://schemas.microsoft.com/office/drawing/2014/main" id="{EEED14F5-BCFF-9854-C273-6F2CDA8A487B}"/>
                </a:ext>
              </a:extLst>
            </p:cNvPr>
            <p:cNvSpPr/>
            <p:nvPr/>
          </p:nvSpPr>
          <p:spPr>
            <a:xfrm>
              <a:off x="2449285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Полилиния: фигура 26">
              <a:extLst>
                <a:ext uri="{FF2B5EF4-FFF2-40B4-BE49-F238E27FC236}">
                  <a16:creationId xmlns:a16="http://schemas.microsoft.com/office/drawing/2014/main" id="{99B323CD-8E61-4B69-EA1D-5DCA632F6E66}"/>
                </a:ext>
              </a:extLst>
            </p:cNvPr>
            <p:cNvSpPr/>
            <p:nvPr/>
          </p:nvSpPr>
          <p:spPr>
            <a:xfrm>
              <a:off x="3268046" y="6171445"/>
              <a:ext cx="432445" cy="432445"/>
            </a:xfrm>
            <a:custGeom>
              <a:avLst/>
              <a:gdLst>
                <a:gd name="connsiteX0" fmla="*/ 432446 w 432445"/>
                <a:gd name="connsiteY0" fmla="*/ 216223 h 432445"/>
                <a:gd name="connsiteX1" fmla="*/ 216223 w 432445"/>
                <a:gd name="connsiteY1" fmla="*/ 432446 h 432445"/>
                <a:gd name="connsiteX2" fmla="*/ 0 w 432445"/>
                <a:gd name="connsiteY2" fmla="*/ 216223 h 432445"/>
                <a:gd name="connsiteX3" fmla="*/ 216223 w 432445"/>
                <a:gd name="connsiteY3" fmla="*/ 0 h 432445"/>
                <a:gd name="connsiteX4" fmla="*/ 432446 w 432445"/>
                <a:gd name="connsiteY4" fmla="*/ 216223 h 4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445" h="432445">
                  <a:moveTo>
                    <a:pt x="432446" y="216223"/>
                  </a:moveTo>
                  <a:cubicBezTo>
                    <a:pt x="432446" y="335639"/>
                    <a:pt x="335640" y="432446"/>
                    <a:pt x="216223" y="432446"/>
                  </a:cubicBezTo>
                  <a:cubicBezTo>
                    <a:pt x="96806" y="432446"/>
                    <a:pt x="0" y="335639"/>
                    <a:pt x="0" y="216223"/>
                  </a:cubicBezTo>
                  <a:cubicBezTo>
                    <a:pt x="0" y="96806"/>
                    <a:pt x="96806" y="0"/>
                    <a:pt x="216223" y="0"/>
                  </a:cubicBezTo>
                  <a:cubicBezTo>
                    <a:pt x="335640" y="0"/>
                    <a:pt x="432446" y="96806"/>
                    <a:pt x="432446" y="216223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Полилиния: фигура 27">
              <a:extLst>
                <a:ext uri="{FF2B5EF4-FFF2-40B4-BE49-F238E27FC236}">
                  <a16:creationId xmlns:a16="http://schemas.microsoft.com/office/drawing/2014/main" id="{436C948C-C636-AD72-AEAA-7147655F72E7}"/>
                </a:ext>
              </a:extLst>
            </p:cNvPr>
            <p:cNvSpPr/>
            <p:nvPr/>
          </p:nvSpPr>
          <p:spPr>
            <a:xfrm>
              <a:off x="3484268" y="6011751"/>
              <a:ext cx="159988" cy="159987"/>
            </a:xfrm>
            <a:custGeom>
              <a:avLst/>
              <a:gdLst>
                <a:gd name="connsiteX0" fmla="*/ -3207 w 159988"/>
                <a:gd name="connsiteY0" fmla="*/ 159748 h 159987"/>
                <a:gd name="connsiteX1" fmla="*/ 156781 w 159988"/>
                <a:gd name="connsiteY1" fmla="*/ -240 h 159987"/>
                <a:gd name="connsiteX2" fmla="*/ -3207 w 159988"/>
                <a:gd name="connsiteY2" fmla="*/ 159748 h 15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88" h="159987">
                  <a:moveTo>
                    <a:pt x="-3207" y="159748"/>
                  </a:moveTo>
                  <a:cubicBezTo>
                    <a:pt x="85163" y="159748"/>
                    <a:pt x="156781" y="88121"/>
                    <a:pt x="156781" y="-240"/>
                  </a:cubicBezTo>
                  <a:cubicBezTo>
                    <a:pt x="68410" y="-240"/>
                    <a:pt x="-3207" y="71387"/>
                    <a:pt x="-3207" y="159748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4" name="Группа 48">
              <a:extLst>
                <a:ext uri="{FF2B5EF4-FFF2-40B4-BE49-F238E27FC236}">
                  <a16:creationId xmlns:a16="http://schemas.microsoft.com/office/drawing/2014/main" id="{A344F5CA-3BFA-949C-3A3C-50FC4802C112}"/>
                </a:ext>
              </a:extLst>
            </p:cNvPr>
            <p:cNvGrpSpPr/>
            <p:nvPr/>
          </p:nvGrpSpPr>
          <p:grpSpPr>
            <a:xfrm>
              <a:off x="5094572" y="6068734"/>
              <a:ext cx="605463" cy="605463"/>
              <a:chOff x="5094572" y="6068734"/>
              <a:chExt cx="605463" cy="605463"/>
            </a:xfrm>
          </p:grpSpPr>
          <p:sp>
            <p:nvSpPr>
              <p:cNvPr id="159" name="Полилиния: фигура 49">
                <a:extLst>
                  <a:ext uri="{FF2B5EF4-FFF2-40B4-BE49-F238E27FC236}">
                    <a16:creationId xmlns:a16="http://schemas.microsoft.com/office/drawing/2014/main" id="{D0C567A5-1393-2D50-08F3-F4763D871D24}"/>
                  </a:ext>
                </a:extLst>
              </p:cNvPr>
              <p:cNvSpPr/>
              <p:nvPr userDrawn="1"/>
            </p:nvSpPr>
            <p:spPr>
              <a:xfrm>
                <a:off x="5226343" y="6200506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2" y="341920"/>
                      <a:pt x="0" y="265379"/>
                      <a:pt x="0" y="170960"/>
                    </a:cubicBezTo>
                    <a:cubicBezTo>
                      <a:pt x="0" y="76541"/>
                      <a:pt x="76542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Полилиния: фигура 50">
                <a:extLst>
                  <a:ext uri="{FF2B5EF4-FFF2-40B4-BE49-F238E27FC236}">
                    <a16:creationId xmlns:a16="http://schemas.microsoft.com/office/drawing/2014/main" id="{A1867F93-FB8B-B633-D8E3-07D0B8ADBE26}"/>
                  </a:ext>
                </a:extLst>
              </p:cNvPr>
              <p:cNvSpPr/>
              <p:nvPr userDrawn="1"/>
            </p:nvSpPr>
            <p:spPr>
              <a:xfrm>
                <a:off x="5094572" y="6068734"/>
                <a:ext cx="605463" cy="605463"/>
              </a:xfrm>
              <a:custGeom>
                <a:avLst/>
                <a:gdLst>
                  <a:gd name="connsiteX0" fmla="*/ 299524 w 605463"/>
                  <a:gd name="connsiteY0" fmla="*/ -240 h 605463"/>
                  <a:gd name="connsiteX1" fmla="*/ 270132 w 605463"/>
                  <a:gd name="connsiteY1" fmla="*/ 29151 h 605463"/>
                  <a:gd name="connsiteX2" fmla="*/ 270132 w 605463"/>
                  <a:gd name="connsiteY2" fmla="*/ 72847 h 605463"/>
                  <a:gd name="connsiteX3" fmla="*/ 299524 w 605463"/>
                  <a:gd name="connsiteY3" fmla="*/ 102238 h 605463"/>
                  <a:gd name="connsiteX4" fmla="*/ 328915 w 605463"/>
                  <a:gd name="connsiteY4" fmla="*/ 72847 h 605463"/>
                  <a:gd name="connsiteX5" fmla="*/ 328915 w 605463"/>
                  <a:gd name="connsiteY5" fmla="*/ 29151 h 605463"/>
                  <a:gd name="connsiteX6" fmla="*/ 299524 w 605463"/>
                  <a:gd name="connsiteY6" fmla="*/ -240 h 605463"/>
                  <a:gd name="connsiteX7" fmla="*/ 299524 w 605463"/>
                  <a:gd name="connsiteY7" fmla="*/ 502745 h 605463"/>
                  <a:gd name="connsiteX8" fmla="*/ 270132 w 605463"/>
                  <a:gd name="connsiteY8" fmla="*/ 532137 h 605463"/>
                  <a:gd name="connsiteX9" fmla="*/ 270132 w 605463"/>
                  <a:gd name="connsiteY9" fmla="*/ 575832 h 605463"/>
                  <a:gd name="connsiteX10" fmla="*/ 299524 w 605463"/>
                  <a:gd name="connsiteY10" fmla="*/ 605223 h 605463"/>
                  <a:gd name="connsiteX11" fmla="*/ 328915 w 605463"/>
                  <a:gd name="connsiteY11" fmla="*/ 575832 h 605463"/>
                  <a:gd name="connsiteX12" fmla="*/ 328915 w 605463"/>
                  <a:gd name="connsiteY12" fmla="*/ 532137 h 605463"/>
                  <a:gd name="connsiteX13" fmla="*/ 299524 w 605463"/>
                  <a:gd name="connsiteY13" fmla="*/ 502745 h 605463"/>
                  <a:gd name="connsiteX14" fmla="*/ 99271 w 605463"/>
                  <a:gd name="connsiteY14" fmla="*/ 302492 h 605463"/>
                  <a:gd name="connsiteX15" fmla="*/ 69879 w 605463"/>
                  <a:gd name="connsiteY15" fmla="*/ 273100 h 605463"/>
                  <a:gd name="connsiteX16" fmla="*/ 26184 w 605463"/>
                  <a:gd name="connsiteY16" fmla="*/ 273100 h 605463"/>
                  <a:gd name="connsiteX17" fmla="*/ -3207 w 605463"/>
                  <a:gd name="connsiteY17" fmla="*/ 302492 h 605463"/>
                  <a:gd name="connsiteX18" fmla="*/ 26184 w 605463"/>
                  <a:gd name="connsiteY18" fmla="*/ 331883 h 605463"/>
                  <a:gd name="connsiteX19" fmla="*/ 69879 w 605463"/>
                  <a:gd name="connsiteY19" fmla="*/ 331883 h 605463"/>
                  <a:gd name="connsiteX20" fmla="*/ 99271 w 605463"/>
                  <a:gd name="connsiteY20" fmla="*/ 302492 h 605463"/>
                  <a:gd name="connsiteX21" fmla="*/ 572865 w 605463"/>
                  <a:gd name="connsiteY21" fmla="*/ 273100 h 605463"/>
                  <a:gd name="connsiteX22" fmla="*/ 529168 w 605463"/>
                  <a:gd name="connsiteY22" fmla="*/ 273100 h 605463"/>
                  <a:gd name="connsiteX23" fmla="*/ 499777 w 605463"/>
                  <a:gd name="connsiteY23" fmla="*/ 302492 h 605463"/>
                  <a:gd name="connsiteX24" fmla="*/ 529168 w 605463"/>
                  <a:gd name="connsiteY24" fmla="*/ 331883 h 605463"/>
                  <a:gd name="connsiteX25" fmla="*/ 572865 w 605463"/>
                  <a:gd name="connsiteY25" fmla="*/ 331883 h 605463"/>
                  <a:gd name="connsiteX26" fmla="*/ 602257 w 605463"/>
                  <a:gd name="connsiteY26" fmla="*/ 302492 h 605463"/>
                  <a:gd name="connsiteX27" fmla="*/ 572865 w 605463"/>
                  <a:gd name="connsiteY27" fmla="*/ 273100 h 605463"/>
                  <a:gd name="connsiteX28" fmla="*/ 126997 w 605463"/>
                  <a:gd name="connsiteY28" fmla="*/ 88424 h 605463"/>
                  <a:gd name="connsiteX29" fmla="*/ 85457 w 605463"/>
                  <a:gd name="connsiteY29" fmla="*/ 86955 h 605463"/>
                  <a:gd name="connsiteX30" fmla="*/ 83986 w 605463"/>
                  <a:gd name="connsiteY30" fmla="*/ 128494 h 605463"/>
                  <a:gd name="connsiteX31" fmla="*/ 85457 w 605463"/>
                  <a:gd name="connsiteY31" fmla="*/ 129964 h 605463"/>
                  <a:gd name="connsiteX32" fmla="*/ 116317 w 605463"/>
                  <a:gd name="connsiteY32" fmla="*/ 160923 h 605463"/>
                  <a:gd name="connsiteX33" fmla="*/ 157955 w 605463"/>
                  <a:gd name="connsiteY33" fmla="*/ 160923 h 605463"/>
                  <a:gd name="connsiteX34" fmla="*/ 157955 w 605463"/>
                  <a:gd name="connsiteY34" fmla="*/ 119285 h 605463"/>
                  <a:gd name="connsiteX35" fmla="*/ 482730 w 605463"/>
                  <a:gd name="connsiteY35" fmla="*/ 444061 h 605463"/>
                  <a:gd name="connsiteX36" fmla="*/ 441092 w 605463"/>
                  <a:gd name="connsiteY36" fmla="*/ 444061 h 605463"/>
                  <a:gd name="connsiteX37" fmla="*/ 441092 w 605463"/>
                  <a:gd name="connsiteY37" fmla="*/ 485698 h 605463"/>
                  <a:gd name="connsiteX38" fmla="*/ 472052 w 605463"/>
                  <a:gd name="connsiteY38" fmla="*/ 516559 h 605463"/>
                  <a:gd name="connsiteX39" fmla="*/ 513592 w 605463"/>
                  <a:gd name="connsiteY39" fmla="*/ 516559 h 605463"/>
                  <a:gd name="connsiteX40" fmla="*/ 513592 w 605463"/>
                  <a:gd name="connsiteY40" fmla="*/ 475019 h 605463"/>
                  <a:gd name="connsiteX41" fmla="*/ 116317 w 605463"/>
                  <a:gd name="connsiteY41" fmla="*/ 444061 h 605463"/>
                  <a:gd name="connsiteX42" fmla="*/ 85457 w 605463"/>
                  <a:gd name="connsiteY42" fmla="*/ 475019 h 605463"/>
                  <a:gd name="connsiteX43" fmla="*/ 85457 w 605463"/>
                  <a:gd name="connsiteY43" fmla="*/ 516589 h 605463"/>
                  <a:gd name="connsiteX44" fmla="*/ 106226 w 605463"/>
                  <a:gd name="connsiteY44" fmla="*/ 525181 h 605463"/>
                  <a:gd name="connsiteX45" fmla="*/ 126997 w 605463"/>
                  <a:gd name="connsiteY45" fmla="*/ 516559 h 605463"/>
                  <a:gd name="connsiteX46" fmla="*/ 157955 w 605463"/>
                  <a:gd name="connsiteY46" fmla="*/ 485698 h 605463"/>
                  <a:gd name="connsiteX47" fmla="*/ 157955 w 605463"/>
                  <a:gd name="connsiteY47" fmla="*/ 444061 h 605463"/>
                  <a:gd name="connsiteX48" fmla="*/ 116317 w 605463"/>
                  <a:gd name="connsiteY48" fmla="*/ 444061 h 605463"/>
                  <a:gd name="connsiteX49" fmla="*/ 461961 w 605463"/>
                  <a:gd name="connsiteY49" fmla="*/ 169740 h 605463"/>
                  <a:gd name="connsiteX50" fmla="*/ 482730 w 605463"/>
                  <a:gd name="connsiteY50" fmla="*/ 161217 h 605463"/>
                  <a:gd name="connsiteX51" fmla="*/ 513592 w 605463"/>
                  <a:gd name="connsiteY51" fmla="*/ 130258 h 605463"/>
                  <a:gd name="connsiteX52" fmla="*/ 512121 w 605463"/>
                  <a:gd name="connsiteY52" fmla="*/ 88718 h 605463"/>
                  <a:gd name="connsiteX53" fmla="*/ 472052 w 605463"/>
                  <a:gd name="connsiteY53" fmla="*/ 88718 h 605463"/>
                  <a:gd name="connsiteX54" fmla="*/ 441092 w 605463"/>
                  <a:gd name="connsiteY54" fmla="*/ 119579 h 605463"/>
                  <a:gd name="connsiteX55" fmla="*/ 441092 w 605463"/>
                  <a:gd name="connsiteY55" fmla="*/ 161148 h 605463"/>
                  <a:gd name="connsiteX56" fmla="*/ 461961 w 605463"/>
                  <a:gd name="connsiteY56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5463" h="605463">
                    <a:moveTo>
                      <a:pt x="299524" y="-240"/>
                    </a:moveTo>
                    <a:cubicBezTo>
                      <a:pt x="283261" y="-240"/>
                      <a:pt x="270132" y="12917"/>
                      <a:pt x="270132" y="29151"/>
                    </a:cubicBezTo>
                    <a:lnTo>
                      <a:pt x="270132" y="72847"/>
                    </a:lnTo>
                    <a:cubicBezTo>
                      <a:pt x="270132" y="89081"/>
                      <a:pt x="283261" y="102238"/>
                      <a:pt x="299524" y="102238"/>
                    </a:cubicBezTo>
                    <a:cubicBezTo>
                      <a:pt x="315786" y="102238"/>
                      <a:pt x="328915" y="89081"/>
                      <a:pt x="328915" y="72847"/>
                    </a:cubicBezTo>
                    <a:lnTo>
                      <a:pt x="328915" y="29151"/>
                    </a:lnTo>
                    <a:cubicBezTo>
                      <a:pt x="328915" y="12917"/>
                      <a:pt x="315786" y="-240"/>
                      <a:pt x="299524" y="-240"/>
                    </a:cubicBezTo>
                    <a:close/>
                    <a:moveTo>
                      <a:pt x="299524" y="502745"/>
                    </a:moveTo>
                    <a:cubicBezTo>
                      <a:pt x="283261" y="502745"/>
                      <a:pt x="270132" y="515903"/>
                      <a:pt x="270132" y="532137"/>
                    </a:cubicBezTo>
                    <a:lnTo>
                      <a:pt x="270132" y="575832"/>
                    </a:lnTo>
                    <a:cubicBezTo>
                      <a:pt x="270132" y="592066"/>
                      <a:pt x="283261" y="605223"/>
                      <a:pt x="299524" y="605223"/>
                    </a:cubicBezTo>
                    <a:cubicBezTo>
                      <a:pt x="315786" y="605223"/>
                      <a:pt x="328915" y="592066"/>
                      <a:pt x="328915" y="575832"/>
                    </a:cubicBezTo>
                    <a:lnTo>
                      <a:pt x="328915" y="532137"/>
                    </a:lnTo>
                    <a:cubicBezTo>
                      <a:pt x="328915" y="515903"/>
                      <a:pt x="315786" y="502745"/>
                      <a:pt x="299524" y="502745"/>
                    </a:cubicBezTo>
                    <a:close/>
                    <a:moveTo>
                      <a:pt x="99271" y="302492"/>
                    </a:moveTo>
                    <a:cubicBezTo>
                      <a:pt x="99271" y="286258"/>
                      <a:pt x="86141" y="273100"/>
                      <a:pt x="69879" y="273100"/>
                    </a:cubicBezTo>
                    <a:lnTo>
                      <a:pt x="26184" y="273100"/>
                    </a:lnTo>
                    <a:cubicBezTo>
                      <a:pt x="9919" y="273100"/>
                      <a:pt x="-3207" y="286258"/>
                      <a:pt x="-3207" y="302492"/>
                    </a:cubicBezTo>
                    <a:cubicBezTo>
                      <a:pt x="-3207" y="318726"/>
                      <a:pt x="9919" y="331883"/>
                      <a:pt x="26184" y="331883"/>
                    </a:cubicBezTo>
                    <a:lnTo>
                      <a:pt x="69879" y="331883"/>
                    </a:lnTo>
                    <a:cubicBezTo>
                      <a:pt x="86141" y="331883"/>
                      <a:pt x="99271" y="318726"/>
                      <a:pt x="99271" y="302492"/>
                    </a:cubicBezTo>
                    <a:close/>
                    <a:moveTo>
                      <a:pt x="572865" y="273100"/>
                    </a:moveTo>
                    <a:lnTo>
                      <a:pt x="529168" y="273100"/>
                    </a:lnTo>
                    <a:cubicBezTo>
                      <a:pt x="512906" y="273100"/>
                      <a:pt x="499777" y="286258"/>
                      <a:pt x="499777" y="302492"/>
                    </a:cubicBezTo>
                    <a:cubicBezTo>
                      <a:pt x="499777" y="318726"/>
                      <a:pt x="512906" y="331883"/>
                      <a:pt x="529168" y="331883"/>
                    </a:cubicBezTo>
                    <a:lnTo>
                      <a:pt x="572865" y="331883"/>
                    </a:lnTo>
                    <a:cubicBezTo>
                      <a:pt x="589128" y="331883"/>
                      <a:pt x="602257" y="318726"/>
                      <a:pt x="602257" y="302492"/>
                    </a:cubicBezTo>
                    <a:cubicBezTo>
                      <a:pt x="602257" y="286258"/>
                      <a:pt x="589128" y="273100"/>
                      <a:pt x="572865" y="273100"/>
                    </a:cubicBezTo>
                    <a:close/>
                    <a:moveTo>
                      <a:pt x="126997" y="88424"/>
                    </a:moveTo>
                    <a:cubicBezTo>
                      <a:pt x="115925" y="76550"/>
                      <a:pt x="97312" y="75894"/>
                      <a:pt x="85457" y="86955"/>
                    </a:cubicBezTo>
                    <a:cubicBezTo>
                      <a:pt x="73601" y="98025"/>
                      <a:pt x="72917" y="116620"/>
                      <a:pt x="83986" y="128494"/>
                    </a:cubicBezTo>
                    <a:cubicBezTo>
                      <a:pt x="84477" y="129004"/>
                      <a:pt x="84967" y="129494"/>
                      <a:pt x="85457" y="129964"/>
                    </a:cubicBezTo>
                    <a:lnTo>
                      <a:pt x="116317" y="160923"/>
                    </a:lnTo>
                    <a:cubicBezTo>
                      <a:pt x="127779" y="172425"/>
                      <a:pt x="146493" y="172425"/>
                      <a:pt x="157955" y="160923"/>
                    </a:cubicBezTo>
                    <a:cubicBezTo>
                      <a:pt x="169417" y="149421"/>
                      <a:pt x="169417" y="130787"/>
                      <a:pt x="157955" y="119285"/>
                    </a:cubicBezTo>
                    <a:close/>
                    <a:moveTo>
                      <a:pt x="482730" y="444061"/>
                    </a:moveTo>
                    <a:cubicBezTo>
                      <a:pt x="471268" y="432559"/>
                      <a:pt x="452556" y="432559"/>
                      <a:pt x="441092" y="444061"/>
                    </a:cubicBezTo>
                    <a:cubicBezTo>
                      <a:pt x="429630" y="455562"/>
                      <a:pt x="429630" y="474196"/>
                      <a:pt x="441092" y="485698"/>
                    </a:cubicBezTo>
                    <a:lnTo>
                      <a:pt x="472052" y="516559"/>
                    </a:lnTo>
                    <a:cubicBezTo>
                      <a:pt x="483514" y="528022"/>
                      <a:pt x="502128" y="528022"/>
                      <a:pt x="513592" y="516559"/>
                    </a:cubicBezTo>
                    <a:cubicBezTo>
                      <a:pt x="525054" y="505087"/>
                      <a:pt x="525054" y="486492"/>
                      <a:pt x="513592" y="475019"/>
                    </a:cubicBezTo>
                    <a:close/>
                    <a:moveTo>
                      <a:pt x="116317" y="444061"/>
                    </a:moveTo>
                    <a:lnTo>
                      <a:pt x="85457" y="475019"/>
                    </a:lnTo>
                    <a:cubicBezTo>
                      <a:pt x="73993" y="486502"/>
                      <a:pt x="73993" y="505116"/>
                      <a:pt x="85457" y="516589"/>
                    </a:cubicBezTo>
                    <a:cubicBezTo>
                      <a:pt x="90942" y="522085"/>
                      <a:pt x="98486" y="525171"/>
                      <a:pt x="106226" y="525181"/>
                    </a:cubicBezTo>
                    <a:cubicBezTo>
                      <a:pt x="114064" y="525171"/>
                      <a:pt x="121510" y="522075"/>
                      <a:pt x="126997" y="516559"/>
                    </a:cubicBezTo>
                    <a:lnTo>
                      <a:pt x="157955" y="485698"/>
                    </a:lnTo>
                    <a:cubicBezTo>
                      <a:pt x="169417" y="474196"/>
                      <a:pt x="169417" y="455562"/>
                      <a:pt x="157955" y="444061"/>
                    </a:cubicBezTo>
                    <a:cubicBezTo>
                      <a:pt x="146493" y="432559"/>
                      <a:pt x="127779" y="432559"/>
                      <a:pt x="116317" y="444061"/>
                    </a:cubicBezTo>
                    <a:close/>
                    <a:moveTo>
                      <a:pt x="461961" y="169740"/>
                    </a:moveTo>
                    <a:cubicBezTo>
                      <a:pt x="469701" y="169760"/>
                      <a:pt x="477245" y="166694"/>
                      <a:pt x="482730" y="161217"/>
                    </a:cubicBezTo>
                    <a:lnTo>
                      <a:pt x="513592" y="130258"/>
                    </a:lnTo>
                    <a:cubicBezTo>
                      <a:pt x="524662" y="118384"/>
                      <a:pt x="523975" y="99789"/>
                      <a:pt x="512121" y="88718"/>
                    </a:cubicBezTo>
                    <a:cubicBezTo>
                      <a:pt x="500855" y="78196"/>
                      <a:pt x="483318" y="78196"/>
                      <a:pt x="472052" y="88718"/>
                    </a:cubicBezTo>
                    <a:lnTo>
                      <a:pt x="441092" y="119579"/>
                    </a:lnTo>
                    <a:cubicBezTo>
                      <a:pt x="429630" y="131061"/>
                      <a:pt x="429630" y="149676"/>
                      <a:pt x="441092" y="161148"/>
                    </a:cubicBezTo>
                    <a:cubicBezTo>
                      <a:pt x="446677" y="166664"/>
                      <a:pt x="454123" y="169760"/>
                      <a:pt x="461961" y="1697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5" name="Полилиния: фигура 52">
              <a:extLst>
                <a:ext uri="{FF2B5EF4-FFF2-40B4-BE49-F238E27FC236}">
                  <a16:creationId xmlns:a16="http://schemas.microsoft.com/office/drawing/2014/main" id="{2BEBA008-9D8E-B612-6D74-7BA0ED06E2B4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Полилиния: фигура 53">
              <a:extLst>
                <a:ext uri="{FF2B5EF4-FFF2-40B4-BE49-F238E27FC236}">
                  <a16:creationId xmlns:a16="http://schemas.microsoft.com/office/drawing/2014/main" id="{EBFCDC05-7D2B-F87E-3430-3371007F1F4F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Полилиния: фигура 54">
              <a:extLst>
                <a:ext uri="{FF2B5EF4-FFF2-40B4-BE49-F238E27FC236}">
                  <a16:creationId xmlns:a16="http://schemas.microsoft.com/office/drawing/2014/main" id="{044E6A5C-147D-9D07-B80F-DC0BF76FAD0D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55">
              <a:extLst>
                <a:ext uri="{FF2B5EF4-FFF2-40B4-BE49-F238E27FC236}">
                  <a16:creationId xmlns:a16="http://schemas.microsoft.com/office/drawing/2014/main" id="{6A1BF84E-F638-1593-8342-EEBE750D39CF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4BF8E173-FACE-ED4C-FDD4-55EC1D155F37}"/>
              </a:ext>
            </a:extLst>
          </p:cNvPr>
          <p:cNvGrpSpPr/>
          <p:nvPr/>
        </p:nvGrpSpPr>
        <p:grpSpPr>
          <a:xfrm>
            <a:off x="6436154" y="-838"/>
            <a:ext cx="5755846" cy="6858838"/>
            <a:chOff x="6436154" y="-838"/>
            <a:chExt cx="5755846" cy="6858838"/>
          </a:xfrm>
        </p:grpSpPr>
        <p:sp>
          <p:nvSpPr>
            <p:cNvPr id="162" name="Полилиния: фигура 29">
              <a:extLst>
                <a:ext uri="{FF2B5EF4-FFF2-40B4-BE49-F238E27FC236}">
                  <a16:creationId xmlns:a16="http://schemas.microsoft.com/office/drawing/2014/main" id="{7AE37D25-279B-FAD5-AEE7-483751C79B9B}"/>
                </a:ext>
              </a:extLst>
            </p:cNvPr>
            <p:cNvSpPr/>
            <p:nvPr/>
          </p:nvSpPr>
          <p:spPr>
            <a:xfrm>
              <a:off x="9306282" y="5879124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Полилиния: фигура 30">
              <a:extLst>
                <a:ext uri="{FF2B5EF4-FFF2-40B4-BE49-F238E27FC236}">
                  <a16:creationId xmlns:a16="http://schemas.microsoft.com/office/drawing/2014/main" id="{AC1D7F98-B9D9-57B7-CC22-7DF1DAED54CF}"/>
                </a:ext>
              </a:extLst>
            </p:cNvPr>
            <p:cNvSpPr/>
            <p:nvPr/>
          </p:nvSpPr>
          <p:spPr>
            <a:xfrm>
              <a:off x="9795720" y="5879124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35">
              <a:extLst>
                <a:ext uri="{FF2B5EF4-FFF2-40B4-BE49-F238E27FC236}">
                  <a16:creationId xmlns:a16="http://schemas.microsoft.com/office/drawing/2014/main" id="{1EC629B3-F129-7CF7-A2BD-42A84E922D3C}"/>
                </a:ext>
              </a:extLst>
            </p:cNvPr>
            <p:cNvSpPr/>
            <p:nvPr/>
          </p:nvSpPr>
          <p:spPr>
            <a:xfrm rot="16200000">
              <a:off x="11213124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noFill/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Полилиния: фигура 32">
              <a:extLst>
                <a:ext uri="{FF2B5EF4-FFF2-40B4-BE49-F238E27FC236}">
                  <a16:creationId xmlns:a16="http://schemas.microsoft.com/office/drawing/2014/main" id="{9399CA00-A682-3BD2-C663-F3FEA23DE7A8}"/>
                </a:ext>
              </a:extLst>
            </p:cNvPr>
            <p:cNvSpPr/>
            <p:nvPr/>
          </p:nvSpPr>
          <p:spPr>
            <a:xfrm rot="5400000">
              <a:off x="10234009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Полилиния: фигура 37">
              <a:extLst>
                <a:ext uri="{FF2B5EF4-FFF2-40B4-BE49-F238E27FC236}">
                  <a16:creationId xmlns:a16="http://schemas.microsoft.com/office/drawing/2014/main" id="{771D2AE4-D7A7-37B7-2A9F-C9F8B9B1DF1A}"/>
                </a:ext>
              </a:extLst>
            </p:cNvPr>
            <p:cNvSpPr/>
            <p:nvPr/>
          </p:nvSpPr>
          <p:spPr>
            <a:xfrm>
              <a:off x="10478966" y="6123843"/>
              <a:ext cx="489438" cy="489438"/>
            </a:xfrm>
            <a:custGeom>
              <a:avLst/>
              <a:gdLst>
                <a:gd name="connsiteX0" fmla="*/ 489438 w 489438"/>
                <a:gd name="connsiteY0" fmla="*/ 244719 h 489438"/>
                <a:gd name="connsiteX1" fmla="*/ 244719 w 489438"/>
                <a:gd name="connsiteY1" fmla="*/ 489438 h 489438"/>
                <a:gd name="connsiteX2" fmla="*/ 0 w 489438"/>
                <a:gd name="connsiteY2" fmla="*/ 244719 h 489438"/>
                <a:gd name="connsiteX3" fmla="*/ 244719 w 489438"/>
                <a:gd name="connsiteY3" fmla="*/ 0 h 489438"/>
                <a:gd name="connsiteX4" fmla="*/ 489438 w 489438"/>
                <a:gd name="connsiteY4" fmla="*/ 244719 h 48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438" h="489438">
                  <a:moveTo>
                    <a:pt x="489438" y="244719"/>
                  </a:moveTo>
                  <a:cubicBezTo>
                    <a:pt x="489438" y="379874"/>
                    <a:pt x="379874" y="489438"/>
                    <a:pt x="244719" y="489438"/>
                  </a:cubicBezTo>
                  <a:cubicBezTo>
                    <a:pt x="109564" y="489438"/>
                    <a:pt x="0" y="379874"/>
                    <a:pt x="0" y="244719"/>
                  </a:cubicBezTo>
                  <a:cubicBezTo>
                    <a:pt x="0" y="109564"/>
                    <a:pt x="109564" y="0"/>
                    <a:pt x="244719" y="0"/>
                  </a:cubicBezTo>
                  <a:cubicBezTo>
                    <a:pt x="379874" y="0"/>
                    <a:pt x="489438" y="109564"/>
                    <a:pt x="489438" y="244719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Полилиния: фигура 36">
              <a:extLst>
                <a:ext uri="{FF2B5EF4-FFF2-40B4-BE49-F238E27FC236}">
                  <a16:creationId xmlns:a16="http://schemas.microsoft.com/office/drawing/2014/main" id="{97BFECD6-3F78-D810-D06D-4DB788A24550}"/>
                </a:ext>
              </a:extLst>
            </p:cNvPr>
            <p:cNvSpPr/>
            <p:nvPr/>
          </p:nvSpPr>
          <p:spPr>
            <a:xfrm rot="5400000">
              <a:off x="10234247" y="4900247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38">
              <a:extLst>
                <a:ext uri="{FF2B5EF4-FFF2-40B4-BE49-F238E27FC236}">
                  <a16:creationId xmlns:a16="http://schemas.microsoft.com/office/drawing/2014/main" id="{541C9ACD-568F-8637-D608-4D98DE612750}"/>
                </a:ext>
              </a:extLst>
            </p:cNvPr>
            <p:cNvSpPr/>
            <p:nvPr/>
          </p:nvSpPr>
          <p:spPr>
            <a:xfrm>
              <a:off x="10234247" y="4900247"/>
              <a:ext cx="978876" cy="978876"/>
            </a:xfrm>
            <a:custGeom>
              <a:avLst/>
              <a:gdLst>
                <a:gd name="connsiteX0" fmla="*/ 978567 w 978876"/>
                <a:gd name="connsiteY0" fmla="*/ -240 h 978876"/>
                <a:gd name="connsiteX1" fmla="*/ -310 w 978876"/>
                <a:gd name="connsiteY1" fmla="*/ 978637 h 978876"/>
                <a:gd name="connsiteX2" fmla="*/ 978567 w 978876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8876" h="978876">
                  <a:moveTo>
                    <a:pt x="978567" y="-240"/>
                  </a:moveTo>
                  <a:cubicBezTo>
                    <a:pt x="437953" y="-240"/>
                    <a:pt x="-310" y="438022"/>
                    <a:pt x="-310" y="978637"/>
                  </a:cubicBezTo>
                  <a:cubicBezTo>
                    <a:pt x="540304" y="978637"/>
                    <a:pt x="978567" y="540374"/>
                    <a:pt x="978567" y="-240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Полилиния: фигура 39">
              <a:extLst>
                <a:ext uri="{FF2B5EF4-FFF2-40B4-BE49-F238E27FC236}">
                  <a16:creationId xmlns:a16="http://schemas.microsoft.com/office/drawing/2014/main" id="{2CEFE2E8-C801-B2DF-C309-266491FD61D3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Полилиния: фигура 40">
              <a:extLst>
                <a:ext uri="{FF2B5EF4-FFF2-40B4-BE49-F238E27FC236}">
                  <a16:creationId xmlns:a16="http://schemas.microsoft.com/office/drawing/2014/main" id="{5A76BE50-F569-D366-7AB1-3FACC18FC8FD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Полилиния: фигура 41">
              <a:extLst>
                <a:ext uri="{FF2B5EF4-FFF2-40B4-BE49-F238E27FC236}">
                  <a16:creationId xmlns:a16="http://schemas.microsoft.com/office/drawing/2014/main" id="{FE22727D-1C1D-4E79-495B-FC295573D98A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Полилиния: фигура 42">
              <a:extLst>
                <a:ext uri="{FF2B5EF4-FFF2-40B4-BE49-F238E27FC236}">
                  <a16:creationId xmlns:a16="http://schemas.microsoft.com/office/drawing/2014/main" id="{77B5FFA8-6C14-166E-0498-93163BC1066B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Полилиния: фигура 43">
              <a:extLst>
                <a:ext uri="{FF2B5EF4-FFF2-40B4-BE49-F238E27FC236}">
                  <a16:creationId xmlns:a16="http://schemas.microsoft.com/office/drawing/2014/main" id="{DFC74432-806C-FE9B-3172-74E47A38D527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2"/>
                </a:solidFill>
              </a:endParaRPr>
            </a:p>
          </p:txBody>
        </p:sp>
        <p:grpSp>
          <p:nvGrpSpPr>
            <p:cNvPr id="174" name="Группа 145">
              <a:extLst>
                <a:ext uri="{FF2B5EF4-FFF2-40B4-BE49-F238E27FC236}">
                  <a16:creationId xmlns:a16="http://schemas.microsoft.com/office/drawing/2014/main" id="{BBD5BFD8-DD3E-902E-5832-1A201C6D220F}"/>
                </a:ext>
              </a:extLst>
            </p:cNvPr>
            <p:cNvGrpSpPr/>
            <p:nvPr/>
          </p:nvGrpSpPr>
          <p:grpSpPr>
            <a:xfrm>
              <a:off x="11482993" y="6055615"/>
              <a:ext cx="204201" cy="625502"/>
              <a:chOff x="11482993" y="6055615"/>
              <a:chExt cx="204201" cy="625502"/>
            </a:xfrm>
          </p:grpSpPr>
          <p:sp>
            <p:nvSpPr>
              <p:cNvPr id="244" name="Полилиния: фигура 44">
                <a:extLst>
                  <a:ext uri="{FF2B5EF4-FFF2-40B4-BE49-F238E27FC236}">
                    <a16:creationId xmlns:a16="http://schemas.microsoft.com/office/drawing/2014/main" id="{BBA50A16-7AD7-629F-F2D8-D5EC976D3A5E}"/>
                  </a:ext>
                </a:extLst>
              </p:cNvPr>
              <p:cNvSpPr/>
              <p:nvPr/>
            </p:nvSpPr>
            <p:spPr>
              <a:xfrm>
                <a:off x="11547704" y="6327156"/>
                <a:ext cx="74786" cy="353961"/>
              </a:xfrm>
              <a:custGeom>
                <a:avLst/>
                <a:gdLst>
                  <a:gd name="connsiteX0" fmla="*/ 37083 w 74786"/>
                  <a:gd name="connsiteY0" fmla="*/ 353722 h 353961"/>
                  <a:gd name="connsiteX1" fmla="*/ 37083 w 74786"/>
                  <a:gd name="connsiteY1" fmla="*/ 353722 h 353961"/>
                  <a:gd name="connsiteX2" fmla="*/ 74476 w 74786"/>
                  <a:gd name="connsiteY2" fmla="*/ 316328 h 353961"/>
                  <a:gd name="connsiteX3" fmla="*/ 74476 w 74786"/>
                  <a:gd name="connsiteY3" fmla="*/ -240 h 353961"/>
                  <a:gd name="connsiteX4" fmla="*/ -310 w 74786"/>
                  <a:gd name="connsiteY4" fmla="*/ -240 h 353961"/>
                  <a:gd name="connsiteX5" fmla="*/ -310 w 74786"/>
                  <a:gd name="connsiteY5" fmla="*/ 316328 h 353961"/>
                  <a:gd name="connsiteX6" fmla="*/ 37083 w 74786"/>
                  <a:gd name="connsiteY6" fmla="*/ 353722 h 353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353961">
                    <a:moveTo>
                      <a:pt x="37083" y="353722"/>
                    </a:moveTo>
                    <a:lnTo>
                      <a:pt x="37083" y="353722"/>
                    </a:lnTo>
                    <a:cubicBezTo>
                      <a:pt x="57737" y="353722"/>
                      <a:pt x="74476" y="336983"/>
                      <a:pt x="74476" y="316328"/>
                    </a:cubicBezTo>
                    <a:lnTo>
                      <a:pt x="74476" y="-240"/>
                    </a:lnTo>
                    <a:lnTo>
                      <a:pt x="-310" y="-240"/>
                    </a:lnTo>
                    <a:lnTo>
                      <a:pt x="-310" y="316328"/>
                    </a:lnTo>
                    <a:cubicBezTo>
                      <a:pt x="-310" y="336983"/>
                      <a:pt x="16429" y="353722"/>
                      <a:pt x="37083" y="353722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Полилиния: фигура 45">
                <a:extLst>
                  <a:ext uri="{FF2B5EF4-FFF2-40B4-BE49-F238E27FC236}">
                    <a16:creationId xmlns:a16="http://schemas.microsoft.com/office/drawing/2014/main" id="{D5720F4F-4224-CC6B-B843-E58AA10355BA}"/>
                  </a:ext>
                </a:extLst>
              </p:cNvPr>
              <p:cNvSpPr/>
              <p:nvPr/>
            </p:nvSpPr>
            <p:spPr>
              <a:xfrm>
                <a:off x="11482993" y="6055615"/>
                <a:ext cx="204201" cy="288885"/>
              </a:xfrm>
              <a:custGeom>
                <a:avLst/>
                <a:gdLst>
                  <a:gd name="connsiteX0" fmla="*/ 162974 w 204201"/>
                  <a:gd name="connsiteY0" fmla="*/ 20512 h 288885"/>
                  <a:gd name="connsiteX1" fmla="*/ 162974 w 204201"/>
                  <a:gd name="connsiteY1" fmla="*/ 165875 h 288885"/>
                  <a:gd name="connsiteX2" fmla="*/ 143984 w 204201"/>
                  <a:gd name="connsiteY2" fmla="*/ 187694 h 288885"/>
                  <a:gd name="connsiteX3" fmla="*/ 122155 w 204201"/>
                  <a:gd name="connsiteY3" fmla="*/ 168704 h 288885"/>
                  <a:gd name="connsiteX4" fmla="*/ 122155 w 204201"/>
                  <a:gd name="connsiteY4" fmla="*/ 165875 h 288885"/>
                  <a:gd name="connsiteX5" fmla="*/ 122155 w 204201"/>
                  <a:gd name="connsiteY5" fmla="*/ 20512 h 288885"/>
                  <a:gd name="connsiteX6" fmla="*/ 101794 w 204201"/>
                  <a:gd name="connsiteY6" fmla="*/ 151 h 288885"/>
                  <a:gd name="connsiteX7" fmla="*/ 101794 w 204201"/>
                  <a:gd name="connsiteY7" fmla="*/ 151 h 288885"/>
                  <a:gd name="connsiteX8" fmla="*/ 81336 w 204201"/>
                  <a:gd name="connsiteY8" fmla="*/ 20512 h 288885"/>
                  <a:gd name="connsiteX9" fmla="*/ 81336 w 204201"/>
                  <a:gd name="connsiteY9" fmla="*/ 165875 h 288885"/>
                  <a:gd name="connsiteX10" fmla="*/ 62336 w 204201"/>
                  <a:gd name="connsiteY10" fmla="*/ 187694 h 288885"/>
                  <a:gd name="connsiteX11" fmla="*/ 40517 w 204201"/>
                  <a:gd name="connsiteY11" fmla="*/ 168704 h 288885"/>
                  <a:gd name="connsiteX12" fmla="*/ 40517 w 204201"/>
                  <a:gd name="connsiteY12" fmla="*/ 165875 h 288885"/>
                  <a:gd name="connsiteX13" fmla="*/ 40517 w 204201"/>
                  <a:gd name="connsiteY13" fmla="*/ 20512 h 288885"/>
                  <a:gd name="connsiteX14" fmla="*/ 18688 w 204201"/>
                  <a:gd name="connsiteY14" fmla="*/ 1522 h 288885"/>
                  <a:gd name="connsiteX15" fmla="*/ -302 w 204201"/>
                  <a:gd name="connsiteY15" fmla="*/ 20512 h 288885"/>
                  <a:gd name="connsiteX16" fmla="*/ -302 w 204201"/>
                  <a:gd name="connsiteY16" fmla="*/ 183201 h 288885"/>
                  <a:gd name="connsiteX17" fmla="*/ 99837 w 204201"/>
                  <a:gd name="connsiteY17" fmla="*/ 288626 h 288885"/>
                  <a:gd name="connsiteX18" fmla="*/ 203871 w 204201"/>
                  <a:gd name="connsiteY18" fmla="*/ 188507 h 288885"/>
                  <a:gd name="connsiteX19" fmla="*/ 203891 w 204201"/>
                  <a:gd name="connsiteY19" fmla="*/ 186627 h 288885"/>
                  <a:gd name="connsiteX20" fmla="*/ 203891 w 204201"/>
                  <a:gd name="connsiteY20" fmla="*/ 20218 h 288885"/>
                  <a:gd name="connsiteX21" fmla="*/ 183433 w 204201"/>
                  <a:gd name="connsiteY21" fmla="*/ -240 h 288885"/>
                  <a:gd name="connsiteX22" fmla="*/ 162974 w 204201"/>
                  <a:gd name="connsiteY22" fmla="*/ 20218 h 28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201" h="288885">
                    <a:moveTo>
                      <a:pt x="162974" y="20512"/>
                    </a:moveTo>
                    <a:lnTo>
                      <a:pt x="162974" y="165875"/>
                    </a:lnTo>
                    <a:cubicBezTo>
                      <a:pt x="163757" y="177142"/>
                      <a:pt x="155251" y="186921"/>
                      <a:pt x="143984" y="187694"/>
                    </a:cubicBezTo>
                    <a:cubicBezTo>
                      <a:pt x="132708" y="188478"/>
                      <a:pt x="122938" y="179971"/>
                      <a:pt x="122155" y="168704"/>
                    </a:cubicBezTo>
                    <a:cubicBezTo>
                      <a:pt x="122087" y="167764"/>
                      <a:pt x="122087" y="166815"/>
                      <a:pt x="122155" y="165875"/>
                    </a:cubicBezTo>
                    <a:lnTo>
                      <a:pt x="122155" y="20512"/>
                    </a:lnTo>
                    <a:cubicBezTo>
                      <a:pt x="122155" y="9264"/>
                      <a:pt x="113042" y="151"/>
                      <a:pt x="101794" y="151"/>
                    </a:cubicBezTo>
                    <a:lnTo>
                      <a:pt x="101794" y="151"/>
                    </a:lnTo>
                    <a:cubicBezTo>
                      <a:pt x="90537" y="151"/>
                      <a:pt x="81395" y="9255"/>
                      <a:pt x="81336" y="20512"/>
                    </a:cubicBezTo>
                    <a:lnTo>
                      <a:pt x="81336" y="165875"/>
                    </a:lnTo>
                    <a:cubicBezTo>
                      <a:pt x="82119" y="177142"/>
                      <a:pt x="73612" y="186921"/>
                      <a:pt x="62336" y="187694"/>
                    </a:cubicBezTo>
                    <a:cubicBezTo>
                      <a:pt x="51069" y="188478"/>
                      <a:pt x="41300" y="179971"/>
                      <a:pt x="40517" y="168704"/>
                    </a:cubicBezTo>
                    <a:cubicBezTo>
                      <a:pt x="40448" y="167764"/>
                      <a:pt x="40448" y="166815"/>
                      <a:pt x="40517" y="165875"/>
                    </a:cubicBezTo>
                    <a:lnTo>
                      <a:pt x="40517" y="20512"/>
                    </a:lnTo>
                    <a:cubicBezTo>
                      <a:pt x="39733" y="9245"/>
                      <a:pt x="29964" y="739"/>
                      <a:pt x="18688" y="1522"/>
                    </a:cubicBezTo>
                    <a:cubicBezTo>
                      <a:pt x="8507" y="2226"/>
                      <a:pt x="403" y="10331"/>
                      <a:pt x="-302" y="20512"/>
                    </a:cubicBezTo>
                    <a:lnTo>
                      <a:pt x="-302" y="183201"/>
                    </a:lnTo>
                    <a:cubicBezTo>
                      <a:pt x="-978" y="239663"/>
                      <a:pt x="43414" y="286404"/>
                      <a:pt x="99837" y="288626"/>
                    </a:cubicBezTo>
                    <a:cubicBezTo>
                      <a:pt x="156210" y="289713"/>
                      <a:pt x="202795" y="244880"/>
                      <a:pt x="203871" y="188507"/>
                    </a:cubicBezTo>
                    <a:cubicBezTo>
                      <a:pt x="203882" y="187880"/>
                      <a:pt x="203891" y="187254"/>
                      <a:pt x="203891" y="186627"/>
                    </a:cubicBezTo>
                    <a:lnTo>
                      <a:pt x="203891" y="20218"/>
                    </a:lnTo>
                    <a:cubicBezTo>
                      <a:pt x="203891" y="8922"/>
                      <a:pt x="194729" y="-240"/>
                      <a:pt x="183433" y="-240"/>
                    </a:cubicBezTo>
                    <a:cubicBezTo>
                      <a:pt x="172136" y="-240"/>
                      <a:pt x="162974" y="8922"/>
                      <a:pt x="162974" y="20218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75" name="Группа 146">
              <a:extLst>
                <a:ext uri="{FF2B5EF4-FFF2-40B4-BE49-F238E27FC236}">
                  <a16:creationId xmlns:a16="http://schemas.microsoft.com/office/drawing/2014/main" id="{3EC56F36-211F-8B4D-FCF9-75345C83DEBB}"/>
                </a:ext>
              </a:extLst>
            </p:cNvPr>
            <p:cNvGrpSpPr/>
            <p:nvPr/>
          </p:nvGrpSpPr>
          <p:grpSpPr>
            <a:xfrm>
              <a:off x="11717931" y="6056007"/>
              <a:ext cx="204193" cy="625110"/>
              <a:chOff x="11717931" y="6056007"/>
              <a:chExt cx="204193" cy="625110"/>
            </a:xfrm>
          </p:grpSpPr>
          <p:sp>
            <p:nvSpPr>
              <p:cNvPr id="242" name="Полилиния: фигура 46">
                <a:extLst>
                  <a:ext uri="{FF2B5EF4-FFF2-40B4-BE49-F238E27FC236}">
                    <a16:creationId xmlns:a16="http://schemas.microsoft.com/office/drawing/2014/main" id="{EE5E528E-80B1-3D17-9DD3-FCB9DE83E1B3}"/>
                  </a:ext>
                </a:extLst>
              </p:cNvPr>
              <p:cNvSpPr/>
              <p:nvPr/>
            </p:nvSpPr>
            <p:spPr>
              <a:xfrm>
                <a:off x="11782635" y="6056007"/>
                <a:ext cx="74786" cy="425224"/>
              </a:xfrm>
              <a:custGeom>
                <a:avLst/>
                <a:gdLst>
                  <a:gd name="connsiteX0" fmla="*/ 37083 w 74786"/>
                  <a:gd name="connsiteY0" fmla="*/ -240 h 425224"/>
                  <a:gd name="connsiteX1" fmla="*/ 37083 w 74786"/>
                  <a:gd name="connsiteY1" fmla="*/ -240 h 425224"/>
                  <a:gd name="connsiteX2" fmla="*/ -310 w 74786"/>
                  <a:gd name="connsiteY2" fmla="*/ 37153 h 425224"/>
                  <a:gd name="connsiteX3" fmla="*/ -310 w 74786"/>
                  <a:gd name="connsiteY3" fmla="*/ 424984 h 425224"/>
                  <a:gd name="connsiteX4" fmla="*/ 74476 w 74786"/>
                  <a:gd name="connsiteY4" fmla="*/ 424984 h 425224"/>
                  <a:gd name="connsiteX5" fmla="*/ 74476 w 74786"/>
                  <a:gd name="connsiteY5" fmla="*/ 37153 h 425224"/>
                  <a:gd name="connsiteX6" fmla="*/ 37083 w 74786"/>
                  <a:gd name="connsiteY6" fmla="*/ -240 h 42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425224">
                    <a:moveTo>
                      <a:pt x="37083" y="-240"/>
                    </a:moveTo>
                    <a:lnTo>
                      <a:pt x="37083" y="-240"/>
                    </a:lnTo>
                    <a:cubicBezTo>
                      <a:pt x="16429" y="-240"/>
                      <a:pt x="-310" y="16499"/>
                      <a:pt x="-310" y="37153"/>
                    </a:cubicBezTo>
                    <a:lnTo>
                      <a:pt x="-310" y="424984"/>
                    </a:lnTo>
                    <a:lnTo>
                      <a:pt x="74476" y="424984"/>
                    </a:lnTo>
                    <a:lnTo>
                      <a:pt x="74476" y="37153"/>
                    </a:lnTo>
                    <a:cubicBezTo>
                      <a:pt x="74476" y="16499"/>
                      <a:pt x="57737" y="-240"/>
                      <a:pt x="37083" y="-240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Полилиния: фигура 47">
                <a:extLst>
                  <a:ext uri="{FF2B5EF4-FFF2-40B4-BE49-F238E27FC236}">
                    <a16:creationId xmlns:a16="http://schemas.microsoft.com/office/drawing/2014/main" id="{9EC87D7A-39AB-4CD3-0F1C-31B70D227BE8}"/>
                  </a:ext>
                </a:extLst>
              </p:cNvPr>
              <p:cNvSpPr/>
              <p:nvPr/>
            </p:nvSpPr>
            <p:spPr>
              <a:xfrm>
                <a:off x="11717931" y="6392545"/>
                <a:ext cx="204193" cy="288572"/>
              </a:xfrm>
              <a:custGeom>
                <a:avLst/>
                <a:gdLst>
                  <a:gd name="connsiteX0" fmla="*/ 101787 w 204193"/>
                  <a:gd name="connsiteY0" fmla="*/ 288333 h 288572"/>
                  <a:gd name="connsiteX1" fmla="*/ 203884 w 204193"/>
                  <a:gd name="connsiteY1" fmla="*/ 186236 h 288572"/>
                  <a:gd name="connsiteX2" fmla="*/ 203884 w 204193"/>
                  <a:gd name="connsiteY2" fmla="*/ 101857 h 288572"/>
                  <a:gd name="connsiteX3" fmla="*/ 101787 w 204193"/>
                  <a:gd name="connsiteY3" fmla="*/ -240 h 288572"/>
                  <a:gd name="connsiteX4" fmla="*/ -310 w 204193"/>
                  <a:gd name="connsiteY4" fmla="*/ 101857 h 288572"/>
                  <a:gd name="connsiteX5" fmla="*/ -310 w 204193"/>
                  <a:gd name="connsiteY5" fmla="*/ 186236 h 288572"/>
                  <a:gd name="connsiteX6" fmla="*/ 101787 w 204193"/>
                  <a:gd name="connsiteY6" fmla="*/ 288333 h 28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193" h="288572">
                    <a:moveTo>
                      <a:pt x="101787" y="288333"/>
                    </a:moveTo>
                    <a:cubicBezTo>
                      <a:pt x="158170" y="288333"/>
                      <a:pt x="203884" y="242619"/>
                      <a:pt x="203884" y="186236"/>
                    </a:cubicBezTo>
                    <a:lnTo>
                      <a:pt x="203884" y="101857"/>
                    </a:lnTo>
                    <a:cubicBezTo>
                      <a:pt x="203884" y="45473"/>
                      <a:pt x="158170" y="-240"/>
                      <a:pt x="101787" y="-240"/>
                    </a:cubicBezTo>
                    <a:cubicBezTo>
                      <a:pt x="45403" y="-240"/>
                      <a:pt x="-310" y="45473"/>
                      <a:pt x="-310" y="101857"/>
                    </a:cubicBezTo>
                    <a:lnTo>
                      <a:pt x="-310" y="186236"/>
                    </a:lnTo>
                    <a:cubicBezTo>
                      <a:pt x="-310" y="242619"/>
                      <a:pt x="45403" y="288333"/>
                      <a:pt x="101787" y="288333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6" name="Полилиния: фигура 56">
              <a:extLst>
                <a:ext uri="{FF2B5EF4-FFF2-40B4-BE49-F238E27FC236}">
                  <a16:creationId xmlns:a16="http://schemas.microsoft.com/office/drawing/2014/main" id="{6E6199AE-034D-751B-0B41-16843783D52E}"/>
                </a:ext>
              </a:extLst>
            </p:cNvPr>
            <p:cNvSpPr/>
            <p:nvPr/>
          </p:nvSpPr>
          <p:spPr>
            <a:xfrm>
              <a:off x="9252833" y="0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Полилиния: фигура 57">
              <a:extLst>
                <a:ext uri="{FF2B5EF4-FFF2-40B4-BE49-F238E27FC236}">
                  <a16:creationId xmlns:a16="http://schemas.microsoft.com/office/drawing/2014/main" id="{9B637539-34B8-C902-670F-61DA69B52B5E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Полилиния: фигура 59">
              <a:extLst>
                <a:ext uri="{FF2B5EF4-FFF2-40B4-BE49-F238E27FC236}">
                  <a16:creationId xmlns:a16="http://schemas.microsoft.com/office/drawing/2014/main" id="{F5129B11-D1CB-5277-B291-BC940C69B3B7}"/>
                </a:ext>
              </a:extLst>
            </p:cNvPr>
            <p:cNvSpPr/>
            <p:nvPr/>
          </p:nvSpPr>
          <p:spPr>
            <a:xfrm rot="16200000">
              <a:off x="7297491" y="4107"/>
              <a:ext cx="978852" cy="972412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Полилиния: фигура 60">
              <a:extLst>
                <a:ext uri="{FF2B5EF4-FFF2-40B4-BE49-F238E27FC236}">
                  <a16:creationId xmlns:a16="http://schemas.microsoft.com/office/drawing/2014/main" id="{974EF996-E4A2-7F1D-39E1-C0E93962FF0D}"/>
                </a:ext>
              </a:extLst>
            </p:cNvPr>
            <p:cNvSpPr/>
            <p:nvPr/>
          </p:nvSpPr>
          <p:spPr>
            <a:xfrm>
              <a:off x="7288368" y="489882"/>
              <a:ext cx="494894" cy="495482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Полилиния: фигура 61">
              <a:extLst>
                <a:ext uri="{FF2B5EF4-FFF2-40B4-BE49-F238E27FC236}">
                  <a16:creationId xmlns:a16="http://schemas.microsoft.com/office/drawing/2014/main" id="{2109B157-2DB2-D42E-0D05-727A20A19A9C}"/>
                </a:ext>
              </a:extLst>
            </p:cNvPr>
            <p:cNvSpPr/>
            <p:nvPr/>
          </p:nvSpPr>
          <p:spPr>
            <a:xfrm>
              <a:off x="7284210" y="25"/>
              <a:ext cx="499051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Полилиния: фигура 62">
              <a:extLst>
                <a:ext uri="{FF2B5EF4-FFF2-40B4-BE49-F238E27FC236}">
                  <a16:creationId xmlns:a16="http://schemas.microsoft.com/office/drawing/2014/main" id="{1DF63EB9-998D-F6DC-0EA8-B1427C621F3D}"/>
                </a:ext>
              </a:extLst>
            </p:cNvPr>
            <p:cNvSpPr/>
            <p:nvPr/>
          </p:nvSpPr>
          <p:spPr>
            <a:xfrm>
              <a:off x="7774067" y="25"/>
              <a:ext cx="499051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Полилиния: фигура 63">
              <a:extLst>
                <a:ext uri="{FF2B5EF4-FFF2-40B4-BE49-F238E27FC236}">
                  <a16:creationId xmlns:a16="http://schemas.microsoft.com/office/drawing/2014/main" id="{D859794D-6835-2E5D-0A71-C4015F66C477}"/>
                </a:ext>
              </a:extLst>
            </p:cNvPr>
            <p:cNvSpPr/>
            <p:nvPr/>
          </p:nvSpPr>
          <p:spPr>
            <a:xfrm>
              <a:off x="7778225" y="489882"/>
              <a:ext cx="494894" cy="495482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Полилиния: фигура 65">
              <a:extLst>
                <a:ext uri="{FF2B5EF4-FFF2-40B4-BE49-F238E27FC236}">
                  <a16:creationId xmlns:a16="http://schemas.microsoft.com/office/drawing/2014/main" id="{8D146B39-1CF3-38A2-02D7-8EEE1021B295}"/>
                </a:ext>
              </a:extLst>
            </p:cNvPr>
            <p:cNvSpPr/>
            <p:nvPr/>
          </p:nvSpPr>
          <p:spPr>
            <a:xfrm rot="16200000">
              <a:off x="10229303" y="2406"/>
              <a:ext cx="986202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66">
              <a:extLst>
                <a:ext uri="{FF2B5EF4-FFF2-40B4-BE49-F238E27FC236}">
                  <a16:creationId xmlns:a16="http://schemas.microsoft.com/office/drawing/2014/main" id="{808F38F4-0E60-680B-48D4-095F2B513E1F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Полилиния: фигура 67">
              <a:extLst>
                <a:ext uri="{FF2B5EF4-FFF2-40B4-BE49-F238E27FC236}">
                  <a16:creationId xmlns:a16="http://schemas.microsoft.com/office/drawing/2014/main" id="{C89429AF-71A5-1284-B6E1-D71AABE0B71D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Полилиния: фигура 68">
              <a:extLst>
                <a:ext uri="{FF2B5EF4-FFF2-40B4-BE49-F238E27FC236}">
                  <a16:creationId xmlns:a16="http://schemas.microsoft.com/office/drawing/2014/main" id="{C405CC03-1321-0681-8E46-9ED5F4699D77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Полилиния: фигура 69">
              <a:extLst>
                <a:ext uri="{FF2B5EF4-FFF2-40B4-BE49-F238E27FC236}">
                  <a16:creationId xmlns:a16="http://schemas.microsoft.com/office/drawing/2014/main" id="{47E90767-1CD4-229E-F8B8-B9F62694FD46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Полилиния: фигура 71">
              <a:extLst>
                <a:ext uri="{FF2B5EF4-FFF2-40B4-BE49-F238E27FC236}">
                  <a16:creationId xmlns:a16="http://schemas.microsoft.com/office/drawing/2014/main" id="{7577D1C3-34C5-3C69-A9A7-CC93CEC67644}"/>
                </a:ext>
              </a:extLst>
            </p:cNvPr>
            <p:cNvSpPr/>
            <p:nvPr/>
          </p:nvSpPr>
          <p:spPr>
            <a:xfrm rot="16200000">
              <a:off x="8273043" y="4107"/>
              <a:ext cx="978852" cy="972411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9" name="Группа 133">
              <a:extLst>
                <a:ext uri="{FF2B5EF4-FFF2-40B4-BE49-F238E27FC236}">
                  <a16:creationId xmlns:a16="http://schemas.microsoft.com/office/drawing/2014/main" id="{038C248A-533D-7B45-7FF8-783145FF53E9}"/>
                </a:ext>
              </a:extLst>
            </p:cNvPr>
            <p:cNvGrpSpPr/>
            <p:nvPr/>
          </p:nvGrpSpPr>
          <p:grpSpPr>
            <a:xfrm>
              <a:off x="8460243" y="187150"/>
              <a:ext cx="605463" cy="605463"/>
              <a:chOff x="8460243" y="187150"/>
              <a:chExt cx="605463" cy="605463"/>
            </a:xfrm>
          </p:grpSpPr>
          <p:sp>
            <p:nvSpPr>
              <p:cNvPr id="240" name="Полилиния: фигура 72">
                <a:extLst>
                  <a:ext uri="{FF2B5EF4-FFF2-40B4-BE49-F238E27FC236}">
                    <a16:creationId xmlns:a16="http://schemas.microsoft.com/office/drawing/2014/main" id="{94AE1B0D-F2A2-80E9-FDB9-FB89DE377F2C}"/>
                  </a:ext>
                </a:extLst>
              </p:cNvPr>
              <p:cNvSpPr/>
              <p:nvPr userDrawn="1"/>
            </p:nvSpPr>
            <p:spPr>
              <a:xfrm>
                <a:off x="8592015" y="318922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1" y="341920"/>
                      <a:pt x="0" y="265379"/>
                      <a:pt x="0" y="170960"/>
                    </a:cubicBezTo>
                    <a:cubicBezTo>
                      <a:pt x="0" y="76541"/>
                      <a:pt x="76541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Полилиния: фигура 73">
                <a:extLst>
                  <a:ext uri="{FF2B5EF4-FFF2-40B4-BE49-F238E27FC236}">
                    <a16:creationId xmlns:a16="http://schemas.microsoft.com/office/drawing/2014/main" id="{C3CE0353-B3A6-B07F-A4F3-82D85DE782BE}"/>
                  </a:ext>
                </a:extLst>
              </p:cNvPr>
              <p:cNvSpPr/>
              <p:nvPr userDrawn="1"/>
            </p:nvSpPr>
            <p:spPr>
              <a:xfrm>
                <a:off x="8460243" y="187150"/>
                <a:ext cx="605463" cy="605463"/>
              </a:xfrm>
              <a:custGeom>
                <a:avLst/>
                <a:gdLst>
                  <a:gd name="connsiteX0" fmla="*/ 302422 w 605463"/>
                  <a:gd name="connsiteY0" fmla="*/ -240 h 605463"/>
                  <a:gd name="connsiteX1" fmla="*/ 273031 w 605463"/>
                  <a:gd name="connsiteY1" fmla="*/ 29151 h 605463"/>
                  <a:gd name="connsiteX2" fmla="*/ 273031 w 605463"/>
                  <a:gd name="connsiteY2" fmla="*/ 72847 h 605463"/>
                  <a:gd name="connsiteX3" fmla="*/ 302422 w 605463"/>
                  <a:gd name="connsiteY3" fmla="*/ 102238 h 605463"/>
                  <a:gd name="connsiteX4" fmla="*/ 331813 w 605463"/>
                  <a:gd name="connsiteY4" fmla="*/ 72847 h 605463"/>
                  <a:gd name="connsiteX5" fmla="*/ 331813 w 605463"/>
                  <a:gd name="connsiteY5" fmla="*/ 29151 h 605463"/>
                  <a:gd name="connsiteX6" fmla="*/ 302422 w 605463"/>
                  <a:gd name="connsiteY6" fmla="*/ -240 h 605463"/>
                  <a:gd name="connsiteX7" fmla="*/ 302422 w 605463"/>
                  <a:gd name="connsiteY7" fmla="*/ 502745 h 605463"/>
                  <a:gd name="connsiteX8" fmla="*/ 273031 w 605463"/>
                  <a:gd name="connsiteY8" fmla="*/ 532137 h 605463"/>
                  <a:gd name="connsiteX9" fmla="*/ 273031 w 605463"/>
                  <a:gd name="connsiteY9" fmla="*/ 575832 h 605463"/>
                  <a:gd name="connsiteX10" fmla="*/ 302422 w 605463"/>
                  <a:gd name="connsiteY10" fmla="*/ 605223 h 605463"/>
                  <a:gd name="connsiteX11" fmla="*/ 331813 w 605463"/>
                  <a:gd name="connsiteY11" fmla="*/ 575832 h 605463"/>
                  <a:gd name="connsiteX12" fmla="*/ 331813 w 605463"/>
                  <a:gd name="connsiteY12" fmla="*/ 532137 h 605463"/>
                  <a:gd name="connsiteX13" fmla="*/ 302422 w 605463"/>
                  <a:gd name="connsiteY13" fmla="*/ 502745 h 605463"/>
                  <a:gd name="connsiteX14" fmla="*/ 102169 w 605463"/>
                  <a:gd name="connsiteY14" fmla="*/ 302492 h 605463"/>
                  <a:gd name="connsiteX15" fmla="*/ 72778 w 605463"/>
                  <a:gd name="connsiteY15" fmla="*/ 273100 h 605463"/>
                  <a:gd name="connsiteX16" fmla="*/ 29081 w 605463"/>
                  <a:gd name="connsiteY16" fmla="*/ 273100 h 605463"/>
                  <a:gd name="connsiteX17" fmla="*/ -310 w 605463"/>
                  <a:gd name="connsiteY17" fmla="*/ 302492 h 605463"/>
                  <a:gd name="connsiteX18" fmla="*/ 29081 w 605463"/>
                  <a:gd name="connsiteY18" fmla="*/ 331883 h 605463"/>
                  <a:gd name="connsiteX19" fmla="*/ 72778 w 605463"/>
                  <a:gd name="connsiteY19" fmla="*/ 331883 h 605463"/>
                  <a:gd name="connsiteX20" fmla="*/ 102169 w 605463"/>
                  <a:gd name="connsiteY20" fmla="*/ 302492 h 605463"/>
                  <a:gd name="connsiteX21" fmla="*/ 575763 w 605463"/>
                  <a:gd name="connsiteY21" fmla="*/ 273100 h 605463"/>
                  <a:gd name="connsiteX22" fmla="*/ 532066 w 605463"/>
                  <a:gd name="connsiteY22" fmla="*/ 273100 h 605463"/>
                  <a:gd name="connsiteX23" fmla="*/ 502675 w 605463"/>
                  <a:gd name="connsiteY23" fmla="*/ 302492 h 605463"/>
                  <a:gd name="connsiteX24" fmla="*/ 532066 w 605463"/>
                  <a:gd name="connsiteY24" fmla="*/ 331883 h 605463"/>
                  <a:gd name="connsiteX25" fmla="*/ 575763 w 605463"/>
                  <a:gd name="connsiteY25" fmla="*/ 331883 h 605463"/>
                  <a:gd name="connsiteX26" fmla="*/ 605154 w 605463"/>
                  <a:gd name="connsiteY26" fmla="*/ 302492 h 605463"/>
                  <a:gd name="connsiteX27" fmla="*/ 575763 w 605463"/>
                  <a:gd name="connsiteY27" fmla="*/ 273100 h 605463"/>
                  <a:gd name="connsiteX28" fmla="*/ 129894 w 605463"/>
                  <a:gd name="connsiteY28" fmla="*/ 88424 h 605463"/>
                  <a:gd name="connsiteX29" fmla="*/ 88355 w 605463"/>
                  <a:gd name="connsiteY29" fmla="*/ 86955 h 605463"/>
                  <a:gd name="connsiteX30" fmla="*/ 86885 w 605463"/>
                  <a:gd name="connsiteY30" fmla="*/ 128494 h 605463"/>
                  <a:gd name="connsiteX31" fmla="*/ 88355 w 605463"/>
                  <a:gd name="connsiteY31" fmla="*/ 129964 h 605463"/>
                  <a:gd name="connsiteX32" fmla="*/ 119216 w 605463"/>
                  <a:gd name="connsiteY32" fmla="*/ 160923 h 605463"/>
                  <a:gd name="connsiteX33" fmla="*/ 160854 w 605463"/>
                  <a:gd name="connsiteY33" fmla="*/ 160923 h 605463"/>
                  <a:gd name="connsiteX34" fmla="*/ 160854 w 605463"/>
                  <a:gd name="connsiteY34" fmla="*/ 119285 h 605463"/>
                  <a:gd name="connsiteX35" fmla="*/ 485628 w 605463"/>
                  <a:gd name="connsiteY35" fmla="*/ 444061 h 605463"/>
                  <a:gd name="connsiteX36" fmla="*/ 443990 w 605463"/>
                  <a:gd name="connsiteY36" fmla="*/ 444061 h 605463"/>
                  <a:gd name="connsiteX37" fmla="*/ 443990 w 605463"/>
                  <a:gd name="connsiteY37" fmla="*/ 485698 h 605463"/>
                  <a:gd name="connsiteX38" fmla="*/ 474950 w 605463"/>
                  <a:gd name="connsiteY38" fmla="*/ 516559 h 605463"/>
                  <a:gd name="connsiteX39" fmla="*/ 516489 w 605463"/>
                  <a:gd name="connsiteY39" fmla="*/ 516559 h 605463"/>
                  <a:gd name="connsiteX40" fmla="*/ 516489 w 605463"/>
                  <a:gd name="connsiteY40" fmla="*/ 475019 h 605463"/>
                  <a:gd name="connsiteX41" fmla="*/ 119216 w 605463"/>
                  <a:gd name="connsiteY41" fmla="*/ 444061 h 605463"/>
                  <a:gd name="connsiteX42" fmla="*/ 88355 w 605463"/>
                  <a:gd name="connsiteY42" fmla="*/ 475019 h 605463"/>
                  <a:gd name="connsiteX43" fmla="*/ 88355 w 605463"/>
                  <a:gd name="connsiteY43" fmla="*/ 516589 h 605463"/>
                  <a:gd name="connsiteX44" fmla="*/ 109125 w 605463"/>
                  <a:gd name="connsiteY44" fmla="*/ 525181 h 605463"/>
                  <a:gd name="connsiteX45" fmla="*/ 129894 w 605463"/>
                  <a:gd name="connsiteY45" fmla="*/ 516559 h 605463"/>
                  <a:gd name="connsiteX46" fmla="*/ 160854 w 605463"/>
                  <a:gd name="connsiteY46" fmla="*/ 485698 h 605463"/>
                  <a:gd name="connsiteX47" fmla="*/ 160854 w 605463"/>
                  <a:gd name="connsiteY47" fmla="*/ 444061 h 605463"/>
                  <a:gd name="connsiteX48" fmla="*/ 119216 w 605463"/>
                  <a:gd name="connsiteY48" fmla="*/ 444061 h 605463"/>
                  <a:gd name="connsiteX49" fmla="*/ 464858 w 605463"/>
                  <a:gd name="connsiteY49" fmla="*/ 169740 h 605463"/>
                  <a:gd name="connsiteX50" fmla="*/ 485628 w 605463"/>
                  <a:gd name="connsiteY50" fmla="*/ 161217 h 605463"/>
                  <a:gd name="connsiteX51" fmla="*/ 516489 w 605463"/>
                  <a:gd name="connsiteY51" fmla="*/ 130258 h 605463"/>
                  <a:gd name="connsiteX52" fmla="*/ 517959 w 605463"/>
                  <a:gd name="connsiteY52" fmla="*/ 88718 h 605463"/>
                  <a:gd name="connsiteX53" fmla="*/ 476419 w 605463"/>
                  <a:gd name="connsiteY53" fmla="*/ 87248 h 605463"/>
                  <a:gd name="connsiteX54" fmla="*/ 474950 w 605463"/>
                  <a:gd name="connsiteY54" fmla="*/ 88718 h 605463"/>
                  <a:gd name="connsiteX55" fmla="*/ 443990 w 605463"/>
                  <a:gd name="connsiteY55" fmla="*/ 119579 h 605463"/>
                  <a:gd name="connsiteX56" fmla="*/ 443990 w 605463"/>
                  <a:gd name="connsiteY56" fmla="*/ 161148 h 605463"/>
                  <a:gd name="connsiteX57" fmla="*/ 464858 w 605463"/>
                  <a:gd name="connsiteY57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605463" h="605463">
                    <a:moveTo>
                      <a:pt x="302422" y="-240"/>
                    </a:moveTo>
                    <a:cubicBezTo>
                      <a:pt x="286158" y="-240"/>
                      <a:pt x="273031" y="12917"/>
                      <a:pt x="273031" y="29151"/>
                    </a:cubicBezTo>
                    <a:lnTo>
                      <a:pt x="273031" y="72847"/>
                    </a:lnTo>
                    <a:cubicBezTo>
                      <a:pt x="273031" y="89081"/>
                      <a:pt x="286158" y="102238"/>
                      <a:pt x="302422" y="102238"/>
                    </a:cubicBezTo>
                    <a:cubicBezTo>
                      <a:pt x="318686" y="102238"/>
                      <a:pt x="331813" y="89081"/>
                      <a:pt x="331813" y="72847"/>
                    </a:cubicBezTo>
                    <a:lnTo>
                      <a:pt x="331813" y="29151"/>
                    </a:lnTo>
                    <a:cubicBezTo>
                      <a:pt x="331813" y="12917"/>
                      <a:pt x="318686" y="-240"/>
                      <a:pt x="302422" y="-240"/>
                    </a:cubicBezTo>
                    <a:close/>
                    <a:moveTo>
                      <a:pt x="302422" y="502745"/>
                    </a:moveTo>
                    <a:cubicBezTo>
                      <a:pt x="286158" y="502745"/>
                      <a:pt x="273031" y="515903"/>
                      <a:pt x="273031" y="532137"/>
                    </a:cubicBezTo>
                    <a:lnTo>
                      <a:pt x="273031" y="575832"/>
                    </a:lnTo>
                    <a:cubicBezTo>
                      <a:pt x="273031" y="592066"/>
                      <a:pt x="286158" y="605223"/>
                      <a:pt x="302422" y="605223"/>
                    </a:cubicBezTo>
                    <a:cubicBezTo>
                      <a:pt x="318686" y="605223"/>
                      <a:pt x="331813" y="592066"/>
                      <a:pt x="331813" y="575832"/>
                    </a:cubicBezTo>
                    <a:lnTo>
                      <a:pt x="331813" y="532137"/>
                    </a:lnTo>
                    <a:cubicBezTo>
                      <a:pt x="331813" y="515903"/>
                      <a:pt x="318686" y="502745"/>
                      <a:pt x="302422" y="502745"/>
                    </a:cubicBezTo>
                    <a:close/>
                    <a:moveTo>
                      <a:pt x="102169" y="302492"/>
                    </a:moveTo>
                    <a:cubicBezTo>
                      <a:pt x="102169" y="286258"/>
                      <a:pt x="89040" y="273100"/>
                      <a:pt x="72778" y="273100"/>
                    </a:cubicBezTo>
                    <a:lnTo>
                      <a:pt x="29081" y="273100"/>
                    </a:lnTo>
                    <a:cubicBezTo>
                      <a:pt x="12818" y="273100"/>
                      <a:pt x="-310" y="286258"/>
                      <a:pt x="-310" y="302492"/>
                    </a:cubicBezTo>
                    <a:cubicBezTo>
                      <a:pt x="-310" y="318726"/>
                      <a:pt x="12818" y="331883"/>
                      <a:pt x="29081" y="331883"/>
                    </a:cubicBezTo>
                    <a:lnTo>
                      <a:pt x="72778" y="331883"/>
                    </a:lnTo>
                    <a:cubicBezTo>
                      <a:pt x="89040" y="331883"/>
                      <a:pt x="102169" y="318726"/>
                      <a:pt x="102169" y="302492"/>
                    </a:cubicBezTo>
                    <a:close/>
                    <a:moveTo>
                      <a:pt x="575763" y="273100"/>
                    </a:moveTo>
                    <a:lnTo>
                      <a:pt x="532066" y="273100"/>
                    </a:lnTo>
                    <a:cubicBezTo>
                      <a:pt x="515804" y="273100"/>
                      <a:pt x="502675" y="286258"/>
                      <a:pt x="502675" y="302492"/>
                    </a:cubicBezTo>
                    <a:cubicBezTo>
                      <a:pt x="502675" y="318726"/>
                      <a:pt x="515804" y="331883"/>
                      <a:pt x="532066" y="331883"/>
                    </a:cubicBezTo>
                    <a:lnTo>
                      <a:pt x="575763" y="331883"/>
                    </a:lnTo>
                    <a:cubicBezTo>
                      <a:pt x="592026" y="331883"/>
                      <a:pt x="605154" y="318726"/>
                      <a:pt x="605154" y="302492"/>
                    </a:cubicBezTo>
                    <a:cubicBezTo>
                      <a:pt x="605154" y="286258"/>
                      <a:pt x="592026" y="273100"/>
                      <a:pt x="575763" y="273100"/>
                    </a:cubicBezTo>
                    <a:close/>
                    <a:moveTo>
                      <a:pt x="129894" y="88424"/>
                    </a:moveTo>
                    <a:cubicBezTo>
                      <a:pt x="118824" y="76550"/>
                      <a:pt x="100209" y="75894"/>
                      <a:pt x="88355" y="86955"/>
                    </a:cubicBezTo>
                    <a:cubicBezTo>
                      <a:pt x="76499" y="98025"/>
                      <a:pt x="75814" y="116620"/>
                      <a:pt x="86885" y="128494"/>
                    </a:cubicBezTo>
                    <a:cubicBezTo>
                      <a:pt x="87375" y="129004"/>
                      <a:pt x="87864" y="129494"/>
                      <a:pt x="88355" y="129964"/>
                    </a:cubicBezTo>
                    <a:lnTo>
                      <a:pt x="119216" y="160923"/>
                    </a:lnTo>
                    <a:cubicBezTo>
                      <a:pt x="130678" y="172425"/>
                      <a:pt x="149391" y="172425"/>
                      <a:pt x="160854" y="160923"/>
                    </a:cubicBezTo>
                    <a:cubicBezTo>
                      <a:pt x="172316" y="149421"/>
                      <a:pt x="172316" y="130787"/>
                      <a:pt x="160854" y="119285"/>
                    </a:cubicBezTo>
                    <a:close/>
                    <a:moveTo>
                      <a:pt x="485628" y="444061"/>
                    </a:moveTo>
                    <a:cubicBezTo>
                      <a:pt x="474166" y="432559"/>
                      <a:pt x="455453" y="432559"/>
                      <a:pt x="443990" y="444061"/>
                    </a:cubicBezTo>
                    <a:cubicBezTo>
                      <a:pt x="432528" y="455562"/>
                      <a:pt x="432528" y="474196"/>
                      <a:pt x="443990" y="485698"/>
                    </a:cubicBezTo>
                    <a:lnTo>
                      <a:pt x="474950" y="516559"/>
                    </a:lnTo>
                    <a:cubicBezTo>
                      <a:pt x="486413" y="528022"/>
                      <a:pt x="505027" y="528022"/>
                      <a:pt x="516489" y="516559"/>
                    </a:cubicBezTo>
                    <a:cubicBezTo>
                      <a:pt x="527952" y="505087"/>
                      <a:pt x="527952" y="486492"/>
                      <a:pt x="516489" y="475019"/>
                    </a:cubicBezTo>
                    <a:close/>
                    <a:moveTo>
                      <a:pt x="119216" y="444061"/>
                    </a:moveTo>
                    <a:lnTo>
                      <a:pt x="88355" y="475019"/>
                    </a:lnTo>
                    <a:cubicBezTo>
                      <a:pt x="76892" y="486502"/>
                      <a:pt x="76892" y="505116"/>
                      <a:pt x="88355" y="516589"/>
                    </a:cubicBezTo>
                    <a:cubicBezTo>
                      <a:pt x="93840" y="522085"/>
                      <a:pt x="101384" y="525171"/>
                      <a:pt x="109125" y="525181"/>
                    </a:cubicBezTo>
                    <a:cubicBezTo>
                      <a:pt x="116962" y="525171"/>
                      <a:pt x="124407" y="522075"/>
                      <a:pt x="129894" y="516559"/>
                    </a:cubicBezTo>
                    <a:lnTo>
                      <a:pt x="160854" y="485698"/>
                    </a:lnTo>
                    <a:cubicBezTo>
                      <a:pt x="172316" y="474196"/>
                      <a:pt x="172316" y="455562"/>
                      <a:pt x="160854" y="444061"/>
                    </a:cubicBezTo>
                    <a:cubicBezTo>
                      <a:pt x="149391" y="432559"/>
                      <a:pt x="130678" y="432559"/>
                      <a:pt x="119216" y="444061"/>
                    </a:cubicBezTo>
                    <a:close/>
                    <a:moveTo>
                      <a:pt x="464858" y="169740"/>
                    </a:moveTo>
                    <a:cubicBezTo>
                      <a:pt x="472598" y="169760"/>
                      <a:pt x="480142" y="166694"/>
                      <a:pt x="485628" y="161217"/>
                    </a:cubicBezTo>
                    <a:lnTo>
                      <a:pt x="516489" y="130258"/>
                    </a:lnTo>
                    <a:cubicBezTo>
                      <a:pt x="528345" y="119187"/>
                      <a:pt x="529030" y="100592"/>
                      <a:pt x="517959" y="88718"/>
                    </a:cubicBezTo>
                    <a:cubicBezTo>
                      <a:pt x="506888" y="76844"/>
                      <a:pt x="488273" y="76187"/>
                      <a:pt x="476419" y="87248"/>
                    </a:cubicBezTo>
                    <a:cubicBezTo>
                      <a:pt x="475929" y="87719"/>
                      <a:pt x="475440" y="88208"/>
                      <a:pt x="474950" y="88718"/>
                    </a:cubicBezTo>
                    <a:lnTo>
                      <a:pt x="443990" y="119579"/>
                    </a:lnTo>
                    <a:cubicBezTo>
                      <a:pt x="432528" y="131061"/>
                      <a:pt x="432528" y="149676"/>
                      <a:pt x="443990" y="161148"/>
                    </a:cubicBezTo>
                    <a:cubicBezTo>
                      <a:pt x="449575" y="166664"/>
                      <a:pt x="457021" y="169760"/>
                      <a:pt x="464858" y="1697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0" name="Полилиния: фигура 75">
              <a:extLst>
                <a:ext uri="{FF2B5EF4-FFF2-40B4-BE49-F238E27FC236}">
                  <a16:creationId xmlns:a16="http://schemas.microsoft.com/office/drawing/2014/main" id="{81F99469-47F3-5E7C-6CA4-6DCEB846CA29}"/>
                </a:ext>
              </a:extLst>
            </p:cNvPr>
            <p:cNvSpPr/>
            <p:nvPr/>
          </p:nvSpPr>
          <p:spPr>
            <a:xfrm>
              <a:off x="6926011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Полилиния: фигура 76">
              <a:extLst>
                <a:ext uri="{FF2B5EF4-FFF2-40B4-BE49-F238E27FC236}">
                  <a16:creationId xmlns:a16="http://schemas.microsoft.com/office/drawing/2014/main" id="{7AE61898-43E7-4DE4-6129-B22B7D9A3DC4}"/>
                </a:ext>
              </a:extLst>
            </p:cNvPr>
            <p:cNvSpPr/>
            <p:nvPr/>
          </p:nvSpPr>
          <p:spPr>
            <a:xfrm>
              <a:off x="6436154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Полилиния: фигура 77">
              <a:extLst>
                <a:ext uri="{FF2B5EF4-FFF2-40B4-BE49-F238E27FC236}">
                  <a16:creationId xmlns:a16="http://schemas.microsoft.com/office/drawing/2014/main" id="{547CF65D-CEAE-C352-5A85-FFF9189150B5}"/>
                </a:ext>
              </a:extLst>
            </p:cNvPr>
            <p:cNvSpPr/>
            <p:nvPr/>
          </p:nvSpPr>
          <p:spPr>
            <a:xfrm>
              <a:off x="6926011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Полилиния: фигура 78">
              <a:extLst>
                <a:ext uri="{FF2B5EF4-FFF2-40B4-BE49-F238E27FC236}">
                  <a16:creationId xmlns:a16="http://schemas.microsoft.com/office/drawing/2014/main" id="{23CAF896-8BE7-B71B-77DA-6D0B1FB876E5}"/>
                </a:ext>
              </a:extLst>
            </p:cNvPr>
            <p:cNvSpPr/>
            <p:nvPr/>
          </p:nvSpPr>
          <p:spPr>
            <a:xfrm>
              <a:off x="6681083" y="367417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Полилиния: фигура 79">
              <a:extLst>
                <a:ext uri="{FF2B5EF4-FFF2-40B4-BE49-F238E27FC236}">
                  <a16:creationId xmlns:a16="http://schemas.microsoft.com/office/drawing/2014/main" id="{2B37F7E8-E89D-8459-5373-131DADF7A792}"/>
                </a:ext>
              </a:extLst>
            </p:cNvPr>
            <p:cNvSpPr/>
            <p:nvPr/>
          </p:nvSpPr>
          <p:spPr>
            <a:xfrm>
              <a:off x="6436154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Полилиния: фигура 81">
              <a:extLst>
                <a:ext uri="{FF2B5EF4-FFF2-40B4-BE49-F238E27FC236}">
                  <a16:creationId xmlns:a16="http://schemas.microsoft.com/office/drawing/2014/main" id="{C1A6FAE4-111D-E1CF-5EA3-53F0E6708016}"/>
                </a:ext>
              </a:extLst>
            </p:cNvPr>
            <p:cNvSpPr/>
            <p:nvPr/>
          </p:nvSpPr>
          <p:spPr>
            <a:xfrm rot="5400000">
              <a:off x="11210613" y="-2508"/>
              <a:ext cx="978877" cy="98389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Полилиния: фигура 82">
              <a:extLst>
                <a:ext uri="{FF2B5EF4-FFF2-40B4-BE49-F238E27FC236}">
                  <a16:creationId xmlns:a16="http://schemas.microsoft.com/office/drawing/2014/main" id="{09EB9843-1497-0BF8-D6D3-8895C82F1CFF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Полилиния: фигура 83">
              <a:extLst>
                <a:ext uri="{FF2B5EF4-FFF2-40B4-BE49-F238E27FC236}">
                  <a16:creationId xmlns:a16="http://schemas.microsoft.com/office/drawing/2014/main" id="{A7960E16-D3C6-7C19-B284-9D6891D41091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Полилиния: фигура 84">
              <a:extLst>
                <a:ext uri="{FF2B5EF4-FFF2-40B4-BE49-F238E27FC236}">
                  <a16:creationId xmlns:a16="http://schemas.microsoft.com/office/drawing/2014/main" id="{7E7243CA-C318-CFBD-752B-3ECB9C85005E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Полилиния: фигура 85">
              <a:extLst>
                <a:ext uri="{FF2B5EF4-FFF2-40B4-BE49-F238E27FC236}">
                  <a16:creationId xmlns:a16="http://schemas.microsoft.com/office/drawing/2014/main" id="{C0D6D19C-8414-5B25-9FF2-68CCA3C32376}"/>
                </a:ext>
              </a:extLst>
            </p:cNvPr>
            <p:cNvSpPr/>
            <p:nvPr/>
          </p:nvSpPr>
          <p:spPr>
            <a:xfrm>
              <a:off x="10477475" y="122466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Полилиния: фигура 87">
              <a:extLst>
                <a:ext uri="{FF2B5EF4-FFF2-40B4-BE49-F238E27FC236}">
                  <a16:creationId xmlns:a16="http://schemas.microsoft.com/office/drawing/2014/main" id="{9318107F-7C68-343C-164E-A2DABF4D6B11}"/>
                </a:ext>
              </a:extLst>
            </p:cNvPr>
            <p:cNvSpPr/>
            <p:nvPr/>
          </p:nvSpPr>
          <p:spPr>
            <a:xfrm rot="5400000">
              <a:off x="1121212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Полилиния: фигура 91">
              <a:extLst>
                <a:ext uri="{FF2B5EF4-FFF2-40B4-BE49-F238E27FC236}">
                  <a16:creationId xmlns:a16="http://schemas.microsoft.com/office/drawing/2014/main" id="{8F76CF08-4CE0-BDAB-FAC1-DEA5A1118CE7}"/>
                </a:ext>
              </a:extLst>
            </p:cNvPr>
            <p:cNvSpPr/>
            <p:nvPr/>
          </p:nvSpPr>
          <p:spPr>
            <a:xfrm>
              <a:off x="1144945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2" name="Группа 136">
              <a:extLst>
                <a:ext uri="{FF2B5EF4-FFF2-40B4-BE49-F238E27FC236}">
                  <a16:creationId xmlns:a16="http://schemas.microsoft.com/office/drawing/2014/main" id="{4748D860-3CD8-49C3-3166-E2B8CE443A34}"/>
                </a:ext>
              </a:extLst>
            </p:cNvPr>
            <p:cNvGrpSpPr/>
            <p:nvPr/>
          </p:nvGrpSpPr>
          <p:grpSpPr>
            <a:xfrm>
              <a:off x="11393801" y="1597449"/>
              <a:ext cx="523658" cy="198686"/>
              <a:chOff x="11393801" y="1597449"/>
              <a:chExt cx="523658" cy="198686"/>
            </a:xfrm>
          </p:grpSpPr>
          <p:sp>
            <p:nvSpPr>
              <p:cNvPr id="238" name="Полилиния: фигура 90">
                <a:extLst>
                  <a:ext uri="{FF2B5EF4-FFF2-40B4-BE49-F238E27FC236}">
                    <a16:creationId xmlns:a16="http://schemas.microsoft.com/office/drawing/2014/main" id="{33AE071A-B5EC-184F-2257-0BE906262B02}"/>
                  </a:ext>
                </a:extLst>
              </p:cNvPr>
              <p:cNvSpPr/>
              <p:nvPr userDrawn="1"/>
            </p:nvSpPr>
            <p:spPr>
              <a:xfrm>
                <a:off x="11393801" y="1597449"/>
                <a:ext cx="300576" cy="198686"/>
              </a:xfrm>
              <a:custGeom>
                <a:avLst/>
                <a:gdLst>
                  <a:gd name="connsiteX0" fmla="*/ -310 w 300576"/>
                  <a:gd name="connsiteY0" fmla="*/ -240 h 198686"/>
                  <a:gd name="connsiteX1" fmla="*/ 300267 w 300576"/>
                  <a:gd name="connsiteY1" fmla="*/ 198446 h 198686"/>
                  <a:gd name="connsiteX2" fmla="*/ -310 w 300576"/>
                  <a:gd name="connsiteY2" fmla="*/ -240 h 19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576" h="198686">
                    <a:moveTo>
                      <a:pt x="-310" y="-240"/>
                    </a:moveTo>
                    <a:cubicBezTo>
                      <a:pt x="51028" y="120255"/>
                      <a:pt x="169279" y="198466"/>
                      <a:pt x="300267" y="198446"/>
                    </a:cubicBezTo>
                    <a:cubicBezTo>
                      <a:pt x="248930" y="77951"/>
                      <a:pt x="130678" y="-259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Полилиния: фигура 92">
                <a:extLst>
                  <a:ext uri="{FF2B5EF4-FFF2-40B4-BE49-F238E27FC236}">
                    <a16:creationId xmlns:a16="http://schemas.microsoft.com/office/drawing/2014/main" id="{7F605E93-15E8-0197-4A45-5CB6613358C5}"/>
                  </a:ext>
                </a:extLst>
              </p:cNvPr>
              <p:cNvSpPr/>
              <p:nvPr userDrawn="1"/>
            </p:nvSpPr>
            <p:spPr>
              <a:xfrm>
                <a:off x="11694378" y="1652509"/>
                <a:ext cx="223081" cy="143625"/>
              </a:xfrm>
              <a:custGeom>
                <a:avLst/>
                <a:gdLst>
                  <a:gd name="connsiteX0" fmla="*/ -310 w 223081"/>
                  <a:gd name="connsiteY0" fmla="*/ 143386 h 143625"/>
                  <a:gd name="connsiteX1" fmla="*/ 222771 w 223081"/>
                  <a:gd name="connsiteY1" fmla="*/ -240 h 143625"/>
                  <a:gd name="connsiteX2" fmla="*/ -310 w 223081"/>
                  <a:gd name="connsiteY2" fmla="*/ 143386 h 14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081" h="143625">
                    <a:moveTo>
                      <a:pt x="-310" y="143386"/>
                    </a:moveTo>
                    <a:cubicBezTo>
                      <a:pt x="95801" y="143415"/>
                      <a:pt x="182994" y="87248"/>
                      <a:pt x="222771" y="-240"/>
                    </a:cubicBezTo>
                    <a:cubicBezTo>
                      <a:pt x="126661" y="-270"/>
                      <a:pt x="39467" y="55897"/>
                      <a:pt x="-310" y="143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" name="Полилиния: фигура 89">
              <a:extLst>
                <a:ext uri="{FF2B5EF4-FFF2-40B4-BE49-F238E27FC236}">
                  <a16:creationId xmlns:a16="http://schemas.microsoft.com/office/drawing/2014/main" id="{54DC7FAB-EE34-8839-AD62-9DFA1B0EDFB3}"/>
                </a:ext>
              </a:extLst>
            </p:cNvPr>
            <p:cNvSpPr/>
            <p:nvPr/>
          </p:nvSpPr>
          <p:spPr>
            <a:xfrm>
              <a:off x="1157191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Полилиния: фигура 94">
              <a:extLst>
                <a:ext uri="{FF2B5EF4-FFF2-40B4-BE49-F238E27FC236}">
                  <a16:creationId xmlns:a16="http://schemas.microsoft.com/office/drawing/2014/main" id="{07126D8E-FA74-0C18-3599-8D18AC06DC1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Полилиния: фигура 95">
              <a:extLst>
                <a:ext uri="{FF2B5EF4-FFF2-40B4-BE49-F238E27FC236}">
                  <a16:creationId xmlns:a16="http://schemas.microsoft.com/office/drawing/2014/main" id="{9A1A78D4-29DC-474D-98E7-A92F4B0A90CD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Полилиния: фигура 96">
              <a:extLst>
                <a:ext uri="{FF2B5EF4-FFF2-40B4-BE49-F238E27FC236}">
                  <a16:creationId xmlns:a16="http://schemas.microsoft.com/office/drawing/2014/main" id="{D6A7AA67-C7B4-4520-EBCD-AF8BE1AD1198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Полилиния: фигура 97">
              <a:extLst>
                <a:ext uri="{FF2B5EF4-FFF2-40B4-BE49-F238E27FC236}">
                  <a16:creationId xmlns:a16="http://schemas.microsoft.com/office/drawing/2014/main" id="{D20415EB-ED5E-5235-0EAE-2EAF652432C0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Полилиния: фигура 99">
              <a:extLst>
                <a:ext uri="{FF2B5EF4-FFF2-40B4-BE49-F238E27FC236}">
                  <a16:creationId xmlns:a16="http://schemas.microsoft.com/office/drawing/2014/main" id="{152FC6B9-D657-0563-6A0C-099048BB738D}"/>
                </a:ext>
              </a:extLst>
            </p:cNvPr>
            <p:cNvSpPr/>
            <p:nvPr/>
          </p:nvSpPr>
          <p:spPr>
            <a:xfrm>
              <a:off x="8886079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Полилиния: фигура 100">
              <a:extLst>
                <a:ext uri="{FF2B5EF4-FFF2-40B4-BE49-F238E27FC236}">
                  <a16:creationId xmlns:a16="http://schemas.microsoft.com/office/drawing/2014/main" id="{68FA2434-9773-3100-E7E8-ABFD1A4CE02B}"/>
                </a:ext>
              </a:extLst>
            </p:cNvPr>
            <p:cNvSpPr/>
            <p:nvPr/>
          </p:nvSpPr>
          <p:spPr>
            <a:xfrm>
              <a:off x="8396222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Полилиния: фигура 101">
              <a:extLst>
                <a:ext uri="{FF2B5EF4-FFF2-40B4-BE49-F238E27FC236}">
                  <a16:creationId xmlns:a16="http://schemas.microsoft.com/office/drawing/2014/main" id="{98DB10FD-4F0D-930E-0BEB-87ED4C7A2599}"/>
                </a:ext>
              </a:extLst>
            </p:cNvPr>
            <p:cNvSpPr/>
            <p:nvPr/>
          </p:nvSpPr>
          <p:spPr>
            <a:xfrm>
              <a:off x="8886079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Полилиния: фигура 102">
              <a:extLst>
                <a:ext uri="{FF2B5EF4-FFF2-40B4-BE49-F238E27FC236}">
                  <a16:creationId xmlns:a16="http://schemas.microsoft.com/office/drawing/2014/main" id="{804A6F9D-B6D0-ABAE-F6D4-C39115C3EE49}"/>
                </a:ext>
              </a:extLst>
            </p:cNvPr>
            <p:cNvSpPr/>
            <p:nvPr/>
          </p:nvSpPr>
          <p:spPr>
            <a:xfrm>
              <a:off x="8641150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Полилиния: фигура 103">
              <a:extLst>
                <a:ext uri="{FF2B5EF4-FFF2-40B4-BE49-F238E27FC236}">
                  <a16:creationId xmlns:a16="http://schemas.microsoft.com/office/drawing/2014/main" id="{DBE9AE2F-8403-94CC-6FA2-45F66F486747}"/>
                </a:ext>
              </a:extLst>
            </p:cNvPr>
            <p:cNvSpPr/>
            <p:nvPr/>
          </p:nvSpPr>
          <p:spPr>
            <a:xfrm>
              <a:off x="8396222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Полилиния: фигура 105">
              <a:extLst>
                <a:ext uri="{FF2B5EF4-FFF2-40B4-BE49-F238E27FC236}">
                  <a16:creationId xmlns:a16="http://schemas.microsoft.com/office/drawing/2014/main" id="{221F817F-7EC3-54E3-C932-F09C8401708B}"/>
                </a:ext>
              </a:extLst>
            </p:cNvPr>
            <p:cNvSpPr/>
            <p:nvPr userDrawn="1"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Полилиния: фигура 106">
              <a:extLst>
                <a:ext uri="{FF2B5EF4-FFF2-40B4-BE49-F238E27FC236}">
                  <a16:creationId xmlns:a16="http://schemas.microsoft.com/office/drawing/2014/main" id="{CF9A9883-D805-017B-FC4D-85501BEA2102}"/>
                </a:ext>
              </a:extLst>
            </p:cNvPr>
            <p:cNvSpPr/>
            <p:nvPr userDrawn="1"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Полилиния: фигура 107">
              <a:extLst>
                <a:ext uri="{FF2B5EF4-FFF2-40B4-BE49-F238E27FC236}">
                  <a16:creationId xmlns:a16="http://schemas.microsoft.com/office/drawing/2014/main" id="{DC063878-F546-B7EE-03D8-FB173F2E2DC5}"/>
                </a:ext>
              </a:extLst>
            </p:cNvPr>
            <p:cNvSpPr/>
            <p:nvPr userDrawn="1"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Полилиния: фигура 108">
              <a:extLst>
                <a:ext uri="{FF2B5EF4-FFF2-40B4-BE49-F238E27FC236}">
                  <a16:creationId xmlns:a16="http://schemas.microsoft.com/office/drawing/2014/main" id="{B1DD7367-C17C-4447-675A-13AE0E3EAFE8}"/>
                </a:ext>
              </a:extLst>
            </p:cNvPr>
            <p:cNvSpPr/>
            <p:nvPr userDrawn="1"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Полилиния: фигура 110">
              <a:extLst>
                <a:ext uri="{FF2B5EF4-FFF2-40B4-BE49-F238E27FC236}">
                  <a16:creationId xmlns:a16="http://schemas.microsoft.com/office/drawing/2014/main" id="{11C01802-A229-F95E-4D88-5A0B0E4362C3}"/>
                </a:ext>
              </a:extLst>
            </p:cNvPr>
            <p:cNvSpPr/>
            <p:nvPr/>
          </p:nvSpPr>
          <p:spPr>
            <a:xfrm rot="16200000">
              <a:off x="10229248" y="1955232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Полилиния: фигура 111">
              <a:extLst>
                <a:ext uri="{FF2B5EF4-FFF2-40B4-BE49-F238E27FC236}">
                  <a16:creationId xmlns:a16="http://schemas.microsoft.com/office/drawing/2014/main" id="{4CF64195-5C84-6E06-EA28-632701FF62FA}"/>
                </a:ext>
              </a:extLst>
            </p:cNvPr>
            <p:cNvSpPr/>
            <p:nvPr/>
          </p:nvSpPr>
          <p:spPr>
            <a:xfrm>
              <a:off x="10218043" y="2449310"/>
              <a:ext cx="499188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Полилиния: фигура 112">
              <a:extLst>
                <a:ext uri="{FF2B5EF4-FFF2-40B4-BE49-F238E27FC236}">
                  <a16:creationId xmlns:a16="http://schemas.microsoft.com/office/drawing/2014/main" id="{A232DDF6-FFE9-4A7C-95FA-78B6B0B68787}"/>
                </a:ext>
              </a:extLst>
            </p:cNvPr>
            <p:cNvSpPr/>
            <p:nvPr/>
          </p:nvSpPr>
          <p:spPr>
            <a:xfrm>
              <a:off x="10218043" y="1956342"/>
              <a:ext cx="499188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Полилиния: фигура 113">
              <a:extLst>
                <a:ext uri="{FF2B5EF4-FFF2-40B4-BE49-F238E27FC236}">
                  <a16:creationId xmlns:a16="http://schemas.microsoft.com/office/drawing/2014/main" id="{F87E652F-7893-9F92-6C7A-03C586308241}"/>
                </a:ext>
              </a:extLst>
            </p:cNvPr>
            <p:cNvSpPr/>
            <p:nvPr/>
          </p:nvSpPr>
          <p:spPr>
            <a:xfrm>
              <a:off x="10722404" y="195634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Полилиния: фигура 114">
              <a:extLst>
                <a:ext uri="{FF2B5EF4-FFF2-40B4-BE49-F238E27FC236}">
                  <a16:creationId xmlns:a16="http://schemas.microsoft.com/office/drawing/2014/main" id="{E52A84F5-A190-3CBA-533E-1D627B7406C3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Полилиния: фигура 116">
              <a:extLst>
                <a:ext uri="{FF2B5EF4-FFF2-40B4-BE49-F238E27FC236}">
                  <a16:creationId xmlns:a16="http://schemas.microsoft.com/office/drawing/2014/main" id="{8020401A-CB1E-7102-5C24-F4A4AA6155A6}"/>
                </a:ext>
              </a:extLst>
            </p:cNvPr>
            <p:cNvSpPr/>
            <p:nvPr/>
          </p:nvSpPr>
          <p:spPr>
            <a:xfrm rot="16200000">
              <a:off x="10229248" y="2927837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3" name="Группа 142">
              <a:extLst>
                <a:ext uri="{FF2B5EF4-FFF2-40B4-BE49-F238E27FC236}">
                  <a16:creationId xmlns:a16="http://schemas.microsoft.com/office/drawing/2014/main" id="{55BFAE82-8F16-9F3B-4729-653EB69CB0F7}"/>
                </a:ext>
              </a:extLst>
            </p:cNvPr>
            <p:cNvGrpSpPr/>
            <p:nvPr/>
          </p:nvGrpSpPr>
          <p:grpSpPr>
            <a:xfrm>
              <a:off x="10562417" y="3072801"/>
              <a:ext cx="240030" cy="160281"/>
              <a:chOff x="10562417" y="3072801"/>
              <a:chExt cx="240030" cy="160281"/>
            </a:xfrm>
          </p:grpSpPr>
          <p:sp>
            <p:nvSpPr>
              <p:cNvPr id="236" name="Полилиния: фигура 117">
                <a:extLst>
                  <a:ext uri="{FF2B5EF4-FFF2-40B4-BE49-F238E27FC236}">
                    <a16:creationId xmlns:a16="http://schemas.microsoft.com/office/drawing/2014/main" id="{A881E735-97A3-0633-9C8E-4D7471867FE6}"/>
                  </a:ext>
                </a:extLst>
              </p:cNvPr>
              <p:cNvSpPr/>
              <p:nvPr userDrawn="1"/>
            </p:nvSpPr>
            <p:spPr>
              <a:xfrm>
                <a:off x="10722404" y="3152843"/>
                <a:ext cx="80043" cy="80238"/>
              </a:xfrm>
              <a:custGeom>
                <a:avLst/>
                <a:gdLst>
                  <a:gd name="connsiteX0" fmla="*/ 79733 w 80043"/>
                  <a:gd name="connsiteY0" fmla="*/ -240 h 80238"/>
                  <a:gd name="connsiteX1" fmla="*/ -310 w 80043"/>
                  <a:gd name="connsiteY1" fmla="*/ 79607 h 80238"/>
                  <a:gd name="connsiteX2" fmla="*/ -310 w 80043"/>
                  <a:gd name="connsiteY2" fmla="*/ 79999 h 80238"/>
                  <a:gd name="connsiteX3" fmla="*/ 79733 w 80043"/>
                  <a:gd name="connsiteY3" fmla="*/ 152 h 80238"/>
                  <a:gd name="connsiteX4" fmla="*/ 79733 w 80043"/>
                  <a:gd name="connsiteY4" fmla="*/ -240 h 8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43" h="80238">
                    <a:moveTo>
                      <a:pt x="79733" y="-240"/>
                    </a:moveTo>
                    <a:cubicBezTo>
                      <a:pt x="35548" y="-299"/>
                      <a:pt x="-212" y="35451"/>
                      <a:pt x="-310" y="79607"/>
                    </a:cubicBezTo>
                    <a:cubicBezTo>
                      <a:pt x="-310" y="79734"/>
                      <a:pt x="-310" y="79871"/>
                      <a:pt x="-310" y="79999"/>
                    </a:cubicBezTo>
                    <a:cubicBezTo>
                      <a:pt x="43875" y="80057"/>
                      <a:pt x="79635" y="44308"/>
                      <a:pt x="79733" y="152"/>
                    </a:cubicBezTo>
                    <a:cubicBezTo>
                      <a:pt x="79733" y="24"/>
                      <a:pt x="79733" y="-113"/>
                      <a:pt x="79733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Полилиния: фигура 118">
                <a:extLst>
                  <a:ext uri="{FF2B5EF4-FFF2-40B4-BE49-F238E27FC236}">
                    <a16:creationId xmlns:a16="http://schemas.microsoft.com/office/drawing/2014/main" id="{DB7BD1C1-1207-FF95-3C79-C6385CC944E7}"/>
                  </a:ext>
                </a:extLst>
              </p:cNvPr>
              <p:cNvSpPr/>
              <p:nvPr userDrawn="1"/>
            </p:nvSpPr>
            <p:spPr>
              <a:xfrm>
                <a:off x="10562417" y="3072801"/>
                <a:ext cx="159987" cy="160281"/>
              </a:xfrm>
              <a:custGeom>
                <a:avLst/>
                <a:gdLst>
                  <a:gd name="connsiteX0" fmla="*/ -310 w 159987"/>
                  <a:gd name="connsiteY0" fmla="*/ -240 h 160281"/>
                  <a:gd name="connsiteX1" fmla="*/ 159383 w 159987"/>
                  <a:gd name="connsiteY1" fmla="*/ 160041 h 160281"/>
                  <a:gd name="connsiteX2" fmla="*/ 159677 w 159987"/>
                  <a:gd name="connsiteY2" fmla="*/ 160041 h 160281"/>
                  <a:gd name="connsiteX3" fmla="*/ -17 w 159987"/>
                  <a:gd name="connsiteY3" fmla="*/ -240 h 160281"/>
                  <a:gd name="connsiteX4" fmla="*/ -310 w 159987"/>
                  <a:gd name="connsiteY4" fmla="*/ -240 h 1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987" h="160281">
                    <a:moveTo>
                      <a:pt x="-310" y="-240"/>
                    </a:moveTo>
                    <a:cubicBezTo>
                      <a:pt x="-506" y="88120"/>
                      <a:pt x="71013" y="159874"/>
                      <a:pt x="159383" y="160041"/>
                    </a:cubicBezTo>
                    <a:cubicBezTo>
                      <a:pt x="159481" y="160041"/>
                      <a:pt x="159579" y="160041"/>
                      <a:pt x="159677" y="160041"/>
                    </a:cubicBezTo>
                    <a:cubicBezTo>
                      <a:pt x="159873" y="71681"/>
                      <a:pt x="88354" y="-74"/>
                      <a:pt x="-17" y="-240"/>
                    </a:cubicBezTo>
                    <a:cubicBezTo>
                      <a:pt x="-115" y="-240"/>
                      <a:pt x="-212" y="-240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4" name="Полилиния: фигура 119">
              <a:extLst>
                <a:ext uri="{FF2B5EF4-FFF2-40B4-BE49-F238E27FC236}">
                  <a16:creationId xmlns:a16="http://schemas.microsoft.com/office/drawing/2014/main" id="{9AB5CFF2-BC5D-D96E-96E9-9F3FEBE273D3}"/>
                </a:ext>
              </a:extLst>
            </p:cNvPr>
            <p:cNvSpPr/>
            <p:nvPr/>
          </p:nvSpPr>
          <p:spPr>
            <a:xfrm>
              <a:off x="10579947" y="3232812"/>
              <a:ext cx="284927" cy="503156"/>
            </a:xfrm>
            <a:custGeom>
              <a:avLst/>
              <a:gdLst>
                <a:gd name="connsiteX0" fmla="*/ 142147 w 284927"/>
                <a:gd name="connsiteY0" fmla="*/ 502917 h 503156"/>
                <a:gd name="connsiteX1" fmla="*/ 284206 w 284927"/>
                <a:gd name="connsiteY1" fmla="*/ 134152 h 503156"/>
                <a:gd name="connsiteX2" fmla="*/ 89 w 284927"/>
                <a:gd name="connsiteY2" fmla="*/ 134152 h 503156"/>
                <a:gd name="connsiteX3" fmla="*/ 142147 w 284927"/>
                <a:gd name="connsiteY3" fmla="*/ 502917 h 5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27" h="503156">
                  <a:moveTo>
                    <a:pt x="142147" y="502917"/>
                  </a:moveTo>
                  <a:cubicBezTo>
                    <a:pt x="238355" y="404857"/>
                    <a:pt x="289790" y="271410"/>
                    <a:pt x="284206" y="134152"/>
                  </a:cubicBezTo>
                  <a:cubicBezTo>
                    <a:pt x="277543" y="-45037"/>
                    <a:pt x="6848" y="-45037"/>
                    <a:pt x="89" y="134152"/>
                  </a:cubicBezTo>
                  <a:cubicBezTo>
                    <a:pt x="-5398" y="271400"/>
                    <a:pt x="45940" y="404837"/>
                    <a:pt x="142147" y="502917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Полилиния: фигура 121">
              <a:extLst>
                <a:ext uri="{FF2B5EF4-FFF2-40B4-BE49-F238E27FC236}">
                  <a16:creationId xmlns:a16="http://schemas.microsoft.com/office/drawing/2014/main" id="{5724ABB9-23F9-557B-640F-4EDA08185EA2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Полилиния: фигура 122">
              <a:extLst>
                <a:ext uri="{FF2B5EF4-FFF2-40B4-BE49-F238E27FC236}">
                  <a16:creationId xmlns:a16="http://schemas.microsoft.com/office/drawing/2014/main" id="{2E6D9482-2CA0-8F16-ADC6-1839E26E999F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Полилиния: фигура 123">
              <a:extLst>
                <a:ext uri="{FF2B5EF4-FFF2-40B4-BE49-F238E27FC236}">
                  <a16:creationId xmlns:a16="http://schemas.microsoft.com/office/drawing/2014/main" id="{32880002-40DF-0E72-E8B9-259EBD329D29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Полилиния: фигура 125">
              <a:extLst>
                <a:ext uri="{FF2B5EF4-FFF2-40B4-BE49-F238E27FC236}">
                  <a16:creationId xmlns:a16="http://schemas.microsoft.com/office/drawing/2014/main" id="{7C23478D-CA78-9564-4653-E6EE3B7F9873}"/>
                </a:ext>
              </a:extLst>
            </p:cNvPr>
            <p:cNvSpPr/>
            <p:nvPr/>
          </p:nvSpPr>
          <p:spPr>
            <a:xfrm>
              <a:off x="11701548" y="440093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Полилиния: фигура 126">
              <a:extLst>
                <a:ext uri="{FF2B5EF4-FFF2-40B4-BE49-F238E27FC236}">
                  <a16:creationId xmlns:a16="http://schemas.microsoft.com/office/drawing/2014/main" id="{880455E5-D941-01B7-2E0B-428B3E1168AF}"/>
                </a:ext>
              </a:extLst>
            </p:cNvPr>
            <p:cNvSpPr/>
            <p:nvPr/>
          </p:nvSpPr>
          <p:spPr>
            <a:xfrm>
              <a:off x="11211691" y="391107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Полилиния: фигура 127">
              <a:extLst>
                <a:ext uri="{FF2B5EF4-FFF2-40B4-BE49-F238E27FC236}">
                  <a16:creationId xmlns:a16="http://schemas.microsoft.com/office/drawing/2014/main" id="{97F171CD-74ED-E86B-FCA3-2D8AB57BCA8F}"/>
                </a:ext>
              </a:extLst>
            </p:cNvPr>
            <p:cNvSpPr/>
            <p:nvPr/>
          </p:nvSpPr>
          <p:spPr>
            <a:xfrm>
              <a:off x="11701548" y="391107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Полилиния: фигура 128">
              <a:extLst>
                <a:ext uri="{FF2B5EF4-FFF2-40B4-BE49-F238E27FC236}">
                  <a16:creationId xmlns:a16="http://schemas.microsoft.com/office/drawing/2014/main" id="{6B5C7B98-9AF3-A3C5-CC56-1F8415A3BBFA}"/>
                </a:ext>
              </a:extLst>
            </p:cNvPr>
            <p:cNvSpPr/>
            <p:nvPr/>
          </p:nvSpPr>
          <p:spPr>
            <a:xfrm>
              <a:off x="11211691" y="440093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Полилиния: фигура 130">
              <a:extLst>
                <a:ext uri="{FF2B5EF4-FFF2-40B4-BE49-F238E27FC236}">
                  <a16:creationId xmlns:a16="http://schemas.microsoft.com/office/drawing/2014/main" id="{E7E3018D-75B7-25D3-F819-65B4866C5B11}"/>
                </a:ext>
              </a:extLst>
            </p:cNvPr>
            <p:cNvSpPr/>
            <p:nvPr/>
          </p:nvSpPr>
          <p:spPr>
            <a:xfrm>
              <a:off x="7564294" y="1321178"/>
              <a:ext cx="437931" cy="274907"/>
            </a:xfrm>
            <a:custGeom>
              <a:avLst/>
              <a:gdLst>
                <a:gd name="connsiteX0" fmla="*/ 297270 w 437931"/>
                <a:gd name="connsiteY0" fmla="*/ 274668 h 274907"/>
                <a:gd name="connsiteX1" fmla="*/ 134245 w 437931"/>
                <a:gd name="connsiteY1" fmla="*/ 274668 h 274907"/>
                <a:gd name="connsiteX2" fmla="*/ -3207 w 437931"/>
                <a:gd name="connsiteY2" fmla="*/ 137214 h 274907"/>
                <a:gd name="connsiteX3" fmla="*/ 134245 w 437931"/>
                <a:gd name="connsiteY3" fmla="*/ -240 h 274907"/>
                <a:gd name="connsiteX4" fmla="*/ 297270 w 437931"/>
                <a:gd name="connsiteY4" fmla="*/ -240 h 274907"/>
                <a:gd name="connsiteX5" fmla="*/ 434725 w 437931"/>
                <a:gd name="connsiteY5" fmla="*/ 137214 h 274907"/>
                <a:gd name="connsiteX6" fmla="*/ 297270 w 437931"/>
                <a:gd name="connsiteY6" fmla="*/ 274668 h 27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931" h="274907">
                  <a:moveTo>
                    <a:pt x="297270" y="274668"/>
                  </a:moveTo>
                  <a:lnTo>
                    <a:pt x="134245" y="274668"/>
                  </a:lnTo>
                  <a:cubicBezTo>
                    <a:pt x="58317" y="274668"/>
                    <a:pt x="-3207" y="213132"/>
                    <a:pt x="-3207" y="137214"/>
                  </a:cubicBezTo>
                  <a:cubicBezTo>
                    <a:pt x="-3207" y="61296"/>
                    <a:pt x="58317" y="-240"/>
                    <a:pt x="134245" y="-240"/>
                  </a:cubicBezTo>
                  <a:lnTo>
                    <a:pt x="297270" y="-240"/>
                  </a:lnTo>
                  <a:cubicBezTo>
                    <a:pt x="373198" y="-240"/>
                    <a:pt x="434725" y="61296"/>
                    <a:pt x="434725" y="137214"/>
                  </a:cubicBezTo>
                  <a:cubicBezTo>
                    <a:pt x="434725" y="213132"/>
                    <a:pt x="373198" y="274668"/>
                    <a:pt x="297270" y="274668"/>
                  </a:cubicBezTo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3" name="Группа 139">
              <a:extLst>
                <a:ext uri="{FF2B5EF4-FFF2-40B4-BE49-F238E27FC236}">
                  <a16:creationId xmlns:a16="http://schemas.microsoft.com/office/drawing/2014/main" id="{C1B504CE-0FB3-5DDF-21DE-5E26A943F780}"/>
                </a:ext>
              </a:extLst>
            </p:cNvPr>
            <p:cNvGrpSpPr/>
            <p:nvPr/>
          </p:nvGrpSpPr>
          <p:grpSpPr>
            <a:xfrm>
              <a:off x="7431641" y="1321766"/>
              <a:ext cx="703239" cy="274320"/>
              <a:chOff x="7431641" y="1321766"/>
              <a:chExt cx="703239" cy="274320"/>
            </a:xfrm>
          </p:grpSpPr>
          <p:sp>
            <p:nvSpPr>
              <p:cNvPr id="234" name="Полилиния: фигура 131">
                <a:extLst>
                  <a:ext uri="{FF2B5EF4-FFF2-40B4-BE49-F238E27FC236}">
                    <a16:creationId xmlns:a16="http://schemas.microsoft.com/office/drawing/2014/main" id="{50082B8F-F977-7DDB-6F97-4532406ECC27}"/>
                  </a:ext>
                </a:extLst>
              </p:cNvPr>
              <p:cNvSpPr/>
              <p:nvPr userDrawn="1"/>
            </p:nvSpPr>
            <p:spPr>
              <a:xfrm>
                <a:off x="7997720" y="1321766"/>
                <a:ext cx="137160" cy="274320"/>
              </a:xfrm>
              <a:custGeom>
                <a:avLst/>
                <a:gdLst>
                  <a:gd name="connsiteX0" fmla="*/ 133953 w 137160"/>
                  <a:gd name="connsiteY0" fmla="*/ -240 h 274320"/>
                  <a:gd name="connsiteX1" fmla="*/ -3207 w 137160"/>
                  <a:gd name="connsiteY1" fmla="*/ 136920 h 274320"/>
                  <a:gd name="connsiteX2" fmla="*/ 133953 w 137160"/>
                  <a:gd name="connsiteY2" fmla="*/ 27408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133953" y="-240"/>
                    </a:moveTo>
                    <a:cubicBezTo>
                      <a:pt x="58219" y="-240"/>
                      <a:pt x="-3207" y="61169"/>
                      <a:pt x="-3207" y="136920"/>
                    </a:cubicBezTo>
                    <a:cubicBezTo>
                      <a:pt x="-3207" y="212671"/>
                      <a:pt x="58219" y="274080"/>
                      <a:pt x="133953" y="27408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Полилиния: фигура 132">
                <a:extLst>
                  <a:ext uri="{FF2B5EF4-FFF2-40B4-BE49-F238E27FC236}">
                    <a16:creationId xmlns:a16="http://schemas.microsoft.com/office/drawing/2014/main" id="{3A232097-AB6A-7375-0DA6-83BC51B54CD8}"/>
                  </a:ext>
                </a:extLst>
              </p:cNvPr>
              <p:cNvSpPr/>
              <p:nvPr userDrawn="1"/>
            </p:nvSpPr>
            <p:spPr>
              <a:xfrm>
                <a:off x="7431641" y="1321766"/>
                <a:ext cx="137160" cy="274320"/>
              </a:xfrm>
              <a:custGeom>
                <a:avLst/>
                <a:gdLst>
                  <a:gd name="connsiteX0" fmla="*/ -3207 w 137160"/>
                  <a:gd name="connsiteY0" fmla="*/ 274080 h 274320"/>
                  <a:gd name="connsiteX1" fmla="*/ 133953 w 137160"/>
                  <a:gd name="connsiteY1" fmla="*/ 136920 h 274320"/>
                  <a:gd name="connsiteX2" fmla="*/ -3207 w 137160"/>
                  <a:gd name="connsiteY2" fmla="*/ -24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-3207" y="274080"/>
                    </a:moveTo>
                    <a:cubicBezTo>
                      <a:pt x="72525" y="274080"/>
                      <a:pt x="133953" y="212671"/>
                      <a:pt x="133953" y="136920"/>
                    </a:cubicBezTo>
                    <a:cubicBezTo>
                      <a:pt x="133953" y="61169"/>
                      <a:pt x="72525" y="-240"/>
                      <a:pt x="-3207" y="-2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3002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68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чины и критерии блокировки товаров к заказам</a:t>
            </a: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6863BC82-91CA-428C-B8DB-4FD01771815B}"/>
              </a:ext>
            </a:extLst>
          </p:cNvPr>
          <p:cNvSpPr/>
          <p:nvPr/>
        </p:nvSpPr>
        <p:spPr>
          <a:xfrm>
            <a:off x="4074460" y="1577153"/>
            <a:ext cx="4029308" cy="4029306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79F39FD-3584-4CD2-9352-CDADF6689926}"/>
              </a:ext>
            </a:extLst>
          </p:cNvPr>
          <p:cNvSpPr/>
          <p:nvPr/>
        </p:nvSpPr>
        <p:spPr>
          <a:xfrm>
            <a:off x="1809553" y="4535619"/>
            <a:ext cx="3387119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Инородные включения</a:t>
            </a:r>
            <a:endParaRPr lang="ru-RU" sz="1400" b="1" dirty="0">
              <a:solidFill>
                <a:schemeClr val="tx2"/>
              </a:solidFill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D6706DE7-A32B-4EB7-8261-954713B1BA52}"/>
              </a:ext>
            </a:extLst>
          </p:cNvPr>
          <p:cNvSpPr/>
          <p:nvPr/>
        </p:nvSpPr>
        <p:spPr>
          <a:xfrm>
            <a:off x="4812094" y="2314786"/>
            <a:ext cx="2554040" cy="2554040"/>
          </a:xfrm>
          <a:prstGeom prst="ellipse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Основные причины блокировки СКЮ</a:t>
            </a:r>
            <a:endParaRPr lang="ru-RU" sz="1400" dirty="0">
              <a:solidFill>
                <a:schemeClr val="bg1"/>
              </a:solidFill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AD61EB6-3998-44EE-A399-6C202128D036}"/>
              </a:ext>
            </a:extLst>
          </p:cNvPr>
          <p:cNvSpPr/>
          <p:nvPr/>
        </p:nvSpPr>
        <p:spPr>
          <a:xfrm>
            <a:off x="4117524" y="5499367"/>
            <a:ext cx="3986244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Жалобы магазинов</a:t>
            </a:r>
            <a:endParaRPr lang="ru-RU" sz="1400" b="1" dirty="0">
              <a:solidFill>
                <a:schemeClr val="tx2"/>
              </a:solidFill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40BDD07-ACAA-41C1-9F4D-A0A1FB184241}"/>
              </a:ext>
            </a:extLst>
          </p:cNvPr>
          <p:cNvSpPr/>
          <p:nvPr/>
        </p:nvSpPr>
        <p:spPr>
          <a:xfrm>
            <a:off x="7614180" y="1101123"/>
            <a:ext cx="3078613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Aft>
                <a:spcPts val="0"/>
              </a:spcAft>
            </a:pPr>
            <a:r>
              <a:rPr lang="ru-RU" sz="1400" b="1" dirty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Неуд. результаты лабораторных исследований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F392D7E-1EED-452C-A6D9-06D6A71D513A}"/>
              </a:ext>
            </a:extLst>
          </p:cNvPr>
          <p:cNvSpPr/>
          <p:nvPr/>
        </p:nvSpPr>
        <p:spPr>
          <a:xfrm>
            <a:off x="7652672" y="4816781"/>
            <a:ext cx="292136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 defTabSz="685817"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Низкий потребительский индекс (ПИТ) товара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0" name="Полилиния: фигура 32">
            <a:extLst>
              <a:ext uri="{FF2B5EF4-FFF2-40B4-BE49-F238E27FC236}">
                <a16:creationId xmlns:a16="http://schemas.microsoft.com/office/drawing/2014/main" id="{42C82C1D-C91C-437D-8A2E-0255BCC9F560}"/>
              </a:ext>
            </a:extLst>
          </p:cNvPr>
          <p:cNvSpPr/>
          <p:nvPr/>
        </p:nvSpPr>
        <p:spPr>
          <a:xfrm>
            <a:off x="4045614" y="3063542"/>
            <a:ext cx="206453" cy="206451"/>
          </a:xfrm>
          <a:custGeom>
            <a:avLst/>
            <a:gdLst>
              <a:gd name="connsiteX0" fmla="*/ 341920 w 341920"/>
              <a:gd name="connsiteY0" fmla="*/ 170960 h 341920"/>
              <a:gd name="connsiteX1" fmla="*/ 170960 w 341920"/>
              <a:gd name="connsiteY1" fmla="*/ 341920 h 341920"/>
              <a:gd name="connsiteX2" fmla="*/ 0 w 341920"/>
              <a:gd name="connsiteY2" fmla="*/ 170960 h 341920"/>
              <a:gd name="connsiteX3" fmla="*/ 170960 w 341920"/>
              <a:gd name="connsiteY3" fmla="*/ 0 h 341920"/>
              <a:gd name="connsiteX4" fmla="*/ 341920 w 341920"/>
              <a:gd name="connsiteY4" fmla="*/ 170960 h 34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920" h="341920">
                <a:moveTo>
                  <a:pt x="341920" y="170960"/>
                </a:moveTo>
                <a:cubicBezTo>
                  <a:pt x="341920" y="265379"/>
                  <a:pt x="265379" y="341920"/>
                  <a:pt x="170960" y="341920"/>
                </a:cubicBezTo>
                <a:cubicBezTo>
                  <a:pt x="76542" y="341920"/>
                  <a:pt x="0" y="265379"/>
                  <a:pt x="0" y="170960"/>
                </a:cubicBezTo>
                <a:cubicBezTo>
                  <a:pt x="0" y="76541"/>
                  <a:pt x="76542" y="0"/>
                  <a:pt x="170960" y="0"/>
                </a:cubicBezTo>
                <a:cubicBezTo>
                  <a:pt x="265379" y="0"/>
                  <a:pt x="341920" y="76541"/>
                  <a:pt x="341920" y="170960"/>
                </a:cubicBezTo>
                <a:close/>
              </a:path>
            </a:pathLst>
          </a:custGeom>
          <a:solidFill>
            <a:schemeClr val="tx1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Полилиния: фигура 35">
            <a:extLst>
              <a:ext uri="{FF2B5EF4-FFF2-40B4-BE49-F238E27FC236}">
                <a16:creationId xmlns:a16="http://schemas.microsoft.com/office/drawing/2014/main" id="{20481A5B-D398-4F5C-B7C3-E60FFC4764FF}"/>
              </a:ext>
            </a:extLst>
          </p:cNvPr>
          <p:cNvSpPr/>
          <p:nvPr/>
        </p:nvSpPr>
        <p:spPr>
          <a:xfrm>
            <a:off x="7036364" y="1764783"/>
            <a:ext cx="206453" cy="206451"/>
          </a:xfrm>
          <a:custGeom>
            <a:avLst/>
            <a:gdLst>
              <a:gd name="connsiteX0" fmla="*/ 341920 w 341920"/>
              <a:gd name="connsiteY0" fmla="*/ 170960 h 341920"/>
              <a:gd name="connsiteX1" fmla="*/ 170960 w 341920"/>
              <a:gd name="connsiteY1" fmla="*/ 341920 h 341920"/>
              <a:gd name="connsiteX2" fmla="*/ 0 w 341920"/>
              <a:gd name="connsiteY2" fmla="*/ 170960 h 341920"/>
              <a:gd name="connsiteX3" fmla="*/ 170960 w 341920"/>
              <a:gd name="connsiteY3" fmla="*/ 0 h 341920"/>
              <a:gd name="connsiteX4" fmla="*/ 341920 w 341920"/>
              <a:gd name="connsiteY4" fmla="*/ 170960 h 34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920" h="341920">
                <a:moveTo>
                  <a:pt x="341920" y="170960"/>
                </a:moveTo>
                <a:cubicBezTo>
                  <a:pt x="341920" y="265379"/>
                  <a:pt x="265379" y="341920"/>
                  <a:pt x="170960" y="341920"/>
                </a:cubicBezTo>
                <a:cubicBezTo>
                  <a:pt x="76542" y="341920"/>
                  <a:pt x="0" y="265379"/>
                  <a:pt x="0" y="170960"/>
                </a:cubicBezTo>
                <a:cubicBezTo>
                  <a:pt x="0" y="76541"/>
                  <a:pt x="76542" y="0"/>
                  <a:pt x="170960" y="0"/>
                </a:cubicBezTo>
                <a:cubicBezTo>
                  <a:pt x="265379" y="0"/>
                  <a:pt x="341920" y="76541"/>
                  <a:pt x="341920" y="170960"/>
                </a:cubicBezTo>
                <a:close/>
              </a:path>
            </a:pathLst>
          </a:custGeom>
          <a:solidFill>
            <a:schemeClr val="tx1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Полилиния: фигура 38">
            <a:extLst>
              <a:ext uri="{FF2B5EF4-FFF2-40B4-BE49-F238E27FC236}">
                <a16:creationId xmlns:a16="http://schemas.microsoft.com/office/drawing/2014/main" id="{C59D5F58-F47E-4421-964E-18E4CB42BF7F}"/>
              </a:ext>
            </a:extLst>
          </p:cNvPr>
          <p:cNvSpPr/>
          <p:nvPr/>
        </p:nvSpPr>
        <p:spPr>
          <a:xfrm>
            <a:off x="7928572" y="3066999"/>
            <a:ext cx="206453" cy="206451"/>
          </a:xfrm>
          <a:custGeom>
            <a:avLst/>
            <a:gdLst>
              <a:gd name="connsiteX0" fmla="*/ 341920 w 341920"/>
              <a:gd name="connsiteY0" fmla="*/ 170960 h 341920"/>
              <a:gd name="connsiteX1" fmla="*/ 170960 w 341920"/>
              <a:gd name="connsiteY1" fmla="*/ 341920 h 341920"/>
              <a:gd name="connsiteX2" fmla="*/ 0 w 341920"/>
              <a:gd name="connsiteY2" fmla="*/ 170960 h 341920"/>
              <a:gd name="connsiteX3" fmla="*/ 170960 w 341920"/>
              <a:gd name="connsiteY3" fmla="*/ 0 h 341920"/>
              <a:gd name="connsiteX4" fmla="*/ 341920 w 341920"/>
              <a:gd name="connsiteY4" fmla="*/ 170960 h 34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920" h="341920">
                <a:moveTo>
                  <a:pt x="341920" y="170960"/>
                </a:moveTo>
                <a:cubicBezTo>
                  <a:pt x="341920" y="265379"/>
                  <a:pt x="265379" y="341920"/>
                  <a:pt x="170960" y="341920"/>
                </a:cubicBezTo>
                <a:cubicBezTo>
                  <a:pt x="76542" y="341920"/>
                  <a:pt x="0" y="265379"/>
                  <a:pt x="0" y="170960"/>
                </a:cubicBezTo>
                <a:cubicBezTo>
                  <a:pt x="0" y="76541"/>
                  <a:pt x="76542" y="0"/>
                  <a:pt x="170960" y="0"/>
                </a:cubicBezTo>
                <a:cubicBezTo>
                  <a:pt x="265379" y="0"/>
                  <a:pt x="341920" y="76541"/>
                  <a:pt x="341920" y="170960"/>
                </a:cubicBezTo>
                <a:close/>
              </a:path>
            </a:pathLst>
          </a:custGeom>
          <a:solidFill>
            <a:schemeClr val="tx1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Полилиния: фигура 43">
            <a:extLst>
              <a:ext uri="{FF2B5EF4-FFF2-40B4-BE49-F238E27FC236}">
                <a16:creationId xmlns:a16="http://schemas.microsoft.com/office/drawing/2014/main" id="{D219695E-1324-4C2E-A440-EADBA876786F}"/>
              </a:ext>
            </a:extLst>
          </p:cNvPr>
          <p:cNvSpPr/>
          <p:nvPr/>
        </p:nvSpPr>
        <p:spPr>
          <a:xfrm>
            <a:off x="4452702" y="4765600"/>
            <a:ext cx="206453" cy="206451"/>
          </a:xfrm>
          <a:custGeom>
            <a:avLst/>
            <a:gdLst>
              <a:gd name="connsiteX0" fmla="*/ 341920 w 341920"/>
              <a:gd name="connsiteY0" fmla="*/ 170960 h 341920"/>
              <a:gd name="connsiteX1" fmla="*/ 170960 w 341920"/>
              <a:gd name="connsiteY1" fmla="*/ 341920 h 341920"/>
              <a:gd name="connsiteX2" fmla="*/ 0 w 341920"/>
              <a:gd name="connsiteY2" fmla="*/ 170960 h 341920"/>
              <a:gd name="connsiteX3" fmla="*/ 170960 w 341920"/>
              <a:gd name="connsiteY3" fmla="*/ 0 h 341920"/>
              <a:gd name="connsiteX4" fmla="*/ 341920 w 341920"/>
              <a:gd name="connsiteY4" fmla="*/ 170960 h 34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920" h="341920">
                <a:moveTo>
                  <a:pt x="341920" y="170960"/>
                </a:moveTo>
                <a:cubicBezTo>
                  <a:pt x="341920" y="265379"/>
                  <a:pt x="265379" y="341920"/>
                  <a:pt x="170960" y="341920"/>
                </a:cubicBezTo>
                <a:cubicBezTo>
                  <a:pt x="76542" y="341920"/>
                  <a:pt x="0" y="265379"/>
                  <a:pt x="0" y="170960"/>
                </a:cubicBezTo>
                <a:cubicBezTo>
                  <a:pt x="0" y="76541"/>
                  <a:pt x="76542" y="0"/>
                  <a:pt x="170960" y="0"/>
                </a:cubicBezTo>
                <a:cubicBezTo>
                  <a:pt x="265379" y="0"/>
                  <a:pt x="341920" y="76541"/>
                  <a:pt x="341920" y="170960"/>
                </a:cubicBezTo>
                <a:close/>
              </a:path>
            </a:pathLst>
          </a:custGeom>
          <a:solidFill>
            <a:schemeClr val="tx1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Полилиния: фигура 51">
            <a:extLst>
              <a:ext uri="{FF2B5EF4-FFF2-40B4-BE49-F238E27FC236}">
                <a16:creationId xmlns:a16="http://schemas.microsoft.com/office/drawing/2014/main" id="{455758D4-ADE8-4EE0-9E25-FF44F89806D1}"/>
              </a:ext>
            </a:extLst>
          </p:cNvPr>
          <p:cNvSpPr/>
          <p:nvPr/>
        </p:nvSpPr>
        <p:spPr>
          <a:xfrm>
            <a:off x="6089114" y="5503232"/>
            <a:ext cx="206453" cy="206451"/>
          </a:xfrm>
          <a:custGeom>
            <a:avLst/>
            <a:gdLst>
              <a:gd name="connsiteX0" fmla="*/ 341920 w 341920"/>
              <a:gd name="connsiteY0" fmla="*/ 170960 h 341920"/>
              <a:gd name="connsiteX1" fmla="*/ 170960 w 341920"/>
              <a:gd name="connsiteY1" fmla="*/ 341920 h 341920"/>
              <a:gd name="connsiteX2" fmla="*/ 0 w 341920"/>
              <a:gd name="connsiteY2" fmla="*/ 170960 h 341920"/>
              <a:gd name="connsiteX3" fmla="*/ 170960 w 341920"/>
              <a:gd name="connsiteY3" fmla="*/ 0 h 341920"/>
              <a:gd name="connsiteX4" fmla="*/ 341920 w 341920"/>
              <a:gd name="connsiteY4" fmla="*/ 170960 h 34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920" h="341920">
                <a:moveTo>
                  <a:pt x="341920" y="170960"/>
                </a:moveTo>
                <a:cubicBezTo>
                  <a:pt x="341920" y="265379"/>
                  <a:pt x="265379" y="341920"/>
                  <a:pt x="170960" y="341920"/>
                </a:cubicBezTo>
                <a:cubicBezTo>
                  <a:pt x="76542" y="341920"/>
                  <a:pt x="0" y="265379"/>
                  <a:pt x="0" y="170960"/>
                </a:cubicBezTo>
                <a:cubicBezTo>
                  <a:pt x="0" y="76541"/>
                  <a:pt x="76542" y="0"/>
                  <a:pt x="170960" y="0"/>
                </a:cubicBezTo>
                <a:cubicBezTo>
                  <a:pt x="265379" y="0"/>
                  <a:pt x="341920" y="76541"/>
                  <a:pt x="341920" y="170960"/>
                </a:cubicBezTo>
                <a:close/>
              </a:path>
            </a:pathLst>
          </a:custGeom>
          <a:solidFill>
            <a:schemeClr val="tx1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Полилиния: фигура 54">
            <a:extLst>
              <a:ext uri="{FF2B5EF4-FFF2-40B4-BE49-F238E27FC236}">
                <a16:creationId xmlns:a16="http://schemas.microsoft.com/office/drawing/2014/main" id="{30CCB76E-72F2-473A-87BF-F83B9537ECD1}"/>
              </a:ext>
            </a:extLst>
          </p:cNvPr>
          <p:cNvSpPr/>
          <p:nvPr/>
        </p:nvSpPr>
        <p:spPr>
          <a:xfrm>
            <a:off x="7568784" y="4731731"/>
            <a:ext cx="206453" cy="206451"/>
          </a:xfrm>
          <a:custGeom>
            <a:avLst/>
            <a:gdLst>
              <a:gd name="connsiteX0" fmla="*/ 341920 w 341920"/>
              <a:gd name="connsiteY0" fmla="*/ 170960 h 341920"/>
              <a:gd name="connsiteX1" fmla="*/ 170960 w 341920"/>
              <a:gd name="connsiteY1" fmla="*/ 341920 h 341920"/>
              <a:gd name="connsiteX2" fmla="*/ 0 w 341920"/>
              <a:gd name="connsiteY2" fmla="*/ 170960 h 341920"/>
              <a:gd name="connsiteX3" fmla="*/ 170960 w 341920"/>
              <a:gd name="connsiteY3" fmla="*/ 0 h 341920"/>
              <a:gd name="connsiteX4" fmla="*/ 341920 w 341920"/>
              <a:gd name="connsiteY4" fmla="*/ 170960 h 34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920" h="341920">
                <a:moveTo>
                  <a:pt x="341920" y="170960"/>
                </a:moveTo>
                <a:cubicBezTo>
                  <a:pt x="341920" y="265379"/>
                  <a:pt x="265379" y="341920"/>
                  <a:pt x="170960" y="341920"/>
                </a:cubicBezTo>
                <a:cubicBezTo>
                  <a:pt x="76542" y="341920"/>
                  <a:pt x="0" y="265379"/>
                  <a:pt x="0" y="170960"/>
                </a:cubicBezTo>
                <a:cubicBezTo>
                  <a:pt x="0" y="76541"/>
                  <a:pt x="76542" y="0"/>
                  <a:pt x="170960" y="0"/>
                </a:cubicBezTo>
                <a:cubicBezTo>
                  <a:pt x="265379" y="0"/>
                  <a:pt x="341920" y="76541"/>
                  <a:pt x="341920" y="170960"/>
                </a:cubicBezTo>
                <a:close/>
              </a:path>
            </a:pathLst>
          </a:custGeom>
          <a:solidFill>
            <a:schemeClr val="tx1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F392D7E-1EED-452C-A6D9-06D6A71D513A}"/>
              </a:ext>
            </a:extLst>
          </p:cNvPr>
          <p:cNvSpPr/>
          <p:nvPr/>
        </p:nvSpPr>
        <p:spPr>
          <a:xfrm>
            <a:off x="2536936" y="2601774"/>
            <a:ext cx="292136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Отравления</a:t>
            </a:r>
            <a:endParaRPr lang="ru-RU" sz="1400" b="1" dirty="0">
              <a:solidFill>
                <a:schemeClr val="tx2"/>
              </a:solidFill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F392D7E-1EED-452C-A6D9-06D6A71D513A}"/>
              </a:ext>
            </a:extLst>
          </p:cNvPr>
          <p:cNvSpPr/>
          <p:nvPr/>
        </p:nvSpPr>
        <p:spPr>
          <a:xfrm>
            <a:off x="8409645" y="2771155"/>
            <a:ext cx="3695974" cy="8605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Aft>
                <a:spcPts val="0"/>
              </a:spcAft>
            </a:pPr>
            <a:r>
              <a:rPr lang="ru-RU" sz="1400" b="1" dirty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Запросы/предписания надзорных органов</a:t>
            </a:r>
          </a:p>
        </p:txBody>
      </p:sp>
      <p:sp>
        <p:nvSpPr>
          <p:cNvPr id="18" name="Полилиния: фигура 32">
            <a:extLst>
              <a:ext uri="{FF2B5EF4-FFF2-40B4-BE49-F238E27FC236}">
                <a16:creationId xmlns:a16="http://schemas.microsoft.com/office/drawing/2014/main" id="{42C82C1D-C91C-437D-8A2E-0255BCC9F560}"/>
              </a:ext>
            </a:extLst>
          </p:cNvPr>
          <p:cNvSpPr/>
          <p:nvPr/>
        </p:nvSpPr>
        <p:spPr>
          <a:xfrm>
            <a:off x="4921928" y="1764782"/>
            <a:ext cx="206453" cy="206451"/>
          </a:xfrm>
          <a:custGeom>
            <a:avLst/>
            <a:gdLst>
              <a:gd name="connsiteX0" fmla="*/ 341920 w 341920"/>
              <a:gd name="connsiteY0" fmla="*/ 170960 h 341920"/>
              <a:gd name="connsiteX1" fmla="*/ 170960 w 341920"/>
              <a:gd name="connsiteY1" fmla="*/ 341920 h 341920"/>
              <a:gd name="connsiteX2" fmla="*/ 0 w 341920"/>
              <a:gd name="connsiteY2" fmla="*/ 170960 h 341920"/>
              <a:gd name="connsiteX3" fmla="*/ 170960 w 341920"/>
              <a:gd name="connsiteY3" fmla="*/ 0 h 341920"/>
              <a:gd name="connsiteX4" fmla="*/ 341920 w 341920"/>
              <a:gd name="connsiteY4" fmla="*/ 170960 h 34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920" h="341920">
                <a:moveTo>
                  <a:pt x="341920" y="170960"/>
                </a:moveTo>
                <a:cubicBezTo>
                  <a:pt x="341920" y="265379"/>
                  <a:pt x="265379" y="341920"/>
                  <a:pt x="170960" y="341920"/>
                </a:cubicBezTo>
                <a:cubicBezTo>
                  <a:pt x="76542" y="341920"/>
                  <a:pt x="0" y="265379"/>
                  <a:pt x="0" y="170960"/>
                </a:cubicBezTo>
                <a:cubicBezTo>
                  <a:pt x="0" y="76541"/>
                  <a:pt x="76542" y="0"/>
                  <a:pt x="170960" y="0"/>
                </a:cubicBezTo>
                <a:cubicBezTo>
                  <a:pt x="265379" y="0"/>
                  <a:pt x="341920" y="76541"/>
                  <a:pt x="341920" y="170960"/>
                </a:cubicBezTo>
                <a:close/>
              </a:path>
            </a:pathLst>
          </a:custGeom>
          <a:solidFill>
            <a:schemeClr val="tx1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DF392D7E-1EED-452C-A6D9-06D6A71D513A}"/>
              </a:ext>
            </a:extLst>
          </p:cNvPr>
          <p:cNvSpPr/>
          <p:nvPr/>
        </p:nvSpPr>
        <p:spPr>
          <a:xfrm>
            <a:off x="4100575" y="1223379"/>
            <a:ext cx="292136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Аудит</a:t>
            </a:r>
            <a:endParaRPr lang="ru-RU" sz="1400" b="1" dirty="0">
              <a:solidFill>
                <a:schemeClr val="tx2"/>
              </a:solidFill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329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69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Лабораторные исследования товаров</a:t>
            </a:r>
            <a:endParaRPr lang="ru-RU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571159" y="1197017"/>
            <a:ext cx="11059057" cy="1525360"/>
            <a:chOff x="571159" y="1197017"/>
            <a:chExt cx="11059057" cy="1525360"/>
          </a:xfrm>
        </p:grpSpPr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C614A740-52DA-4476-87F1-554B145FD27C}"/>
                </a:ext>
              </a:extLst>
            </p:cNvPr>
            <p:cNvGrpSpPr/>
            <p:nvPr/>
          </p:nvGrpSpPr>
          <p:grpSpPr>
            <a:xfrm>
              <a:off x="571159" y="1197017"/>
              <a:ext cx="11059057" cy="1472580"/>
              <a:chOff x="571159" y="1198562"/>
              <a:chExt cx="11059057" cy="1472580"/>
            </a:xfrm>
          </p:grpSpPr>
          <p:sp>
            <p:nvSpPr>
              <p:cNvPr id="10" name="Прямоугольник 36">
                <a:extLst>
                  <a:ext uri="{FF2B5EF4-FFF2-40B4-BE49-F238E27FC236}">
                    <a16:creationId xmlns:a16="http://schemas.microsoft.com/office/drawing/2014/main" id="{202A2032-F5E8-4AF1-AB9D-2E70490AEE2C}"/>
                  </a:ext>
                </a:extLst>
              </p:cNvPr>
              <p:cNvSpPr/>
              <p:nvPr/>
            </p:nvSpPr>
            <p:spPr>
              <a:xfrm>
                <a:off x="571159" y="1204233"/>
                <a:ext cx="11050928" cy="146690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8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" name="Прямая соединительная линия 10">
                <a:extLst>
                  <a:ext uri="{FF2B5EF4-FFF2-40B4-BE49-F238E27FC236}">
                    <a16:creationId xmlns:a16="http://schemas.microsoft.com/office/drawing/2014/main" id="{B08A83AF-5D02-4C09-942A-ED520964AD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159" y="1198562"/>
                <a:ext cx="11059057" cy="0"/>
              </a:xfrm>
              <a:prstGeom prst="line">
                <a:avLst/>
              </a:prstGeom>
              <a:ln w="285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Прямоугольник 6"/>
            <p:cNvSpPr/>
            <p:nvPr/>
          </p:nvSpPr>
          <p:spPr>
            <a:xfrm>
              <a:off x="662263" y="1398938"/>
              <a:ext cx="10778232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dirty="0"/>
                <a:t>Лабораторные исследования организуется в рамках двух процессов:</a:t>
              </a:r>
            </a:p>
            <a:p>
              <a:pPr marL="342900" indent="-342900">
                <a:buAutoNum type="arabicPeriod"/>
              </a:pPr>
              <a:r>
                <a:rPr lang="ru-RU" sz="1600" dirty="0"/>
                <a:t>ППК – программы производственного контроля;</a:t>
              </a:r>
            </a:p>
            <a:p>
              <a:pPr marL="342900" indent="-342900">
                <a:buAutoNum type="arabicPeriod"/>
              </a:pPr>
              <a:r>
                <a:rPr lang="ru-RU" sz="1600" dirty="0"/>
                <a:t>Проведение внеплановой лабораторной экспертизы по жалобам покупателей, жалобам магазинов, замечаний надзорных органов, мониторинг поставщика.</a:t>
              </a:r>
            </a:p>
            <a:p>
              <a:endParaRPr lang="ru-RU" sz="1600" dirty="0"/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1445623" y="3033899"/>
            <a:ext cx="4162697" cy="1834077"/>
            <a:chOff x="571159" y="2960002"/>
            <a:chExt cx="11059057" cy="1466909"/>
          </a:xfrm>
        </p:grpSpPr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id="{67B1703D-A48E-4218-8081-0CA971A3F67C}"/>
                </a:ext>
              </a:extLst>
            </p:cNvPr>
            <p:cNvGrpSpPr/>
            <p:nvPr/>
          </p:nvGrpSpPr>
          <p:grpSpPr>
            <a:xfrm>
              <a:off x="571159" y="2960002"/>
              <a:ext cx="11059057" cy="1466909"/>
              <a:chOff x="571159" y="3008526"/>
              <a:chExt cx="11059057" cy="1466909"/>
            </a:xfrm>
          </p:grpSpPr>
          <p:sp>
            <p:nvSpPr>
              <p:cNvPr id="17" name="Прямоугольник 16">
                <a:extLst>
                  <a:ext uri="{FF2B5EF4-FFF2-40B4-BE49-F238E27FC236}">
                    <a16:creationId xmlns:a16="http://schemas.microsoft.com/office/drawing/2014/main" id="{F0F182B1-86AB-4D1C-A891-E4D06F0A725A}"/>
                  </a:ext>
                </a:extLst>
              </p:cNvPr>
              <p:cNvSpPr/>
              <p:nvPr/>
            </p:nvSpPr>
            <p:spPr>
              <a:xfrm>
                <a:off x="571501" y="3008526"/>
                <a:ext cx="11048999" cy="146690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8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8" name="Прямая соединительная линия 17">
                <a:extLst>
                  <a:ext uri="{FF2B5EF4-FFF2-40B4-BE49-F238E27FC236}">
                    <a16:creationId xmlns:a16="http://schemas.microsoft.com/office/drawing/2014/main" id="{98439768-D36C-4E58-A920-8C873112B4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159" y="3008526"/>
                <a:ext cx="11059057" cy="0"/>
              </a:xfrm>
              <a:prstGeom prst="line">
                <a:avLst/>
              </a:prstGeom>
              <a:ln w="285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463D2F8-1254-D168-D2C7-00CDF040E89D}"/>
                </a:ext>
              </a:extLst>
            </p:cNvPr>
            <p:cNvSpPr txBox="1"/>
            <p:nvPr/>
          </p:nvSpPr>
          <p:spPr>
            <a:xfrm>
              <a:off x="887436" y="3193267"/>
              <a:ext cx="10417125" cy="830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/>
              <a:r>
                <a:rPr lang="ru-RU" sz="1600" dirty="0" smtClean="0"/>
                <a:t>Обязательное требование к  лабораториям  </a:t>
              </a:r>
              <a:r>
                <a:rPr lang="ru-RU" sz="1600" dirty="0"/>
                <a:t>- аккредитация лабораторий на проведение необходимых исследований.</a:t>
              </a: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6096623" y="3033899"/>
            <a:ext cx="4303112" cy="2101564"/>
            <a:chOff x="571159" y="1197017"/>
            <a:chExt cx="11059057" cy="2129244"/>
          </a:xfrm>
        </p:grpSpPr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id="{C614A740-52DA-4476-87F1-554B145FD27C}"/>
                </a:ext>
              </a:extLst>
            </p:cNvPr>
            <p:cNvGrpSpPr/>
            <p:nvPr/>
          </p:nvGrpSpPr>
          <p:grpSpPr>
            <a:xfrm>
              <a:off x="571159" y="1197017"/>
              <a:ext cx="11059057" cy="1865137"/>
              <a:chOff x="571159" y="1198562"/>
              <a:chExt cx="11059057" cy="1865137"/>
            </a:xfrm>
          </p:grpSpPr>
          <p:sp>
            <p:nvSpPr>
              <p:cNvPr id="33" name="Прямоугольник 36">
                <a:extLst>
                  <a:ext uri="{FF2B5EF4-FFF2-40B4-BE49-F238E27FC236}">
                    <a16:creationId xmlns:a16="http://schemas.microsoft.com/office/drawing/2014/main" id="{202A2032-F5E8-4AF1-AB9D-2E70490AEE2C}"/>
                  </a:ext>
                </a:extLst>
              </p:cNvPr>
              <p:cNvSpPr/>
              <p:nvPr/>
            </p:nvSpPr>
            <p:spPr>
              <a:xfrm>
                <a:off x="571159" y="1204233"/>
                <a:ext cx="11050928" cy="1859466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8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34" name="Прямая соединительная линия 33">
                <a:extLst>
                  <a:ext uri="{FF2B5EF4-FFF2-40B4-BE49-F238E27FC236}">
                    <a16:creationId xmlns:a16="http://schemas.microsoft.com/office/drawing/2014/main" id="{B08A83AF-5D02-4C09-942A-ED520964AD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159" y="1198562"/>
                <a:ext cx="11059057" cy="0"/>
              </a:xfrm>
              <a:prstGeom prst="line">
                <a:avLst/>
              </a:prstGeom>
              <a:ln w="285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Прямоугольник 31"/>
            <p:cNvSpPr/>
            <p:nvPr/>
          </p:nvSpPr>
          <p:spPr>
            <a:xfrm>
              <a:off x="752440" y="1236998"/>
              <a:ext cx="10688363" cy="20892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dirty="0"/>
                <a:t>Основные исследуемые показатели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600" dirty="0"/>
                <a:t>микробиология,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600" dirty="0"/>
                <a:t>физ.-</a:t>
              </a:r>
              <a:r>
                <a:rPr lang="ru-RU" sz="1600" dirty="0" smtClean="0"/>
                <a:t>химия (в том числе на фальсификацию),</a:t>
              </a:r>
              <a:endParaRPr lang="ru-RU" sz="16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600" dirty="0" smtClean="0"/>
                <a:t>токсикология,</a:t>
              </a:r>
              <a:endParaRPr lang="ru-RU" sz="16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600" dirty="0" smtClean="0"/>
                <a:t>органолептика,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600" dirty="0"/>
                <a:t>п</a:t>
              </a:r>
              <a:r>
                <a:rPr lang="ru-RU" sz="1600" dirty="0" smtClean="0"/>
                <a:t>аразитология.</a:t>
              </a:r>
              <a:endParaRPr lang="ru-RU" sz="1600" dirty="0"/>
            </a:p>
            <a:p>
              <a:endParaRPr lang="ru-RU" sz="1600" dirty="0"/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521850" y="5066663"/>
            <a:ext cx="11059057" cy="1472580"/>
            <a:chOff x="571159" y="1197017"/>
            <a:chExt cx="11059057" cy="1472580"/>
          </a:xfrm>
        </p:grpSpPr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id="{C614A740-52DA-4476-87F1-554B145FD27C}"/>
                </a:ext>
              </a:extLst>
            </p:cNvPr>
            <p:cNvGrpSpPr/>
            <p:nvPr/>
          </p:nvGrpSpPr>
          <p:grpSpPr>
            <a:xfrm>
              <a:off x="571159" y="1197017"/>
              <a:ext cx="11059057" cy="1472580"/>
              <a:chOff x="571159" y="1198562"/>
              <a:chExt cx="11059057" cy="1472580"/>
            </a:xfrm>
          </p:grpSpPr>
          <p:sp>
            <p:nvSpPr>
              <p:cNvPr id="39" name="Прямоугольник 36">
                <a:extLst>
                  <a:ext uri="{FF2B5EF4-FFF2-40B4-BE49-F238E27FC236}">
                    <a16:creationId xmlns:a16="http://schemas.microsoft.com/office/drawing/2014/main" id="{202A2032-F5E8-4AF1-AB9D-2E70490AEE2C}"/>
                  </a:ext>
                </a:extLst>
              </p:cNvPr>
              <p:cNvSpPr/>
              <p:nvPr/>
            </p:nvSpPr>
            <p:spPr>
              <a:xfrm>
                <a:off x="571159" y="1204233"/>
                <a:ext cx="11050928" cy="146690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8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40" name="Прямая соединительная линия 39">
                <a:extLst>
                  <a:ext uri="{FF2B5EF4-FFF2-40B4-BE49-F238E27FC236}">
                    <a16:creationId xmlns:a16="http://schemas.microsoft.com/office/drawing/2014/main" id="{B08A83AF-5D02-4C09-942A-ED520964AD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159" y="1198562"/>
                <a:ext cx="11059057" cy="0"/>
              </a:xfrm>
              <a:prstGeom prst="line">
                <a:avLst/>
              </a:prstGeom>
              <a:ln w="285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8" name="Прямоугольник 37"/>
            <p:cNvSpPr/>
            <p:nvPr/>
          </p:nvSpPr>
          <p:spPr>
            <a:xfrm>
              <a:off x="663351" y="1463361"/>
              <a:ext cx="10778232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600" dirty="0"/>
                <a:t>По факту получения неудовлетворительных результатов испытания с поставщиком/изготовителем проводится совместная работа по устранению выявленных несоответствий и предотвращению его попадания к конечному покупателю.</a:t>
              </a:r>
            </a:p>
            <a:p>
              <a:endParaRPr lang="ru-RU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09512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E94498-9B8F-47F5-B838-1D9743A4D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52601"/>
            <a:ext cx="10002539" cy="338554"/>
          </a:xfrm>
        </p:spPr>
        <p:txBody>
          <a:bodyPr vert="horz"/>
          <a:lstStyle/>
          <a:p>
            <a:r>
              <a:rPr lang="ru-RU" dirty="0"/>
              <a:t>Размер шрифта  и способ нанесения</a:t>
            </a:r>
          </a:p>
        </p:txBody>
      </p:sp>
      <p:graphicFrame>
        <p:nvGraphicFramePr>
          <p:cNvPr id="11" name="Таблица 18">
            <a:extLst>
              <a:ext uri="{FF2B5EF4-FFF2-40B4-BE49-F238E27FC236}">
                <a16:creationId xmlns:a16="http://schemas.microsoft.com/office/drawing/2014/main" id="{BF7D597D-A2F6-4367-A36F-E86636B11D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8652687"/>
              </p:ext>
            </p:extLst>
          </p:nvPr>
        </p:nvGraphicFramePr>
        <p:xfrm>
          <a:off x="571500" y="997434"/>
          <a:ext cx="10856245" cy="5461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41346">
                  <a:extLst>
                    <a:ext uri="{9D8B030D-6E8A-4147-A177-3AD203B41FA5}">
                      <a16:colId xmlns:a16="http://schemas.microsoft.com/office/drawing/2014/main" val="2052779202"/>
                    </a:ext>
                  </a:extLst>
                </a:gridCol>
                <a:gridCol w="1950104">
                  <a:extLst>
                    <a:ext uri="{9D8B030D-6E8A-4147-A177-3AD203B41FA5}">
                      <a16:colId xmlns:a16="http://schemas.microsoft.com/office/drawing/2014/main" val="78735721"/>
                    </a:ext>
                  </a:extLst>
                </a:gridCol>
                <a:gridCol w="1817358">
                  <a:extLst>
                    <a:ext uri="{9D8B030D-6E8A-4147-A177-3AD203B41FA5}">
                      <a16:colId xmlns:a16="http://schemas.microsoft.com/office/drawing/2014/main" val="4268556142"/>
                    </a:ext>
                  </a:extLst>
                </a:gridCol>
                <a:gridCol w="1747437">
                  <a:extLst>
                    <a:ext uri="{9D8B030D-6E8A-4147-A177-3AD203B41FA5}">
                      <a16:colId xmlns:a16="http://schemas.microsoft.com/office/drawing/2014/main" val="3417236482"/>
                    </a:ext>
                  </a:extLst>
                </a:gridCol>
              </a:tblGrid>
              <a:tr h="880143"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веде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Шрифт высотой не менее 2 мм (строчные буквы)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Шрифт высотой не менее 0,8 мм (строчные буквы)</a:t>
                      </a:r>
                      <a:endParaRPr lang="ru-RU" sz="1200" b="1" kern="12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Удаление должно быть затруднено</a:t>
                      </a:r>
                      <a:endParaRPr lang="ru-RU" sz="1200" b="1" kern="12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225686"/>
                  </a:ext>
                </a:extLst>
              </a:tr>
              <a:tr h="3778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Наименование пищевой </a:t>
                      </a:r>
                      <a:r>
                        <a:rPr kumimoji="0" lang="ru-RU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продукции   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0546792"/>
                  </a:ext>
                </a:extLst>
              </a:tr>
              <a:tr h="4004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Количество\вес пищевой продукци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0265967"/>
                  </a:ext>
                </a:extLst>
              </a:tr>
              <a:tr h="3778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Дата изготовления (ДД.ММ. ГГ.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552207"/>
                  </a:ext>
                </a:extLst>
              </a:tr>
              <a:tr h="50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Наименование </a:t>
                      </a:r>
                      <a:r>
                        <a:rPr kumimoji="0" lang="ru-RU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и адрес</a:t>
                      </a: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  </a:t>
                      </a:r>
                      <a:r>
                        <a:rPr kumimoji="0" lang="ru-RU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изготовителя,</a:t>
                      </a: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наименование </a:t>
                      </a: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и </a:t>
                      </a:r>
                      <a:r>
                        <a:rPr kumimoji="0" lang="ru-RU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адрес </a:t>
                      </a: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импортера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324757"/>
                  </a:ext>
                </a:extLst>
              </a:tr>
              <a:tr h="4474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Состав  (при необходимости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       </a:t>
                      </a:r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+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    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6721887"/>
                  </a:ext>
                </a:extLst>
              </a:tr>
              <a:tr h="5147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Единый знак обращения продукции на рынке государств - членов Таможенного союз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474850"/>
                  </a:ext>
                </a:extLst>
              </a:tr>
              <a:tr h="4319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Условия </a:t>
                      </a: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хранения, установленные изготовителем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3472574"/>
                  </a:ext>
                </a:extLst>
              </a:tr>
              <a:tr h="458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Срок годности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 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363994"/>
                  </a:ext>
                </a:extLst>
              </a:tr>
              <a:tr h="4056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Наличие ГМО (указывается, если ГМО в продукте более 0,9%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6094448"/>
                  </a:ext>
                </a:extLst>
              </a:tr>
              <a:tr h="5466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Слова, используемые для указания даты изготовления, срока годности и инфо о месте их </a:t>
                      </a:r>
                      <a:r>
                        <a:rPr kumimoji="0" lang="ru-RU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нанесен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 </a:t>
                      </a: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1979659"/>
                  </a:ext>
                </a:extLst>
              </a:tr>
            </a:tbl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11334293" y="6459134"/>
            <a:ext cx="521970" cy="215444"/>
          </a:xfrm>
        </p:spPr>
        <p:txBody>
          <a:bodyPr/>
          <a:lstStyle/>
          <a:p>
            <a:fld id="{766344E1-0F76-4023-B180-E4B0CE5660A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983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70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71498" y="331032"/>
            <a:ext cx="10002539" cy="471991"/>
          </a:xfrm>
        </p:spPr>
        <p:txBody>
          <a:bodyPr/>
          <a:lstStyle/>
          <a:p>
            <a:r>
              <a:rPr lang="ru-RU" dirty="0" smtClean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Работа с запросами/предписаниями </a:t>
            </a:r>
            <a:r>
              <a:rPr lang="ru-RU" dirty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надзорных органов</a:t>
            </a:r>
            <a:br>
              <a:rPr lang="ru-RU" dirty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1361" y="1200437"/>
            <a:ext cx="3194991" cy="30905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TextBox 5"/>
          <p:cNvSpPr txBox="1"/>
          <p:nvPr/>
        </p:nvSpPr>
        <p:spPr>
          <a:xfrm>
            <a:off x="579313" y="5939121"/>
            <a:ext cx="627436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just"/>
            <a:r>
              <a:rPr lang="ru-RU" sz="1400" dirty="0" smtClean="0"/>
              <a:t>Аналогичная работа проводится и с информацией поступающей от заинтересованных некоммерческих организаций. </a:t>
            </a:r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0C63AE83-3655-4706-87F3-FE4BE48A95B2}"/>
              </a:ext>
            </a:extLst>
          </p:cNvPr>
          <p:cNvGrpSpPr/>
          <p:nvPr/>
        </p:nvGrpSpPr>
        <p:grpSpPr>
          <a:xfrm>
            <a:off x="700440" y="2194861"/>
            <a:ext cx="429260" cy="814387"/>
            <a:chOff x="571500" y="1170623"/>
            <a:chExt cx="429260" cy="814387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6A0747A-AF9C-49F9-A9B2-46C29C84476B}"/>
                </a:ext>
              </a:extLst>
            </p:cNvPr>
            <p:cNvSpPr txBox="1"/>
            <p:nvPr/>
          </p:nvSpPr>
          <p:spPr>
            <a:xfrm>
              <a:off x="571500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083">
                <a:defRPr/>
              </a:pPr>
              <a:r>
                <a:rPr lang="ru-RU" b="1" dirty="0" smtClean="0">
                  <a:solidFill>
                    <a:schemeClr val="tx2"/>
                  </a:solidFill>
                </a:rPr>
                <a:t>1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id="{1299959B-9B4A-424C-89AA-AC008015B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0C63AE83-3655-4706-87F3-FE4BE48A95B2}"/>
              </a:ext>
            </a:extLst>
          </p:cNvPr>
          <p:cNvGrpSpPr/>
          <p:nvPr/>
        </p:nvGrpSpPr>
        <p:grpSpPr>
          <a:xfrm>
            <a:off x="686111" y="4739956"/>
            <a:ext cx="429260" cy="814387"/>
            <a:chOff x="571500" y="1170623"/>
            <a:chExt cx="429260" cy="814387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6A0747A-AF9C-49F9-A9B2-46C29C84476B}"/>
                </a:ext>
              </a:extLst>
            </p:cNvPr>
            <p:cNvSpPr txBox="1"/>
            <p:nvPr/>
          </p:nvSpPr>
          <p:spPr>
            <a:xfrm>
              <a:off x="571500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083">
                <a:defRPr/>
              </a:pPr>
              <a:r>
                <a:rPr lang="en-US" b="1" dirty="0" smtClean="0">
                  <a:solidFill>
                    <a:schemeClr val="tx2"/>
                  </a:solidFill>
                </a:rPr>
                <a:t>3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id="{1299959B-9B4A-424C-89AA-AC008015B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0C63AE83-3655-4706-87F3-FE4BE48A95B2}"/>
              </a:ext>
            </a:extLst>
          </p:cNvPr>
          <p:cNvGrpSpPr/>
          <p:nvPr/>
        </p:nvGrpSpPr>
        <p:grpSpPr>
          <a:xfrm>
            <a:off x="675093" y="3495267"/>
            <a:ext cx="429260" cy="814387"/>
            <a:chOff x="571500" y="1170623"/>
            <a:chExt cx="429260" cy="814387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6A0747A-AF9C-49F9-A9B2-46C29C84476B}"/>
                </a:ext>
              </a:extLst>
            </p:cNvPr>
            <p:cNvSpPr txBox="1"/>
            <p:nvPr/>
          </p:nvSpPr>
          <p:spPr>
            <a:xfrm>
              <a:off x="571500" y="1170623"/>
              <a:ext cx="40512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083">
                <a:defRPr/>
              </a:pPr>
              <a:r>
                <a:rPr lang="en-US" b="1" dirty="0" smtClean="0">
                  <a:solidFill>
                    <a:schemeClr val="tx2"/>
                  </a:solidFill>
                </a:rPr>
                <a:t>2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1299959B-9B4A-424C-89AA-AC008015B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00760" y="1195388"/>
              <a:ext cx="0" cy="78962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898509EA-83BE-45AD-BA7B-3A8738D7A8EC}"/>
              </a:ext>
            </a:extLst>
          </p:cNvPr>
          <p:cNvSpPr txBox="1"/>
          <p:nvPr/>
        </p:nvSpPr>
        <p:spPr>
          <a:xfrm>
            <a:off x="1226696" y="2445651"/>
            <a:ext cx="2728992" cy="369332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algn="just"/>
            <a:r>
              <a:rPr lang="ru-RU" sz="1200" dirty="0" smtClean="0"/>
              <a:t>В </a:t>
            </a:r>
            <a:r>
              <a:rPr lang="ru-RU" sz="1200" dirty="0"/>
              <a:t>обязательном порядке информируем поставщика,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F8DB45D-91EB-4803-9AED-4D05590C0ADF}"/>
              </a:ext>
            </a:extLst>
          </p:cNvPr>
          <p:cNvSpPr txBox="1"/>
          <p:nvPr/>
        </p:nvSpPr>
        <p:spPr>
          <a:xfrm>
            <a:off x="1250826" y="3559238"/>
            <a:ext cx="2728992" cy="55399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endParaRPr lang="ru-RU" sz="1200" dirty="0" smtClean="0"/>
          </a:p>
          <a:p>
            <a:r>
              <a:rPr lang="ru-RU" sz="1200" dirty="0"/>
              <a:t>З</a:t>
            </a:r>
            <a:r>
              <a:rPr lang="ru-RU" sz="1200" dirty="0" smtClean="0"/>
              <a:t>апрашиваем </a:t>
            </a:r>
            <a:r>
              <a:rPr lang="ru-RU" sz="1200" dirty="0"/>
              <a:t>корректирующие мероприятия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C51776A-78A9-49C0-8121-E69A44674E55}"/>
              </a:ext>
            </a:extLst>
          </p:cNvPr>
          <p:cNvSpPr txBox="1"/>
          <p:nvPr/>
        </p:nvSpPr>
        <p:spPr>
          <a:xfrm>
            <a:off x="1294368" y="4806634"/>
            <a:ext cx="2641907" cy="75132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r>
              <a:rPr lang="ru-RU" sz="1200" dirty="0" smtClean="0"/>
              <a:t>При </a:t>
            </a:r>
            <a:r>
              <a:rPr lang="ru-RU" sz="1200" dirty="0"/>
              <a:t>необходимости проводим изъятие партии товара из реализации и дополнительные лаб. исследования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0A4B627-C332-413B-8378-456924CA4290}"/>
              </a:ext>
            </a:extLst>
          </p:cNvPr>
          <p:cNvSpPr txBox="1"/>
          <p:nvPr/>
        </p:nvSpPr>
        <p:spPr>
          <a:xfrm>
            <a:off x="675093" y="1388939"/>
            <a:ext cx="3592107" cy="66106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just"/>
            <a:r>
              <a:rPr lang="ru-RU" sz="1400" b="1" dirty="0"/>
              <a:t>При получении Запроса, Предостережения, Предписания от надзорного </a:t>
            </a:r>
            <a:r>
              <a:rPr lang="ru-RU" sz="1400" b="1" dirty="0" smtClean="0"/>
              <a:t>органа</a:t>
            </a:r>
            <a:r>
              <a:rPr lang="ru-RU" sz="1400" dirty="0" smtClean="0"/>
              <a:t>:</a:t>
            </a:r>
            <a:endParaRPr lang="ru-RU" sz="1400" dirty="0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8D339BE9-332A-C03D-7F64-F371E29AA4B0}"/>
              </a:ext>
            </a:extLst>
          </p:cNvPr>
          <p:cNvGrpSpPr/>
          <p:nvPr/>
        </p:nvGrpSpPr>
        <p:grpSpPr>
          <a:xfrm>
            <a:off x="571498" y="1367246"/>
            <a:ext cx="3843747" cy="4415245"/>
            <a:chOff x="8103066" y="1198563"/>
            <a:chExt cx="3526191" cy="4927666"/>
          </a:xfrm>
        </p:grpSpPr>
        <p:grpSp>
          <p:nvGrpSpPr>
            <p:cNvPr id="41" name="Группа 40">
              <a:extLst>
                <a:ext uri="{FF2B5EF4-FFF2-40B4-BE49-F238E27FC236}">
                  <a16:creationId xmlns:a16="http://schemas.microsoft.com/office/drawing/2014/main" id="{CEBCF1FF-2E3F-4857-B85A-AF691CDFB51D}"/>
                </a:ext>
              </a:extLst>
            </p:cNvPr>
            <p:cNvGrpSpPr/>
            <p:nvPr/>
          </p:nvGrpSpPr>
          <p:grpSpPr>
            <a:xfrm>
              <a:off x="8103066" y="1198563"/>
              <a:ext cx="3519022" cy="4927666"/>
              <a:chOff x="568790" y="1198563"/>
              <a:chExt cx="3519022" cy="3236569"/>
            </a:xfrm>
          </p:grpSpPr>
          <p:sp>
            <p:nvSpPr>
              <p:cNvPr id="43" name="Прямоугольник 42">
                <a:extLst>
                  <a:ext uri="{FF2B5EF4-FFF2-40B4-BE49-F238E27FC236}">
                    <a16:creationId xmlns:a16="http://schemas.microsoft.com/office/drawing/2014/main" id="{0DFF724E-DFED-4B88-881F-49D1B408FB99}"/>
                  </a:ext>
                </a:extLst>
              </p:cNvPr>
              <p:cNvSpPr/>
              <p:nvPr/>
            </p:nvSpPr>
            <p:spPr>
              <a:xfrm>
                <a:off x="575959" y="1198563"/>
                <a:ext cx="3511853" cy="3236569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ru-RU" sz="1400" dirty="0">
                  <a:latin typeface="+mj-lt"/>
                </a:endParaRPr>
              </a:p>
            </p:txBody>
          </p:sp>
          <p:cxnSp>
            <p:nvCxnSpPr>
              <p:cNvPr id="44" name="Прямая соединительная линия 43">
                <a:extLst>
                  <a:ext uri="{FF2B5EF4-FFF2-40B4-BE49-F238E27FC236}">
                    <a16:creationId xmlns:a16="http://schemas.microsoft.com/office/drawing/2014/main" id="{EEEAFE08-AE25-4568-9858-5374494EAC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8790" y="1198563"/>
                <a:ext cx="3519022" cy="0"/>
              </a:xfrm>
              <a:prstGeom prst="line">
                <a:avLst/>
              </a:prstGeom>
              <a:ln w="285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A746D731-4668-B2E0-F8F8-5FEF4054438D}"/>
                </a:ext>
              </a:extLst>
            </p:cNvPr>
            <p:cNvCxnSpPr>
              <a:cxnSpLocks/>
            </p:cNvCxnSpPr>
            <p:nvPr/>
          </p:nvCxnSpPr>
          <p:spPr>
            <a:xfrm>
              <a:off x="8110235" y="2036385"/>
              <a:ext cx="351902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A746D731-4668-B2E0-F8F8-5FEF4054438D}"/>
              </a:ext>
            </a:extLst>
          </p:cNvPr>
          <p:cNvCxnSpPr>
            <a:cxnSpLocks/>
          </p:cNvCxnSpPr>
          <p:nvPr/>
        </p:nvCxnSpPr>
        <p:spPr>
          <a:xfrm>
            <a:off x="579313" y="3264602"/>
            <a:ext cx="3828117" cy="11912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A746D731-4668-B2E0-F8F8-5FEF4054438D}"/>
              </a:ext>
            </a:extLst>
          </p:cNvPr>
          <p:cNvCxnSpPr>
            <a:cxnSpLocks/>
          </p:cNvCxnSpPr>
          <p:nvPr/>
        </p:nvCxnSpPr>
        <p:spPr>
          <a:xfrm flipV="1">
            <a:off x="571498" y="4451549"/>
            <a:ext cx="3831955" cy="21909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Рисунок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4653" y="3413759"/>
            <a:ext cx="3336920" cy="271653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08416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71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35948" y="1085131"/>
            <a:ext cx="10425155" cy="2646878"/>
          </a:xfrm>
        </p:spPr>
        <p:txBody>
          <a:bodyPr/>
          <a:lstStyle/>
          <a:p>
            <a:r>
              <a:rPr lang="ru-RU" dirty="0" smtClean="0"/>
              <a:t>             Потребительский индекс товара (ПИТ)</a:t>
            </a:r>
            <a:r>
              <a:rPr lang="en-US" dirty="0" smtClean="0"/>
              <a:t> – </a:t>
            </a:r>
            <a:r>
              <a:rPr lang="ru-RU" sz="2000" b="0" dirty="0" smtClean="0"/>
              <a:t>показатель, который отражает соотношение +/- оценок товара покупателями.</a:t>
            </a:r>
            <a:br>
              <a:rPr lang="ru-RU" sz="2000" b="0" dirty="0" smtClean="0"/>
            </a:br>
            <a:r>
              <a:rPr lang="ru-RU" sz="2000" b="0" dirty="0" smtClean="0"/>
              <a:t>Он может быть от -100% до +100%.</a:t>
            </a:r>
            <a:br>
              <a:rPr lang="ru-RU" sz="2000" b="0" dirty="0" smtClean="0"/>
            </a:br>
            <a:r>
              <a:rPr lang="ru-RU" sz="2000" b="0" dirty="0"/>
              <a:t/>
            </a:r>
            <a:br>
              <a:rPr lang="ru-RU" sz="2000" b="0" dirty="0"/>
            </a:br>
            <a:r>
              <a:rPr lang="ru-RU" sz="2000" b="0" dirty="0" smtClean="0"/>
              <a:t>ПИТ точнее показывает  воспринимаемое покупателями качество и позволяет оперативно выявлять позитивные и негативные тренды.</a:t>
            </a:r>
            <a:r>
              <a:rPr lang="ru-RU" b="0" dirty="0" smtClean="0"/>
              <a:t/>
            </a:r>
            <a:br>
              <a:rPr lang="ru-RU" b="0" dirty="0" smtClean="0"/>
            </a:br>
            <a:r>
              <a:rPr lang="ru-RU" b="0" dirty="0"/>
              <a:t/>
            </a:r>
            <a:br>
              <a:rPr lang="ru-RU" b="0" dirty="0"/>
            </a:br>
            <a:endParaRPr lang="ru-RU" b="0" dirty="0"/>
          </a:p>
        </p:txBody>
      </p:sp>
      <p:sp>
        <p:nvSpPr>
          <p:cNvPr id="7" name="TextBox 6"/>
          <p:cNvSpPr txBox="1"/>
          <p:nvPr/>
        </p:nvSpPr>
        <p:spPr>
          <a:xfrm>
            <a:off x="4013365" y="4125982"/>
            <a:ext cx="715100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ru-RU" dirty="0" smtClean="0"/>
              <a:t>Источниками данных являются оценки товаров на сайте Ленты, в мобильных приложениях Ленты и отзывы на товары в </a:t>
            </a:r>
            <a:r>
              <a:rPr lang="en-US" dirty="0" smtClean="0"/>
              <a:t>Siebel</a:t>
            </a:r>
            <a:r>
              <a:rPr lang="ru-RU" dirty="0" smtClean="0"/>
              <a:t>.</a:t>
            </a:r>
            <a:endParaRPr lang="ru-RU" dirty="0"/>
          </a:p>
          <a:p>
            <a:pPr algn="l"/>
            <a:endParaRPr lang="ru-RU" dirty="0" smtClean="0"/>
          </a:p>
          <a:p>
            <a:pPr algn="l"/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5948" y="3682071"/>
            <a:ext cx="2240482" cy="16342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Овал 8">
            <a:extLst>
              <a:ext uri="{FF2B5EF4-FFF2-40B4-BE49-F238E27FC236}">
                <a16:creationId xmlns:a16="http://schemas.microsoft.com/office/drawing/2014/main" id="{92F02FC5-A218-465F-894E-52EB0D0FC73F}"/>
              </a:ext>
            </a:extLst>
          </p:cNvPr>
          <p:cNvSpPr/>
          <p:nvPr/>
        </p:nvSpPr>
        <p:spPr>
          <a:xfrm>
            <a:off x="1168172" y="552408"/>
            <a:ext cx="790114" cy="784800"/>
          </a:xfrm>
          <a:prstGeom prst="ellipse">
            <a:avLst/>
          </a:prstGeom>
          <a:noFill/>
          <a:ln w="152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ADBECFCD-C08D-47E4-8DD8-50AC6AE033A9}"/>
              </a:ext>
            </a:extLst>
          </p:cNvPr>
          <p:cNvGrpSpPr/>
          <p:nvPr/>
        </p:nvGrpSpPr>
        <p:grpSpPr>
          <a:xfrm>
            <a:off x="1309579" y="691158"/>
            <a:ext cx="507300" cy="507300"/>
            <a:chOff x="5280888" y="5575403"/>
            <a:chExt cx="507300" cy="507300"/>
          </a:xfrm>
        </p:grpSpPr>
        <p:sp>
          <p:nvSpPr>
            <p:cNvPr id="12" name="Полилиния: фигура 281">
              <a:extLst>
                <a:ext uri="{FF2B5EF4-FFF2-40B4-BE49-F238E27FC236}">
                  <a16:creationId xmlns:a16="http://schemas.microsoft.com/office/drawing/2014/main" id="{2F390018-5DD4-4610-AC73-0ACB6E49C667}"/>
                </a:ext>
              </a:extLst>
            </p:cNvPr>
            <p:cNvSpPr/>
            <p:nvPr/>
          </p:nvSpPr>
          <p:spPr>
            <a:xfrm>
              <a:off x="5375795" y="5779906"/>
              <a:ext cx="60446" cy="90952"/>
            </a:xfrm>
            <a:custGeom>
              <a:avLst/>
              <a:gdLst>
                <a:gd name="connsiteX0" fmla="*/ 60447 w 60446"/>
                <a:gd name="connsiteY0" fmla="*/ 90953 h 90952"/>
                <a:gd name="connsiteX1" fmla="*/ 0 w 60446"/>
                <a:gd name="connsiteY1" fmla="*/ 90953 h 90952"/>
                <a:gd name="connsiteX2" fmla="*/ 0 w 60446"/>
                <a:gd name="connsiteY2" fmla="*/ 75135 h 90952"/>
                <a:gd name="connsiteX3" fmla="*/ 19207 w 60446"/>
                <a:gd name="connsiteY3" fmla="*/ 75135 h 90952"/>
                <a:gd name="connsiteX4" fmla="*/ 19207 w 60446"/>
                <a:gd name="connsiteY4" fmla="*/ 27116 h 90952"/>
                <a:gd name="connsiteX5" fmla="*/ 0 w 60446"/>
                <a:gd name="connsiteY5" fmla="*/ 27116 h 90952"/>
                <a:gd name="connsiteX6" fmla="*/ 0 w 60446"/>
                <a:gd name="connsiteY6" fmla="*/ 12428 h 90952"/>
                <a:gd name="connsiteX7" fmla="*/ 8474 w 60446"/>
                <a:gd name="connsiteY7" fmla="*/ 11863 h 90952"/>
                <a:gd name="connsiteX8" fmla="*/ 15253 w 60446"/>
                <a:gd name="connsiteY8" fmla="*/ 10169 h 90952"/>
                <a:gd name="connsiteX9" fmla="*/ 19772 w 60446"/>
                <a:gd name="connsiteY9" fmla="*/ 6214 h 90952"/>
                <a:gd name="connsiteX10" fmla="*/ 21467 w 60446"/>
                <a:gd name="connsiteY10" fmla="*/ 0 h 90952"/>
                <a:gd name="connsiteX11" fmla="*/ 41804 w 60446"/>
                <a:gd name="connsiteY11" fmla="*/ 0 h 90952"/>
                <a:gd name="connsiteX12" fmla="*/ 41804 w 60446"/>
                <a:gd name="connsiteY12" fmla="*/ 74570 h 90952"/>
                <a:gd name="connsiteX13" fmla="*/ 60447 w 60446"/>
                <a:gd name="connsiteY13" fmla="*/ 74570 h 90952"/>
                <a:gd name="connsiteX14" fmla="*/ 60447 w 60446"/>
                <a:gd name="connsiteY14" fmla="*/ 90953 h 90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446" h="90952">
                  <a:moveTo>
                    <a:pt x="60447" y="90953"/>
                  </a:moveTo>
                  <a:lnTo>
                    <a:pt x="0" y="90953"/>
                  </a:lnTo>
                  <a:lnTo>
                    <a:pt x="0" y="75135"/>
                  </a:lnTo>
                  <a:lnTo>
                    <a:pt x="19207" y="75135"/>
                  </a:lnTo>
                  <a:lnTo>
                    <a:pt x="19207" y="27116"/>
                  </a:lnTo>
                  <a:lnTo>
                    <a:pt x="0" y="27116"/>
                  </a:lnTo>
                  <a:lnTo>
                    <a:pt x="0" y="12428"/>
                  </a:lnTo>
                  <a:cubicBezTo>
                    <a:pt x="2825" y="12428"/>
                    <a:pt x="5649" y="12428"/>
                    <a:pt x="8474" y="11863"/>
                  </a:cubicBezTo>
                  <a:cubicBezTo>
                    <a:pt x="11298" y="11298"/>
                    <a:pt x="13558" y="10734"/>
                    <a:pt x="15253" y="10169"/>
                  </a:cubicBezTo>
                  <a:cubicBezTo>
                    <a:pt x="17513" y="9039"/>
                    <a:pt x="19207" y="7909"/>
                    <a:pt x="19772" y="6214"/>
                  </a:cubicBezTo>
                  <a:cubicBezTo>
                    <a:pt x="20902" y="4519"/>
                    <a:pt x="21467" y="2825"/>
                    <a:pt x="21467" y="0"/>
                  </a:cubicBezTo>
                  <a:lnTo>
                    <a:pt x="41804" y="0"/>
                  </a:lnTo>
                  <a:lnTo>
                    <a:pt x="41804" y="74570"/>
                  </a:lnTo>
                  <a:lnTo>
                    <a:pt x="60447" y="74570"/>
                  </a:lnTo>
                  <a:lnTo>
                    <a:pt x="60447" y="90953"/>
                  </a:lnTo>
                  <a:close/>
                </a:path>
              </a:pathLst>
            </a:custGeom>
            <a:solidFill>
              <a:schemeClr val="tx2"/>
            </a:solidFill>
            <a:ln w="19050" cap="rnd">
              <a:solidFill>
                <a:schemeClr val="bg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282">
              <a:extLst>
                <a:ext uri="{FF2B5EF4-FFF2-40B4-BE49-F238E27FC236}">
                  <a16:creationId xmlns:a16="http://schemas.microsoft.com/office/drawing/2014/main" id="{DABBDA2C-A7CA-4079-8465-B6A79B847234}"/>
                </a:ext>
              </a:extLst>
            </p:cNvPr>
            <p:cNvSpPr/>
            <p:nvPr/>
          </p:nvSpPr>
          <p:spPr>
            <a:xfrm>
              <a:off x="5454320" y="5779341"/>
              <a:ext cx="75134" cy="93777"/>
            </a:xfrm>
            <a:custGeom>
              <a:avLst/>
              <a:gdLst>
                <a:gd name="connsiteX0" fmla="*/ 75135 w 75134"/>
                <a:gd name="connsiteY0" fmla="*/ 46324 h 93777"/>
                <a:gd name="connsiteX1" fmla="*/ 72875 w 75134"/>
                <a:gd name="connsiteY1" fmla="*/ 66661 h 93777"/>
                <a:gd name="connsiteX2" fmla="*/ 66661 w 75134"/>
                <a:gd name="connsiteY2" fmla="*/ 81349 h 93777"/>
                <a:gd name="connsiteX3" fmla="*/ 55362 w 75134"/>
                <a:gd name="connsiteY3" fmla="*/ 90388 h 93777"/>
                <a:gd name="connsiteX4" fmla="*/ 37850 w 75134"/>
                <a:gd name="connsiteY4" fmla="*/ 93777 h 93777"/>
                <a:gd name="connsiteX5" fmla="*/ 20337 w 75134"/>
                <a:gd name="connsiteY5" fmla="*/ 90953 h 93777"/>
                <a:gd name="connsiteX6" fmla="*/ 8474 w 75134"/>
                <a:gd name="connsiteY6" fmla="*/ 81914 h 93777"/>
                <a:gd name="connsiteX7" fmla="*/ 2260 w 75134"/>
                <a:gd name="connsiteY7" fmla="*/ 67226 h 93777"/>
                <a:gd name="connsiteX8" fmla="*/ 0 w 75134"/>
                <a:gd name="connsiteY8" fmla="*/ 46889 h 93777"/>
                <a:gd name="connsiteX9" fmla="*/ 2260 w 75134"/>
                <a:gd name="connsiteY9" fmla="*/ 26551 h 93777"/>
                <a:gd name="connsiteX10" fmla="*/ 9039 w 75134"/>
                <a:gd name="connsiteY10" fmla="*/ 11863 h 93777"/>
                <a:gd name="connsiteX11" fmla="*/ 20902 w 75134"/>
                <a:gd name="connsiteY11" fmla="*/ 2825 h 93777"/>
                <a:gd name="connsiteX12" fmla="*/ 37850 w 75134"/>
                <a:gd name="connsiteY12" fmla="*/ 0 h 93777"/>
                <a:gd name="connsiteX13" fmla="*/ 55362 w 75134"/>
                <a:gd name="connsiteY13" fmla="*/ 2825 h 93777"/>
                <a:gd name="connsiteX14" fmla="*/ 66661 w 75134"/>
                <a:gd name="connsiteY14" fmla="*/ 11863 h 93777"/>
                <a:gd name="connsiteX15" fmla="*/ 72875 w 75134"/>
                <a:gd name="connsiteY15" fmla="*/ 26551 h 93777"/>
                <a:gd name="connsiteX16" fmla="*/ 75135 w 75134"/>
                <a:gd name="connsiteY16" fmla="*/ 46324 h 93777"/>
                <a:gd name="connsiteX17" fmla="*/ 51973 w 75134"/>
                <a:gd name="connsiteY17" fmla="*/ 46324 h 93777"/>
                <a:gd name="connsiteX18" fmla="*/ 48583 w 75134"/>
                <a:gd name="connsiteY18" fmla="*/ 23162 h 93777"/>
                <a:gd name="connsiteX19" fmla="*/ 37850 w 75134"/>
                <a:gd name="connsiteY19" fmla="*/ 16383 h 93777"/>
                <a:gd name="connsiteX20" fmla="*/ 27116 w 75134"/>
                <a:gd name="connsiteY20" fmla="*/ 23162 h 93777"/>
                <a:gd name="connsiteX21" fmla="*/ 23727 w 75134"/>
                <a:gd name="connsiteY21" fmla="*/ 46889 h 93777"/>
                <a:gd name="connsiteX22" fmla="*/ 27116 w 75134"/>
                <a:gd name="connsiteY22" fmla="*/ 70050 h 93777"/>
                <a:gd name="connsiteX23" fmla="*/ 37850 w 75134"/>
                <a:gd name="connsiteY23" fmla="*/ 77394 h 93777"/>
                <a:gd name="connsiteX24" fmla="*/ 48583 w 75134"/>
                <a:gd name="connsiteY24" fmla="*/ 70050 h 93777"/>
                <a:gd name="connsiteX25" fmla="*/ 51973 w 75134"/>
                <a:gd name="connsiteY25" fmla="*/ 46324 h 9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5134" h="93777">
                  <a:moveTo>
                    <a:pt x="75135" y="46324"/>
                  </a:moveTo>
                  <a:cubicBezTo>
                    <a:pt x="75135" y="53668"/>
                    <a:pt x="74570" y="61012"/>
                    <a:pt x="72875" y="66661"/>
                  </a:cubicBezTo>
                  <a:cubicBezTo>
                    <a:pt x="71745" y="72875"/>
                    <a:pt x="69486" y="77394"/>
                    <a:pt x="66661" y="81349"/>
                  </a:cubicBezTo>
                  <a:cubicBezTo>
                    <a:pt x="63836" y="85303"/>
                    <a:pt x="59882" y="88128"/>
                    <a:pt x="55362" y="90388"/>
                  </a:cubicBezTo>
                  <a:cubicBezTo>
                    <a:pt x="50843" y="92647"/>
                    <a:pt x="44629" y="93777"/>
                    <a:pt x="37850" y="93777"/>
                  </a:cubicBezTo>
                  <a:cubicBezTo>
                    <a:pt x="31071" y="93777"/>
                    <a:pt x="25422" y="92647"/>
                    <a:pt x="20337" y="90953"/>
                  </a:cubicBezTo>
                  <a:cubicBezTo>
                    <a:pt x="15818" y="88693"/>
                    <a:pt x="11863" y="85868"/>
                    <a:pt x="8474" y="81914"/>
                  </a:cubicBezTo>
                  <a:cubicBezTo>
                    <a:pt x="5649" y="77959"/>
                    <a:pt x="3390" y="72875"/>
                    <a:pt x="2260" y="67226"/>
                  </a:cubicBezTo>
                  <a:cubicBezTo>
                    <a:pt x="1130" y="61577"/>
                    <a:pt x="0" y="54798"/>
                    <a:pt x="0" y="46889"/>
                  </a:cubicBezTo>
                  <a:cubicBezTo>
                    <a:pt x="0" y="38980"/>
                    <a:pt x="565" y="32201"/>
                    <a:pt x="2260" y="26551"/>
                  </a:cubicBezTo>
                  <a:cubicBezTo>
                    <a:pt x="3390" y="20902"/>
                    <a:pt x="5649" y="15818"/>
                    <a:pt x="9039" y="11863"/>
                  </a:cubicBezTo>
                  <a:cubicBezTo>
                    <a:pt x="11863" y="7909"/>
                    <a:pt x="15818" y="5084"/>
                    <a:pt x="20902" y="2825"/>
                  </a:cubicBezTo>
                  <a:cubicBezTo>
                    <a:pt x="25986" y="565"/>
                    <a:pt x="31636" y="0"/>
                    <a:pt x="37850" y="0"/>
                  </a:cubicBezTo>
                  <a:cubicBezTo>
                    <a:pt x="44629" y="0"/>
                    <a:pt x="50843" y="1130"/>
                    <a:pt x="55362" y="2825"/>
                  </a:cubicBezTo>
                  <a:cubicBezTo>
                    <a:pt x="59882" y="4519"/>
                    <a:pt x="63836" y="7909"/>
                    <a:pt x="66661" y="11863"/>
                  </a:cubicBezTo>
                  <a:cubicBezTo>
                    <a:pt x="69486" y="15818"/>
                    <a:pt x="71745" y="20902"/>
                    <a:pt x="72875" y="26551"/>
                  </a:cubicBezTo>
                  <a:cubicBezTo>
                    <a:pt x="74005" y="32201"/>
                    <a:pt x="75135" y="38980"/>
                    <a:pt x="75135" y="46324"/>
                  </a:cubicBezTo>
                  <a:close/>
                  <a:moveTo>
                    <a:pt x="51973" y="46324"/>
                  </a:moveTo>
                  <a:cubicBezTo>
                    <a:pt x="51973" y="35590"/>
                    <a:pt x="50843" y="27681"/>
                    <a:pt x="48583" y="23162"/>
                  </a:cubicBezTo>
                  <a:cubicBezTo>
                    <a:pt x="46324" y="18642"/>
                    <a:pt x="42934" y="16383"/>
                    <a:pt x="37850" y="16383"/>
                  </a:cubicBezTo>
                  <a:cubicBezTo>
                    <a:pt x="32766" y="16383"/>
                    <a:pt x="29376" y="18642"/>
                    <a:pt x="27116" y="23162"/>
                  </a:cubicBezTo>
                  <a:cubicBezTo>
                    <a:pt x="24857" y="27681"/>
                    <a:pt x="23727" y="35590"/>
                    <a:pt x="23727" y="46889"/>
                  </a:cubicBezTo>
                  <a:cubicBezTo>
                    <a:pt x="23727" y="57622"/>
                    <a:pt x="24857" y="65531"/>
                    <a:pt x="27116" y="70050"/>
                  </a:cubicBezTo>
                  <a:cubicBezTo>
                    <a:pt x="29376" y="74570"/>
                    <a:pt x="32766" y="77394"/>
                    <a:pt x="37850" y="77394"/>
                  </a:cubicBezTo>
                  <a:cubicBezTo>
                    <a:pt x="42934" y="77394"/>
                    <a:pt x="46324" y="75135"/>
                    <a:pt x="48583" y="70050"/>
                  </a:cubicBezTo>
                  <a:cubicBezTo>
                    <a:pt x="50843" y="64966"/>
                    <a:pt x="51973" y="57057"/>
                    <a:pt x="51973" y="46324"/>
                  </a:cubicBezTo>
                  <a:close/>
                </a:path>
              </a:pathLst>
            </a:custGeom>
            <a:solidFill>
              <a:schemeClr val="tx2"/>
            </a:solidFill>
            <a:ln w="19050" cap="rnd">
              <a:solidFill>
                <a:schemeClr val="bg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283">
              <a:extLst>
                <a:ext uri="{FF2B5EF4-FFF2-40B4-BE49-F238E27FC236}">
                  <a16:creationId xmlns:a16="http://schemas.microsoft.com/office/drawing/2014/main" id="{ABD98D8B-A3A4-444F-8B1C-07E84CF210B3}"/>
                </a:ext>
              </a:extLst>
            </p:cNvPr>
            <p:cNvSpPr/>
            <p:nvPr/>
          </p:nvSpPr>
          <p:spPr>
            <a:xfrm>
              <a:off x="5545272" y="5778776"/>
              <a:ext cx="72875" cy="93777"/>
            </a:xfrm>
            <a:custGeom>
              <a:avLst/>
              <a:gdLst>
                <a:gd name="connsiteX0" fmla="*/ 72875 w 72875"/>
                <a:gd name="connsiteY0" fmla="*/ 46889 h 93777"/>
                <a:gd name="connsiteX1" fmla="*/ 70615 w 72875"/>
                <a:gd name="connsiteY1" fmla="*/ 67226 h 93777"/>
                <a:gd name="connsiteX2" fmla="*/ 64401 w 72875"/>
                <a:gd name="connsiteY2" fmla="*/ 81914 h 93777"/>
                <a:gd name="connsiteX3" fmla="*/ 53103 w 72875"/>
                <a:gd name="connsiteY3" fmla="*/ 90953 h 93777"/>
                <a:gd name="connsiteX4" fmla="*/ 36155 w 72875"/>
                <a:gd name="connsiteY4" fmla="*/ 93777 h 93777"/>
                <a:gd name="connsiteX5" fmla="*/ 19207 w 72875"/>
                <a:gd name="connsiteY5" fmla="*/ 90953 h 93777"/>
                <a:gd name="connsiteX6" fmla="*/ 7909 w 72875"/>
                <a:gd name="connsiteY6" fmla="*/ 81914 h 93777"/>
                <a:gd name="connsiteX7" fmla="*/ 1695 w 72875"/>
                <a:gd name="connsiteY7" fmla="*/ 67226 h 93777"/>
                <a:gd name="connsiteX8" fmla="*/ 0 w 72875"/>
                <a:gd name="connsiteY8" fmla="*/ 46889 h 93777"/>
                <a:gd name="connsiteX9" fmla="*/ 2260 w 72875"/>
                <a:gd name="connsiteY9" fmla="*/ 26551 h 93777"/>
                <a:gd name="connsiteX10" fmla="*/ 8474 w 72875"/>
                <a:gd name="connsiteY10" fmla="*/ 11863 h 93777"/>
                <a:gd name="connsiteX11" fmla="*/ 19772 w 72875"/>
                <a:gd name="connsiteY11" fmla="*/ 2825 h 93777"/>
                <a:gd name="connsiteX12" fmla="*/ 36155 w 72875"/>
                <a:gd name="connsiteY12" fmla="*/ 0 h 93777"/>
                <a:gd name="connsiteX13" fmla="*/ 53103 w 72875"/>
                <a:gd name="connsiteY13" fmla="*/ 2825 h 93777"/>
                <a:gd name="connsiteX14" fmla="*/ 64401 w 72875"/>
                <a:gd name="connsiteY14" fmla="*/ 11863 h 93777"/>
                <a:gd name="connsiteX15" fmla="*/ 70615 w 72875"/>
                <a:gd name="connsiteY15" fmla="*/ 26551 h 93777"/>
                <a:gd name="connsiteX16" fmla="*/ 72875 w 72875"/>
                <a:gd name="connsiteY16" fmla="*/ 46889 h 93777"/>
                <a:gd name="connsiteX17" fmla="*/ 49713 w 72875"/>
                <a:gd name="connsiteY17" fmla="*/ 46889 h 93777"/>
                <a:gd name="connsiteX18" fmla="*/ 46324 w 72875"/>
                <a:gd name="connsiteY18" fmla="*/ 23727 h 93777"/>
                <a:gd name="connsiteX19" fmla="*/ 36155 w 72875"/>
                <a:gd name="connsiteY19" fmla="*/ 16948 h 93777"/>
                <a:gd name="connsiteX20" fmla="*/ 25986 w 72875"/>
                <a:gd name="connsiteY20" fmla="*/ 23727 h 93777"/>
                <a:gd name="connsiteX21" fmla="*/ 22597 w 72875"/>
                <a:gd name="connsiteY21" fmla="*/ 47454 h 93777"/>
                <a:gd name="connsiteX22" fmla="*/ 25986 w 72875"/>
                <a:gd name="connsiteY22" fmla="*/ 70615 h 93777"/>
                <a:gd name="connsiteX23" fmla="*/ 36155 w 72875"/>
                <a:gd name="connsiteY23" fmla="*/ 77959 h 93777"/>
                <a:gd name="connsiteX24" fmla="*/ 46324 w 72875"/>
                <a:gd name="connsiteY24" fmla="*/ 70615 h 93777"/>
                <a:gd name="connsiteX25" fmla="*/ 49713 w 72875"/>
                <a:gd name="connsiteY25" fmla="*/ 46889 h 9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2875" h="93777">
                  <a:moveTo>
                    <a:pt x="72875" y="46889"/>
                  </a:moveTo>
                  <a:cubicBezTo>
                    <a:pt x="72875" y="54233"/>
                    <a:pt x="72310" y="61577"/>
                    <a:pt x="70615" y="67226"/>
                  </a:cubicBezTo>
                  <a:cubicBezTo>
                    <a:pt x="69486" y="73440"/>
                    <a:pt x="67226" y="77959"/>
                    <a:pt x="64401" y="81914"/>
                  </a:cubicBezTo>
                  <a:cubicBezTo>
                    <a:pt x="61577" y="85868"/>
                    <a:pt x="57622" y="88693"/>
                    <a:pt x="53103" y="90953"/>
                  </a:cubicBezTo>
                  <a:cubicBezTo>
                    <a:pt x="48583" y="93212"/>
                    <a:pt x="42934" y="93777"/>
                    <a:pt x="36155" y="93777"/>
                  </a:cubicBezTo>
                  <a:cubicBezTo>
                    <a:pt x="29376" y="93777"/>
                    <a:pt x="23727" y="92647"/>
                    <a:pt x="19207" y="90953"/>
                  </a:cubicBezTo>
                  <a:cubicBezTo>
                    <a:pt x="14688" y="88693"/>
                    <a:pt x="10734" y="85868"/>
                    <a:pt x="7909" y="81914"/>
                  </a:cubicBezTo>
                  <a:cubicBezTo>
                    <a:pt x="5084" y="77959"/>
                    <a:pt x="2825" y="72875"/>
                    <a:pt x="1695" y="67226"/>
                  </a:cubicBezTo>
                  <a:cubicBezTo>
                    <a:pt x="565" y="61577"/>
                    <a:pt x="0" y="54798"/>
                    <a:pt x="0" y="46889"/>
                  </a:cubicBezTo>
                  <a:cubicBezTo>
                    <a:pt x="0" y="38980"/>
                    <a:pt x="565" y="32201"/>
                    <a:pt x="2260" y="26551"/>
                  </a:cubicBezTo>
                  <a:cubicBezTo>
                    <a:pt x="3390" y="20902"/>
                    <a:pt x="5649" y="15818"/>
                    <a:pt x="8474" y="11863"/>
                  </a:cubicBezTo>
                  <a:cubicBezTo>
                    <a:pt x="11298" y="7909"/>
                    <a:pt x="15253" y="5084"/>
                    <a:pt x="19772" y="2825"/>
                  </a:cubicBezTo>
                  <a:cubicBezTo>
                    <a:pt x="24292" y="565"/>
                    <a:pt x="29941" y="0"/>
                    <a:pt x="36155" y="0"/>
                  </a:cubicBezTo>
                  <a:cubicBezTo>
                    <a:pt x="42934" y="0"/>
                    <a:pt x="48583" y="1130"/>
                    <a:pt x="53103" y="2825"/>
                  </a:cubicBezTo>
                  <a:cubicBezTo>
                    <a:pt x="57622" y="4519"/>
                    <a:pt x="61577" y="7909"/>
                    <a:pt x="64401" y="11863"/>
                  </a:cubicBezTo>
                  <a:cubicBezTo>
                    <a:pt x="67226" y="15818"/>
                    <a:pt x="69486" y="20902"/>
                    <a:pt x="70615" y="26551"/>
                  </a:cubicBezTo>
                  <a:cubicBezTo>
                    <a:pt x="71745" y="32201"/>
                    <a:pt x="72875" y="39545"/>
                    <a:pt x="72875" y="46889"/>
                  </a:cubicBezTo>
                  <a:close/>
                  <a:moveTo>
                    <a:pt x="49713" y="46889"/>
                  </a:moveTo>
                  <a:cubicBezTo>
                    <a:pt x="49713" y="36155"/>
                    <a:pt x="48583" y="28246"/>
                    <a:pt x="46324" y="23727"/>
                  </a:cubicBezTo>
                  <a:cubicBezTo>
                    <a:pt x="44064" y="19207"/>
                    <a:pt x="40674" y="16948"/>
                    <a:pt x="36155" y="16948"/>
                  </a:cubicBezTo>
                  <a:cubicBezTo>
                    <a:pt x="31071" y="16948"/>
                    <a:pt x="27681" y="19207"/>
                    <a:pt x="25986" y="23727"/>
                  </a:cubicBezTo>
                  <a:cubicBezTo>
                    <a:pt x="23727" y="28246"/>
                    <a:pt x="22597" y="36155"/>
                    <a:pt x="22597" y="47454"/>
                  </a:cubicBezTo>
                  <a:cubicBezTo>
                    <a:pt x="22597" y="58187"/>
                    <a:pt x="23727" y="66096"/>
                    <a:pt x="25986" y="70615"/>
                  </a:cubicBezTo>
                  <a:cubicBezTo>
                    <a:pt x="28246" y="75135"/>
                    <a:pt x="31636" y="77959"/>
                    <a:pt x="36155" y="77959"/>
                  </a:cubicBezTo>
                  <a:cubicBezTo>
                    <a:pt x="40674" y="77959"/>
                    <a:pt x="44629" y="75700"/>
                    <a:pt x="46324" y="70615"/>
                  </a:cubicBezTo>
                  <a:cubicBezTo>
                    <a:pt x="48583" y="65531"/>
                    <a:pt x="49713" y="57622"/>
                    <a:pt x="49713" y="46889"/>
                  </a:cubicBezTo>
                  <a:close/>
                </a:path>
              </a:pathLst>
            </a:custGeom>
            <a:solidFill>
              <a:schemeClr val="tx2"/>
            </a:solidFill>
            <a:ln w="19050" cap="rnd">
              <a:solidFill>
                <a:schemeClr val="bg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284">
              <a:extLst>
                <a:ext uri="{FF2B5EF4-FFF2-40B4-BE49-F238E27FC236}">
                  <a16:creationId xmlns:a16="http://schemas.microsoft.com/office/drawing/2014/main" id="{DB6FE73E-7939-4637-9EC3-0B8167B43700}"/>
                </a:ext>
              </a:extLst>
            </p:cNvPr>
            <p:cNvSpPr/>
            <p:nvPr/>
          </p:nvSpPr>
          <p:spPr>
            <a:xfrm>
              <a:off x="5630011" y="5812671"/>
              <a:ext cx="89822" cy="59316"/>
            </a:xfrm>
            <a:custGeom>
              <a:avLst/>
              <a:gdLst>
                <a:gd name="connsiteX0" fmla="*/ 35025 w 89822"/>
                <a:gd name="connsiteY0" fmla="*/ 18642 h 59316"/>
                <a:gd name="connsiteX1" fmla="*/ 30506 w 89822"/>
                <a:gd name="connsiteY1" fmla="*/ 32766 h 59316"/>
                <a:gd name="connsiteX2" fmla="*/ 17513 w 89822"/>
                <a:gd name="connsiteY2" fmla="*/ 37285 h 59316"/>
                <a:gd name="connsiteX3" fmla="*/ 4519 w 89822"/>
                <a:gd name="connsiteY3" fmla="*/ 32766 h 59316"/>
                <a:gd name="connsiteX4" fmla="*/ 0 w 89822"/>
                <a:gd name="connsiteY4" fmla="*/ 18642 h 59316"/>
                <a:gd name="connsiteX5" fmla="*/ 4519 w 89822"/>
                <a:gd name="connsiteY5" fmla="*/ 4519 h 59316"/>
                <a:gd name="connsiteX6" fmla="*/ 17513 w 89822"/>
                <a:gd name="connsiteY6" fmla="*/ 0 h 59316"/>
                <a:gd name="connsiteX7" fmla="*/ 30506 w 89822"/>
                <a:gd name="connsiteY7" fmla="*/ 4519 h 59316"/>
                <a:gd name="connsiteX8" fmla="*/ 35025 w 89822"/>
                <a:gd name="connsiteY8" fmla="*/ 18642 h 59316"/>
                <a:gd name="connsiteX9" fmla="*/ 23727 w 89822"/>
                <a:gd name="connsiteY9" fmla="*/ 18642 h 59316"/>
                <a:gd name="connsiteX10" fmla="*/ 22032 w 89822"/>
                <a:gd name="connsiteY10" fmla="*/ 10169 h 59316"/>
                <a:gd name="connsiteX11" fmla="*/ 17513 w 89822"/>
                <a:gd name="connsiteY11" fmla="*/ 7909 h 59316"/>
                <a:gd name="connsiteX12" fmla="*/ 12993 w 89822"/>
                <a:gd name="connsiteY12" fmla="*/ 10169 h 59316"/>
                <a:gd name="connsiteX13" fmla="*/ 11298 w 89822"/>
                <a:gd name="connsiteY13" fmla="*/ 18642 h 59316"/>
                <a:gd name="connsiteX14" fmla="*/ 12993 w 89822"/>
                <a:gd name="connsiteY14" fmla="*/ 27116 h 59316"/>
                <a:gd name="connsiteX15" fmla="*/ 17513 w 89822"/>
                <a:gd name="connsiteY15" fmla="*/ 29376 h 59316"/>
                <a:gd name="connsiteX16" fmla="*/ 22032 w 89822"/>
                <a:gd name="connsiteY16" fmla="*/ 27116 h 59316"/>
                <a:gd name="connsiteX17" fmla="*/ 23727 w 89822"/>
                <a:gd name="connsiteY17" fmla="*/ 18642 h 59316"/>
                <a:gd name="connsiteX18" fmla="*/ 65531 w 89822"/>
                <a:gd name="connsiteY18" fmla="*/ 1130 h 59316"/>
                <a:gd name="connsiteX19" fmla="*/ 35590 w 89822"/>
                <a:gd name="connsiteY19" fmla="*/ 58752 h 59316"/>
                <a:gd name="connsiteX20" fmla="*/ 25422 w 89822"/>
                <a:gd name="connsiteY20" fmla="*/ 58752 h 59316"/>
                <a:gd name="connsiteX21" fmla="*/ 55362 w 89822"/>
                <a:gd name="connsiteY21" fmla="*/ 1130 h 59316"/>
                <a:gd name="connsiteX22" fmla="*/ 65531 w 89822"/>
                <a:gd name="connsiteY22" fmla="*/ 1130 h 59316"/>
                <a:gd name="connsiteX23" fmla="*/ 89823 w 89822"/>
                <a:gd name="connsiteY23" fmla="*/ 40674 h 59316"/>
                <a:gd name="connsiteX24" fmla="*/ 85303 w 89822"/>
                <a:gd name="connsiteY24" fmla="*/ 54798 h 59316"/>
                <a:gd name="connsiteX25" fmla="*/ 72310 w 89822"/>
                <a:gd name="connsiteY25" fmla="*/ 59317 h 59316"/>
                <a:gd name="connsiteX26" fmla="*/ 59317 w 89822"/>
                <a:gd name="connsiteY26" fmla="*/ 54798 h 59316"/>
                <a:gd name="connsiteX27" fmla="*/ 54798 w 89822"/>
                <a:gd name="connsiteY27" fmla="*/ 40674 h 59316"/>
                <a:gd name="connsiteX28" fmla="*/ 59317 w 89822"/>
                <a:gd name="connsiteY28" fmla="*/ 26551 h 59316"/>
                <a:gd name="connsiteX29" fmla="*/ 72310 w 89822"/>
                <a:gd name="connsiteY29" fmla="*/ 22032 h 59316"/>
                <a:gd name="connsiteX30" fmla="*/ 85303 w 89822"/>
                <a:gd name="connsiteY30" fmla="*/ 26551 h 59316"/>
                <a:gd name="connsiteX31" fmla="*/ 89823 w 89822"/>
                <a:gd name="connsiteY31" fmla="*/ 40674 h 59316"/>
                <a:gd name="connsiteX32" fmla="*/ 78524 w 89822"/>
                <a:gd name="connsiteY32" fmla="*/ 40674 h 59316"/>
                <a:gd name="connsiteX33" fmla="*/ 76830 w 89822"/>
                <a:gd name="connsiteY33" fmla="*/ 32201 h 59316"/>
                <a:gd name="connsiteX34" fmla="*/ 72310 w 89822"/>
                <a:gd name="connsiteY34" fmla="*/ 29941 h 59316"/>
                <a:gd name="connsiteX35" fmla="*/ 67791 w 89822"/>
                <a:gd name="connsiteY35" fmla="*/ 32201 h 59316"/>
                <a:gd name="connsiteX36" fmla="*/ 66096 w 89822"/>
                <a:gd name="connsiteY36" fmla="*/ 40674 h 59316"/>
                <a:gd name="connsiteX37" fmla="*/ 67791 w 89822"/>
                <a:gd name="connsiteY37" fmla="*/ 49148 h 59316"/>
                <a:gd name="connsiteX38" fmla="*/ 72310 w 89822"/>
                <a:gd name="connsiteY38" fmla="*/ 51408 h 59316"/>
                <a:gd name="connsiteX39" fmla="*/ 76830 w 89822"/>
                <a:gd name="connsiteY39" fmla="*/ 49148 h 59316"/>
                <a:gd name="connsiteX40" fmla="*/ 78524 w 89822"/>
                <a:gd name="connsiteY40" fmla="*/ 40674 h 59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89822" h="59316">
                  <a:moveTo>
                    <a:pt x="35025" y="18642"/>
                  </a:moveTo>
                  <a:cubicBezTo>
                    <a:pt x="35025" y="24857"/>
                    <a:pt x="33330" y="29941"/>
                    <a:pt x="30506" y="32766"/>
                  </a:cubicBezTo>
                  <a:cubicBezTo>
                    <a:pt x="27681" y="35590"/>
                    <a:pt x="23162" y="37285"/>
                    <a:pt x="17513" y="37285"/>
                  </a:cubicBezTo>
                  <a:cubicBezTo>
                    <a:pt x="11863" y="37285"/>
                    <a:pt x="7344" y="35590"/>
                    <a:pt x="4519" y="32766"/>
                  </a:cubicBezTo>
                  <a:cubicBezTo>
                    <a:pt x="1695" y="29376"/>
                    <a:pt x="0" y="24857"/>
                    <a:pt x="0" y="18642"/>
                  </a:cubicBezTo>
                  <a:cubicBezTo>
                    <a:pt x="0" y="12428"/>
                    <a:pt x="1695" y="7344"/>
                    <a:pt x="4519" y="4519"/>
                  </a:cubicBezTo>
                  <a:cubicBezTo>
                    <a:pt x="7344" y="1695"/>
                    <a:pt x="11863" y="0"/>
                    <a:pt x="17513" y="0"/>
                  </a:cubicBezTo>
                  <a:cubicBezTo>
                    <a:pt x="23162" y="0"/>
                    <a:pt x="27681" y="1695"/>
                    <a:pt x="30506" y="4519"/>
                  </a:cubicBezTo>
                  <a:cubicBezTo>
                    <a:pt x="33330" y="7344"/>
                    <a:pt x="35025" y="11863"/>
                    <a:pt x="35025" y="18642"/>
                  </a:cubicBezTo>
                  <a:close/>
                  <a:moveTo>
                    <a:pt x="23727" y="18642"/>
                  </a:moveTo>
                  <a:cubicBezTo>
                    <a:pt x="23727" y="14688"/>
                    <a:pt x="23162" y="11863"/>
                    <a:pt x="22032" y="10169"/>
                  </a:cubicBezTo>
                  <a:cubicBezTo>
                    <a:pt x="20902" y="8474"/>
                    <a:pt x="19772" y="7909"/>
                    <a:pt x="17513" y="7909"/>
                  </a:cubicBezTo>
                  <a:cubicBezTo>
                    <a:pt x="15253" y="7909"/>
                    <a:pt x="13558" y="8474"/>
                    <a:pt x="12993" y="10169"/>
                  </a:cubicBezTo>
                  <a:cubicBezTo>
                    <a:pt x="11863" y="11863"/>
                    <a:pt x="11298" y="14688"/>
                    <a:pt x="11298" y="18642"/>
                  </a:cubicBezTo>
                  <a:cubicBezTo>
                    <a:pt x="11298" y="22597"/>
                    <a:pt x="11863" y="25422"/>
                    <a:pt x="12993" y="27116"/>
                  </a:cubicBezTo>
                  <a:cubicBezTo>
                    <a:pt x="14123" y="28811"/>
                    <a:pt x="15253" y="29376"/>
                    <a:pt x="17513" y="29376"/>
                  </a:cubicBezTo>
                  <a:cubicBezTo>
                    <a:pt x="19772" y="29376"/>
                    <a:pt x="21467" y="28811"/>
                    <a:pt x="22032" y="27116"/>
                  </a:cubicBezTo>
                  <a:cubicBezTo>
                    <a:pt x="23162" y="25422"/>
                    <a:pt x="23727" y="22597"/>
                    <a:pt x="23727" y="18642"/>
                  </a:cubicBezTo>
                  <a:close/>
                  <a:moveTo>
                    <a:pt x="65531" y="1130"/>
                  </a:moveTo>
                  <a:lnTo>
                    <a:pt x="35590" y="58752"/>
                  </a:lnTo>
                  <a:lnTo>
                    <a:pt x="25422" y="58752"/>
                  </a:lnTo>
                  <a:lnTo>
                    <a:pt x="55362" y="1130"/>
                  </a:lnTo>
                  <a:lnTo>
                    <a:pt x="65531" y="1130"/>
                  </a:lnTo>
                  <a:close/>
                  <a:moveTo>
                    <a:pt x="89823" y="40674"/>
                  </a:moveTo>
                  <a:cubicBezTo>
                    <a:pt x="89823" y="46889"/>
                    <a:pt x="88128" y="51973"/>
                    <a:pt x="85303" y="54798"/>
                  </a:cubicBezTo>
                  <a:cubicBezTo>
                    <a:pt x="82479" y="57622"/>
                    <a:pt x="77959" y="59317"/>
                    <a:pt x="72310" y="59317"/>
                  </a:cubicBezTo>
                  <a:cubicBezTo>
                    <a:pt x="66661" y="59317"/>
                    <a:pt x="62142" y="57622"/>
                    <a:pt x="59317" y="54798"/>
                  </a:cubicBezTo>
                  <a:cubicBezTo>
                    <a:pt x="56492" y="51408"/>
                    <a:pt x="54798" y="46889"/>
                    <a:pt x="54798" y="40674"/>
                  </a:cubicBezTo>
                  <a:cubicBezTo>
                    <a:pt x="54798" y="34460"/>
                    <a:pt x="56492" y="29376"/>
                    <a:pt x="59317" y="26551"/>
                  </a:cubicBezTo>
                  <a:cubicBezTo>
                    <a:pt x="62142" y="23727"/>
                    <a:pt x="66661" y="22032"/>
                    <a:pt x="72310" y="22032"/>
                  </a:cubicBezTo>
                  <a:cubicBezTo>
                    <a:pt x="77959" y="22032"/>
                    <a:pt x="82479" y="23727"/>
                    <a:pt x="85303" y="26551"/>
                  </a:cubicBezTo>
                  <a:cubicBezTo>
                    <a:pt x="88128" y="29376"/>
                    <a:pt x="89823" y="34460"/>
                    <a:pt x="89823" y="40674"/>
                  </a:cubicBezTo>
                  <a:close/>
                  <a:moveTo>
                    <a:pt x="78524" y="40674"/>
                  </a:moveTo>
                  <a:cubicBezTo>
                    <a:pt x="78524" y="36720"/>
                    <a:pt x="77959" y="33895"/>
                    <a:pt x="76830" y="32201"/>
                  </a:cubicBezTo>
                  <a:cubicBezTo>
                    <a:pt x="75700" y="30506"/>
                    <a:pt x="74570" y="29941"/>
                    <a:pt x="72310" y="29941"/>
                  </a:cubicBezTo>
                  <a:cubicBezTo>
                    <a:pt x="70050" y="29941"/>
                    <a:pt x="68356" y="30506"/>
                    <a:pt x="67791" y="32201"/>
                  </a:cubicBezTo>
                  <a:cubicBezTo>
                    <a:pt x="66661" y="33895"/>
                    <a:pt x="66096" y="36720"/>
                    <a:pt x="66096" y="40674"/>
                  </a:cubicBezTo>
                  <a:cubicBezTo>
                    <a:pt x="66096" y="44629"/>
                    <a:pt x="66661" y="47454"/>
                    <a:pt x="67791" y="49148"/>
                  </a:cubicBezTo>
                  <a:cubicBezTo>
                    <a:pt x="68921" y="50843"/>
                    <a:pt x="70050" y="51408"/>
                    <a:pt x="72310" y="51408"/>
                  </a:cubicBezTo>
                  <a:cubicBezTo>
                    <a:pt x="74570" y="51408"/>
                    <a:pt x="76265" y="50843"/>
                    <a:pt x="76830" y="49148"/>
                  </a:cubicBezTo>
                  <a:cubicBezTo>
                    <a:pt x="77959" y="48018"/>
                    <a:pt x="78524" y="45194"/>
                    <a:pt x="78524" y="40674"/>
                  </a:cubicBezTo>
                  <a:close/>
                </a:path>
              </a:pathLst>
            </a:custGeom>
            <a:solidFill>
              <a:schemeClr val="tx2"/>
            </a:solidFill>
            <a:ln w="1905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85">
              <a:extLst>
                <a:ext uri="{FF2B5EF4-FFF2-40B4-BE49-F238E27FC236}">
                  <a16:creationId xmlns:a16="http://schemas.microsoft.com/office/drawing/2014/main" id="{FA037528-C3C4-4067-BF28-18F3D88C8244}"/>
                </a:ext>
              </a:extLst>
            </p:cNvPr>
            <p:cNvSpPr/>
            <p:nvPr/>
          </p:nvSpPr>
          <p:spPr>
            <a:xfrm>
              <a:off x="5280888" y="5575403"/>
              <a:ext cx="507300" cy="507300"/>
            </a:xfrm>
            <a:custGeom>
              <a:avLst/>
              <a:gdLst>
                <a:gd name="connsiteX0" fmla="*/ 253650 w 507300"/>
                <a:gd name="connsiteY0" fmla="*/ 507301 h 507300"/>
                <a:gd name="connsiteX1" fmla="*/ 0 w 507300"/>
                <a:gd name="connsiteY1" fmla="*/ 253650 h 507300"/>
                <a:gd name="connsiteX2" fmla="*/ 253650 w 507300"/>
                <a:gd name="connsiteY2" fmla="*/ 0 h 507300"/>
                <a:gd name="connsiteX3" fmla="*/ 507301 w 507300"/>
                <a:gd name="connsiteY3" fmla="*/ 253650 h 507300"/>
                <a:gd name="connsiteX4" fmla="*/ 253650 w 507300"/>
                <a:gd name="connsiteY4" fmla="*/ 507301 h 507300"/>
                <a:gd name="connsiteX5" fmla="*/ 253650 w 507300"/>
                <a:gd name="connsiteY5" fmla="*/ 16948 h 507300"/>
                <a:gd name="connsiteX6" fmla="*/ 16948 w 507300"/>
                <a:gd name="connsiteY6" fmla="*/ 253650 h 507300"/>
                <a:gd name="connsiteX7" fmla="*/ 253650 w 507300"/>
                <a:gd name="connsiteY7" fmla="*/ 490353 h 507300"/>
                <a:gd name="connsiteX8" fmla="*/ 490353 w 507300"/>
                <a:gd name="connsiteY8" fmla="*/ 253650 h 507300"/>
                <a:gd name="connsiteX9" fmla="*/ 253650 w 507300"/>
                <a:gd name="connsiteY9" fmla="*/ 16948 h 507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300" h="507300">
                  <a:moveTo>
                    <a:pt x="253650" y="507301"/>
                  </a:moveTo>
                  <a:cubicBezTo>
                    <a:pt x="114114" y="507301"/>
                    <a:pt x="0" y="393751"/>
                    <a:pt x="0" y="253650"/>
                  </a:cubicBezTo>
                  <a:cubicBezTo>
                    <a:pt x="0" y="113550"/>
                    <a:pt x="114114" y="0"/>
                    <a:pt x="253650" y="0"/>
                  </a:cubicBezTo>
                  <a:cubicBezTo>
                    <a:pt x="393186" y="0"/>
                    <a:pt x="507301" y="113550"/>
                    <a:pt x="507301" y="253650"/>
                  </a:cubicBezTo>
                  <a:cubicBezTo>
                    <a:pt x="507301" y="393751"/>
                    <a:pt x="393186" y="507301"/>
                    <a:pt x="253650" y="507301"/>
                  </a:cubicBezTo>
                  <a:close/>
                  <a:moveTo>
                    <a:pt x="253650" y="16948"/>
                  </a:moveTo>
                  <a:cubicBezTo>
                    <a:pt x="123153" y="16948"/>
                    <a:pt x="16948" y="123153"/>
                    <a:pt x="16948" y="253650"/>
                  </a:cubicBezTo>
                  <a:cubicBezTo>
                    <a:pt x="16948" y="384148"/>
                    <a:pt x="123153" y="490353"/>
                    <a:pt x="253650" y="490353"/>
                  </a:cubicBezTo>
                  <a:cubicBezTo>
                    <a:pt x="384148" y="490353"/>
                    <a:pt x="490353" y="384148"/>
                    <a:pt x="490353" y="253650"/>
                  </a:cubicBezTo>
                  <a:cubicBezTo>
                    <a:pt x="490353" y="123153"/>
                    <a:pt x="384148" y="16948"/>
                    <a:pt x="253650" y="16948"/>
                  </a:cubicBezTo>
                  <a:close/>
                </a:path>
              </a:pathLst>
            </a:custGeom>
            <a:solidFill>
              <a:schemeClr val="tx2"/>
            </a:solidFill>
            <a:ln w="1905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271867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72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ругие критерии блокировки:</a:t>
            </a:r>
            <a:endParaRPr lang="ru-RU" dirty="0"/>
          </a:p>
        </p:txBody>
      </p:sp>
      <p:sp>
        <p:nvSpPr>
          <p:cNvPr id="4" name="Прямоугольник 76">
            <a:extLst>
              <a:ext uri="{FF2B5EF4-FFF2-40B4-BE49-F238E27FC236}">
                <a16:creationId xmlns:a16="http://schemas.microsoft.com/office/drawing/2014/main" id="{A43B2C6E-C7E8-4F3B-96AC-834A864563D8}"/>
              </a:ext>
            </a:extLst>
          </p:cNvPr>
          <p:cNvSpPr/>
          <p:nvPr/>
        </p:nvSpPr>
        <p:spPr>
          <a:xfrm>
            <a:off x="737496" y="1629843"/>
            <a:ext cx="1980115" cy="430887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Инородные включени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4215B2DE-B630-45DD-97D3-3ACE32B0B08B}"/>
              </a:ext>
            </a:extLst>
          </p:cNvPr>
          <p:cNvGrpSpPr/>
          <p:nvPr/>
        </p:nvGrpSpPr>
        <p:grpSpPr>
          <a:xfrm>
            <a:off x="566080" y="773841"/>
            <a:ext cx="2336955" cy="1751579"/>
            <a:chOff x="566080" y="1853472"/>
            <a:chExt cx="2336955" cy="1412177"/>
          </a:xfrm>
        </p:grpSpPr>
        <p:sp>
          <p:nvSpPr>
            <p:cNvPr id="7" name="Прямоугольник 36">
              <a:extLst>
                <a:ext uri="{FF2B5EF4-FFF2-40B4-BE49-F238E27FC236}">
                  <a16:creationId xmlns:a16="http://schemas.microsoft.com/office/drawing/2014/main" id="{919A5363-DBBA-4A44-A12D-BEF2F1791933}"/>
                </a:ext>
              </a:extLst>
            </p:cNvPr>
            <p:cNvSpPr/>
            <p:nvPr/>
          </p:nvSpPr>
          <p:spPr>
            <a:xfrm>
              <a:off x="571160" y="1853472"/>
              <a:ext cx="2330346" cy="1412177"/>
            </a:xfrm>
            <a:prstGeom prst="rect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</a:ln>
            <a:effectLst/>
          </p:spPr>
          <p:txBody>
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6E1662CA-54E5-4D50-BD07-62AD5F80F62B}"/>
                </a:ext>
              </a:extLst>
            </p:cNvPr>
            <p:cNvCxnSpPr>
              <a:cxnSpLocks/>
            </p:cNvCxnSpPr>
            <p:nvPr/>
          </p:nvCxnSpPr>
          <p:spPr>
            <a:xfrm>
              <a:off x="566080" y="1863821"/>
              <a:ext cx="2336955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Прямоугольник 76">
            <a:extLst>
              <a:ext uri="{FF2B5EF4-FFF2-40B4-BE49-F238E27FC236}">
                <a16:creationId xmlns:a16="http://schemas.microsoft.com/office/drawing/2014/main" id="{98CD9C60-8D30-4388-BE7A-18E49ABA22D0}"/>
              </a:ext>
            </a:extLst>
          </p:cNvPr>
          <p:cNvSpPr/>
          <p:nvPr/>
        </p:nvSpPr>
        <p:spPr>
          <a:xfrm>
            <a:off x="755456" y="3534873"/>
            <a:ext cx="1980115" cy="215444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Отравление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4F5983CD-89F9-43AB-BCD6-78D956DBECA6}"/>
              </a:ext>
            </a:extLst>
          </p:cNvPr>
          <p:cNvGrpSpPr/>
          <p:nvPr/>
        </p:nvGrpSpPr>
        <p:grpSpPr>
          <a:xfrm>
            <a:off x="566080" y="2807697"/>
            <a:ext cx="2335019" cy="1217980"/>
            <a:chOff x="566080" y="3353729"/>
            <a:chExt cx="2335019" cy="1412177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6E722A90-CB09-4D89-9A1C-65FE056FEA4B}"/>
                </a:ext>
              </a:extLst>
            </p:cNvPr>
            <p:cNvSpPr/>
            <p:nvPr/>
          </p:nvSpPr>
          <p:spPr>
            <a:xfrm>
              <a:off x="571160" y="3353729"/>
              <a:ext cx="2329939" cy="1412177"/>
            </a:xfrm>
            <a:prstGeom prst="rect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</a:ln>
            <a:effectLst/>
          </p:spPr>
          <p:txBody>
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C338B686-B59C-48F0-BCF2-544B4E700419}"/>
                </a:ext>
              </a:extLst>
            </p:cNvPr>
            <p:cNvCxnSpPr>
              <a:cxnSpLocks/>
            </p:cNvCxnSpPr>
            <p:nvPr/>
          </p:nvCxnSpPr>
          <p:spPr>
            <a:xfrm>
              <a:off x="566080" y="3363889"/>
              <a:ext cx="2330011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Прямоугольник 76">
            <a:extLst>
              <a:ext uri="{FF2B5EF4-FFF2-40B4-BE49-F238E27FC236}">
                <a16:creationId xmlns:a16="http://schemas.microsoft.com/office/drawing/2014/main" id="{4A61C804-C0D6-4148-8B93-0E6076B7405B}"/>
              </a:ext>
            </a:extLst>
          </p:cNvPr>
          <p:cNvSpPr/>
          <p:nvPr/>
        </p:nvSpPr>
        <p:spPr>
          <a:xfrm>
            <a:off x="684324" y="5067804"/>
            <a:ext cx="2122381" cy="646331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Различные </a:t>
            </a:r>
            <a:r>
              <a:rPr lang="ru-RU" sz="1400" b="1" dirty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виды </a:t>
            </a:r>
            <a:r>
              <a:rPr lang="ru-RU" sz="1400" b="1" dirty="0" smtClean="0">
                <a:solidFill>
                  <a:schemeClr val="tx2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порчи и несоответствий</a:t>
            </a:r>
            <a:endParaRPr lang="ru-RU" sz="1400" b="1" dirty="0">
              <a:solidFill>
                <a:schemeClr val="tx2"/>
              </a:solidFill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532AAAB-F5E3-483F-B449-AC304DCABBDC}"/>
              </a:ext>
            </a:extLst>
          </p:cNvPr>
          <p:cNvGrpSpPr/>
          <p:nvPr/>
        </p:nvGrpSpPr>
        <p:grpSpPr>
          <a:xfrm>
            <a:off x="566080" y="4114366"/>
            <a:ext cx="2336955" cy="1859715"/>
            <a:chOff x="566080" y="4863304"/>
            <a:chExt cx="2336955" cy="1412177"/>
          </a:xfrm>
        </p:grpSpPr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579D62AB-FB5F-4340-911F-8E737BF5BA70}"/>
                </a:ext>
              </a:extLst>
            </p:cNvPr>
            <p:cNvSpPr/>
            <p:nvPr/>
          </p:nvSpPr>
          <p:spPr>
            <a:xfrm>
              <a:off x="571160" y="4863304"/>
              <a:ext cx="2330274" cy="1412177"/>
            </a:xfrm>
            <a:prstGeom prst="rect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</a:ln>
            <a:effectLst/>
          </p:spPr>
          <p:txBody>
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C4255672-69FE-4723-AB0A-186EF688A3DF}"/>
                </a:ext>
              </a:extLst>
            </p:cNvPr>
            <p:cNvCxnSpPr>
              <a:cxnSpLocks/>
            </p:cNvCxnSpPr>
            <p:nvPr/>
          </p:nvCxnSpPr>
          <p:spPr>
            <a:xfrm>
              <a:off x="566080" y="4870818"/>
              <a:ext cx="2336955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Прямоугольник 36">
            <a:extLst>
              <a:ext uri="{FF2B5EF4-FFF2-40B4-BE49-F238E27FC236}">
                <a16:creationId xmlns:a16="http://schemas.microsoft.com/office/drawing/2014/main" id="{6D38F18C-E444-4641-9CC3-496AB25EB53D}"/>
              </a:ext>
            </a:extLst>
          </p:cNvPr>
          <p:cNvSpPr/>
          <p:nvPr/>
        </p:nvSpPr>
        <p:spPr>
          <a:xfrm>
            <a:off x="3049298" y="803082"/>
            <a:ext cx="8167341" cy="187802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  <a:effectLst/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рямоугольник 36">
            <a:extLst>
              <a:ext uri="{FF2B5EF4-FFF2-40B4-BE49-F238E27FC236}">
                <a16:creationId xmlns:a16="http://schemas.microsoft.com/office/drawing/2014/main" id="{14E550C3-47C4-40D2-84BF-453D7EAC6362}"/>
              </a:ext>
            </a:extLst>
          </p:cNvPr>
          <p:cNvSpPr/>
          <p:nvPr/>
        </p:nvSpPr>
        <p:spPr>
          <a:xfrm>
            <a:off x="3049299" y="2822331"/>
            <a:ext cx="8167340" cy="120334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  <a:effectLst/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Прямоугольник 36">
            <a:extLst>
              <a:ext uri="{FF2B5EF4-FFF2-40B4-BE49-F238E27FC236}">
                <a16:creationId xmlns:a16="http://schemas.microsoft.com/office/drawing/2014/main" id="{191A201A-4417-491B-8B22-3E4A83FD17F5}"/>
              </a:ext>
            </a:extLst>
          </p:cNvPr>
          <p:cNvSpPr/>
          <p:nvPr/>
        </p:nvSpPr>
        <p:spPr>
          <a:xfrm>
            <a:off x="3049299" y="4125189"/>
            <a:ext cx="8167340" cy="184889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  <a:effectLst/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84125FD-9845-9824-CF1F-24E9F78DD52E}"/>
              </a:ext>
            </a:extLst>
          </p:cNvPr>
          <p:cNvSpPr txBox="1"/>
          <p:nvPr/>
        </p:nvSpPr>
        <p:spPr>
          <a:xfrm>
            <a:off x="3139463" y="874562"/>
            <a:ext cx="7868171" cy="1523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/>
              <a:t>Инородные </a:t>
            </a:r>
            <a:r>
              <a:rPr lang="ru-RU" sz="1400" dirty="0"/>
              <a:t>включения (стекло, металл, дерево, камни, твердые частицы, </a:t>
            </a:r>
            <a:r>
              <a:rPr lang="ru-RU" sz="1400" dirty="0" smtClean="0"/>
              <a:t>ветеринарные </a:t>
            </a:r>
            <a:r>
              <a:rPr lang="ru-RU" sz="1400" dirty="0"/>
              <a:t>иглы);</a:t>
            </a:r>
          </a:p>
          <a:p>
            <a:pPr marL="171450" lvl="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/>
              <a:t>Следы </a:t>
            </a:r>
            <a:r>
              <a:rPr lang="ru-RU" sz="1400" dirty="0"/>
              <a:t>жизнедеятельности живых организмов </a:t>
            </a:r>
            <a:r>
              <a:rPr lang="ru-RU" sz="1400" dirty="0" smtClean="0"/>
              <a:t>с </a:t>
            </a:r>
            <a:r>
              <a:rPr lang="ru-RU" sz="1400" dirty="0"/>
              <a:t>присутствием особи или </a:t>
            </a:r>
            <a:r>
              <a:rPr lang="ru-RU" sz="1400" dirty="0" smtClean="0"/>
              <a:t>без;</a:t>
            </a:r>
          </a:p>
          <a:p>
            <a:pPr marL="171450" lvl="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Инородные включения, не влекущие угрозу для жизни (волосы, нитки и др</a:t>
            </a:r>
            <a:r>
              <a:rPr lang="ru-RU" sz="1400" dirty="0" smtClean="0"/>
              <a:t>.);</a:t>
            </a:r>
          </a:p>
          <a:p>
            <a:pPr marL="171450" lvl="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Инородные включения (не твердые, растительного происхождения, связанные со спецификой продукта</a:t>
            </a:r>
            <a:r>
              <a:rPr lang="ru-RU" sz="1400" dirty="0" smtClean="0"/>
              <a:t>). </a:t>
            </a:r>
            <a:endParaRPr lang="ru-RU" sz="1400" b="0" kern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A0B624F-2C9D-F5F0-B7F3-BD647361DE76}"/>
              </a:ext>
            </a:extLst>
          </p:cNvPr>
          <p:cNvSpPr txBox="1"/>
          <p:nvPr/>
        </p:nvSpPr>
        <p:spPr>
          <a:xfrm>
            <a:off x="3139463" y="2953726"/>
            <a:ext cx="38592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/>
              <a:t>Повторные жалобы покупателей</a:t>
            </a:r>
            <a:endParaRPr lang="ru-RU" sz="14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8083CDA-ACCD-0D45-2817-D73E1194CA68}"/>
              </a:ext>
            </a:extLst>
          </p:cNvPr>
          <p:cNvSpPr txBox="1"/>
          <p:nvPr/>
        </p:nvSpPr>
        <p:spPr>
          <a:xfrm>
            <a:off x="3139463" y="4275794"/>
            <a:ext cx="7782917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/>
              <a:t>Несоответствие состава;</a:t>
            </a:r>
            <a:endParaRPr lang="ru-RU" sz="1400" dirty="0"/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/>
              <a:t>Несоответствие упаковки и маркировки;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/>
              <a:t>Товар не выдерживает срока годности;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/>
              <a:t>Товар не соответствует заявленным свойствам;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/>
              <a:t>Воспламенение, самовозгорание.</a:t>
            </a:r>
            <a:endParaRPr lang="ru-RU" sz="1400" dirty="0"/>
          </a:p>
        </p:txBody>
      </p:sp>
      <p:grpSp>
        <p:nvGrpSpPr>
          <p:cNvPr id="28" name="Рисунок 34">
            <a:extLst>
              <a:ext uri="{FF2B5EF4-FFF2-40B4-BE49-F238E27FC236}">
                <a16:creationId xmlns:a16="http://schemas.microsoft.com/office/drawing/2014/main" id="{09A951E9-6A62-40B0-B09E-D7459FC171BE}"/>
              </a:ext>
            </a:extLst>
          </p:cNvPr>
          <p:cNvGrpSpPr/>
          <p:nvPr/>
        </p:nvGrpSpPr>
        <p:grpSpPr>
          <a:xfrm>
            <a:off x="755456" y="946838"/>
            <a:ext cx="451964" cy="418037"/>
            <a:chOff x="11110819" y="1263423"/>
            <a:chExt cx="451964" cy="418037"/>
          </a:xfrm>
          <a:solidFill>
            <a:schemeClr val="tx1"/>
          </a:solidFill>
        </p:grpSpPr>
        <p:sp>
          <p:nvSpPr>
            <p:cNvPr id="29" name="Полилиния: фигура 48">
              <a:extLst>
                <a:ext uri="{FF2B5EF4-FFF2-40B4-BE49-F238E27FC236}">
                  <a16:creationId xmlns:a16="http://schemas.microsoft.com/office/drawing/2014/main" id="{665CDEA9-9602-4CD4-863B-67B64EAF9473}"/>
                </a:ext>
              </a:extLst>
            </p:cNvPr>
            <p:cNvSpPr/>
            <p:nvPr/>
          </p:nvSpPr>
          <p:spPr>
            <a:xfrm>
              <a:off x="11110819" y="1263423"/>
              <a:ext cx="451964" cy="418037"/>
            </a:xfrm>
            <a:custGeom>
              <a:avLst/>
              <a:gdLst>
                <a:gd name="connsiteX0" fmla="*/ 448297 w 451964"/>
                <a:gd name="connsiteY0" fmla="*/ 374408 h 418037"/>
                <a:gd name="connsiteX1" fmla="*/ 251675 w 451964"/>
                <a:gd name="connsiteY1" fmla="*/ 15304 h 418037"/>
                <a:gd name="connsiteX2" fmla="*/ 225983 w 451964"/>
                <a:gd name="connsiteY2" fmla="*/ 0 h 418037"/>
                <a:gd name="connsiteX3" fmla="*/ 200290 w 451964"/>
                <a:gd name="connsiteY3" fmla="*/ 15304 h 418037"/>
                <a:gd name="connsiteX4" fmla="*/ 3668 w 451964"/>
                <a:gd name="connsiteY4" fmla="*/ 374408 h 418037"/>
                <a:gd name="connsiteX5" fmla="*/ 4166 w 451964"/>
                <a:gd name="connsiteY5" fmla="*/ 403649 h 418037"/>
                <a:gd name="connsiteX6" fmla="*/ 29367 w 451964"/>
                <a:gd name="connsiteY6" fmla="*/ 418037 h 418037"/>
                <a:gd name="connsiteX7" fmla="*/ 422593 w 451964"/>
                <a:gd name="connsiteY7" fmla="*/ 418037 h 418037"/>
                <a:gd name="connsiteX8" fmla="*/ 447794 w 451964"/>
                <a:gd name="connsiteY8" fmla="*/ 403649 h 418037"/>
                <a:gd name="connsiteX9" fmla="*/ 448297 w 451964"/>
                <a:gd name="connsiteY9" fmla="*/ 374408 h 418037"/>
                <a:gd name="connsiteX10" fmla="*/ 433219 w 451964"/>
                <a:gd name="connsiteY10" fmla="*/ 395011 h 418037"/>
                <a:gd name="connsiteX11" fmla="*/ 422598 w 451964"/>
                <a:gd name="connsiteY11" fmla="*/ 401090 h 418037"/>
                <a:gd name="connsiteX12" fmla="*/ 29372 w 451964"/>
                <a:gd name="connsiteY12" fmla="*/ 401090 h 418037"/>
                <a:gd name="connsiteX13" fmla="*/ 18752 w 451964"/>
                <a:gd name="connsiteY13" fmla="*/ 395011 h 418037"/>
                <a:gd name="connsiteX14" fmla="*/ 18537 w 451964"/>
                <a:gd name="connsiteY14" fmla="*/ 382543 h 418037"/>
                <a:gd name="connsiteX15" fmla="*/ 215159 w 451964"/>
                <a:gd name="connsiteY15" fmla="*/ 23439 h 418037"/>
                <a:gd name="connsiteX16" fmla="*/ 225988 w 451964"/>
                <a:gd name="connsiteY16" fmla="*/ 16942 h 418037"/>
                <a:gd name="connsiteX17" fmla="*/ 236818 w 451964"/>
                <a:gd name="connsiteY17" fmla="*/ 23439 h 418037"/>
                <a:gd name="connsiteX18" fmla="*/ 433439 w 451964"/>
                <a:gd name="connsiteY18" fmla="*/ 382543 h 418037"/>
                <a:gd name="connsiteX19" fmla="*/ 433219 w 451964"/>
                <a:gd name="connsiteY19" fmla="*/ 395011 h 418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1964" h="418037">
                  <a:moveTo>
                    <a:pt x="448297" y="374408"/>
                  </a:moveTo>
                  <a:lnTo>
                    <a:pt x="251675" y="15304"/>
                  </a:lnTo>
                  <a:cubicBezTo>
                    <a:pt x="246427" y="5723"/>
                    <a:pt x="236823" y="0"/>
                    <a:pt x="225983" y="0"/>
                  </a:cubicBezTo>
                  <a:cubicBezTo>
                    <a:pt x="215142" y="0"/>
                    <a:pt x="205538" y="5723"/>
                    <a:pt x="200290" y="15304"/>
                  </a:cubicBezTo>
                  <a:lnTo>
                    <a:pt x="3668" y="374408"/>
                  </a:lnTo>
                  <a:cubicBezTo>
                    <a:pt x="-1393" y="383651"/>
                    <a:pt x="-1207" y="394582"/>
                    <a:pt x="4166" y="403649"/>
                  </a:cubicBezTo>
                  <a:cubicBezTo>
                    <a:pt x="9504" y="412659"/>
                    <a:pt x="18921" y="418037"/>
                    <a:pt x="29367" y="418037"/>
                  </a:cubicBezTo>
                  <a:lnTo>
                    <a:pt x="422593" y="418037"/>
                  </a:lnTo>
                  <a:cubicBezTo>
                    <a:pt x="433038" y="418037"/>
                    <a:pt x="442455" y="412659"/>
                    <a:pt x="447794" y="403649"/>
                  </a:cubicBezTo>
                  <a:cubicBezTo>
                    <a:pt x="453172" y="394587"/>
                    <a:pt x="453358" y="383651"/>
                    <a:pt x="448297" y="374408"/>
                  </a:cubicBezTo>
                  <a:close/>
                  <a:moveTo>
                    <a:pt x="433219" y="395011"/>
                  </a:moveTo>
                  <a:cubicBezTo>
                    <a:pt x="430931" y="398875"/>
                    <a:pt x="427061" y="401090"/>
                    <a:pt x="422598" y="401090"/>
                  </a:cubicBezTo>
                  <a:lnTo>
                    <a:pt x="29372" y="401090"/>
                  </a:lnTo>
                  <a:cubicBezTo>
                    <a:pt x="24910" y="401090"/>
                    <a:pt x="21040" y="398875"/>
                    <a:pt x="18752" y="395011"/>
                  </a:cubicBezTo>
                  <a:cubicBezTo>
                    <a:pt x="16464" y="391147"/>
                    <a:pt x="16379" y="386486"/>
                    <a:pt x="18537" y="382543"/>
                  </a:cubicBezTo>
                  <a:lnTo>
                    <a:pt x="215159" y="23439"/>
                  </a:lnTo>
                  <a:cubicBezTo>
                    <a:pt x="217390" y="19371"/>
                    <a:pt x="221435" y="16942"/>
                    <a:pt x="225988" y="16942"/>
                  </a:cubicBezTo>
                  <a:cubicBezTo>
                    <a:pt x="230542" y="16942"/>
                    <a:pt x="234586" y="19371"/>
                    <a:pt x="236818" y="23439"/>
                  </a:cubicBezTo>
                  <a:lnTo>
                    <a:pt x="433439" y="382543"/>
                  </a:lnTo>
                  <a:cubicBezTo>
                    <a:pt x="435592" y="386486"/>
                    <a:pt x="435507" y="391147"/>
                    <a:pt x="433219" y="395011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Полилиния: фигура 53">
              <a:extLst>
                <a:ext uri="{FF2B5EF4-FFF2-40B4-BE49-F238E27FC236}">
                  <a16:creationId xmlns:a16="http://schemas.microsoft.com/office/drawing/2014/main" id="{B07534C0-6391-4EF6-BFC3-4887A40D6986}"/>
                </a:ext>
              </a:extLst>
            </p:cNvPr>
            <p:cNvSpPr/>
            <p:nvPr/>
          </p:nvSpPr>
          <p:spPr>
            <a:xfrm rot="-5202212">
              <a:off x="11322617" y="1582404"/>
              <a:ext cx="28244" cy="28244"/>
            </a:xfrm>
            <a:custGeom>
              <a:avLst/>
              <a:gdLst>
                <a:gd name="connsiteX0" fmla="*/ 28245 w 28244"/>
                <a:gd name="connsiteY0" fmla="*/ 14122 h 28244"/>
                <a:gd name="connsiteX1" fmla="*/ 14122 w 28244"/>
                <a:gd name="connsiteY1" fmla="*/ 28245 h 28244"/>
                <a:gd name="connsiteX2" fmla="*/ 0 w 28244"/>
                <a:gd name="connsiteY2" fmla="*/ 14122 h 28244"/>
                <a:gd name="connsiteX3" fmla="*/ 14122 w 28244"/>
                <a:gd name="connsiteY3" fmla="*/ 0 h 28244"/>
                <a:gd name="connsiteX4" fmla="*/ 28245 w 28244"/>
                <a:gd name="connsiteY4" fmla="*/ 14122 h 28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44" h="28244">
                  <a:moveTo>
                    <a:pt x="28245" y="14122"/>
                  </a:moveTo>
                  <a:cubicBezTo>
                    <a:pt x="28245" y="21922"/>
                    <a:pt x="21922" y="28245"/>
                    <a:pt x="14122" y="28245"/>
                  </a:cubicBezTo>
                  <a:cubicBezTo>
                    <a:pt x="6323" y="28245"/>
                    <a:pt x="0" y="21922"/>
                    <a:pt x="0" y="14122"/>
                  </a:cubicBezTo>
                  <a:cubicBezTo>
                    <a:pt x="0" y="6323"/>
                    <a:pt x="6323" y="0"/>
                    <a:pt x="14122" y="0"/>
                  </a:cubicBezTo>
                  <a:cubicBezTo>
                    <a:pt x="21922" y="0"/>
                    <a:pt x="28245" y="6323"/>
                    <a:pt x="28245" y="1412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Полилиния: фигура 81">
              <a:extLst>
                <a:ext uri="{FF2B5EF4-FFF2-40B4-BE49-F238E27FC236}">
                  <a16:creationId xmlns:a16="http://schemas.microsoft.com/office/drawing/2014/main" id="{32353147-9B8B-4CD2-9080-3E88905B8434}"/>
                </a:ext>
              </a:extLst>
            </p:cNvPr>
            <p:cNvSpPr/>
            <p:nvPr/>
          </p:nvSpPr>
          <p:spPr>
            <a:xfrm>
              <a:off x="11328328" y="1387700"/>
              <a:ext cx="16947" cy="152529"/>
            </a:xfrm>
            <a:custGeom>
              <a:avLst/>
              <a:gdLst>
                <a:gd name="connsiteX0" fmla="*/ 8474 w 16947"/>
                <a:gd name="connsiteY0" fmla="*/ 152529 h 152529"/>
                <a:gd name="connsiteX1" fmla="*/ 16948 w 16947"/>
                <a:gd name="connsiteY1" fmla="*/ 144055 h 152529"/>
                <a:gd name="connsiteX2" fmla="*/ 16948 w 16947"/>
                <a:gd name="connsiteY2" fmla="*/ 8474 h 152529"/>
                <a:gd name="connsiteX3" fmla="*/ 8474 w 16947"/>
                <a:gd name="connsiteY3" fmla="*/ 0 h 152529"/>
                <a:gd name="connsiteX4" fmla="*/ 0 w 16947"/>
                <a:gd name="connsiteY4" fmla="*/ 8474 h 152529"/>
                <a:gd name="connsiteX5" fmla="*/ 0 w 16947"/>
                <a:gd name="connsiteY5" fmla="*/ 144055 h 152529"/>
                <a:gd name="connsiteX6" fmla="*/ 8474 w 16947"/>
                <a:gd name="connsiteY6" fmla="*/ 152529 h 152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47" h="152529">
                  <a:moveTo>
                    <a:pt x="8474" y="152529"/>
                  </a:moveTo>
                  <a:cubicBezTo>
                    <a:pt x="13151" y="152529"/>
                    <a:pt x="16948" y="148739"/>
                    <a:pt x="16948" y="144055"/>
                  </a:cubicBezTo>
                  <a:lnTo>
                    <a:pt x="16948" y="8474"/>
                  </a:lnTo>
                  <a:cubicBezTo>
                    <a:pt x="16948" y="3791"/>
                    <a:pt x="13151" y="0"/>
                    <a:pt x="8474" y="0"/>
                  </a:cubicBezTo>
                  <a:cubicBezTo>
                    <a:pt x="3796" y="0"/>
                    <a:pt x="0" y="3791"/>
                    <a:pt x="0" y="8474"/>
                  </a:cubicBezTo>
                  <a:lnTo>
                    <a:pt x="0" y="144055"/>
                  </a:lnTo>
                  <a:cubicBezTo>
                    <a:pt x="0" y="148739"/>
                    <a:pt x="3796" y="152529"/>
                    <a:pt x="8474" y="15252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1BBBCDEA-02EA-4887-8E49-49C33BDC2A6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 flipV="1">
            <a:off x="713825" y="4316717"/>
            <a:ext cx="564923" cy="564923"/>
          </a:xfrm>
          <a:prstGeom prst="rect">
            <a:avLst/>
          </a:prstGeom>
        </p:spPr>
      </p:pic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C5DFD868-2B84-43F0-AF34-FE20EB871A35}"/>
              </a:ext>
            </a:extLst>
          </p:cNvPr>
          <p:cNvGrpSpPr/>
          <p:nvPr/>
        </p:nvGrpSpPr>
        <p:grpSpPr>
          <a:xfrm>
            <a:off x="713825" y="2953726"/>
            <a:ext cx="503911" cy="503911"/>
            <a:chOff x="5282583" y="5577098"/>
            <a:chExt cx="503911" cy="503911"/>
          </a:xfrm>
          <a:solidFill>
            <a:schemeClr val="tx1"/>
          </a:solidFill>
        </p:grpSpPr>
        <p:sp>
          <p:nvSpPr>
            <p:cNvPr id="34" name="Полилиния: фигура 297">
              <a:extLst>
                <a:ext uri="{FF2B5EF4-FFF2-40B4-BE49-F238E27FC236}">
                  <a16:creationId xmlns:a16="http://schemas.microsoft.com/office/drawing/2014/main" id="{F479CDEB-5F4C-4385-B4C3-1490C7C0D7DE}"/>
                </a:ext>
              </a:extLst>
            </p:cNvPr>
            <p:cNvSpPr/>
            <p:nvPr/>
          </p:nvSpPr>
          <p:spPr>
            <a:xfrm>
              <a:off x="5282583" y="5577098"/>
              <a:ext cx="503911" cy="503911"/>
            </a:xfrm>
            <a:custGeom>
              <a:avLst/>
              <a:gdLst>
                <a:gd name="connsiteX0" fmla="*/ 251956 w 503911"/>
                <a:gd name="connsiteY0" fmla="*/ 0 h 503911"/>
                <a:gd name="connsiteX1" fmla="*/ 0 w 503911"/>
                <a:gd name="connsiteY1" fmla="*/ 251956 h 503911"/>
                <a:gd name="connsiteX2" fmla="*/ 251956 w 503911"/>
                <a:gd name="connsiteY2" fmla="*/ 503911 h 503911"/>
                <a:gd name="connsiteX3" fmla="*/ 503911 w 503911"/>
                <a:gd name="connsiteY3" fmla="*/ 251956 h 503911"/>
                <a:gd name="connsiteX4" fmla="*/ 251956 w 503911"/>
                <a:gd name="connsiteY4" fmla="*/ 0 h 503911"/>
                <a:gd name="connsiteX5" fmla="*/ 251956 w 503911"/>
                <a:gd name="connsiteY5" fmla="*/ 486964 h 503911"/>
                <a:gd name="connsiteX6" fmla="*/ 16948 w 503911"/>
                <a:gd name="connsiteY6" fmla="*/ 251956 h 503911"/>
                <a:gd name="connsiteX7" fmla="*/ 251956 w 503911"/>
                <a:gd name="connsiteY7" fmla="*/ 16948 h 503911"/>
                <a:gd name="connsiteX8" fmla="*/ 486964 w 503911"/>
                <a:gd name="connsiteY8" fmla="*/ 251956 h 503911"/>
                <a:gd name="connsiteX9" fmla="*/ 251956 w 503911"/>
                <a:gd name="connsiteY9" fmla="*/ 486964 h 50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3911" h="503911">
                  <a:moveTo>
                    <a:pt x="251956" y="0"/>
                  </a:moveTo>
                  <a:cubicBezTo>
                    <a:pt x="112985" y="0"/>
                    <a:pt x="0" y="112985"/>
                    <a:pt x="0" y="251956"/>
                  </a:cubicBezTo>
                  <a:cubicBezTo>
                    <a:pt x="0" y="390927"/>
                    <a:pt x="112985" y="503911"/>
                    <a:pt x="251956" y="503911"/>
                  </a:cubicBezTo>
                  <a:cubicBezTo>
                    <a:pt x="390927" y="503911"/>
                    <a:pt x="503911" y="390927"/>
                    <a:pt x="503911" y="251956"/>
                  </a:cubicBezTo>
                  <a:cubicBezTo>
                    <a:pt x="503911" y="112985"/>
                    <a:pt x="390927" y="0"/>
                    <a:pt x="251956" y="0"/>
                  </a:cubicBezTo>
                  <a:close/>
                  <a:moveTo>
                    <a:pt x="251956" y="486964"/>
                  </a:moveTo>
                  <a:cubicBezTo>
                    <a:pt x="122588" y="486964"/>
                    <a:pt x="16948" y="381323"/>
                    <a:pt x="16948" y="251956"/>
                  </a:cubicBezTo>
                  <a:cubicBezTo>
                    <a:pt x="16948" y="122588"/>
                    <a:pt x="122588" y="16948"/>
                    <a:pt x="251956" y="16948"/>
                  </a:cubicBezTo>
                  <a:cubicBezTo>
                    <a:pt x="381323" y="16948"/>
                    <a:pt x="486964" y="122588"/>
                    <a:pt x="486964" y="251956"/>
                  </a:cubicBezTo>
                  <a:cubicBezTo>
                    <a:pt x="486964" y="381323"/>
                    <a:pt x="381323" y="486964"/>
                    <a:pt x="251956" y="486964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Полилиния: фигура 298">
              <a:extLst>
                <a:ext uri="{FF2B5EF4-FFF2-40B4-BE49-F238E27FC236}">
                  <a16:creationId xmlns:a16="http://schemas.microsoft.com/office/drawing/2014/main" id="{3D6EDD4A-00C1-438B-835E-A1C03AE8BA48}"/>
                </a:ext>
              </a:extLst>
            </p:cNvPr>
            <p:cNvSpPr/>
            <p:nvPr/>
          </p:nvSpPr>
          <p:spPr>
            <a:xfrm>
              <a:off x="5391048" y="5712115"/>
              <a:ext cx="82478" cy="82491"/>
            </a:xfrm>
            <a:custGeom>
              <a:avLst/>
              <a:gdLst>
                <a:gd name="connsiteX0" fmla="*/ 82479 w 82478"/>
                <a:gd name="connsiteY0" fmla="*/ 41239 h 82491"/>
                <a:gd name="connsiteX1" fmla="*/ 41239 w 82478"/>
                <a:gd name="connsiteY1" fmla="*/ 0 h 82491"/>
                <a:gd name="connsiteX2" fmla="*/ 0 w 82478"/>
                <a:gd name="connsiteY2" fmla="*/ 41239 h 82491"/>
                <a:gd name="connsiteX3" fmla="*/ 41239 w 82478"/>
                <a:gd name="connsiteY3" fmla="*/ 82479 h 82491"/>
                <a:gd name="connsiteX4" fmla="*/ 82479 w 82478"/>
                <a:gd name="connsiteY4" fmla="*/ 41239 h 82491"/>
                <a:gd name="connsiteX5" fmla="*/ 16383 w 82478"/>
                <a:gd name="connsiteY5" fmla="*/ 41239 h 82491"/>
                <a:gd name="connsiteX6" fmla="*/ 40674 w 82478"/>
                <a:gd name="connsiteY6" fmla="*/ 16948 h 82491"/>
                <a:gd name="connsiteX7" fmla="*/ 64966 w 82478"/>
                <a:gd name="connsiteY7" fmla="*/ 41239 h 82491"/>
                <a:gd name="connsiteX8" fmla="*/ 40674 w 82478"/>
                <a:gd name="connsiteY8" fmla="*/ 65531 h 82491"/>
                <a:gd name="connsiteX9" fmla="*/ 16383 w 82478"/>
                <a:gd name="connsiteY9" fmla="*/ 41239 h 82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478" h="82491">
                  <a:moveTo>
                    <a:pt x="82479" y="41239"/>
                  </a:moveTo>
                  <a:cubicBezTo>
                    <a:pt x="82479" y="18642"/>
                    <a:pt x="63836" y="0"/>
                    <a:pt x="41239" y="0"/>
                  </a:cubicBezTo>
                  <a:cubicBezTo>
                    <a:pt x="18642" y="0"/>
                    <a:pt x="0" y="18642"/>
                    <a:pt x="0" y="41239"/>
                  </a:cubicBezTo>
                  <a:cubicBezTo>
                    <a:pt x="0" y="63836"/>
                    <a:pt x="18642" y="82479"/>
                    <a:pt x="41239" y="82479"/>
                  </a:cubicBezTo>
                  <a:cubicBezTo>
                    <a:pt x="63836" y="83044"/>
                    <a:pt x="82479" y="64401"/>
                    <a:pt x="82479" y="41239"/>
                  </a:cubicBezTo>
                  <a:close/>
                  <a:moveTo>
                    <a:pt x="16383" y="41239"/>
                  </a:moveTo>
                  <a:cubicBezTo>
                    <a:pt x="16383" y="27681"/>
                    <a:pt x="27116" y="16948"/>
                    <a:pt x="40674" y="16948"/>
                  </a:cubicBezTo>
                  <a:cubicBezTo>
                    <a:pt x="54233" y="16948"/>
                    <a:pt x="64966" y="27681"/>
                    <a:pt x="64966" y="41239"/>
                  </a:cubicBezTo>
                  <a:cubicBezTo>
                    <a:pt x="64966" y="54798"/>
                    <a:pt x="54233" y="65531"/>
                    <a:pt x="40674" y="65531"/>
                  </a:cubicBezTo>
                  <a:cubicBezTo>
                    <a:pt x="27116" y="65531"/>
                    <a:pt x="16383" y="54798"/>
                    <a:pt x="16383" y="4123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Полилиния: фигура 299">
              <a:extLst>
                <a:ext uri="{FF2B5EF4-FFF2-40B4-BE49-F238E27FC236}">
                  <a16:creationId xmlns:a16="http://schemas.microsoft.com/office/drawing/2014/main" id="{F7151D42-6EF6-4CF7-BB16-5E8003D9D6C9}"/>
                </a:ext>
              </a:extLst>
            </p:cNvPr>
            <p:cNvSpPr/>
            <p:nvPr/>
          </p:nvSpPr>
          <p:spPr>
            <a:xfrm>
              <a:off x="5591031" y="5712115"/>
              <a:ext cx="82478" cy="82478"/>
            </a:xfrm>
            <a:custGeom>
              <a:avLst/>
              <a:gdLst>
                <a:gd name="connsiteX0" fmla="*/ 41239 w 82478"/>
                <a:gd name="connsiteY0" fmla="*/ 0 h 82478"/>
                <a:gd name="connsiteX1" fmla="*/ 0 w 82478"/>
                <a:gd name="connsiteY1" fmla="*/ 41239 h 82478"/>
                <a:gd name="connsiteX2" fmla="*/ 41239 w 82478"/>
                <a:gd name="connsiteY2" fmla="*/ 82479 h 82478"/>
                <a:gd name="connsiteX3" fmla="*/ 82479 w 82478"/>
                <a:gd name="connsiteY3" fmla="*/ 41239 h 82478"/>
                <a:gd name="connsiteX4" fmla="*/ 41239 w 82478"/>
                <a:gd name="connsiteY4" fmla="*/ 0 h 82478"/>
                <a:gd name="connsiteX5" fmla="*/ 41239 w 82478"/>
                <a:gd name="connsiteY5" fmla="*/ 66096 h 82478"/>
                <a:gd name="connsiteX6" fmla="*/ 16948 w 82478"/>
                <a:gd name="connsiteY6" fmla="*/ 41804 h 82478"/>
                <a:gd name="connsiteX7" fmla="*/ 41239 w 82478"/>
                <a:gd name="connsiteY7" fmla="*/ 17513 h 82478"/>
                <a:gd name="connsiteX8" fmla="*/ 65531 w 82478"/>
                <a:gd name="connsiteY8" fmla="*/ 41804 h 82478"/>
                <a:gd name="connsiteX9" fmla="*/ 41239 w 82478"/>
                <a:gd name="connsiteY9" fmla="*/ 66096 h 8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478" h="82478">
                  <a:moveTo>
                    <a:pt x="41239" y="0"/>
                  </a:moveTo>
                  <a:cubicBezTo>
                    <a:pt x="18642" y="0"/>
                    <a:pt x="0" y="18642"/>
                    <a:pt x="0" y="41239"/>
                  </a:cubicBezTo>
                  <a:cubicBezTo>
                    <a:pt x="0" y="63836"/>
                    <a:pt x="18642" y="82479"/>
                    <a:pt x="41239" y="82479"/>
                  </a:cubicBezTo>
                  <a:cubicBezTo>
                    <a:pt x="63836" y="82479"/>
                    <a:pt x="82479" y="63836"/>
                    <a:pt x="82479" y="41239"/>
                  </a:cubicBezTo>
                  <a:cubicBezTo>
                    <a:pt x="82479" y="18642"/>
                    <a:pt x="64401" y="0"/>
                    <a:pt x="41239" y="0"/>
                  </a:cubicBezTo>
                  <a:close/>
                  <a:moveTo>
                    <a:pt x="41239" y="66096"/>
                  </a:moveTo>
                  <a:cubicBezTo>
                    <a:pt x="27681" y="66096"/>
                    <a:pt x="16948" y="55362"/>
                    <a:pt x="16948" y="41804"/>
                  </a:cubicBezTo>
                  <a:cubicBezTo>
                    <a:pt x="16948" y="28246"/>
                    <a:pt x="27681" y="17513"/>
                    <a:pt x="41239" y="17513"/>
                  </a:cubicBezTo>
                  <a:cubicBezTo>
                    <a:pt x="54798" y="17513"/>
                    <a:pt x="65531" y="28246"/>
                    <a:pt x="65531" y="41804"/>
                  </a:cubicBezTo>
                  <a:cubicBezTo>
                    <a:pt x="65531" y="55362"/>
                    <a:pt x="54798" y="66096"/>
                    <a:pt x="41239" y="66096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Полилиния: фигура 300">
              <a:extLst>
                <a:ext uri="{FF2B5EF4-FFF2-40B4-BE49-F238E27FC236}">
                  <a16:creationId xmlns:a16="http://schemas.microsoft.com/office/drawing/2014/main" id="{9FC07660-B6DF-4E0C-A1AD-33C80993C271}"/>
                </a:ext>
              </a:extLst>
            </p:cNvPr>
            <p:cNvSpPr/>
            <p:nvPr/>
          </p:nvSpPr>
          <p:spPr>
            <a:xfrm>
              <a:off x="5425511" y="5886676"/>
              <a:ext cx="214605" cy="87563"/>
            </a:xfrm>
            <a:custGeom>
              <a:avLst/>
              <a:gdLst>
                <a:gd name="connsiteX0" fmla="*/ 205065 w 214605"/>
                <a:gd name="connsiteY0" fmla="*/ 87563 h 87563"/>
                <a:gd name="connsiteX1" fmla="*/ 197156 w 214605"/>
                <a:gd name="connsiteY1" fmla="*/ 81914 h 87563"/>
                <a:gd name="connsiteX2" fmla="*/ 106768 w 214605"/>
                <a:gd name="connsiteY2" fmla="*/ 16948 h 87563"/>
                <a:gd name="connsiteX3" fmla="*/ 16381 w 214605"/>
                <a:gd name="connsiteY3" fmla="*/ 81914 h 87563"/>
                <a:gd name="connsiteX4" fmla="*/ 5647 w 214605"/>
                <a:gd name="connsiteY4" fmla="*/ 86998 h 87563"/>
                <a:gd name="connsiteX5" fmla="*/ 563 w 214605"/>
                <a:gd name="connsiteY5" fmla="*/ 76265 h 87563"/>
                <a:gd name="connsiteX6" fmla="*/ 107333 w 214605"/>
                <a:gd name="connsiteY6" fmla="*/ 0 h 87563"/>
                <a:gd name="connsiteX7" fmla="*/ 214104 w 214605"/>
                <a:gd name="connsiteY7" fmla="*/ 76265 h 87563"/>
                <a:gd name="connsiteX8" fmla="*/ 209019 w 214605"/>
                <a:gd name="connsiteY8" fmla="*/ 86998 h 87563"/>
                <a:gd name="connsiteX9" fmla="*/ 205065 w 214605"/>
                <a:gd name="connsiteY9" fmla="*/ 87563 h 8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4605" h="87563">
                  <a:moveTo>
                    <a:pt x="205065" y="87563"/>
                  </a:moveTo>
                  <a:cubicBezTo>
                    <a:pt x="201675" y="87563"/>
                    <a:pt x="198286" y="85303"/>
                    <a:pt x="197156" y="81914"/>
                  </a:cubicBezTo>
                  <a:cubicBezTo>
                    <a:pt x="184163" y="42934"/>
                    <a:pt x="147443" y="16948"/>
                    <a:pt x="106768" y="16948"/>
                  </a:cubicBezTo>
                  <a:cubicBezTo>
                    <a:pt x="65529" y="16948"/>
                    <a:pt x="29374" y="42934"/>
                    <a:pt x="16381" y="81914"/>
                  </a:cubicBezTo>
                  <a:cubicBezTo>
                    <a:pt x="14686" y="86433"/>
                    <a:pt x="10166" y="88693"/>
                    <a:pt x="5647" y="86998"/>
                  </a:cubicBezTo>
                  <a:cubicBezTo>
                    <a:pt x="1128" y="85303"/>
                    <a:pt x="-1132" y="80784"/>
                    <a:pt x="563" y="76265"/>
                  </a:cubicBezTo>
                  <a:cubicBezTo>
                    <a:pt x="16381" y="30506"/>
                    <a:pt x="58750" y="0"/>
                    <a:pt x="107333" y="0"/>
                  </a:cubicBezTo>
                  <a:cubicBezTo>
                    <a:pt x="155352" y="0"/>
                    <a:pt x="198286" y="30506"/>
                    <a:pt x="214104" y="76265"/>
                  </a:cubicBezTo>
                  <a:cubicBezTo>
                    <a:pt x="215798" y="80784"/>
                    <a:pt x="212974" y="85303"/>
                    <a:pt x="209019" y="86998"/>
                  </a:cubicBezTo>
                  <a:cubicBezTo>
                    <a:pt x="207325" y="86998"/>
                    <a:pt x="206195" y="87563"/>
                    <a:pt x="205065" y="8756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744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73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738664"/>
          </a:xfrm>
        </p:spPr>
        <p:txBody>
          <a:bodyPr/>
          <a:lstStyle/>
          <a:p>
            <a:r>
              <a:rPr lang="ru-RU" dirty="0"/>
              <a:t>Общие условия разблокировки </a:t>
            </a:r>
            <a:r>
              <a:rPr lang="ru-RU" dirty="0" smtClean="0"/>
              <a:t>для </a:t>
            </a:r>
            <a:r>
              <a:rPr lang="ru-RU" dirty="0"/>
              <a:t>всех видов </a:t>
            </a:r>
            <a:r>
              <a:rPr lang="ru-RU" dirty="0" smtClean="0"/>
              <a:t>несоответствий.</a:t>
            </a:r>
            <a:endParaRPr lang="ru-RU" dirty="0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67EB420A-7016-E604-D742-E2C5F89A1358}"/>
              </a:ext>
            </a:extLst>
          </p:cNvPr>
          <p:cNvGrpSpPr/>
          <p:nvPr/>
        </p:nvGrpSpPr>
        <p:grpSpPr>
          <a:xfrm>
            <a:off x="4794090" y="2200938"/>
            <a:ext cx="2332373" cy="1062230"/>
            <a:chOff x="8396587" y="2866620"/>
            <a:chExt cx="2583783" cy="1354860"/>
          </a:xfrm>
        </p:grpSpPr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20B7C18A-0583-0843-D099-03FB4FCF3F1A}"/>
                </a:ext>
              </a:extLst>
            </p:cNvPr>
            <p:cNvGrpSpPr/>
            <p:nvPr/>
          </p:nvGrpSpPr>
          <p:grpSpPr>
            <a:xfrm>
              <a:off x="8396587" y="2866620"/>
              <a:ext cx="2583783" cy="1354860"/>
              <a:chOff x="568790" y="1198563"/>
              <a:chExt cx="3519022" cy="3338710"/>
            </a:xfrm>
          </p:grpSpPr>
          <p:sp>
            <p:nvSpPr>
              <p:cNvPr id="21" name="Прямоугольник 20">
                <a:extLst>
                  <a:ext uri="{FF2B5EF4-FFF2-40B4-BE49-F238E27FC236}">
                    <a16:creationId xmlns:a16="http://schemas.microsoft.com/office/drawing/2014/main" id="{62E76E31-2268-1697-65C0-0FF0204874E0}"/>
                  </a:ext>
                </a:extLst>
              </p:cNvPr>
              <p:cNvSpPr/>
              <p:nvPr/>
            </p:nvSpPr>
            <p:spPr>
              <a:xfrm>
                <a:off x="575959" y="1198563"/>
                <a:ext cx="3511853" cy="333871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ru-RU" sz="1400" dirty="0">
                  <a:latin typeface="+mj-lt"/>
                </a:endParaRPr>
              </a:p>
            </p:txBody>
          </p:sp>
          <p:cxnSp>
            <p:nvCxnSpPr>
              <p:cNvPr id="22" name="Прямая соединительная линия 21">
                <a:extLst>
                  <a:ext uri="{FF2B5EF4-FFF2-40B4-BE49-F238E27FC236}">
                    <a16:creationId xmlns:a16="http://schemas.microsoft.com/office/drawing/2014/main" id="{6EAC1B36-215F-E217-EF24-FCFDB2307A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8790" y="1198563"/>
                <a:ext cx="3519022" cy="0"/>
              </a:xfrm>
              <a:prstGeom prst="line">
                <a:avLst/>
              </a:prstGeom>
              <a:ln w="285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6DF7035-3885-2993-211C-058931F934F6}"/>
                </a:ext>
              </a:extLst>
            </p:cNvPr>
            <p:cNvSpPr txBox="1"/>
            <p:nvPr/>
          </p:nvSpPr>
          <p:spPr>
            <a:xfrm>
              <a:off x="8575063" y="3089382"/>
              <a:ext cx="2368763" cy="2355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400"/>
                </a:spcAft>
                <a:buClr>
                  <a:srgbClr val="2FCBFF"/>
                </a:buClr>
                <a:defRPr/>
              </a:pPr>
              <a:r>
                <a:rPr lang="ru-RU" sz="1200" b="1" dirty="0" smtClean="0"/>
                <a:t>Товар разблокирован</a:t>
              </a:r>
              <a:endParaRPr lang="ru-RU" sz="1200" b="1" dirty="0"/>
            </a:p>
          </p:txBody>
        </p:sp>
      </p:grpSp>
      <p:sp>
        <p:nvSpPr>
          <p:cNvPr id="36" name="Прямоугольник 35"/>
          <p:cNvSpPr/>
          <p:nvPr/>
        </p:nvSpPr>
        <p:spPr>
          <a:xfrm>
            <a:off x="5728313" y="3850368"/>
            <a:ext cx="611534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Условия разблокировки производственной площадки: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Выполнение </a:t>
            </a:r>
            <a:r>
              <a:rPr lang="ru-RU" dirty="0" smtClean="0"/>
              <a:t>п.п</a:t>
            </a:r>
            <a:r>
              <a:rPr lang="ru-RU" dirty="0"/>
              <a:t>. 1-3 (разблокировка СКЮ) + </a:t>
            </a:r>
            <a:br>
              <a:rPr lang="ru-RU" dirty="0"/>
            </a:br>
            <a:r>
              <a:rPr lang="ru-RU" dirty="0"/>
              <a:t>4. Пройден внеплановый аудит производственной площадки с удовлетворительным результатом (70 % и более). </a:t>
            </a:r>
          </a:p>
        </p:txBody>
      </p:sp>
      <p:grpSp>
        <p:nvGrpSpPr>
          <p:cNvPr id="29" name="Рисунок 12">
            <a:extLst>
              <a:ext uri="{FF2B5EF4-FFF2-40B4-BE49-F238E27FC236}">
                <a16:creationId xmlns:a16="http://schemas.microsoft.com/office/drawing/2014/main" id="{9182804A-3DBC-46AA-8935-1DC11FE3424D}"/>
              </a:ext>
            </a:extLst>
          </p:cNvPr>
          <p:cNvGrpSpPr/>
          <p:nvPr/>
        </p:nvGrpSpPr>
        <p:grpSpPr>
          <a:xfrm>
            <a:off x="5728313" y="2625439"/>
            <a:ext cx="449260" cy="496002"/>
            <a:chOff x="659078" y="3404973"/>
            <a:chExt cx="449260" cy="496002"/>
          </a:xfrm>
          <a:solidFill>
            <a:schemeClr val="tx2"/>
          </a:solidFill>
        </p:grpSpPr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9D68BCC1-90C8-4B93-9A1D-9B052AEEDB50}"/>
                </a:ext>
              </a:extLst>
            </p:cNvPr>
            <p:cNvSpPr/>
            <p:nvPr/>
          </p:nvSpPr>
          <p:spPr>
            <a:xfrm>
              <a:off x="659078" y="3404973"/>
              <a:ext cx="449260" cy="496002"/>
            </a:xfrm>
            <a:custGeom>
              <a:avLst/>
              <a:gdLst>
                <a:gd name="connsiteX0" fmla="*/ 446854 w 449260"/>
                <a:gd name="connsiteY0" fmla="*/ 50843 h 496002"/>
                <a:gd name="connsiteX1" fmla="*/ 440640 w 449260"/>
                <a:gd name="connsiteY1" fmla="*/ 48018 h 496002"/>
                <a:gd name="connsiteX2" fmla="*/ 354772 w 449260"/>
                <a:gd name="connsiteY2" fmla="*/ 48018 h 496002"/>
                <a:gd name="connsiteX3" fmla="*/ 354772 w 449260"/>
                <a:gd name="connsiteY3" fmla="*/ 8474 h 496002"/>
                <a:gd name="connsiteX4" fmla="*/ 346298 w 449260"/>
                <a:gd name="connsiteY4" fmla="*/ 0 h 496002"/>
                <a:gd name="connsiteX5" fmla="*/ 105076 w 449260"/>
                <a:gd name="connsiteY5" fmla="*/ 0 h 496002"/>
                <a:gd name="connsiteX6" fmla="*/ 96602 w 449260"/>
                <a:gd name="connsiteY6" fmla="*/ 8474 h 496002"/>
                <a:gd name="connsiteX7" fmla="*/ 96602 w 449260"/>
                <a:gd name="connsiteY7" fmla="*/ 48018 h 496002"/>
                <a:gd name="connsiteX8" fmla="*/ 8474 w 449260"/>
                <a:gd name="connsiteY8" fmla="*/ 48018 h 496002"/>
                <a:gd name="connsiteX9" fmla="*/ 2260 w 449260"/>
                <a:gd name="connsiteY9" fmla="*/ 50843 h 496002"/>
                <a:gd name="connsiteX10" fmla="*/ 0 w 449260"/>
                <a:gd name="connsiteY10" fmla="*/ 57057 h 496002"/>
                <a:gd name="connsiteX11" fmla="*/ 14688 w 449260"/>
                <a:gd name="connsiteY11" fmla="*/ 136711 h 496002"/>
                <a:gd name="connsiteX12" fmla="*/ 103946 w 449260"/>
                <a:gd name="connsiteY12" fmla="*/ 250261 h 496002"/>
                <a:gd name="connsiteX13" fmla="*/ 187554 w 449260"/>
                <a:gd name="connsiteY13" fmla="*/ 345168 h 496002"/>
                <a:gd name="connsiteX14" fmla="*/ 187554 w 449260"/>
                <a:gd name="connsiteY14" fmla="*/ 346863 h 496002"/>
                <a:gd name="connsiteX15" fmla="*/ 106206 w 449260"/>
                <a:gd name="connsiteY15" fmla="*/ 431036 h 496002"/>
                <a:gd name="connsiteX16" fmla="*/ 97732 w 449260"/>
                <a:gd name="connsiteY16" fmla="*/ 439510 h 496002"/>
                <a:gd name="connsiteX17" fmla="*/ 97732 w 449260"/>
                <a:gd name="connsiteY17" fmla="*/ 487529 h 496002"/>
                <a:gd name="connsiteX18" fmla="*/ 106206 w 449260"/>
                <a:gd name="connsiteY18" fmla="*/ 496002 h 496002"/>
                <a:gd name="connsiteX19" fmla="*/ 346298 w 449260"/>
                <a:gd name="connsiteY19" fmla="*/ 496002 h 496002"/>
                <a:gd name="connsiteX20" fmla="*/ 354772 w 449260"/>
                <a:gd name="connsiteY20" fmla="*/ 487529 h 496002"/>
                <a:gd name="connsiteX21" fmla="*/ 354772 w 449260"/>
                <a:gd name="connsiteY21" fmla="*/ 439510 h 496002"/>
                <a:gd name="connsiteX22" fmla="*/ 346298 w 449260"/>
                <a:gd name="connsiteY22" fmla="*/ 431036 h 496002"/>
                <a:gd name="connsiteX23" fmla="*/ 262124 w 449260"/>
                <a:gd name="connsiteY23" fmla="*/ 346863 h 496002"/>
                <a:gd name="connsiteX24" fmla="*/ 262124 w 449260"/>
                <a:gd name="connsiteY24" fmla="*/ 345733 h 496002"/>
                <a:gd name="connsiteX25" fmla="*/ 347993 w 449260"/>
                <a:gd name="connsiteY25" fmla="*/ 249131 h 496002"/>
                <a:gd name="connsiteX26" fmla="*/ 434426 w 449260"/>
                <a:gd name="connsiteY26" fmla="*/ 136711 h 496002"/>
                <a:gd name="connsiteX27" fmla="*/ 449114 w 449260"/>
                <a:gd name="connsiteY27" fmla="*/ 57057 h 496002"/>
                <a:gd name="connsiteX28" fmla="*/ 446854 w 449260"/>
                <a:gd name="connsiteY28" fmla="*/ 50843 h 496002"/>
                <a:gd name="connsiteX29" fmla="*/ 17513 w 449260"/>
                <a:gd name="connsiteY29" fmla="*/ 64966 h 496002"/>
                <a:gd name="connsiteX30" fmla="*/ 96602 w 449260"/>
                <a:gd name="connsiteY30" fmla="*/ 64966 h 496002"/>
                <a:gd name="connsiteX31" fmla="*/ 96602 w 449260"/>
                <a:gd name="connsiteY31" fmla="*/ 200548 h 496002"/>
                <a:gd name="connsiteX32" fmla="*/ 98862 w 449260"/>
                <a:gd name="connsiteY32" fmla="*/ 228229 h 496002"/>
                <a:gd name="connsiteX33" fmla="*/ 17513 w 449260"/>
                <a:gd name="connsiteY33" fmla="*/ 64966 h 496002"/>
                <a:gd name="connsiteX34" fmla="*/ 337824 w 449260"/>
                <a:gd name="connsiteY34" fmla="*/ 447419 h 496002"/>
                <a:gd name="connsiteX35" fmla="*/ 337824 w 449260"/>
                <a:gd name="connsiteY35" fmla="*/ 478490 h 496002"/>
                <a:gd name="connsiteX36" fmla="*/ 114679 w 449260"/>
                <a:gd name="connsiteY36" fmla="*/ 478490 h 496002"/>
                <a:gd name="connsiteX37" fmla="*/ 114679 w 449260"/>
                <a:gd name="connsiteY37" fmla="*/ 447419 h 496002"/>
                <a:gd name="connsiteX38" fmla="*/ 203937 w 449260"/>
                <a:gd name="connsiteY38" fmla="*/ 349687 h 496002"/>
                <a:gd name="connsiteX39" fmla="*/ 225404 w 449260"/>
                <a:gd name="connsiteY39" fmla="*/ 351947 h 496002"/>
                <a:gd name="connsiteX40" fmla="*/ 245177 w 449260"/>
                <a:gd name="connsiteY40" fmla="*/ 350252 h 496002"/>
                <a:gd name="connsiteX41" fmla="*/ 337824 w 449260"/>
                <a:gd name="connsiteY41" fmla="*/ 447419 h 496002"/>
                <a:gd name="connsiteX42" fmla="*/ 248001 w 449260"/>
                <a:gd name="connsiteY42" fmla="*/ 332740 h 496002"/>
                <a:gd name="connsiteX43" fmla="*/ 225969 w 449260"/>
                <a:gd name="connsiteY43" fmla="*/ 335564 h 496002"/>
                <a:gd name="connsiteX44" fmla="*/ 201113 w 449260"/>
                <a:gd name="connsiteY44" fmla="*/ 332175 h 496002"/>
                <a:gd name="connsiteX45" fmla="*/ 195463 w 449260"/>
                <a:gd name="connsiteY45" fmla="*/ 330480 h 496002"/>
                <a:gd name="connsiteX46" fmla="*/ 113550 w 449260"/>
                <a:gd name="connsiteY46" fmla="*/ 201113 h 496002"/>
                <a:gd name="connsiteX47" fmla="*/ 113550 w 449260"/>
                <a:gd name="connsiteY47" fmla="*/ 17513 h 496002"/>
                <a:gd name="connsiteX48" fmla="*/ 337824 w 449260"/>
                <a:gd name="connsiteY48" fmla="*/ 17513 h 496002"/>
                <a:gd name="connsiteX49" fmla="*/ 337824 w 449260"/>
                <a:gd name="connsiteY49" fmla="*/ 51408 h 496002"/>
                <a:gd name="connsiteX50" fmla="*/ 337824 w 449260"/>
                <a:gd name="connsiteY50" fmla="*/ 62142 h 496002"/>
                <a:gd name="connsiteX51" fmla="*/ 337824 w 449260"/>
                <a:gd name="connsiteY51" fmla="*/ 201113 h 496002"/>
                <a:gd name="connsiteX52" fmla="*/ 255345 w 449260"/>
                <a:gd name="connsiteY52" fmla="*/ 330480 h 496002"/>
                <a:gd name="connsiteX53" fmla="*/ 353077 w 449260"/>
                <a:gd name="connsiteY53" fmla="*/ 227099 h 496002"/>
                <a:gd name="connsiteX54" fmla="*/ 355337 w 449260"/>
                <a:gd name="connsiteY54" fmla="*/ 200548 h 496002"/>
                <a:gd name="connsiteX55" fmla="*/ 355337 w 449260"/>
                <a:gd name="connsiteY55" fmla="*/ 64966 h 496002"/>
                <a:gd name="connsiteX56" fmla="*/ 432166 w 449260"/>
                <a:gd name="connsiteY56" fmla="*/ 64966 h 496002"/>
                <a:gd name="connsiteX57" fmla="*/ 353077 w 449260"/>
                <a:gd name="connsiteY57" fmla="*/ 227099 h 49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49260" h="496002">
                  <a:moveTo>
                    <a:pt x="446854" y="50843"/>
                  </a:moveTo>
                  <a:cubicBezTo>
                    <a:pt x="445159" y="49148"/>
                    <a:pt x="442900" y="48018"/>
                    <a:pt x="440640" y="48018"/>
                  </a:cubicBezTo>
                  <a:lnTo>
                    <a:pt x="354772" y="48018"/>
                  </a:lnTo>
                  <a:lnTo>
                    <a:pt x="354772" y="8474"/>
                  </a:lnTo>
                  <a:cubicBezTo>
                    <a:pt x="354772" y="3954"/>
                    <a:pt x="350817" y="0"/>
                    <a:pt x="346298" y="0"/>
                  </a:cubicBezTo>
                  <a:lnTo>
                    <a:pt x="105076" y="0"/>
                  </a:lnTo>
                  <a:cubicBezTo>
                    <a:pt x="100556" y="0"/>
                    <a:pt x="96602" y="3954"/>
                    <a:pt x="96602" y="8474"/>
                  </a:cubicBezTo>
                  <a:lnTo>
                    <a:pt x="96602" y="48018"/>
                  </a:lnTo>
                  <a:lnTo>
                    <a:pt x="8474" y="48018"/>
                  </a:lnTo>
                  <a:cubicBezTo>
                    <a:pt x="6214" y="48018"/>
                    <a:pt x="3954" y="49148"/>
                    <a:pt x="2260" y="50843"/>
                  </a:cubicBezTo>
                  <a:cubicBezTo>
                    <a:pt x="565" y="52538"/>
                    <a:pt x="0" y="54798"/>
                    <a:pt x="0" y="57057"/>
                  </a:cubicBezTo>
                  <a:cubicBezTo>
                    <a:pt x="0" y="58752"/>
                    <a:pt x="1695" y="94907"/>
                    <a:pt x="14688" y="136711"/>
                  </a:cubicBezTo>
                  <a:cubicBezTo>
                    <a:pt x="32766" y="192639"/>
                    <a:pt x="63271" y="232183"/>
                    <a:pt x="103946" y="250261"/>
                  </a:cubicBezTo>
                  <a:cubicBezTo>
                    <a:pt x="117504" y="295455"/>
                    <a:pt x="148575" y="331045"/>
                    <a:pt x="187554" y="345168"/>
                  </a:cubicBezTo>
                  <a:lnTo>
                    <a:pt x="187554" y="346863"/>
                  </a:lnTo>
                  <a:cubicBezTo>
                    <a:pt x="187554" y="393751"/>
                    <a:pt x="151964" y="431036"/>
                    <a:pt x="106206" y="431036"/>
                  </a:cubicBezTo>
                  <a:cubicBezTo>
                    <a:pt x="101686" y="431036"/>
                    <a:pt x="97732" y="434991"/>
                    <a:pt x="97732" y="439510"/>
                  </a:cubicBezTo>
                  <a:lnTo>
                    <a:pt x="97732" y="487529"/>
                  </a:lnTo>
                  <a:cubicBezTo>
                    <a:pt x="97732" y="492048"/>
                    <a:pt x="101686" y="496002"/>
                    <a:pt x="106206" y="496002"/>
                  </a:cubicBezTo>
                  <a:lnTo>
                    <a:pt x="346298" y="496002"/>
                  </a:lnTo>
                  <a:cubicBezTo>
                    <a:pt x="350817" y="496002"/>
                    <a:pt x="354772" y="492048"/>
                    <a:pt x="354772" y="487529"/>
                  </a:cubicBezTo>
                  <a:lnTo>
                    <a:pt x="354772" y="439510"/>
                  </a:lnTo>
                  <a:cubicBezTo>
                    <a:pt x="354772" y="434991"/>
                    <a:pt x="350817" y="431036"/>
                    <a:pt x="346298" y="431036"/>
                  </a:cubicBezTo>
                  <a:cubicBezTo>
                    <a:pt x="299974" y="431036"/>
                    <a:pt x="262124" y="393186"/>
                    <a:pt x="262124" y="346863"/>
                  </a:cubicBezTo>
                  <a:lnTo>
                    <a:pt x="262124" y="345733"/>
                  </a:lnTo>
                  <a:cubicBezTo>
                    <a:pt x="302799" y="331610"/>
                    <a:pt x="334434" y="295455"/>
                    <a:pt x="347993" y="249131"/>
                  </a:cubicBezTo>
                  <a:cubicBezTo>
                    <a:pt x="386972" y="230489"/>
                    <a:pt x="416913" y="191509"/>
                    <a:pt x="434426" y="136711"/>
                  </a:cubicBezTo>
                  <a:cubicBezTo>
                    <a:pt x="447984" y="94907"/>
                    <a:pt x="449114" y="58187"/>
                    <a:pt x="449114" y="57057"/>
                  </a:cubicBezTo>
                  <a:cubicBezTo>
                    <a:pt x="449679" y="54798"/>
                    <a:pt x="448549" y="52538"/>
                    <a:pt x="446854" y="50843"/>
                  </a:cubicBezTo>
                  <a:close/>
                  <a:moveTo>
                    <a:pt x="17513" y="64966"/>
                  </a:moveTo>
                  <a:lnTo>
                    <a:pt x="96602" y="64966"/>
                  </a:lnTo>
                  <a:lnTo>
                    <a:pt x="96602" y="200548"/>
                  </a:lnTo>
                  <a:cubicBezTo>
                    <a:pt x="96602" y="210151"/>
                    <a:pt x="97167" y="219190"/>
                    <a:pt x="98862" y="228229"/>
                  </a:cubicBezTo>
                  <a:cubicBezTo>
                    <a:pt x="34460" y="189814"/>
                    <a:pt x="20337" y="94342"/>
                    <a:pt x="17513" y="64966"/>
                  </a:cubicBezTo>
                  <a:close/>
                  <a:moveTo>
                    <a:pt x="337824" y="447419"/>
                  </a:moveTo>
                  <a:lnTo>
                    <a:pt x="337824" y="478490"/>
                  </a:lnTo>
                  <a:lnTo>
                    <a:pt x="114679" y="478490"/>
                  </a:lnTo>
                  <a:lnTo>
                    <a:pt x="114679" y="447419"/>
                  </a:lnTo>
                  <a:cubicBezTo>
                    <a:pt x="164393" y="443465"/>
                    <a:pt x="202807" y="402225"/>
                    <a:pt x="203937" y="349687"/>
                  </a:cubicBezTo>
                  <a:cubicBezTo>
                    <a:pt x="210716" y="350817"/>
                    <a:pt x="218060" y="351947"/>
                    <a:pt x="225404" y="351947"/>
                  </a:cubicBezTo>
                  <a:cubicBezTo>
                    <a:pt x="232183" y="351947"/>
                    <a:pt x="238962" y="351382"/>
                    <a:pt x="245177" y="350252"/>
                  </a:cubicBezTo>
                  <a:cubicBezTo>
                    <a:pt x="247436" y="401660"/>
                    <a:pt x="287546" y="443465"/>
                    <a:pt x="337824" y="447419"/>
                  </a:cubicBezTo>
                  <a:close/>
                  <a:moveTo>
                    <a:pt x="248001" y="332740"/>
                  </a:moveTo>
                  <a:cubicBezTo>
                    <a:pt x="240657" y="334434"/>
                    <a:pt x="233313" y="335564"/>
                    <a:pt x="225969" y="335564"/>
                  </a:cubicBezTo>
                  <a:cubicBezTo>
                    <a:pt x="217495" y="335564"/>
                    <a:pt x="209022" y="334434"/>
                    <a:pt x="201113" y="332175"/>
                  </a:cubicBezTo>
                  <a:cubicBezTo>
                    <a:pt x="199418" y="331610"/>
                    <a:pt x="196593" y="330480"/>
                    <a:pt x="195463" y="330480"/>
                  </a:cubicBezTo>
                  <a:cubicBezTo>
                    <a:pt x="148575" y="314662"/>
                    <a:pt x="113550" y="262689"/>
                    <a:pt x="113550" y="201113"/>
                  </a:cubicBezTo>
                  <a:lnTo>
                    <a:pt x="113550" y="17513"/>
                  </a:lnTo>
                  <a:lnTo>
                    <a:pt x="337824" y="17513"/>
                  </a:lnTo>
                  <a:lnTo>
                    <a:pt x="337824" y="51408"/>
                  </a:lnTo>
                  <a:lnTo>
                    <a:pt x="337824" y="62142"/>
                  </a:lnTo>
                  <a:lnTo>
                    <a:pt x="337824" y="201113"/>
                  </a:lnTo>
                  <a:cubicBezTo>
                    <a:pt x="337824" y="262689"/>
                    <a:pt x="302799" y="314662"/>
                    <a:pt x="255345" y="330480"/>
                  </a:cubicBezTo>
                  <a:moveTo>
                    <a:pt x="353077" y="227099"/>
                  </a:moveTo>
                  <a:cubicBezTo>
                    <a:pt x="354207" y="218625"/>
                    <a:pt x="355337" y="209586"/>
                    <a:pt x="355337" y="200548"/>
                  </a:cubicBezTo>
                  <a:lnTo>
                    <a:pt x="355337" y="64966"/>
                  </a:lnTo>
                  <a:lnTo>
                    <a:pt x="432166" y="64966"/>
                  </a:lnTo>
                  <a:cubicBezTo>
                    <a:pt x="429342" y="94342"/>
                    <a:pt x="415783" y="186990"/>
                    <a:pt x="353077" y="22709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4">
              <a:extLst>
                <a:ext uri="{FF2B5EF4-FFF2-40B4-BE49-F238E27FC236}">
                  <a16:creationId xmlns:a16="http://schemas.microsoft.com/office/drawing/2014/main" id="{C5E27EBC-9394-40A3-966D-C4C1FC0F48D9}"/>
                </a:ext>
              </a:extLst>
            </p:cNvPr>
            <p:cNvSpPr/>
            <p:nvPr/>
          </p:nvSpPr>
          <p:spPr>
            <a:xfrm>
              <a:off x="795027" y="3466549"/>
              <a:ext cx="184560" cy="176255"/>
            </a:xfrm>
            <a:custGeom>
              <a:avLst/>
              <a:gdLst>
                <a:gd name="connsiteX0" fmla="*/ 171369 w 184560"/>
                <a:gd name="connsiteY0" fmla="*/ 57057 h 176255"/>
                <a:gd name="connsiteX1" fmla="*/ 125046 w 184560"/>
                <a:gd name="connsiteY1" fmla="*/ 50278 h 176255"/>
                <a:gd name="connsiteX2" fmla="*/ 104144 w 184560"/>
                <a:gd name="connsiteY2" fmla="*/ 7909 h 176255"/>
                <a:gd name="connsiteX3" fmla="*/ 91715 w 184560"/>
                <a:gd name="connsiteY3" fmla="*/ 0 h 176255"/>
                <a:gd name="connsiteX4" fmla="*/ 91715 w 184560"/>
                <a:gd name="connsiteY4" fmla="*/ 0 h 176255"/>
                <a:gd name="connsiteX5" fmla="*/ 79287 w 184560"/>
                <a:gd name="connsiteY5" fmla="*/ 7909 h 176255"/>
                <a:gd name="connsiteX6" fmla="*/ 58385 w 184560"/>
                <a:gd name="connsiteY6" fmla="*/ 50278 h 176255"/>
                <a:gd name="connsiteX7" fmla="*/ 12061 w 184560"/>
                <a:gd name="connsiteY7" fmla="*/ 57057 h 176255"/>
                <a:gd name="connsiteX8" fmla="*/ 763 w 184560"/>
                <a:gd name="connsiteY8" fmla="*/ 66661 h 176255"/>
                <a:gd name="connsiteX9" fmla="*/ 4152 w 184560"/>
                <a:gd name="connsiteY9" fmla="*/ 80784 h 176255"/>
                <a:gd name="connsiteX10" fmla="*/ 38048 w 184560"/>
                <a:gd name="connsiteY10" fmla="*/ 113550 h 176255"/>
                <a:gd name="connsiteX11" fmla="*/ 30139 w 184560"/>
                <a:gd name="connsiteY11" fmla="*/ 159873 h 176255"/>
                <a:gd name="connsiteX12" fmla="*/ 35788 w 184560"/>
                <a:gd name="connsiteY12" fmla="*/ 173431 h 176255"/>
                <a:gd name="connsiteX13" fmla="*/ 44262 w 184560"/>
                <a:gd name="connsiteY13" fmla="*/ 176256 h 176255"/>
                <a:gd name="connsiteX14" fmla="*/ 50476 w 184560"/>
                <a:gd name="connsiteY14" fmla="*/ 174561 h 176255"/>
                <a:gd name="connsiteX15" fmla="*/ 93410 w 184560"/>
                <a:gd name="connsiteY15" fmla="*/ 153094 h 176255"/>
                <a:gd name="connsiteX16" fmla="*/ 134084 w 184560"/>
                <a:gd name="connsiteY16" fmla="*/ 174561 h 176255"/>
                <a:gd name="connsiteX17" fmla="*/ 148772 w 184560"/>
                <a:gd name="connsiteY17" fmla="*/ 173431 h 176255"/>
                <a:gd name="connsiteX18" fmla="*/ 154422 w 184560"/>
                <a:gd name="connsiteY18" fmla="*/ 159873 h 176255"/>
                <a:gd name="connsiteX19" fmla="*/ 146513 w 184560"/>
                <a:gd name="connsiteY19" fmla="*/ 113550 h 176255"/>
                <a:gd name="connsiteX20" fmla="*/ 180408 w 184560"/>
                <a:gd name="connsiteY20" fmla="*/ 80784 h 176255"/>
                <a:gd name="connsiteX21" fmla="*/ 183798 w 184560"/>
                <a:gd name="connsiteY21" fmla="*/ 66661 h 176255"/>
                <a:gd name="connsiteX22" fmla="*/ 171369 w 184560"/>
                <a:gd name="connsiteY22" fmla="*/ 57057 h 176255"/>
                <a:gd name="connsiteX23" fmla="*/ 130695 w 184560"/>
                <a:gd name="connsiteY23" fmla="*/ 104511 h 176255"/>
                <a:gd name="connsiteX24" fmla="*/ 128435 w 184560"/>
                <a:gd name="connsiteY24" fmla="*/ 111855 h 176255"/>
                <a:gd name="connsiteX25" fmla="*/ 136344 w 184560"/>
                <a:gd name="connsiteY25" fmla="*/ 156484 h 176255"/>
                <a:gd name="connsiteX26" fmla="*/ 97364 w 184560"/>
                <a:gd name="connsiteY26" fmla="*/ 136146 h 176255"/>
                <a:gd name="connsiteX27" fmla="*/ 89456 w 184560"/>
                <a:gd name="connsiteY27" fmla="*/ 136146 h 176255"/>
                <a:gd name="connsiteX28" fmla="*/ 47651 w 184560"/>
                <a:gd name="connsiteY28" fmla="*/ 157049 h 176255"/>
                <a:gd name="connsiteX29" fmla="*/ 55560 w 184560"/>
                <a:gd name="connsiteY29" fmla="*/ 111855 h 176255"/>
                <a:gd name="connsiteX30" fmla="*/ 53301 w 184560"/>
                <a:gd name="connsiteY30" fmla="*/ 104511 h 176255"/>
                <a:gd name="connsiteX31" fmla="*/ 21100 w 184560"/>
                <a:gd name="connsiteY31" fmla="*/ 72875 h 176255"/>
                <a:gd name="connsiteX32" fmla="*/ 65729 w 184560"/>
                <a:gd name="connsiteY32" fmla="*/ 66096 h 176255"/>
                <a:gd name="connsiteX33" fmla="*/ 71943 w 184560"/>
                <a:gd name="connsiteY33" fmla="*/ 61577 h 176255"/>
                <a:gd name="connsiteX34" fmla="*/ 91715 w 184560"/>
                <a:gd name="connsiteY34" fmla="*/ 20902 h 176255"/>
                <a:gd name="connsiteX35" fmla="*/ 111488 w 184560"/>
                <a:gd name="connsiteY35" fmla="*/ 61577 h 176255"/>
                <a:gd name="connsiteX36" fmla="*/ 117702 w 184560"/>
                <a:gd name="connsiteY36" fmla="*/ 66096 h 176255"/>
                <a:gd name="connsiteX37" fmla="*/ 162331 w 184560"/>
                <a:gd name="connsiteY37" fmla="*/ 72875 h 176255"/>
                <a:gd name="connsiteX38" fmla="*/ 130695 w 184560"/>
                <a:gd name="connsiteY38" fmla="*/ 104511 h 176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84560" h="176255">
                  <a:moveTo>
                    <a:pt x="171369" y="57057"/>
                  </a:moveTo>
                  <a:lnTo>
                    <a:pt x="125046" y="50278"/>
                  </a:lnTo>
                  <a:lnTo>
                    <a:pt x="104144" y="7909"/>
                  </a:lnTo>
                  <a:cubicBezTo>
                    <a:pt x="101884" y="3390"/>
                    <a:pt x="96800" y="0"/>
                    <a:pt x="91715" y="0"/>
                  </a:cubicBezTo>
                  <a:cubicBezTo>
                    <a:pt x="91715" y="0"/>
                    <a:pt x="91715" y="0"/>
                    <a:pt x="91715" y="0"/>
                  </a:cubicBezTo>
                  <a:cubicBezTo>
                    <a:pt x="86631" y="0"/>
                    <a:pt x="81547" y="2825"/>
                    <a:pt x="79287" y="7909"/>
                  </a:cubicBezTo>
                  <a:lnTo>
                    <a:pt x="58385" y="50278"/>
                  </a:lnTo>
                  <a:lnTo>
                    <a:pt x="12061" y="57057"/>
                  </a:lnTo>
                  <a:cubicBezTo>
                    <a:pt x="6977" y="57622"/>
                    <a:pt x="2457" y="61577"/>
                    <a:pt x="763" y="66661"/>
                  </a:cubicBezTo>
                  <a:cubicBezTo>
                    <a:pt x="-932" y="71745"/>
                    <a:pt x="198" y="77394"/>
                    <a:pt x="4152" y="80784"/>
                  </a:cubicBezTo>
                  <a:lnTo>
                    <a:pt x="38048" y="113550"/>
                  </a:lnTo>
                  <a:lnTo>
                    <a:pt x="30139" y="159873"/>
                  </a:lnTo>
                  <a:cubicBezTo>
                    <a:pt x="29009" y="164958"/>
                    <a:pt x="31268" y="170042"/>
                    <a:pt x="35788" y="173431"/>
                  </a:cubicBezTo>
                  <a:cubicBezTo>
                    <a:pt x="38048" y="175126"/>
                    <a:pt x="40872" y="176256"/>
                    <a:pt x="44262" y="176256"/>
                  </a:cubicBezTo>
                  <a:cubicBezTo>
                    <a:pt x="46521" y="176256"/>
                    <a:pt x="48781" y="175691"/>
                    <a:pt x="50476" y="174561"/>
                  </a:cubicBezTo>
                  <a:lnTo>
                    <a:pt x="93410" y="153094"/>
                  </a:lnTo>
                  <a:lnTo>
                    <a:pt x="134084" y="174561"/>
                  </a:lnTo>
                  <a:cubicBezTo>
                    <a:pt x="138604" y="176821"/>
                    <a:pt x="144253" y="176821"/>
                    <a:pt x="148772" y="173431"/>
                  </a:cubicBezTo>
                  <a:cubicBezTo>
                    <a:pt x="153292" y="170042"/>
                    <a:pt x="154987" y="164958"/>
                    <a:pt x="154422" y="159873"/>
                  </a:cubicBezTo>
                  <a:lnTo>
                    <a:pt x="146513" y="113550"/>
                  </a:lnTo>
                  <a:lnTo>
                    <a:pt x="180408" y="80784"/>
                  </a:lnTo>
                  <a:cubicBezTo>
                    <a:pt x="184363" y="76830"/>
                    <a:pt x="185492" y="71745"/>
                    <a:pt x="183798" y="66661"/>
                  </a:cubicBezTo>
                  <a:cubicBezTo>
                    <a:pt x="180973" y="61577"/>
                    <a:pt x="177019" y="57622"/>
                    <a:pt x="171369" y="57057"/>
                  </a:cubicBezTo>
                  <a:close/>
                  <a:moveTo>
                    <a:pt x="130695" y="104511"/>
                  </a:moveTo>
                  <a:cubicBezTo>
                    <a:pt x="128435" y="106206"/>
                    <a:pt x="127870" y="109030"/>
                    <a:pt x="128435" y="111855"/>
                  </a:cubicBezTo>
                  <a:lnTo>
                    <a:pt x="136344" y="156484"/>
                  </a:lnTo>
                  <a:lnTo>
                    <a:pt x="97364" y="136146"/>
                  </a:lnTo>
                  <a:cubicBezTo>
                    <a:pt x="95105" y="135017"/>
                    <a:pt x="92280" y="135017"/>
                    <a:pt x="89456" y="136146"/>
                  </a:cubicBezTo>
                  <a:lnTo>
                    <a:pt x="47651" y="157049"/>
                  </a:lnTo>
                  <a:lnTo>
                    <a:pt x="55560" y="111855"/>
                  </a:lnTo>
                  <a:cubicBezTo>
                    <a:pt x="56125" y="109030"/>
                    <a:pt x="54995" y="106206"/>
                    <a:pt x="53301" y="104511"/>
                  </a:cubicBezTo>
                  <a:lnTo>
                    <a:pt x="21100" y="72875"/>
                  </a:lnTo>
                  <a:lnTo>
                    <a:pt x="65729" y="66096"/>
                  </a:lnTo>
                  <a:cubicBezTo>
                    <a:pt x="68553" y="65531"/>
                    <a:pt x="70813" y="63836"/>
                    <a:pt x="71943" y="61577"/>
                  </a:cubicBezTo>
                  <a:lnTo>
                    <a:pt x="91715" y="20902"/>
                  </a:lnTo>
                  <a:lnTo>
                    <a:pt x="111488" y="61577"/>
                  </a:lnTo>
                  <a:cubicBezTo>
                    <a:pt x="112617" y="63836"/>
                    <a:pt x="114877" y="66096"/>
                    <a:pt x="117702" y="66096"/>
                  </a:cubicBezTo>
                  <a:lnTo>
                    <a:pt x="162331" y="72875"/>
                  </a:lnTo>
                  <a:lnTo>
                    <a:pt x="130695" y="10451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3" name="Freeform: Shape 27">
            <a:extLst>
              <a:ext uri="{FF2B5EF4-FFF2-40B4-BE49-F238E27FC236}">
                <a16:creationId xmlns:a16="http://schemas.microsoft.com/office/drawing/2014/main" id="{8234D7C7-C6AC-4D8B-B291-A780E17DD905}"/>
              </a:ext>
            </a:extLst>
          </p:cNvPr>
          <p:cNvSpPr/>
          <p:nvPr/>
        </p:nvSpPr>
        <p:spPr>
          <a:xfrm>
            <a:off x="1514127" y="1559370"/>
            <a:ext cx="2628142" cy="2628141"/>
          </a:xfrm>
          <a:custGeom>
            <a:avLst/>
            <a:gdLst>
              <a:gd name="connsiteX0" fmla="*/ 0 w 2240955"/>
              <a:gd name="connsiteY0" fmla="*/ 1120478 h 2240955"/>
              <a:gd name="connsiteX1" fmla="*/ 1120478 w 2240955"/>
              <a:gd name="connsiteY1" fmla="*/ 0 h 2240955"/>
              <a:gd name="connsiteX2" fmla="*/ 2240956 w 2240955"/>
              <a:gd name="connsiteY2" fmla="*/ 1120478 h 2240955"/>
              <a:gd name="connsiteX3" fmla="*/ 1120478 w 2240955"/>
              <a:gd name="connsiteY3" fmla="*/ 2240956 h 2240955"/>
              <a:gd name="connsiteX4" fmla="*/ 0 w 2240955"/>
              <a:gd name="connsiteY4" fmla="*/ 1120478 h 2240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0955" h="2240955">
                <a:moveTo>
                  <a:pt x="0" y="1120478"/>
                </a:moveTo>
                <a:cubicBezTo>
                  <a:pt x="0" y="501655"/>
                  <a:pt x="501655" y="0"/>
                  <a:pt x="1120478" y="0"/>
                </a:cubicBezTo>
                <a:cubicBezTo>
                  <a:pt x="1739301" y="0"/>
                  <a:pt x="2240956" y="501655"/>
                  <a:pt x="2240956" y="1120478"/>
                </a:cubicBezTo>
                <a:cubicBezTo>
                  <a:pt x="2240956" y="1739301"/>
                  <a:pt x="1739301" y="2240956"/>
                  <a:pt x="1120478" y="2240956"/>
                </a:cubicBezTo>
                <a:cubicBezTo>
                  <a:pt x="501655" y="2240956"/>
                  <a:pt x="0" y="1739301"/>
                  <a:pt x="0" y="1120478"/>
                </a:cubicBez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298794" tIns="392167" rIns="298794" bIns="840358" numCol="1" spcCol="1270" anchor="ctr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ru-RU" sz="1200" dirty="0">
                <a:solidFill>
                  <a:schemeClr val="bg1"/>
                </a:solidFill>
              </a:rPr>
              <a:t>1.Поставщик установил коренные причины выявленных несоответствий.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24" name="Freeform: Shape 29">
            <a:extLst>
              <a:ext uri="{FF2B5EF4-FFF2-40B4-BE49-F238E27FC236}">
                <a16:creationId xmlns:a16="http://schemas.microsoft.com/office/drawing/2014/main" id="{B1D46671-1467-4F39-BDA0-A4D81AB6C314}"/>
              </a:ext>
            </a:extLst>
          </p:cNvPr>
          <p:cNvSpPr/>
          <p:nvPr/>
        </p:nvSpPr>
        <p:spPr>
          <a:xfrm>
            <a:off x="2423572" y="3232479"/>
            <a:ext cx="2627259" cy="2623252"/>
          </a:xfrm>
          <a:custGeom>
            <a:avLst/>
            <a:gdLst>
              <a:gd name="connsiteX0" fmla="*/ 0 w 2240955"/>
              <a:gd name="connsiteY0" fmla="*/ 1120478 h 2240955"/>
              <a:gd name="connsiteX1" fmla="*/ 1120478 w 2240955"/>
              <a:gd name="connsiteY1" fmla="*/ 0 h 2240955"/>
              <a:gd name="connsiteX2" fmla="*/ 2240956 w 2240955"/>
              <a:gd name="connsiteY2" fmla="*/ 1120478 h 2240955"/>
              <a:gd name="connsiteX3" fmla="*/ 1120478 w 2240955"/>
              <a:gd name="connsiteY3" fmla="*/ 2240956 h 2240955"/>
              <a:gd name="connsiteX4" fmla="*/ 0 w 2240955"/>
              <a:gd name="connsiteY4" fmla="*/ 1120478 h 2240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0955" h="2240955">
                <a:moveTo>
                  <a:pt x="0" y="1120478"/>
                </a:moveTo>
                <a:cubicBezTo>
                  <a:pt x="0" y="501655"/>
                  <a:pt x="501655" y="0"/>
                  <a:pt x="1120478" y="0"/>
                </a:cubicBezTo>
                <a:cubicBezTo>
                  <a:pt x="1739301" y="0"/>
                  <a:pt x="2240956" y="501655"/>
                  <a:pt x="2240956" y="1120478"/>
                </a:cubicBezTo>
                <a:cubicBezTo>
                  <a:pt x="2240956" y="1739301"/>
                  <a:pt x="1739301" y="2240956"/>
                  <a:pt x="1120478" y="2240956"/>
                </a:cubicBezTo>
                <a:cubicBezTo>
                  <a:pt x="501655" y="2240956"/>
                  <a:pt x="0" y="1739301"/>
                  <a:pt x="0" y="1120478"/>
                </a:cubicBez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864000" tIns="578913" rIns="211023" bIns="429517" numCol="1" spcCol="127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ru-RU" sz="1200" dirty="0">
                <a:solidFill>
                  <a:schemeClr val="bg1"/>
                </a:solidFill>
              </a:rPr>
              <a:t>2.Поставщик предоставил протоколы лабораторных испытаний на продукцию, выпущенную после реализации КД</a:t>
            </a:r>
            <a:r>
              <a:rPr lang="ru-RU" sz="1400" dirty="0">
                <a:solidFill>
                  <a:schemeClr val="bg1"/>
                </a:solidFill>
              </a:rPr>
              <a:t>.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5" name="Freeform: Shape 30">
            <a:extLst>
              <a:ext uri="{FF2B5EF4-FFF2-40B4-BE49-F238E27FC236}">
                <a16:creationId xmlns:a16="http://schemas.microsoft.com/office/drawing/2014/main" id="{0D146C28-A2F1-49BC-8C08-78B0B572AF4D}"/>
              </a:ext>
            </a:extLst>
          </p:cNvPr>
          <p:cNvSpPr/>
          <p:nvPr/>
        </p:nvSpPr>
        <p:spPr>
          <a:xfrm>
            <a:off x="605565" y="3227589"/>
            <a:ext cx="2628142" cy="2628141"/>
          </a:xfrm>
          <a:custGeom>
            <a:avLst/>
            <a:gdLst>
              <a:gd name="connsiteX0" fmla="*/ 0 w 2240955"/>
              <a:gd name="connsiteY0" fmla="*/ 1120478 h 2240955"/>
              <a:gd name="connsiteX1" fmla="*/ 1120478 w 2240955"/>
              <a:gd name="connsiteY1" fmla="*/ 0 h 2240955"/>
              <a:gd name="connsiteX2" fmla="*/ 2240956 w 2240955"/>
              <a:gd name="connsiteY2" fmla="*/ 1120478 h 2240955"/>
              <a:gd name="connsiteX3" fmla="*/ 1120478 w 2240955"/>
              <a:gd name="connsiteY3" fmla="*/ 2240956 h 2240955"/>
              <a:gd name="connsiteX4" fmla="*/ 0 w 2240955"/>
              <a:gd name="connsiteY4" fmla="*/ 1120478 h 2240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0955" h="2240955">
                <a:moveTo>
                  <a:pt x="0" y="1120478"/>
                </a:moveTo>
                <a:cubicBezTo>
                  <a:pt x="0" y="501655"/>
                  <a:pt x="501655" y="0"/>
                  <a:pt x="1120478" y="0"/>
                </a:cubicBezTo>
                <a:cubicBezTo>
                  <a:pt x="1739301" y="0"/>
                  <a:pt x="2240956" y="501655"/>
                  <a:pt x="2240956" y="1120478"/>
                </a:cubicBezTo>
                <a:cubicBezTo>
                  <a:pt x="2240956" y="1739301"/>
                  <a:pt x="1739301" y="2240956"/>
                  <a:pt x="1120478" y="2240956"/>
                </a:cubicBezTo>
                <a:cubicBezTo>
                  <a:pt x="501655" y="2240956"/>
                  <a:pt x="0" y="1739301"/>
                  <a:pt x="0" y="1120478"/>
                </a:cubicBez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211023" tIns="578914" rIns="864000" bIns="429516" numCol="1" spcCol="1270" anchor="ctr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ru-RU" sz="1200" dirty="0">
                <a:solidFill>
                  <a:schemeClr val="bg1"/>
                </a:solidFill>
              </a:rPr>
              <a:t>3.Поставщик разработал и внедрил корректирующие и предупреждающие действия.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26" name="Freeform: Shape 31">
            <a:extLst>
              <a:ext uri="{FF2B5EF4-FFF2-40B4-BE49-F238E27FC236}">
                <a16:creationId xmlns:a16="http://schemas.microsoft.com/office/drawing/2014/main" id="{3AA8843F-A3A3-4014-9619-8DEE3C6D406C}"/>
              </a:ext>
            </a:extLst>
          </p:cNvPr>
          <p:cNvSpPr/>
          <p:nvPr/>
        </p:nvSpPr>
        <p:spPr>
          <a:xfrm>
            <a:off x="1571734" y="3227589"/>
            <a:ext cx="1606545" cy="985554"/>
          </a:xfrm>
          <a:custGeom>
            <a:avLst/>
            <a:gdLst>
              <a:gd name="connsiteX0" fmla="*/ 296648 w 1369863"/>
              <a:gd name="connsiteY0" fmla="*/ 0 h 840359"/>
              <a:gd name="connsiteX1" fmla="*/ 1366752 w 1369863"/>
              <a:gd name="connsiteY1" fmla="*/ 787282 h 840359"/>
              <a:gd name="connsiteX2" fmla="*/ 1369863 w 1369863"/>
              <a:gd name="connsiteY2" fmla="*/ 799382 h 840359"/>
              <a:gd name="connsiteX3" fmla="*/ 1299030 w 1369863"/>
              <a:gd name="connsiteY3" fmla="*/ 817595 h 840359"/>
              <a:gd name="connsiteX4" fmla="*/ 1073214 w 1369863"/>
              <a:gd name="connsiteY4" fmla="*/ 840359 h 840359"/>
              <a:gd name="connsiteX5" fmla="*/ 3111 w 1369863"/>
              <a:gd name="connsiteY5" fmla="*/ 53077 h 840359"/>
              <a:gd name="connsiteX6" fmla="*/ 0 w 1369863"/>
              <a:gd name="connsiteY6" fmla="*/ 40977 h 840359"/>
              <a:gd name="connsiteX7" fmla="*/ 70833 w 1369863"/>
              <a:gd name="connsiteY7" fmla="*/ 22764 h 840359"/>
              <a:gd name="connsiteX8" fmla="*/ 296648 w 1369863"/>
              <a:gd name="connsiteY8" fmla="*/ 0 h 84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9863" h="840359">
                <a:moveTo>
                  <a:pt x="296648" y="0"/>
                </a:moveTo>
                <a:cubicBezTo>
                  <a:pt x="799442" y="0"/>
                  <a:pt x="1224886" y="331171"/>
                  <a:pt x="1366752" y="787282"/>
                </a:cubicBezTo>
                <a:lnTo>
                  <a:pt x="1369863" y="799382"/>
                </a:lnTo>
                <a:lnTo>
                  <a:pt x="1299030" y="817595"/>
                </a:lnTo>
                <a:cubicBezTo>
                  <a:pt x="1226089" y="832521"/>
                  <a:pt x="1150567" y="840359"/>
                  <a:pt x="1073214" y="840359"/>
                </a:cubicBezTo>
                <a:cubicBezTo>
                  <a:pt x="570421" y="840359"/>
                  <a:pt x="144976" y="509188"/>
                  <a:pt x="3111" y="53077"/>
                </a:cubicBezTo>
                <a:lnTo>
                  <a:pt x="0" y="40977"/>
                </a:lnTo>
                <a:lnTo>
                  <a:pt x="70833" y="22764"/>
                </a:lnTo>
                <a:cubicBezTo>
                  <a:pt x="143773" y="7839"/>
                  <a:pt x="219295" y="0"/>
                  <a:pt x="296648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298794" tIns="392167" rIns="298794" bIns="840358" numCol="1" spcCol="1270" anchor="ctr" anchorCtr="0">
            <a:noAutofit/>
          </a:bodyPr>
          <a:lstStyle/>
          <a:p>
            <a:pPr marL="0" marR="0" lvl="0" indent="0" algn="ctr" defTabSz="4889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Freeform: Shape 32">
            <a:extLst>
              <a:ext uri="{FF2B5EF4-FFF2-40B4-BE49-F238E27FC236}">
                <a16:creationId xmlns:a16="http://schemas.microsoft.com/office/drawing/2014/main" id="{2F242C46-A9E4-4878-B429-7E1B0E230A07}"/>
              </a:ext>
            </a:extLst>
          </p:cNvPr>
          <p:cNvSpPr/>
          <p:nvPr/>
        </p:nvSpPr>
        <p:spPr>
          <a:xfrm>
            <a:off x="2478320" y="3236020"/>
            <a:ext cx="1607226" cy="980664"/>
          </a:xfrm>
          <a:custGeom>
            <a:avLst/>
            <a:gdLst>
              <a:gd name="connsiteX0" fmla="*/ 1072025 w 1370444"/>
              <a:gd name="connsiteY0" fmla="*/ 0 h 836190"/>
              <a:gd name="connsiteX1" fmla="*/ 1297841 w 1370444"/>
              <a:gd name="connsiteY1" fmla="*/ 22764 h 836190"/>
              <a:gd name="connsiteX2" fmla="*/ 1370444 w 1370444"/>
              <a:gd name="connsiteY2" fmla="*/ 41432 h 836190"/>
              <a:gd name="connsiteX3" fmla="*/ 1368522 w 1370444"/>
              <a:gd name="connsiteY3" fmla="*/ 48908 h 836190"/>
              <a:gd name="connsiteX4" fmla="*/ 298418 w 1370444"/>
              <a:gd name="connsiteY4" fmla="*/ 836190 h 836190"/>
              <a:gd name="connsiteX5" fmla="*/ 72603 w 1370444"/>
              <a:gd name="connsiteY5" fmla="*/ 813426 h 836190"/>
              <a:gd name="connsiteX6" fmla="*/ 0 w 1370444"/>
              <a:gd name="connsiteY6" fmla="*/ 794758 h 836190"/>
              <a:gd name="connsiteX7" fmla="*/ 1922 w 1370444"/>
              <a:gd name="connsiteY7" fmla="*/ 787282 h 836190"/>
              <a:gd name="connsiteX8" fmla="*/ 1072025 w 1370444"/>
              <a:gd name="connsiteY8" fmla="*/ 0 h 836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0444" h="836190">
                <a:moveTo>
                  <a:pt x="1072025" y="0"/>
                </a:moveTo>
                <a:cubicBezTo>
                  <a:pt x="1149378" y="0"/>
                  <a:pt x="1224900" y="7839"/>
                  <a:pt x="1297841" y="22764"/>
                </a:cubicBezTo>
                <a:lnTo>
                  <a:pt x="1370444" y="41432"/>
                </a:lnTo>
                <a:lnTo>
                  <a:pt x="1368522" y="48908"/>
                </a:lnTo>
                <a:cubicBezTo>
                  <a:pt x="1226656" y="505019"/>
                  <a:pt x="801212" y="836190"/>
                  <a:pt x="298418" y="836190"/>
                </a:cubicBezTo>
                <a:cubicBezTo>
                  <a:pt x="221065" y="836190"/>
                  <a:pt x="145543" y="828352"/>
                  <a:pt x="72603" y="813426"/>
                </a:cubicBezTo>
                <a:lnTo>
                  <a:pt x="0" y="794758"/>
                </a:lnTo>
                <a:lnTo>
                  <a:pt x="1922" y="787282"/>
                </a:lnTo>
                <a:cubicBezTo>
                  <a:pt x="143787" y="331171"/>
                  <a:pt x="569232" y="0"/>
                  <a:pt x="1072025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298794" tIns="392167" rIns="298794" bIns="840358" numCol="1" spcCol="1270" anchor="ctr" anchorCtr="0">
            <a:noAutofit/>
          </a:bodyPr>
          <a:lstStyle/>
          <a:p>
            <a:pPr marL="0" marR="0" lvl="0" indent="0" algn="ctr" defTabSz="4889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Freeform: Shape 36">
            <a:extLst>
              <a:ext uri="{FF2B5EF4-FFF2-40B4-BE49-F238E27FC236}">
                <a16:creationId xmlns:a16="http://schemas.microsoft.com/office/drawing/2014/main" id="{B0C60109-39A0-4F86-94D6-BC5240AAEF65}"/>
              </a:ext>
            </a:extLst>
          </p:cNvPr>
          <p:cNvSpPr/>
          <p:nvPr/>
        </p:nvSpPr>
        <p:spPr>
          <a:xfrm>
            <a:off x="2423573" y="3599016"/>
            <a:ext cx="810135" cy="1895067"/>
          </a:xfrm>
          <a:custGeom>
            <a:avLst/>
            <a:gdLst>
              <a:gd name="connsiteX0" fmla="*/ 345392 w 690783"/>
              <a:gd name="connsiteY0" fmla="*/ 0 h 1615880"/>
              <a:gd name="connsiteX1" fmla="*/ 362603 w 690783"/>
              <a:gd name="connsiteY1" fmla="*/ 15643 h 1615880"/>
              <a:gd name="connsiteX2" fmla="*/ 690783 w 690783"/>
              <a:gd name="connsiteY2" fmla="*/ 807940 h 1615880"/>
              <a:gd name="connsiteX3" fmla="*/ 362603 w 690783"/>
              <a:gd name="connsiteY3" fmla="*/ 1600238 h 1615880"/>
              <a:gd name="connsiteX4" fmla="*/ 345392 w 690783"/>
              <a:gd name="connsiteY4" fmla="*/ 1615880 h 1615880"/>
              <a:gd name="connsiteX5" fmla="*/ 328181 w 690783"/>
              <a:gd name="connsiteY5" fmla="*/ 1600238 h 1615880"/>
              <a:gd name="connsiteX6" fmla="*/ 0 w 690783"/>
              <a:gd name="connsiteY6" fmla="*/ 807940 h 1615880"/>
              <a:gd name="connsiteX7" fmla="*/ 328181 w 690783"/>
              <a:gd name="connsiteY7" fmla="*/ 15643 h 161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0783" h="1615880">
                <a:moveTo>
                  <a:pt x="345392" y="0"/>
                </a:moveTo>
                <a:lnTo>
                  <a:pt x="362603" y="15643"/>
                </a:lnTo>
                <a:cubicBezTo>
                  <a:pt x="565370" y="218409"/>
                  <a:pt x="690783" y="498529"/>
                  <a:pt x="690783" y="807940"/>
                </a:cubicBezTo>
                <a:cubicBezTo>
                  <a:pt x="690783" y="1117352"/>
                  <a:pt x="565370" y="1397471"/>
                  <a:pt x="362603" y="1600238"/>
                </a:cubicBezTo>
                <a:lnTo>
                  <a:pt x="345392" y="1615880"/>
                </a:lnTo>
                <a:lnTo>
                  <a:pt x="328181" y="1600238"/>
                </a:lnTo>
                <a:cubicBezTo>
                  <a:pt x="125414" y="1397471"/>
                  <a:pt x="0" y="1117352"/>
                  <a:pt x="0" y="807940"/>
                </a:cubicBezTo>
                <a:cubicBezTo>
                  <a:pt x="0" y="498529"/>
                  <a:pt x="125414" y="218409"/>
                  <a:pt x="328181" y="15643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211023" tIns="578914" rIns="685359" bIns="429516" numCol="1" spcCol="1270" anchor="ctr" anchorCtr="0">
            <a:noAutofit/>
          </a:bodyPr>
          <a:lstStyle/>
          <a:p>
            <a:pPr marL="0" marR="0" lvl="0" indent="0" algn="ctr" defTabSz="4889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Freeform: Shape 37">
            <a:extLst>
              <a:ext uri="{FF2B5EF4-FFF2-40B4-BE49-F238E27FC236}">
                <a16:creationId xmlns:a16="http://schemas.microsoft.com/office/drawing/2014/main" id="{F3635136-7B4E-4FCF-A66B-3202D0F5E43C}"/>
              </a:ext>
            </a:extLst>
          </p:cNvPr>
          <p:cNvSpPr/>
          <p:nvPr/>
        </p:nvSpPr>
        <p:spPr>
          <a:xfrm>
            <a:off x="2479570" y="3600153"/>
            <a:ext cx="697257" cy="615434"/>
          </a:xfrm>
          <a:custGeom>
            <a:avLst/>
            <a:gdLst>
              <a:gd name="connsiteX0" fmla="*/ 300301 w 594535"/>
              <a:gd name="connsiteY0" fmla="*/ 0 h 524766"/>
              <a:gd name="connsiteX1" fmla="*/ 314150 w 594535"/>
              <a:gd name="connsiteY1" fmla="*/ 12588 h 524766"/>
              <a:gd name="connsiteX2" fmla="*/ 591956 w 594535"/>
              <a:gd name="connsiteY2" fmla="*/ 471689 h 524766"/>
              <a:gd name="connsiteX3" fmla="*/ 594535 w 594535"/>
              <a:gd name="connsiteY3" fmla="*/ 481721 h 524766"/>
              <a:gd name="connsiteX4" fmla="*/ 482937 w 594535"/>
              <a:gd name="connsiteY4" fmla="*/ 509645 h 524766"/>
              <a:gd name="connsiteX5" fmla="*/ 298418 w 594535"/>
              <a:gd name="connsiteY5" fmla="*/ 524766 h 524766"/>
              <a:gd name="connsiteX6" fmla="*/ 72603 w 594535"/>
              <a:gd name="connsiteY6" fmla="*/ 502002 h 524766"/>
              <a:gd name="connsiteX7" fmla="*/ 0 w 594535"/>
              <a:gd name="connsiteY7" fmla="*/ 483334 h 524766"/>
              <a:gd name="connsiteX8" fmla="*/ 1922 w 594535"/>
              <a:gd name="connsiteY8" fmla="*/ 475858 h 524766"/>
              <a:gd name="connsiteX9" fmla="*/ 270280 w 594535"/>
              <a:gd name="connsiteY9" fmla="*/ 26318 h 524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4535" h="524766">
                <a:moveTo>
                  <a:pt x="300301" y="0"/>
                </a:moveTo>
                <a:lnTo>
                  <a:pt x="314150" y="12588"/>
                </a:lnTo>
                <a:cubicBezTo>
                  <a:pt x="440879" y="139317"/>
                  <a:pt x="537392" y="296262"/>
                  <a:pt x="591956" y="471689"/>
                </a:cubicBezTo>
                <a:lnTo>
                  <a:pt x="594535" y="481721"/>
                </a:lnTo>
                <a:lnTo>
                  <a:pt x="482937" y="509645"/>
                </a:lnTo>
                <a:cubicBezTo>
                  <a:pt x="422908" y="519592"/>
                  <a:pt x="361267" y="524766"/>
                  <a:pt x="298418" y="524766"/>
                </a:cubicBezTo>
                <a:cubicBezTo>
                  <a:pt x="221065" y="524766"/>
                  <a:pt x="145543" y="516928"/>
                  <a:pt x="72603" y="502002"/>
                </a:cubicBezTo>
                <a:lnTo>
                  <a:pt x="0" y="483334"/>
                </a:lnTo>
                <a:lnTo>
                  <a:pt x="1922" y="475858"/>
                </a:lnTo>
                <a:cubicBezTo>
                  <a:pt x="55121" y="304816"/>
                  <a:pt x="148199" y="151344"/>
                  <a:pt x="270280" y="2631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298794" tIns="392167" rIns="298794" bIns="840358" numCol="1" spcCol="1270" anchor="ctr" anchorCtr="0">
            <a:noAutofit/>
          </a:bodyPr>
          <a:lstStyle/>
          <a:p>
            <a:pPr marL="0" marR="0" lvl="0" indent="0" algn="ctr" defTabSz="4889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Прямая со стрелкой 17"/>
          <p:cNvCxnSpPr>
            <a:endCxn id="21" idx="1"/>
          </p:cNvCxnSpPr>
          <p:nvPr/>
        </p:nvCxnSpPr>
        <p:spPr>
          <a:xfrm flipV="1">
            <a:off x="2822713" y="2732053"/>
            <a:ext cx="1976129" cy="126745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8" name="Блок-схема: узел 37"/>
          <p:cNvSpPr/>
          <p:nvPr/>
        </p:nvSpPr>
        <p:spPr>
          <a:xfrm>
            <a:off x="2790908" y="3935394"/>
            <a:ext cx="79513" cy="95917"/>
          </a:xfrm>
          <a:prstGeom prst="flowChartConnector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95456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7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Заголовок 33">
            <a:extLst>
              <a:ext uri="{FF2B5EF4-FFF2-40B4-BE49-F238E27FC236}">
                <a16:creationId xmlns:a16="http://schemas.microsoft.com/office/drawing/2014/main" id="{DFE19F94-644B-42C1-AD3F-8528C51CFA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lvl="0">
              <a:lnSpc>
                <a:spcPct val="107000"/>
              </a:lnSpc>
            </a:pPr>
            <a:r>
              <a:rPr lang="ru-RU" dirty="0" smtClean="0"/>
              <a:t>Вопрос - Ответ</a:t>
            </a:r>
            <a:endParaRPr lang="ru-RU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C8C12EE-F6E3-DC38-EC5D-561226AB2A87}"/>
              </a:ext>
            </a:extLst>
          </p:cNvPr>
          <p:cNvGrpSpPr/>
          <p:nvPr/>
        </p:nvGrpSpPr>
        <p:grpSpPr>
          <a:xfrm>
            <a:off x="0" y="4895068"/>
            <a:ext cx="5700035" cy="1962956"/>
            <a:chOff x="0" y="4895068"/>
            <a:chExt cx="5700035" cy="1962956"/>
          </a:xfrm>
        </p:grpSpPr>
        <p:sp>
          <p:nvSpPr>
            <p:cNvPr id="125" name="Полилиния: фигура 7">
              <a:extLst>
                <a:ext uri="{FF2B5EF4-FFF2-40B4-BE49-F238E27FC236}">
                  <a16:creationId xmlns:a16="http://schemas.microsoft.com/office/drawing/2014/main" id="{3789CB51-94F1-F8FA-A79F-06A57F1C8DF4}"/>
                </a:ext>
              </a:extLst>
            </p:cNvPr>
            <p:cNvSpPr/>
            <p:nvPr userDrawn="1"/>
          </p:nvSpPr>
          <p:spPr>
            <a:xfrm rot="16200000">
              <a:off x="979714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Полилиния: фигура 8">
              <a:extLst>
                <a:ext uri="{FF2B5EF4-FFF2-40B4-BE49-F238E27FC236}">
                  <a16:creationId xmlns:a16="http://schemas.microsoft.com/office/drawing/2014/main" id="{A6ACED56-6CF8-39E8-A8FB-2A87C0231D3C}"/>
                </a:ext>
              </a:extLst>
            </p:cNvPr>
            <p:cNvSpPr/>
            <p:nvPr userDrawn="1"/>
          </p:nvSpPr>
          <p:spPr>
            <a:xfrm>
              <a:off x="1224642" y="6123239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Полилиния: фигура 11">
              <a:extLst>
                <a:ext uri="{FF2B5EF4-FFF2-40B4-BE49-F238E27FC236}">
                  <a16:creationId xmlns:a16="http://schemas.microsoft.com/office/drawing/2014/main" id="{5DB7683A-9BD5-4464-68F8-5EDE8AF6796A}"/>
                </a:ext>
              </a:extLst>
            </p:cNvPr>
            <p:cNvSpPr/>
            <p:nvPr userDrawn="1"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Полилиния: фигура 12">
              <a:extLst>
                <a:ext uri="{FF2B5EF4-FFF2-40B4-BE49-F238E27FC236}">
                  <a16:creationId xmlns:a16="http://schemas.microsoft.com/office/drawing/2014/main" id="{F57E5213-5C20-6A07-918A-83451D3052F3}"/>
                </a:ext>
              </a:extLst>
            </p:cNvPr>
            <p:cNvSpPr/>
            <p:nvPr userDrawn="1"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Полилиния: фигура 13">
              <a:extLst>
                <a:ext uri="{FF2B5EF4-FFF2-40B4-BE49-F238E27FC236}">
                  <a16:creationId xmlns:a16="http://schemas.microsoft.com/office/drawing/2014/main" id="{EEC48DA5-7A77-6D8F-679C-6B23C76D5E64}"/>
                </a:ext>
              </a:extLst>
            </p:cNvPr>
            <p:cNvSpPr/>
            <p:nvPr userDrawn="1"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Полилиния: фигура 14">
              <a:extLst>
                <a:ext uri="{FF2B5EF4-FFF2-40B4-BE49-F238E27FC236}">
                  <a16:creationId xmlns:a16="http://schemas.microsoft.com/office/drawing/2014/main" id="{1613629D-47BB-7796-0553-499C6821CA59}"/>
                </a:ext>
              </a:extLst>
            </p:cNvPr>
            <p:cNvSpPr/>
            <p:nvPr userDrawn="1"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Полилиния: фигура 15">
              <a:extLst>
                <a:ext uri="{FF2B5EF4-FFF2-40B4-BE49-F238E27FC236}">
                  <a16:creationId xmlns:a16="http://schemas.microsoft.com/office/drawing/2014/main" id="{C85BD5F8-F7C8-28E1-BFDB-DDC8307360F7}"/>
                </a:ext>
              </a:extLst>
            </p:cNvPr>
            <p:cNvSpPr/>
            <p:nvPr userDrawn="1"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17">
              <a:extLst>
                <a:ext uri="{FF2B5EF4-FFF2-40B4-BE49-F238E27FC236}">
                  <a16:creationId xmlns:a16="http://schemas.microsoft.com/office/drawing/2014/main" id="{0355DC7A-A024-569E-0B8D-DDEEE1CADB03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Полилиния: фигура 18">
              <a:extLst>
                <a:ext uri="{FF2B5EF4-FFF2-40B4-BE49-F238E27FC236}">
                  <a16:creationId xmlns:a16="http://schemas.microsoft.com/office/drawing/2014/main" id="{26A08EE6-873F-5FF3-69E5-49E927186F08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Полилиния: фигура 19">
              <a:extLst>
                <a:ext uri="{FF2B5EF4-FFF2-40B4-BE49-F238E27FC236}">
                  <a16:creationId xmlns:a16="http://schemas.microsoft.com/office/drawing/2014/main" id="{18ED321C-6A84-4D58-AD6B-4E8876929C0F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Полилиния: фигура 21">
              <a:extLst>
                <a:ext uri="{FF2B5EF4-FFF2-40B4-BE49-F238E27FC236}">
                  <a16:creationId xmlns:a16="http://schemas.microsoft.com/office/drawing/2014/main" id="{1D4D272C-D9B3-B449-31B4-629820975AD7}"/>
                </a:ext>
              </a:extLst>
            </p:cNvPr>
            <p:cNvSpPr/>
            <p:nvPr/>
          </p:nvSpPr>
          <p:spPr>
            <a:xfrm>
              <a:off x="1959428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Полилиния: фигура 22">
              <a:extLst>
                <a:ext uri="{FF2B5EF4-FFF2-40B4-BE49-F238E27FC236}">
                  <a16:creationId xmlns:a16="http://schemas.microsoft.com/office/drawing/2014/main" id="{4553FED2-7C22-3A82-5723-3CB1B665DA29}"/>
                </a:ext>
              </a:extLst>
            </p:cNvPr>
            <p:cNvSpPr/>
            <p:nvPr/>
          </p:nvSpPr>
          <p:spPr>
            <a:xfrm>
              <a:off x="1959428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Полилиния: фигура 23">
              <a:extLst>
                <a:ext uri="{FF2B5EF4-FFF2-40B4-BE49-F238E27FC236}">
                  <a16:creationId xmlns:a16="http://schemas.microsoft.com/office/drawing/2014/main" id="{92BE6DE7-1F2A-EC43-8771-8E2CCF1F4233}"/>
                </a:ext>
              </a:extLst>
            </p:cNvPr>
            <p:cNvSpPr/>
            <p:nvPr/>
          </p:nvSpPr>
          <p:spPr>
            <a:xfrm>
              <a:off x="2449285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Полилиния: фигура 24">
              <a:extLst>
                <a:ext uri="{FF2B5EF4-FFF2-40B4-BE49-F238E27FC236}">
                  <a16:creationId xmlns:a16="http://schemas.microsoft.com/office/drawing/2014/main" id="{EEED14F5-BCFF-9854-C273-6F2CDA8A487B}"/>
                </a:ext>
              </a:extLst>
            </p:cNvPr>
            <p:cNvSpPr/>
            <p:nvPr/>
          </p:nvSpPr>
          <p:spPr>
            <a:xfrm>
              <a:off x="2449285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Полилиния: фигура 26">
              <a:extLst>
                <a:ext uri="{FF2B5EF4-FFF2-40B4-BE49-F238E27FC236}">
                  <a16:creationId xmlns:a16="http://schemas.microsoft.com/office/drawing/2014/main" id="{99B323CD-8E61-4B69-EA1D-5DCA632F6E66}"/>
                </a:ext>
              </a:extLst>
            </p:cNvPr>
            <p:cNvSpPr/>
            <p:nvPr/>
          </p:nvSpPr>
          <p:spPr>
            <a:xfrm>
              <a:off x="3268046" y="6171445"/>
              <a:ext cx="432445" cy="432445"/>
            </a:xfrm>
            <a:custGeom>
              <a:avLst/>
              <a:gdLst>
                <a:gd name="connsiteX0" fmla="*/ 432446 w 432445"/>
                <a:gd name="connsiteY0" fmla="*/ 216223 h 432445"/>
                <a:gd name="connsiteX1" fmla="*/ 216223 w 432445"/>
                <a:gd name="connsiteY1" fmla="*/ 432446 h 432445"/>
                <a:gd name="connsiteX2" fmla="*/ 0 w 432445"/>
                <a:gd name="connsiteY2" fmla="*/ 216223 h 432445"/>
                <a:gd name="connsiteX3" fmla="*/ 216223 w 432445"/>
                <a:gd name="connsiteY3" fmla="*/ 0 h 432445"/>
                <a:gd name="connsiteX4" fmla="*/ 432446 w 432445"/>
                <a:gd name="connsiteY4" fmla="*/ 216223 h 4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445" h="432445">
                  <a:moveTo>
                    <a:pt x="432446" y="216223"/>
                  </a:moveTo>
                  <a:cubicBezTo>
                    <a:pt x="432446" y="335639"/>
                    <a:pt x="335640" y="432446"/>
                    <a:pt x="216223" y="432446"/>
                  </a:cubicBezTo>
                  <a:cubicBezTo>
                    <a:pt x="96806" y="432446"/>
                    <a:pt x="0" y="335639"/>
                    <a:pt x="0" y="216223"/>
                  </a:cubicBezTo>
                  <a:cubicBezTo>
                    <a:pt x="0" y="96806"/>
                    <a:pt x="96806" y="0"/>
                    <a:pt x="216223" y="0"/>
                  </a:cubicBezTo>
                  <a:cubicBezTo>
                    <a:pt x="335640" y="0"/>
                    <a:pt x="432446" y="96806"/>
                    <a:pt x="432446" y="216223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Полилиния: фигура 27">
              <a:extLst>
                <a:ext uri="{FF2B5EF4-FFF2-40B4-BE49-F238E27FC236}">
                  <a16:creationId xmlns:a16="http://schemas.microsoft.com/office/drawing/2014/main" id="{436C948C-C636-AD72-AEAA-7147655F72E7}"/>
                </a:ext>
              </a:extLst>
            </p:cNvPr>
            <p:cNvSpPr/>
            <p:nvPr/>
          </p:nvSpPr>
          <p:spPr>
            <a:xfrm>
              <a:off x="3484268" y="6011751"/>
              <a:ext cx="159988" cy="159987"/>
            </a:xfrm>
            <a:custGeom>
              <a:avLst/>
              <a:gdLst>
                <a:gd name="connsiteX0" fmla="*/ -3207 w 159988"/>
                <a:gd name="connsiteY0" fmla="*/ 159748 h 159987"/>
                <a:gd name="connsiteX1" fmla="*/ 156781 w 159988"/>
                <a:gd name="connsiteY1" fmla="*/ -240 h 159987"/>
                <a:gd name="connsiteX2" fmla="*/ -3207 w 159988"/>
                <a:gd name="connsiteY2" fmla="*/ 159748 h 15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88" h="159987">
                  <a:moveTo>
                    <a:pt x="-3207" y="159748"/>
                  </a:moveTo>
                  <a:cubicBezTo>
                    <a:pt x="85163" y="159748"/>
                    <a:pt x="156781" y="88121"/>
                    <a:pt x="156781" y="-240"/>
                  </a:cubicBezTo>
                  <a:cubicBezTo>
                    <a:pt x="68410" y="-240"/>
                    <a:pt x="-3207" y="71387"/>
                    <a:pt x="-3207" y="159748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4" name="Группа 48">
              <a:extLst>
                <a:ext uri="{FF2B5EF4-FFF2-40B4-BE49-F238E27FC236}">
                  <a16:creationId xmlns:a16="http://schemas.microsoft.com/office/drawing/2014/main" id="{A344F5CA-3BFA-949C-3A3C-50FC4802C112}"/>
                </a:ext>
              </a:extLst>
            </p:cNvPr>
            <p:cNvGrpSpPr/>
            <p:nvPr/>
          </p:nvGrpSpPr>
          <p:grpSpPr>
            <a:xfrm>
              <a:off x="5094572" y="6068734"/>
              <a:ext cx="605463" cy="605463"/>
              <a:chOff x="5094572" y="6068734"/>
              <a:chExt cx="605463" cy="605463"/>
            </a:xfrm>
          </p:grpSpPr>
          <p:sp>
            <p:nvSpPr>
              <p:cNvPr id="159" name="Полилиния: фигура 49">
                <a:extLst>
                  <a:ext uri="{FF2B5EF4-FFF2-40B4-BE49-F238E27FC236}">
                    <a16:creationId xmlns:a16="http://schemas.microsoft.com/office/drawing/2014/main" id="{D0C567A5-1393-2D50-08F3-F4763D871D24}"/>
                  </a:ext>
                </a:extLst>
              </p:cNvPr>
              <p:cNvSpPr/>
              <p:nvPr userDrawn="1"/>
            </p:nvSpPr>
            <p:spPr>
              <a:xfrm>
                <a:off x="5226343" y="6200506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2" y="341920"/>
                      <a:pt x="0" y="265379"/>
                      <a:pt x="0" y="170960"/>
                    </a:cubicBezTo>
                    <a:cubicBezTo>
                      <a:pt x="0" y="76541"/>
                      <a:pt x="76542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Полилиния: фигура 50">
                <a:extLst>
                  <a:ext uri="{FF2B5EF4-FFF2-40B4-BE49-F238E27FC236}">
                    <a16:creationId xmlns:a16="http://schemas.microsoft.com/office/drawing/2014/main" id="{A1867F93-FB8B-B633-D8E3-07D0B8ADBE26}"/>
                  </a:ext>
                </a:extLst>
              </p:cNvPr>
              <p:cNvSpPr/>
              <p:nvPr userDrawn="1"/>
            </p:nvSpPr>
            <p:spPr>
              <a:xfrm>
                <a:off x="5094572" y="6068734"/>
                <a:ext cx="605463" cy="605463"/>
              </a:xfrm>
              <a:custGeom>
                <a:avLst/>
                <a:gdLst>
                  <a:gd name="connsiteX0" fmla="*/ 299524 w 605463"/>
                  <a:gd name="connsiteY0" fmla="*/ -240 h 605463"/>
                  <a:gd name="connsiteX1" fmla="*/ 270132 w 605463"/>
                  <a:gd name="connsiteY1" fmla="*/ 29151 h 605463"/>
                  <a:gd name="connsiteX2" fmla="*/ 270132 w 605463"/>
                  <a:gd name="connsiteY2" fmla="*/ 72847 h 605463"/>
                  <a:gd name="connsiteX3" fmla="*/ 299524 w 605463"/>
                  <a:gd name="connsiteY3" fmla="*/ 102238 h 605463"/>
                  <a:gd name="connsiteX4" fmla="*/ 328915 w 605463"/>
                  <a:gd name="connsiteY4" fmla="*/ 72847 h 605463"/>
                  <a:gd name="connsiteX5" fmla="*/ 328915 w 605463"/>
                  <a:gd name="connsiteY5" fmla="*/ 29151 h 605463"/>
                  <a:gd name="connsiteX6" fmla="*/ 299524 w 605463"/>
                  <a:gd name="connsiteY6" fmla="*/ -240 h 605463"/>
                  <a:gd name="connsiteX7" fmla="*/ 299524 w 605463"/>
                  <a:gd name="connsiteY7" fmla="*/ 502745 h 605463"/>
                  <a:gd name="connsiteX8" fmla="*/ 270132 w 605463"/>
                  <a:gd name="connsiteY8" fmla="*/ 532137 h 605463"/>
                  <a:gd name="connsiteX9" fmla="*/ 270132 w 605463"/>
                  <a:gd name="connsiteY9" fmla="*/ 575832 h 605463"/>
                  <a:gd name="connsiteX10" fmla="*/ 299524 w 605463"/>
                  <a:gd name="connsiteY10" fmla="*/ 605223 h 605463"/>
                  <a:gd name="connsiteX11" fmla="*/ 328915 w 605463"/>
                  <a:gd name="connsiteY11" fmla="*/ 575832 h 605463"/>
                  <a:gd name="connsiteX12" fmla="*/ 328915 w 605463"/>
                  <a:gd name="connsiteY12" fmla="*/ 532137 h 605463"/>
                  <a:gd name="connsiteX13" fmla="*/ 299524 w 605463"/>
                  <a:gd name="connsiteY13" fmla="*/ 502745 h 605463"/>
                  <a:gd name="connsiteX14" fmla="*/ 99271 w 605463"/>
                  <a:gd name="connsiteY14" fmla="*/ 302492 h 605463"/>
                  <a:gd name="connsiteX15" fmla="*/ 69879 w 605463"/>
                  <a:gd name="connsiteY15" fmla="*/ 273100 h 605463"/>
                  <a:gd name="connsiteX16" fmla="*/ 26184 w 605463"/>
                  <a:gd name="connsiteY16" fmla="*/ 273100 h 605463"/>
                  <a:gd name="connsiteX17" fmla="*/ -3207 w 605463"/>
                  <a:gd name="connsiteY17" fmla="*/ 302492 h 605463"/>
                  <a:gd name="connsiteX18" fmla="*/ 26184 w 605463"/>
                  <a:gd name="connsiteY18" fmla="*/ 331883 h 605463"/>
                  <a:gd name="connsiteX19" fmla="*/ 69879 w 605463"/>
                  <a:gd name="connsiteY19" fmla="*/ 331883 h 605463"/>
                  <a:gd name="connsiteX20" fmla="*/ 99271 w 605463"/>
                  <a:gd name="connsiteY20" fmla="*/ 302492 h 605463"/>
                  <a:gd name="connsiteX21" fmla="*/ 572865 w 605463"/>
                  <a:gd name="connsiteY21" fmla="*/ 273100 h 605463"/>
                  <a:gd name="connsiteX22" fmla="*/ 529168 w 605463"/>
                  <a:gd name="connsiteY22" fmla="*/ 273100 h 605463"/>
                  <a:gd name="connsiteX23" fmla="*/ 499777 w 605463"/>
                  <a:gd name="connsiteY23" fmla="*/ 302492 h 605463"/>
                  <a:gd name="connsiteX24" fmla="*/ 529168 w 605463"/>
                  <a:gd name="connsiteY24" fmla="*/ 331883 h 605463"/>
                  <a:gd name="connsiteX25" fmla="*/ 572865 w 605463"/>
                  <a:gd name="connsiteY25" fmla="*/ 331883 h 605463"/>
                  <a:gd name="connsiteX26" fmla="*/ 602257 w 605463"/>
                  <a:gd name="connsiteY26" fmla="*/ 302492 h 605463"/>
                  <a:gd name="connsiteX27" fmla="*/ 572865 w 605463"/>
                  <a:gd name="connsiteY27" fmla="*/ 273100 h 605463"/>
                  <a:gd name="connsiteX28" fmla="*/ 126997 w 605463"/>
                  <a:gd name="connsiteY28" fmla="*/ 88424 h 605463"/>
                  <a:gd name="connsiteX29" fmla="*/ 85457 w 605463"/>
                  <a:gd name="connsiteY29" fmla="*/ 86955 h 605463"/>
                  <a:gd name="connsiteX30" fmla="*/ 83986 w 605463"/>
                  <a:gd name="connsiteY30" fmla="*/ 128494 h 605463"/>
                  <a:gd name="connsiteX31" fmla="*/ 85457 w 605463"/>
                  <a:gd name="connsiteY31" fmla="*/ 129964 h 605463"/>
                  <a:gd name="connsiteX32" fmla="*/ 116317 w 605463"/>
                  <a:gd name="connsiteY32" fmla="*/ 160923 h 605463"/>
                  <a:gd name="connsiteX33" fmla="*/ 157955 w 605463"/>
                  <a:gd name="connsiteY33" fmla="*/ 160923 h 605463"/>
                  <a:gd name="connsiteX34" fmla="*/ 157955 w 605463"/>
                  <a:gd name="connsiteY34" fmla="*/ 119285 h 605463"/>
                  <a:gd name="connsiteX35" fmla="*/ 482730 w 605463"/>
                  <a:gd name="connsiteY35" fmla="*/ 444061 h 605463"/>
                  <a:gd name="connsiteX36" fmla="*/ 441092 w 605463"/>
                  <a:gd name="connsiteY36" fmla="*/ 444061 h 605463"/>
                  <a:gd name="connsiteX37" fmla="*/ 441092 w 605463"/>
                  <a:gd name="connsiteY37" fmla="*/ 485698 h 605463"/>
                  <a:gd name="connsiteX38" fmla="*/ 472052 w 605463"/>
                  <a:gd name="connsiteY38" fmla="*/ 516559 h 605463"/>
                  <a:gd name="connsiteX39" fmla="*/ 513592 w 605463"/>
                  <a:gd name="connsiteY39" fmla="*/ 516559 h 605463"/>
                  <a:gd name="connsiteX40" fmla="*/ 513592 w 605463"/>
                  <a:gd name="connsiteY40" fmla="*/ 475019 h 605463"/>
                  <a:gd name="connsiteX41" fmla="*/ 116317 w 605463"/>
                  <a:gd name="connsiteY41" fmla="*/ 444061 h 605463"/>
                  <a:gd name="connsiteX42" fmla="*/ 85457 w 605463"/>
                  <a:gd name="connsiteY42" fmla="*/ 475019 h 605463"/>
                  <a:gd name="connsiteX43" fmla="*/ 85457 w 605463"/>
                  <a:gd name="connsiteY43" fmla="*/ 516589 h 605463"/>
                  <a:gd name="connsiteX44" fmla="*/ 106226 w 605463"/>
                  <a:gd name="connsiteY44" fmla="*/ 525181 h 605463"/>
                  <a:gd name="connsiteX45" fmla="*/ 126997 w 605463"/>
                  <a:gd name="connsiteY45" fmla="*/ 516559 h 605463"/>
                  <a:gd name="connsiteX46" fmla="*/ 157955 w 605463"/>
                  <a:gd name="connsiteY46" fmla="*/ 485698 h 605463"/>
                  <a:gd name="connsiteX47" fmla="*/ 157955 w 605463"/>
                  <a:gd name="connsiteY47" fmla="*/ 444061 h 605463"/>
                  <a:gd name="connsiteX48" fmla="*/ 116317 w 605463"/>
                  <a:gd name="connsiteY48" fmla="*/ 444061 h 605463"/>
                  <a:gd name="connsiteX49" fmla="*/ 461961 w 605463"/>
                  <a:gd name="connsiteY49" fmla="*/ 169740 h 605463"/>
                  <a:gd name="connsiteX50" fmla="*/ 482730 w 605463"/>
                  <a:gd name="connsiteY50" fmla="*/ 161217 h 605463"/>
                  <a:gd name="connsiteX51" fmla="*/ 513592 w 605463"/>
                  <a:gd name="connsiteY51" fmla="*/ 130258 h 605463"/>
                  <a:gd name="connsiteX52" fmla="*/ 512121 w 605463"/>
                  <a:gd name="connsiteY52" fmla="*/ 88718 h 605463"/>
                  <a:gd name="connsiteX53" fmla="*/ 472052 w 605463"/>
                  <a:gd name="connsiteY53" fmla="*/ 88718 h 605463"/>
                  <a:gd name="connsiteX54" fmla="*/ 441092 w 605463"/>
                  <a:gd name="connsiteY54" fmla="*/ 119579 h 605463"/>
                  <a:gd name="connsiteX55" fmla="*/ 441092 w 605463"/>
                  <a:gd name="connsiteY55" fmla="*/ 161148 h 605463"/>
                  <a:gd name="connsiteX56" fmla="*/ 461961 w 605463"/>
                  <a:gd name="connsiteY56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5463" h="605463">
                    <a:moveTo>
                      <a:pt x="299524" y="-240"/>
                    </a:moveTo>
                    <a:cubicBezTo>
                      <a:pt x="283261" y="-240"/>
                      <a:pt x="270132" y="12917"/>
                      <a:pt x="270132" y="29151"/>
                    </a:cubicBezTo>
                    <a:lnTo>
                      <a:pt x="270132" y="72847"/>
                    </a:lnTo>
                    <a:cubicBezTo>
                      <a:pt x="270132" y="89081"/>
                      <a:pt x="283261" y="102238"/>
                      <a:pt x="299524" y="102238"/>
                    </a:cubicBezTo>
                    <a:cubicBezTo>
                      <a:pt x="315786" y="102238"/>
                      <a:pt x="328915" y="89081"/>
                      <a:pt x="328915" y="72847"/>
                    </a:cubicBezTo>
                    <a:lnTo>
                      <a:pt x="328915" y="29151"/>
                    </a:lnTo>
                    <a:cubicBezTo>
                      <a:pt x="328915" y="12917"/>
                      <a:pt x="315786" y="-240"/>
                      <a:pt x="299524" y="-240"/>
                    </a:cubicBezTo>
                    <a:close/>
                    <a:moveTo>
                      <a:pt x="299524" y="502745"/>
                    </a:moveTo>
                    <a:cubicBezTo>
                      <a:pt x="283261" y="502745"/>
                      <a:pt x="270132" y="515903"/>
                      <a:pt x="270132" y="532137"/>
                    </a:cubicBezTo>
                    <a:lnTo>
                      <a:pt x="270132" y="575832"/>
                    </a:lnTo>
                    <a:cubicBezTo>
                      <a:pt x="270132" y="592066"/>
                      <a:pt x="283261" y="605223"/>
                      <a:pt x="299524" y="605223"/>
                    </a:cubicBezTo>
                    <a:cubicBezTo>
                      <a:pt x="315786" y="605223"/>
                      <a:pt x="328915" y="592066"/>
                      <a:pt x="328915" y="575832"/>
                    </a:cubicBezTo>
                    <a:lnTo>
                      <a:pt x="328915" y="532137"/>
                    </a:lnTo>
                    <a:cubicBezTo>
                      <a:pt x="328915" y="515903"/>
                      <a:pt x="315786" y="502745"/>
                      <a:pt x="299524" y="502745"/>
                    </a:cubicBezTo>
                    <a:close/>
                    <a:moveTo>
                      <a:pt x="99271" y="302492"/>
                    </a:moveTo>
                    <a:cubicBezTo>
                      <a:pt x="99271" y="286258"/>
                      <a:pt x="86141" y="273100"/>
                      <a:pt x="69879" y="273100"/>
                    </a:cubicBezTo>
                    <a:lnTo>
                      <a:pt x="26184" y="273100"/>
                    </a:lnTo>
                    <a:cubicBezTo>
                      <a:pt x="9919" y="273100"/>
                      <a:pt x="-3207" y="286258"/>
                      <a:pt x="-3207" y="302492"/>
                    </a:cubicBezTo>
                    <a:cubicBezTo>
                      <a:pt x="-3207" y="318726"/>
                      <a:pt x="9919" y="331883"/>
                      <a:pt x="26184" y="331883"/>
                    </a:cubicBezTo>
                    <a:lnTo>
                      <a:pt x="69879" y="331883"/>
                    </a:lnTo>
                    <a:cubicBezTo>
                      <a:pt x="86141" y="331883"/>
                      <a:pt x="99271" y="318726"/>
                      <a:pt x="99271" y="302492"/>
                    </a:cubicBezTo>
                    <a:close/>
                    <a:moveTo>
                      <a:pt x="572865" y="273100"/>
                    </a:moveTo>
                    <a:lnTo>
                      <a:pt x="529168" y="273100"/>
                    </a:lnTo>
                    <a:cubicBezTo>
                      <a:pt x="512906" y="273100"/>
                      <a:pt x="499777" y="286258"/>
                      <a:pt x="499777" y="302492"/>
                    </a:cubicBezTo>
                    <a:cubicBezTo>
                      <a:pt x="499777" y="318726"/>
                      <a:pt x="512906" y="331883"/>
                      <a:pt x="529168" y="331883"/>
                    </a:cubicBezTo>
                    <a:lnTo>
                      <a:pt x="572865" y="331883"/>
                    </a:lnTo>
                    <a:cubicBezTo>
                      <a:pt x="589128" y="331883"/>
                      <a:pt x="602257" y="318726"/>
                      <a:pt x="602257" y="302492"/>
                    </a:cubicBezTo>
                    <a:cubicBezTo>
                      <a:pt x="602257" y="286258"/>
                      <a:pt x="589128" y="273100"/>
                      <a:pt x="572865" y="273100"/>
                    </a:cubicBezTo>
                    <a:close/>
                    <a:moveTo>
                      <a:pt x="126997" y="88424"/>
                    </a:moveTo>
                    <a:cubicBezTo>
                      <a:pt x="115925" y="76550"/>
                      <a:pt x="97312" y="75894"/>
                      <a:pt x="85457" y="86955"/>
                    </a:cubicBezTo>
                    <a:cubicBezTo>
                      <a:pt x="73601" y="98025"/>
                      <a:pt x="72917" y="116620"/>
                      <a:pt x="83986" y="128494"/>
                    </a:cubicBezTo>
                    <a:cubicBezTo>
                      <a:pt x="84477" y="129004"/>
                      <a:pt x="84967" y="129494"/>
                      <a:pt x="85457" y="129964"/>
                    </a:cubicBezTo>
                    <a:lnTo>
                      <a:pt x="116317" y="160923"/>
                    </a:lnTo>
                    <a:cubicBezTo>
                      <a:pt x="127779" y="172425"/>
                      <a:pt x="146493" y="172425"/>
                      <a:pt x="157955" y="160923"/>
                    </a:cubicBezTo>
                    <a:cubicBezTo>
                      <a:pt x="169417" y="149421"/>
                      <a:pt x="169417" y="130787"/>
                      <a:pt x="157955" y="119285"/>
                    </a:cubicBezTo>
                    <a:close/>
                    <a:moveTo>
                      <a:pt x="482730" y="444061"/>
                    </a:moveTo>
                    <a:cubicBezTo>
                      <a:pt x="471268" y="432559"/>
                      <a:pt x="452556" y="432559"/>
                      <a:pt x="441092" y="444061"/>
                    </a:cubicBezTo>
                    <a:cubicBezTo>
                      <a:pt x="429630" y="455562"/>
                      <a:pt x="429630" y="474196"/>
                      <a:pt x="441092" y="485698"/>
                    </a:cubicBezTo>
                    <a:lnTo>
                      <a:pt x="472052" y="516559"/>
                    </a:lnTo>
                    <a:cubicBezTo>
                      <a:pt x="483514" y="528022"/>
                      <a:pt x="502128" y="528022"/>
                      <a:pt x="513592" y="516559"/>
                    </a:cubicBezTo>
                    <a:cubicBezTo>
                      <a:pt x="525054" y="505087"/>
                      <a:pt x="525054" y="486492"/>
                      <a:pt x="513592" y="475019"/>
                    </a:cubicBezTo>
                    <a:close/>
                    <a:moveTo>
                      <a:pt x="116317" y="444061"/>
                    </a:moveTo>
                    <a:lnTo>
                      <a:pt x="85457" y="475019"/>
                    </a:lnTo>
                    <a:cubicBezTo>
                      <a:pt x="73993" y="486502"/>
                      <a:pt x="73993" y="505116"/>
                      <a:pt x="85457" y="516589"/>
                    </a:cubicBezTo>
                    <a:cubicBezTo>
                      <a:pt x="90942" y="522085"/>
                      <a:pt x="98486" y="525171"/>
                      <a:pt x="106226" y="525181"/>
                    </a:cubicBezTo>
                    <a:cubicBezTo>
                      <a:pt x="114064" y="525171"/>
                      <a:pt x="121510" y="522075"/>
                      <a:pt x="126997" y="516559"/>
                    </a:cubicBezTo>
                    <a:lnTo>
                      <a:pt x="157955" y="485698"/>
                    </a:lnTo>
                    <a:cubicBezTo>
                      <a:pt x="169417" y="474196"/>
                      <a:pt x="169417" y="455562"/>
                      <a:pt x="157955" y="444061"/>
                    </a:cubicBezTo>
                    <a:cubicBezTo>
                      <a:pt x="146493" y="432559"/>
                      <a:pt x="127779" y="432559"/>
                      <a:pt x="116317" y="444061"/>
                    </a:cubicBezTo>
                    <a:close/>
                    <a:moveTo>
                      <a:pt x="461961" y="169740"/>
                    </a:moveTo>
                    <a:cubicBezTo>
                      <a:pt x="469701" y="169760"/>
                      <a:pt x="477245" y="166694"/>
                      <a:pt x="482730" y="161217"/>
                    </a:cubicBezTo>
                    <a:lnTo>
                      <a:pt x="513592" y="130258"/>
                    </a:lnTo>
                    <a:cubicBezTo>
                      <a:pt x="524662" y="118384"/>
                      <a:pt x="523975" y="99789"/>
                      <a:pt x="512121" y="88718"/>
                    </a:cubicBezTo>
                    <a:cubicBezTo>
                      <a:pt x="500855" y="78196"/>
                      <a:pt x="483318" y="78196"/>
                      <a:pt x="472052" y="88718"/>
                    </a:cubicBezTo>
                    <a:lnTo>
                      <a:pt x="441092" y="119579"/>
                    </a:lnTo>
                    <a:cubicBezTo>
                      <a:pt x="429630" y="131061"/>
                      <a:pt x="429630" y="149676"/>
                      <a:pt x="441092" y="161148"/>
                    </a:cubicBezTo>
                    <a:cubicBezTo>
                      <a:pt x="446677" y="166664"/>
                      <a:pt x="454123" y="169760"/>
                      <a:pt x="461961" y="1697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5" name="Полилиния: фигура 52">
              <a:extLst>
                <a:ext uri="{FF2B5EF4-FFF2-40B4-BE49-F238E27FC236}">
                  <a16:creationId xmlns:a16="http://schemas.microsoft.com/office/drawing/2014/main" id="{2BEBA008-9D8E-B612-6D74-7BA0ED06E2B4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Полилиния: фигура 53">
              <a:extLst>
                <a:ext uri="{FF2B5EF4-FFF2-40B4-BE49-F238E27FC236}">
                  <a16:creationId xmlns:a16="http://schemas.microsoft.com/office/drawing/2014/main" id="{EBFCDC05-7D2B-F87E-3430-3371007F1F4F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Полилиния: фигура 54">
              <a:extLst>
                <a:ext uri="{FF2B5EF4-FFF2-40B4-BE49-F238E27FC236}">
                  <a16:creationId xmlns:a16="http://schemas.microsoft.com/office/drawing/2014/main" id="{044E6A5C-147D-9D07-B80F-DC0BF76FAD0D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55">
              <a:extLst>
                <a:ext uri="{FF2B5EF4-FFF2-40B4-BE49-F238E27FC236}">
                  <a16:creationId xmlns:a16="http://schemas.microsoft.com/office/drawing/2014/main" id="{6A1BF84E-F638-1593-8342-EEBE750D39CF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4BF8E173-FACE-ED4C-FDD4-55EC1D155F37}"/>
              </a:ext>
            </a:extLst>
          </p:cNvPr>
          <p:cNvGrpSpPr/>
          <p:nvPr/>
        </p:nvGrpSpPr>
        <p:grpSpPr>
          <a:xfrm>
            <a:off x="6436154" y="-838"/>
            <a:ext cx="5755846" cy="6858838"/>
            <a:chOff x="6436154" y="-838"/>
            <a:chExt cx="5755846" cy="6858838"/>
          </a:xfrm>
        </p:grpSpPr>
        <p:sp>
          <p:nvSpPr>
            <p:cNvPr id="162" name="Полилиния: фигура 29">
              <a:extLst>
                <a:ext uri="{FF2B5EF4-FFF2-40B4-BE49-F238E27FC236}">
                  <a16:creationId xmlns:a16="http://schemas.microsoft.com/office/drawing/2014/main" id="{7AE37D25-279B-FAD5-AEE7-483751C79B9B}"/>
                </a:ext>
              </a:extLst>
            </p:cNvPr>
            <p:cNvSpPr/>
            <p:nvPr/>
          </p:nvSpPr>
          <p:spPr>
            <a:xfrm>
              <a:off x="9306282" y="5879124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Полилиния: фигура 30">
              <a:extLst>
                <a:ext uri="{FF2B5EF4-FFF2-40B4-BE49-F238E27FC236}">
                  <a16:creationId xmlns:a16="http://schemas.microsoft.com/office/drawing/2014/main" id="{AC1D7F98-B9D9-57B7-CC22-7DF1DAED54CF}"/>
                </a:ext>
              </a:extLst>
            </p:cNvPr>
            <p:cNvSpPr/>
            <p:nvPr/>
          </p:nvSpPr>
          <p:spPr>
            <a:xfrm>
              <a:off x="9795720" y="5879124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35">
              <a:extLst>
                <a:ext uri="{FF2B5EF4-FFF2-40B4-BE49-F238E27FC236}">
                  <a16:creationId xmlns:a16="http://schemas.microsoft.com/office/drawing/2014/main" id="{1EC629B3-F129-7CF7-A2BD-42A84E922D3C}"/>
                </a:ext>
              </a:extLst>
            </p:cNvPr>
            <p:cNvSpPr/>
            <p:nvPr/>
          </p:nvSpPr>
          <p:spPr>
            <a:xfrm rot="16200000">
              <a:off x="11213124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noFill/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Полилиния: фигура 32">
              <a:extLst>
                <a:ext uri="{FF2B5EF4-FFF2-40B4-BE49-F238E27FC236}">
                  <a16:creationId xmlns:a16="http://schemas.microsoft.com/office/drawing/2014/main" id="{9399CA00-A682-3BD2-C663-F3FEA23DE7A8}"/>
                </a:ext>
              </a:extLst>
            </p:cNvPr>
            <p:cNvSpPr/>
            <p:nvPr/>
          </p:nvSpPr>
          <p:spPr>
            <a:xfrm rot="5400000">
              <a:off x="10234009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Полилиния: фигура 37">
              <a:extLst>
                <a:ext uri="{FF2B5EF4-FFF2-40B4-BE49-F238E27FC236}">
                  <a16:creationId xmlns:a16="http://schemas.microsoft.com/office/drawing/2014/main" id="{771D2AE4-D7A7-37B7-2A9F-C9F8B9B1DF1A}"/>
                </a:ext>
              </a:extLst>
            </p:cNvPr>
            <p:cNvSpPr/>
            <p:nvPr/>
          </p:nvSpPr>
          <p:spPr>
            <a:xfrm>
              <a:off x="10478966" y="6123843"/>
              <a:ext cx="489438" cy="489438"/>
            </a:xfrm>
            <a:custGeom>
              <a:avLst/>
              <a:gdLst>
                <a:gd name="connsiteX0" fmla="*/ 489438 w 489438"/>
                <a:gd name="connsiteY0" fmla="*/ 244719 h 489438"/>
                <a:gd name="connsiteX1" fmla="*/ 244719 w 489438"/>
                <a:gd name="connsiteY1" fmla="*/ 489438 h 489438"/>
                <a:gd name="connsiteX2" fmla="*/ 0 w 489438"/>
                <a:gd name="connsiteY2" fmla="*/ 244719 h 489438"/>
                <a:gd name="connsiteX3" fmla="*/ 244719 w 489438"/>
                <a:gd name="connsiteY3" fmla="*/ 0 h 489438"/>
                <a:gd name="connsiteX4" fmla="*/ 489438 w 489438"/>
                <a:gd name="connsiteY4" fmla="*/ 244719 h 48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438" h="489438">
                  <a:moveTo>
                    <a:pt x="489438" y="244719"/>
                  </a:moveTo>
                  <a:cubicBezTo>
                    <a:pt x="489438" y="379874"/>
                    <a:pt x="379874" y="489438"/>
                    <a:pt x="244719" y="489438"/>
                  </a:cubicBezTo>
                  <a:cubicBezTo>
                    <a:pt x="109564" y="489438"/>
                    <a:pt x="0" y="379874"/>
                    <a:pt x="0" y="244719"/>
                  </a:cubicBezTo>
                  <a:cubicBezTo>
                    <a:pt x="0" y="109564"/>
                    <a:pt x="109564" y="0"/>
                    <a:pt x="244719" y="0"/>
                  </a:cubicBezTo>
                  <a:cubicBezTo>
                    <a:pt x="379874" y="0"/>
                    <a:pt x="489438" y="109564"/>
                    <a:pt x="489438" y="244719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Полилиния: фигура 36">
              <a:extLst>
                <a:ext uri="{FF2B5EF4-FFF2-40B4-BE49-F238E27FC236}">
                  <a16:creationId xmlns:a16="http://schemas.microsoft.com/office/drawing/2014/main" id="{97BFECD6-3F78-D810-D06D-4DB788A24550}"/>
                </a:ext>
              </a:extLst>
            </p:cNvPr>
            <p:cNvSpPr/>
            <p:nvPr/>
          </p:nvSpPr>
          <p:spPr>
            <a:xfrm rot="5400000">
              <a:off x="10234247" y="4900247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38">
              <a:extLst>
                <a:ext uri="{FF2B5EF4-FFF2-40B4-BE49-F238E27FC236}">
                  <a16:creationId xmlns:a16="http://schemas.microsoft.com/office/drawing/2014/main" id="{541C9ACD-568F-8637-D608-4D98DE612750}"/>
                </a:ext>
              </a:extLst>
            </p:cNvPr>
            <p:cNvSpPr/>
            <p:nvPr/>
          </p:nvSpPr>
          <p:spPr>
            <a:xfrm>
              <a:off x="10234247" y="4900247"/>
              <a:ext cx="978876" cy="978876"/>
            </a:xfrm>
            <a:custGeom>
              <a:avLst/>
              <a:gdLst>
                <a:gd name="connsiteX0" fmla="*/ 978567 w 978876"/>
                <a:gd name="connsiteY0" fmla="*/ -240 h 978876"/>
                <a:gd name="connsiteX1" fmla="*/ -310 w 978876"/>
                <a:gd name="connsiteY1" fmla="*/ 978637 h 978876"/>
                <a:gd name="connsiteX2" fmla="*/ 978567 w 978876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8876" h="978876">
                  <a:moveTo>
                    <a:pt x="978567" y="-240"/>
                  </a:moveTo>
                  <a:cubicBezTo>
                    <a:pt x="437953" y="-240"/>
                    <a:pt x="-310" y="438022"/>
                    <a:pt x="-310" y="978637"/>
                  </a:cubicBezTo>
                  <a:cubicBezTo>
                    <a:pt x="540304" y="978637"/>
                    <a:pt x="978567" y="540374"/>
                    <a:pt x="978567" y="-240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Полилиния: фигура 39">
              <a:extLst>
                <a:ext uri="{FF2B5EF4-FFF2-40B4-BE49-F238E27FC236}">
                  <a16:creationId xmlns:a16="http://schemas.microsoft.com/office/drawing/2014/main" id="{2CEFE2E8-C801-B2DF-C309-266491FD61D3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Полилиния: фигура 40">
              <a:extLst>
                <a:ext uri="{FF2B5EF4-FFF2-40B4-BE49-F238E27FC236}">
                  <a16:creationId xmlns:a16="http://schemas.microsoft.com/office/drawing/2014/main" id="{5A76BE50-F569-D366-7AB1-3FACC18FC8FD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Полилиния: фигура 41">
              <a:extLst>
                <a:ext uri="{FF2B5EF4-FFF2-40B4-BE49-F238E27FC236}">
                  <a16:creationId xmlns:a16="http://schemas.microsoft.com/office/drawing/2014/main" id="{FE22727D-1C1D-4E79-495B-FC295573D98A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Полилиния: фигура 42">
              <a:extLst>
                <a:ext uri="{FF2B5EF4-FFF2-40B4-BE49-F238E27FC236}">
                  <a16:creationId xmlns:a16="http://schemas.microsoft.com/office/drawing/2014/main" id="{77B5FFA8-6C14-166E-0498-93163BC1066B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Полилиния: фигура 43">
              <a:extLst>
                <a:ext uri="{FF2B5EF4-FFF2-40B4-BE49-F238E27FC236}">
                  <a16:creationId xmlns:a16="http://schemas.microsoft.com/office/drawing/2014/main" id="{DFC74432-806C-FE9B-3172-74E47A38D527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2"/>
                </a:solidFill>
              </a:endParaRPr>
            </a:p>
          </p:txBody>
        </p:sp>
        <p:grpSp>
          <p:nvGrpSpPr>
            <p:cNvPr id="174" name="Группа 145">
              <a:extLst>
                <a:ext uri="{FF2B5EF4-FFF2-40B4-BE49-F238E27FC236}">
                  <a16:creationId xmlns:a16="http://schemas.microsoft.com/office/drawing/2014/main" id="{BBD5BFD8-DD3E-902E-5832-1A201C6D220F}"/>
                </a:ext>
              </a:extLst>
            </p:cNvPr>
            <p:cNvGrpSpPr/>
            <p:nvPr/>
          </p:nvGrpSpPr>
          <p:grpSpPr>
            <a:xfrm>
              <a:off x="11482993" y="6055615"/>
              <a:ext cx="204201" cy="625502"/>
              <a:chOff x="11482993" y="6055615"/>
              <a:chExt cx="204201" cy="625502"/>
            </a:xfrm>
          </p:grpSpPr>
          <p:sp>
            <p:nvSpPr>
              <p:cNvPr id="244" name="Полилиния: фигура 44">
                <a:extLst>
                  <a:ext uri="{FF2B5EF4-FFF2-40B4-BE49-F238E27FC236}">
                    <a16:creationId xmlns:a16="http://schemas.microsoft.com/office/drawing/2014/main" id="{BBA50A16-7AD7-629F-F2D8-D5EC976D3A5E}"/>
                  </a:ext>
                </a:extLst>
              </p:cNvPr>
              <p:cNvSpPr/>
              <p:nvPr/>
            </p:nvSpPr>
            <p:spPr>
              <a:xfrm>
                <a:off x="11547704" y="6327156"/>
                <a:ext cx="74786" cy="353961"/>
              </a:xfrm>
              <a:custGeom>
                <a:avLst/>
                <a:gdLst>
                  <a:gd name="connsiteX0" fmla="*/ 37083 w 74786"/>
                  <a:gd name="connsiteY0" fmla="*/ 353722 h 353961"/>
                  <a:gd name="connsiteX1" fmla="*/ 37083 w 74786"/>
                  <a:gd name="connsiteY1" fmla="*/ 353722 h 353961"/>
                  <a:gd name="connsiteX2" fmla="*/ 74476 w 74786"/>
                  <a:gd name="connsiteY2" fmla="*/ 316328 h 353961"/>
                  <a:gd name="connsiteX3" fmla="*/ 74476 w 74786"/>
                  <a:gd name="connsiteY3" fmla="*/ -240 h 353961"/>
                  <a:gd name="connsiteX4" fmla="*/ -310 w 74786"/>
                  <a:gd name="connsiteY4" fmla="*/ -240 h 353961"/>
                  <a:gd name="connsiteX5" fmla="*/ -310 w 74786"/>
                  <a:gd name="connsiteY5" fmla="*/ 316328 h 353961"/>
                  <a:gd name="connsiteX6" fmla="*/ 37083 w 74786"/>
                  <a:gd name="connsiteY6" fmla="*/ 353722 h 353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353961">
                    <a:moveTo>
                      <a:pt x="37083" y="353722"/>
                    </a:moveTo>
                    <a:lnTo>
                      <a:pt x="37083" y="353722"/>
                    </a:lnTo>
                    <a:cubicBezTo>
                      <a:pt x="57737" y="353722"/>
                      <a:pt x="74476" y="336983"/>
                      <a:pt x="74476" y="316328"/>
                    </a:cubicBezTo>
                    <a:lnTo>
                      <a:pt x="74476" y="-240"/>
                    </a:lnTo>
                    <a:lnTo>
                      <a:pt x="-310" y="-240"/>
                    </a:lnTo>
                    <a:lnTo>
                      <a:pt x="-310" y="316328"/>
                    </a:lnTo>
                    <a:cubicBezTo>
                      <a:pt x="-310" y="336983"/>
                      <a:pt x="16429" y="353722"/>
                      <a:pt x="37083" y="353722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Полилиния: фигура 45">
                <a:extLst>
                  <a:ext uri="{FF2B5EF4-FFF2-40B4-BE49-F238E27FC236}">
                    <a16:creationId xmlns:a16="http://schemas.microsoft.com/office/drawing/2014/main" id="{D5720F4F-4224-CC6B-B843-E58AA10355BA}"/>
                  </a:ext>
                </a:extLst>
              </p:cNvPr>
              <p:cNvSpPr/>
              <p:nvPr/>
            </p:nvSpPr>
            <p:spPr>
              <a:xfrm>
                <a:off x="11482993" y="6055615"/>
                <a:ext cx="204201" cy="288885"/>
              </a:xfrm>
              <a:custGeom>
                <a:avLst/>
                <a:gdLst>
                  <a:gd name="connsiteX0" fmla="*/ 162974 w 204201"/>
                  <a:gd name="connsiteY0" fmla="*/ 20512 h 288885"/>
                  <a:gd name="connsiteX1" fmla="*/ 162974 w 204201"/>
                  <a:gd name="connsiteY1" fmla="*/ 165875 h 288885"/>
                  <a:gd name="connsiteX2" fmla="*/ 143984 w 204201"/>
                  <a:gd name="connsiteY2" fmla="*/ 187694 h 288885"/>
                  <a:gd name="connsiteX3" fmla="*/ 122155 w 204201"/>
                  <a:gd name="connsiteY3" fmla="*/ 168704 h 288885"/>
                  <a:gd name="connsiteX4" fmla="*/ 122155 w 204201"/>
                  <a:gd name="connsiteY4" fmla="*/ 165875 h 288885"/>
                  <a:gd name="connsiteX5" fmla="*/ 122155 w 204201"/>
                  <a:gd name="connsiteY5" fmla="*/ 20512 h 288885"/>
                  <a:gd name="connsiteX6" fmla="*/ 101794 w 204201"/>
                  <a:gd name="connsiteY6" fmla="*/ 151 h 288885"/>
                  <a:gd name="connsiteX7" fmla="*/ 101794 w 204201"/>
                  <a:gd name="connsiteY7" fmla="*/ 151 h 288885"/>
                  <a:gd name="connsiteX8" fmla="*/ 81336 w 204201"/>
                  <a:gd name="connsiteY8" fmla="*/ 20512 h 288885"/>
                  <a:gd name="connsiteX9" fmla="*/ 81336 w 204201"/>
                  <a:gd name="connsiteY9" fmla="*/ 165875 h 288885"/>
                  <a:gd name="connsiteX10" fmla="*/ 62336 w 204201"/>
                  <a:gd name="connsiteY10" fmla="*/ 187694 h 288885"/>
                  <a:gd name="connsiteX11" fmla="*/ 40517 w 204201"/>
                  <a:gd name="connsiteY11" fmla="*/ 168704 h 288885"/>
                  <a:gd name="connsiteX12" fmla="*/ 40517 w 204201"/>
                  <a:gd name="connsiteY12" fmla="*/ 165875 h 288885"/>
                  <a:gd name="connsiteX13" fmla="*/ 40517 w 204201"/>
                  <a:gd name="connsiteY13" fmla="*/ 20512 h 288885"/>
                  <a:gd name="connsiteX14" fmla="*/ 18688 w 204201"/>
                  <a:gd name="connsiteY14" fmla="*/ 1522 h 288885"/>
                  <a:gd name="connsiteX15" fmla="*/ -302 w 204201"/>
                  <a:gd name="connsiteY15" fmla="*/ 20512 h 288885"/>
                  <a:gd name="connsiteX16" fmla="*/ -302 w 204201"/>
                  <a:gd name="connsiteY16" fmla="*/ 183201 h 288885"/>
                  <a:gd name="connsiteX17" fmla="*/ 99837 w 204201"/>
                  <a:gd name="connsiteY17" fmla="*/ 288626 h 288885"/>
                  <a:gd name="connsiteX18" fmla="*/ 203871 w 204201"/>
                  <a:gd name="connsiteY18" fmla="*/ 188507 h 288885"/>
                  <a:gd name="connsiteX19" fmla="*/ 203891 w 204201"/>
                  <a:gd name="connsiteY19" fmla="*/ 186627 h 288885"/>
                  <a:gd name="connsiteX20" fmla="*/ 203891 w 204201"/>
                  <a:gd name="connsiteY20" fmla="*/ 20218 h 288885"/>
                  <a:gd name="connsiteX21" fmla="*/ 183433 w 204201"/>
                  <a:gd name="connsiteY21" fmla="*/ -240 h 288885"/>
                  <a:gd name="connsiteX22" fmla="*/ 162974 w 204201"/>
                  <a:gd name="connsiteY22" fmla="*/ 20218 h 28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201" h="288885">
                    <a:moveTo>
                      <a:pt x="162974" y="20512"/>
                    </a:moveTo>
                    <a:lnTo>
                      <a:pt x="162974" y="165875"/>
                    </a:lnTo>
                    <a:cubicBezTo>
                      <a:pt x="163757" y="177142"/>
                      <a:pt x="155251" y="186921"/>
                      <a:pt x="143984" y="187694"/>
                    </a:cubicBezTo>
                    <a:cubicBezTo>
                      <a:pt x="132708" y="188478"/>
                      <a:pt x="122938" y="179971"/>
                      <a:pt x="122155" y="168704"/>
                    </a:cubicBezTo>
                    <a:cubicBezTo>
                      <a:pt x="122087" y="167764"/>
                      <a:pt x="122087" y="166815"/>
                      <a:pt x="122155" y="165875"/>
                    </a:cubicBezTo>
                    <a:lnTo>
                      <a:pt x="122155" y="20512"/>
                    </a:lnTo>
                    <a:cubicBezTo>
                      <a:pt x="122155" y="9264"/>
                      <a:pt x="113042" y="151"/>
                      <a:pt x="101794" y="151"/>
                    </a:cubicBezTo>
                    <a:lnTo>
                      <a:pt x="101794" y="151"/>
                    </a:lnTo>
                    <a:cubicBezTo>
                      <a:pt x="90537" y="151"/>
                      <a:pt x="81395" y="9255"/>
                      <a:pt x="81336" y="20512"/>
                    </a:cubicBezTo>
                    <a:lnTo>
                      <a:pt x="81336" y="165875"/>
                    </a:lnTo>
                    <a:cubicBezTo>
                      <a:pt x="82119" y="177142"/>
                      <a:pt x="73612" y="186921"/>
                      <a:pt x="62336" y="187694"/>
                    </a:cubicBezTo>
                    <a:cubicBezTo>
                      <a:pt x="51069" y="188478"/>
                      <a:pt x="41300" y="179971"/>
                      <a:pt x="40517" y="168704"/>
                    </a:cubicBezTo>
                    <a:cubicBezTo>
                      <a:pt x="40448" y="167764"/>
                      <a:pt x="40448" y="166815"/>
                      <a:pt x="40517" y="165875"/>
                    </a:cubicBezTo>
                    <a:lnTo>
                      <a:pt x="40517" y="20512"/>
                    </a:lnTo>
                    <a:cubicBezTo>
                      <a:pt x="39733" y="9245"/>
                      <a:pt x="29964" y="739"/>
                      <a:pt x="18688" y="1522"/>
                    </a:cubicBezTo>
                    <a:cubicBezTo>
                      <a:pt x="8507" y="2226"/>
                      <a:pt x="403" y="10331"/>
                      <a:pt x="-302" y="20512"/>
                    </a:cubicBezTo>
                    <a:lnTo>
                      <a:pt x="-302" y="183201"/>
                    </a:lnTo>
                    <a:cubicBezTo>
                      <a:pt x="-978" y="239663"/>
                      <a:pt x="43414" y="286404"/>
                      <a:pt x="99837" y="288626"/>
                    </a:cubicBezTo>
                    <a:cubicBezTo>
                      <a:pt x="156210" y="289713"/>
                      <a:pt x="202795" y="244880"/>
                      <a:pt x="203871" y="188507"/>
                    </a:cubicBezTo>
                    <a:cubicBezTo>
                      <a:pt x="203882" y="187880"/>
                      <a:pt x="203891" y="187254"/>
                      <a:pt x="203891" y="186627"/>
                    </a:cubicBezTo>
                    <a:lnTo>
                      <a:pt x="203891" y="20218"/>
                    </a:lnTo>
                    <a:cubicBezTo>
                      <a:pt x="203891" y="8922"/>
                      <a:pt x="194729" y="-240"/>
                      <a:pt x="183433" y="-240"/>
                    </a:cubicBezTo>
                    <a:cubicBezTo>
                      <a:pt x="172136" y="-240"/>
                      <a:pt x="162974" y="8922"/>
                      <a:pt x="162974" y="20218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75" name="Группа 146">
              <a:extLst>
                <a:ext uri="{FF2B5EF4-FFF2-40B4-BE49-F238E27FC236}">
                  <a16:creationId xmlns:a16="http://schemas.microsoft.com/office/drawing/2014/main" id="{3EC56F36-211F-8B4D-FCF9-75345C83DEBB}"/>
                </a:ext>
              </a:extLst>
            </p:cNvPr>
            <p:cNvGrpSpPr/>
            <p:nvPr/>
          </p:nvGrpSpPr>
          <p:grpSpPr>
            <a:xfrm>
              <a:off x="11717931" y="6056007"/>
              <a:ext cx="204193" cy="625110"/>
              <a:chOff x="11717931" y="6056007"/>
              <a:chExt cx="204193" cy="625110"/>
            </a:xfrm>
          </p:grpSpPr>
          <p:sp>
            <p:nvSpPr>
              <p:cNvPr id="242" name="Полилиния: фигура 46">
                <a:extLst>
                  <a:ext uri="{FF2B5EF4-FFF2-40B4-BE49-F238E27FC236}">
                    <a16:creationId xmlns:a16="http://schemas.microsoft.com/office/drawing/2014/main" id="{EE5E528E-80B1-3D17-9DD3-FCB9DE83E1B3}"/>
                  </a:ext>
                </a:extLst>
              </p:cNvPr>
              <p:cNvSpPr/>
              <p:nvPr/>
            </p:nvSpPr>
            <p:spPr>
              <a:xfrm>
                <a:off x="11782635" y="6056007"/>
                <a:ext cx="74786" cy="425224"/>
              </a:xfrm>
              <a:custGeom>
                <a:avLst/>
                <a:gdLst>
                  <a:gd name="connsiteX0" fmla="*/ 37083 w 74786"/>
                  <a:gd name="connsiteY0" fmla="*/ -240 h 425224"/>
                  <a:gd name="connsiteX1" fmla="*/ 37083 w 74786"/>
                  <a:gd name="connsiteY1" fmla="*/ -240 h 425224"/>
                  <a:gd name="connsiteX2" fmla="*/ -310 w 74786"/>
                  <a:gd name="connsiteY2" fmla="*/ 37153 h 425224"/>
                  <a:gd name="connsiteX3" fmla="*/ -310 w 74786"/>
                  <a:gd name="connsiteY3" fmla="*/ 424984 h 425224"/>
                  <a:gd name="connsiteX4" fmla="*/ 74476 w 74786"/>
                  <a:gd name="connsiteY4" fmla="*/ 424984 h 425224"/>
                  <a:gd name="connsiteX5" fmla="*/ 74476 w 74786"/>
                  <a:gd name="connsiteY5" fmla="*/ 37153 h 425224"/>
                  <a:gd name="connsiteX6" fmla="*/ 37083 w 74786"/>
                  <a:gd name="connsiteY6" fmla="*/ -240 h 42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425224">
                    <a:moveTo>
                      <a:pt x="37083" y="-240"/>
                    </a:moveTo>
                    <a:lnTo>
                      <a:pt x="37083" y="-240"/>
                    </a:lnTo>
                    <a:cubicBezTo>
                      <a:pt x="16429" y="-240"/>
                      <a:pt x="-310" y="16499"/>
                      <a:pt x="-310" y="37153"/>
                    </a:cubicBezTo>
                    <a:lnTo>
                      <a:pt x="-310" y="424984"/>
                    </a:lnTo>
                    <a:lnTo>
                      <a:pt x="74476" y="424984"/>
                    </a:lnTo>
                    <a:lnTo>
                      <a:pt x="74476" y="37153"/>
                    </a:lnTo>
                    <a:cubicBezTo>
                      <a:pt x="74476" y="16499"/>
                      <a:pt x="57737" y="-240"/>
                      <a:pt x="37083" y="-240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Полилиния: фигура 47">
                <a:extLst>
                  <a:ext uri="{FF2B5EF4-FFF2-40B4-BE49-F238E27FC236}">
                    <a16:creationId xmlns:a16="http://schemas.microsoft.com/office/drawing/2014/main" id="{9EC87D7A-39AB-4CD3-0F1C-31B70D227BE8}"/>
                  </a:ext>
                </a:extLst>
              </p:cNvPr>
              <p:cNvSpPr/>
              <p:nvPr/>
            </p:nvSpPr>
            <p:spPr>
              <a:xfrm>
                <a:off x="11717931" y="6392545"/>
                <a:ext cx="204193" cy="288572"/>
              </a:xfrm>
              <a:custGeom>
                <a:avLst/>
                <a:gdLst>
                  <a:gd name="connsiteX0" fmla="*/ 101787 w 204193"/>
                  <a:gd name="connsiteY0" fmla="*/ 288333 h 288572"/>
                  <a:gd name="connsiteX1" fmla="*/ 203884 w 204193"/>
                  <a:gd name="connsiteY1" fmla="*/ 186236 h 288572"/>
                  <a:gd name="connsiteX2" fmla="*/ 203884 w 204193"/>
                  <a:gd name="connsiteY2" fmla="*/ 101857 h 288572"/>
                  <a:gd name="connsiteX3" fmla="*/ 101787 w 204193"/>
                  <a:gd name="connsiteY3" fmla="*/ -240 h 288572"/>
                  <a:gd name="connsiteX4" fmla="*/ -310 w 204193"/>
                  <a:gd name="connsiteY4" fmla="*/ 101857 h 288572"/>
                  <a:gd name="connsiteX5" fmla="*/ -310 w 204193"/>
                  <a:gd name="connsiteY5" fmla="*/ 186236 h 288572"/>
                  <a:gd name="connsiteX6" fmla="*/ 101787 w 204193"/>
                  <a:gd name="connsiteY6" fmla="*/ 288333 h 28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193" h="288572">
                    <a:moveTo>
                      <a:pt x="101787" y="288333"/>
                    </a:moveTo>
                    <a:cubicBezTo>
                      <a:pt x="158170" y="288333"/>
                      <a:pt x="203884" y="242619"/>
                      <a:pt x="203884" y="186236"/>
                    </a:cubicBezTo>
                    <a:lnTo>
                      <a:pt x="203884" y="101857"/>
                    </a:lnTo>
                    <a:cubicBezTo>
                      <a:pt x="203884" y="45473"/>
                      <a:pt x="158170" y="-240"/>
                      <a:pt x="101787" y="-240"/>
                    </a:cubicBezTo>
                    <a:cubicBezTo>
                      <a:pt x="45403" y="-240"/>
                      <a:pt x="-310" y="45473"/>
                      <a:pt x="-310" y="101857"/>
                    </a:cubicBezTo>
                    <a:lnTo>
                      <a:pt x="-310" y="186236"/>
                    </a:lnTo>
                    <a:cubicBezTo>
                      <a:pt x="-310" y="242619"/>
                      <a:pt x="45403" y="288333"/>
                      <a:pt x="101787" y="288333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6" name="Полилиния: фигура 56">
              <a:extLst>
                <a:ext uri="{FF2B5EF4-FFF2-40B4-BE49-F238E27FC236}">
                  <a16:creationId xmlns:a16="http://schemas.microsoft.com/office/drawing/2014/main" id="{6E6199AE-034D-751B-0B41-16843783D52E}"/>
                </a:ext>
              </a:extLst>
            </p:cNvPr>
            <p:cNvSpPr/>
            <p:nvPr/>
          </p:nvSpPr>
          <p:spPr>
            <a:xfrm>
              <a:off x="9252833" y="0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Полилиния: фигура 57">
              <a:extLst>
                <a:ext uri="{FF2B5EF4-FFF2-40B4-BE49-F238E27FC236}">
                  <a16:creationId xmlns:a16="http://schemas.microsoft.com/office/drawing/2014/main" id="{9B637539-34B8-C902-670F-61DA69B52B5E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Полилиния: фигура 59">
              <a:extLst>
                <a:ext uri="{FF2B5EF4-FFF2-40B4-BE49-F238E27FC236}">
                  <a16:creationId xmlns:a16="http://schemas.microsoft.com/office/drawing/2014/main" id="{F5129B11-D1CB-5277-B291-BC940C69B3B7}"/>
                </a:ext>
              </a:extLst>
            </p:cNvPr>
            <p:cNvSpPr/>
            <p:nvPr/>
          </p:nvSpPr>
          <p:spPr>
            <a:xfrm rot="16200000">
              <a:off x="7297491" y="4107"/>
              <a:ext cx="978852" cy="972412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Полилиния: фигура 60">
              <a:extLst>
                <a:ext uri="{FF2B5EF4-FFF2-40B4-BE49-F238E27FC236}">
                  <a16:creationId xmlns:a16="http://schemas.microsoft.com/office/drawing/2014/main" id="{974EF996-E4A2-7F1D-39E1-C0E93962FF0D}"/>
                </a:ext>
              </a:extLst>
            </p:cNvPr>
            <p:cNvSpPr/>
            <p:nvPr/>
          </p:nvSpPr>
          <p:spPr>
            <a:xfrm>
              <a:off x="7288368" y="489882"/>
              <a:ext cx="494894" cy="495482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Полилиния: фигура 61">
              <a:extLst>
                <a:ext uri="{FF2B5EF4-FFF2-40B4-BE49-F238E27FC236}">
                  <a16:creationId xmlns:a16="http://schemas.microsoft.com/office/drawing/2014/main" id="{2109B157-2DB2-D42E-0D05-727A20A19A9C}"/>
                </a:ext>
              </a:extLst>
            </p:cNvPr>
            <p:cNvSpPr/>
            <p:nvPr/>
          </p:nvSpPr>
          <p:spPr>
            <a:xfrm>
              <a:off x="7284210" y="25"/>
              <a:ext cx="499051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Полилиния: фигура 62">
              <a:extLst>
                <a:ext uri="{FF2B5EF4-FFF2-40B4-BE49-F238E27FC236}">
                  <a16:creationId xmlns:a16="http://schemas.microsoft.com/office/drawing/2014/main" id="{1DF63EB9-998D-F6DC-0EA8-B1427C621F3D}"/>
                </a:ext>
              </a:extLst>
            </p:cNvPr>
            <p:cNvSpPr/>
            <p:nvPr/>
          </p:nvSpPr>
          <p:spPr>
            <a:xfrm>
              <a:off x="7774067" y="25"/>
              <a:ext cx="499051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Полилиния: фигура 63">
              <a:extLst>
                <a:ext uri="{FF2B5EF4-FFF2-40B4-BE49-F238E27FC236}">
                  <a16:creationId xmlns:a16="http://schemas.microsoft.com/office/drawing/2014/main" id="{D859794D-6835-2E5D-0A71-C4015F66C477}"/>
                </a:ext>
              </a:extLst>
            </p:cNvPr>
            <p:cNvSpPr/>
            <p:nvPr/>
          </p:nvSpPr>
          <p:spPr>
            <a:xfrm>
              <a:off x="7778225" y="489882"/>
              <a:ext cx="494894" cy="495482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Полилиния: фигура 65">
              <a:extLst>
                <a:ext uri="{FF2B5EF4-FFF2-40B4-BE49-F238E27FC236}">
                  <a16:creationId xmlns:a16="http://schemas.microsoft.com/office/drawing/2014/main" id="{8D146B39-1CF3-38A2-02D7-8EEE1021B295}"/>
                </a:ext>
              </a:extLst>
            </p:cNvPr>
            <p:cNvSpPr/>
            <p:nvPr/>
          </p:nvSpPr>
          <p:spPr>
            <a:xfrm rot="16200000">
              <a:off x="10229303" y="2406"/>
              <a:ext cx="986202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66">
              <a:extLst>
                <a:ext uri="{FF2B5EF4-FFF2-40B4-BE49-F238E27FC236}">
                  <a16:creationId xmlns:a16="http://schemas.microsoft.com/office/drawing/2014/main" id="{808F38F4-0E60-680B-48D4-095F2B513E1F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Полилиния: фигура 67">
              <a:extLst>
                <a:ext uri="{FF2B5EF4-FFF2-40B4-BE49-F238E27FC236}">
                  <a16:creationId xmlns:a16="http://schemas.microsoft.com/office/drawing/2014/main" id="{C89429AF-71A5-1284-B6E1-D71AABE0B71D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Полилиния: фигура 68">
              <a:extLst>
                <a:ext uri="{FF2B5EF4-FFF2-40B4-BE49-F238E27FC236}">
                  <a16:creationId xmlns:a16="http://schemas.microsoft.com/office/drawing/2014/main" id="{C405CC03-1321-0681-8E46-9ED5F4699D77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Полилиния: фигура 69">
              <a:extLst>
                <a:ext uri="{FF2B5EF4-FFF2-40B4-BE49-F238E27FC236}">
                  <a16:creationId xmlns:a16="http://schemas.microsoft.com/office/drawing/2014/main" id="{47E90767-1CD4-229E-F8B8-B9F62694FD46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Полилиния: фигура 71">
              <a:extLst>
                <a:ext uri="{FF2B5EF4-FFF2-40B4-BE49-F238E27FC236}">
                  <a16:creationId xmlns:a16="http://schemas.microsoft.com/office/drawing/2014/main" id="{7577D1C3-34C5-3C69-A9A7-CC93CEC67644}"/>
                </a:ext>
              </a:extLst>
            </p:cNvPr>
            <p:cNvSpPr/>
            <p:nvPr/>
          </p:nvSpPr>
          <p:spPr>
            <a:xfrm rot="16200000">
              <a:off x="8273043" y="4107"/>
              <a:ext cx="978852" cy="972411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9" name="Группа 133">
              <a:extLst>
                <a:ext uri="{FF2B5EF4-FFF2-40B4-BE49-F238E27FC236}">
                  <a16:creationId xmlns:a16="http://schemas.microsoft.com/office/drawing/2014/main" id="{038C248A-533D-7B45-7FF8-783145FF53E9}"/>
                </a:ext>
              </a:extLst>
            </p:cNvPr>
            <p:cNvGrpSpPr/>
            <p:nvPr/>
          </p:nvGrpSpPr>
          <p:grpSpPr>
            <a:xfrm>
              <a:off x="8460243" y="187150"/>
              <a:ext cx="605463" cy="605463"/>
              <a:chOff x="8460243" y="187150"/>
              <a:chExt cx="605463" cy="605463"/>
            </a:xfrm>
          </p:grpSpPr>
          <p:sp>
            <p:nvSpPr>
              <p:cNvPr id="240" name="Полилиния: фигура 72">
                <a:extLst>
                  <a:ext uri="{FF2B5EF4-FFF2-40B4-BE49-F238E27FC236}">
                    <a16:creationId xmlns:a16="http://schemas.microsoft.com/office/drawing/2014/main" id="{94AE1B0D-F2A2-80E9-FDB9-FB89DE377F2C}"/>
                  </a:ext>
                </a:extLst>
              </p:cNvPr>
              <p:cNvSpPr/>
              <p:nvPr userDrawn="1"/>
            </p:nvSpPr>
            <p:spPr>
              <a:xfrm>
                <a:off x="8592015" y="318922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1" y="341920"/>
                      <a:pt x="0" y="265379"/>
                      <a:pt x="0" y="170960"/>
                    </a:cubicBezTo>
                    <a:cubicBezTo>
                      <a:pt x="0" y="76541"/>
                      <a:pt x="76541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Полилиния: фигура 73">
                <a:extLst>
                  <a:ext uri="{FF2B5EF4-FFF2-40B4-BE49-F238E27FC236}">
                    <a16:creationId xmlns:a16="http://schemas.microsoft.com/office/drawing/2014/main" id="{C3CE0353-B3A6-B07F-A4F3-82D85DE782BE}"/>
                  </a:ext>
                </a:extLst>
              </p:cNvPr>
              <p:cNvSpPr/>
              <p:nvPr userDrawn="1"/>
            </p:nvSpPr>
            <p:spPr>
              <a:xfrm>
                <a:off x="8460243" y="187150"/>
                <a:ext cx="605463" cy="605463"/>
              </a:xfrm>
              <a:custGeom>
                <a:avLst/>
                <a:gdLst>
                  <a:gd name="connsiteX0" fmla="*/ 302422 w 605463"/>
                  <a:gd name="connsiteY0" fmla="*/ -240 h 605463"/>
                  <a:gd name="connsiteX1" fmla="*/ 273031 w 605463"/>
                  <a:gd name="connsiteY1" fmla="*/ 29151 h 605463"/>
                  <a:gd name="connsiteX2" fmla="*/ 273031 w 605463"/>
                  <a:gd name="connsiteY2" fmla="*/ 72847 h 605463"/>
                  <a:gd name="connsiteX3" fmla="*/ 302422 w 605463"/>
                  <a:gd name="connsiteY3" fmla="*/ 102238 h 605463"/>
                  <a:gd name="connsiteX4" fmla="*/ 331813 w 605463"/>
                  <a:gd name="connsiteY4" fmla="*/ 72847 h 605463"/>
                  <a:gd name="connsiteX5" fmla="*/ 331813 w 605463"/>
                  <a:gd name="connsiteY5" fmla="*/ 29151 h 605463"/>
                  <a:gd name="connsiteX6" fmla="*/ 302422 w 605463"/>
                  <a:gd name="connsiteY6" fmla="*/ -240 h 605463"/>
                  <a:gd name="connsiteX7" fmla="*/ 302422 w 605463"/>
                  <a:gd name="connsiteY7" fmla="*/ 502745 h 605463"/>
                  <a:gd name="connsiteX8" fmla="*/ 273031 w 605463"/>
                  <a:gd name="connsiteY8" fmla="*/ 532137 h 605463"/>
                  <a:gd name="connsiteX9" fmla="*/ 273031 w 605463"/>
                  <a:gd name="connsiteY9" fmla="*/ 575832 h 605463"/>
                  <a:gd name="connsiteX10" fmla="*/ 302422 w 605463"/>
                  <a:gd name="connsiteY10" fmla="*/ 605223 h 605463"/>
                  <a:gd name="connsiteX11" fmla="*/ 331813 w 605463"/>
                  <a:gd name="connsiteY11" fmla="*/ 575832 h 605463"/>
                  <a:gd name="connsiteX12" fmla="*/ 331813 w 605463"/>
                  <a:gd name="connsiteY12" fmla="*/ 532137 h 605463"/>
                  <a:gd name="connsiteX13" fmla="*/ 302422 w 605463"/>
                  <a:gd name="connsiteY13" fmla="*/ 502745 h 605463"/>
                  <a:gd name="connsiteX14" fmla="*/ 102169 w 605463"/>
                  <a:gd name="connsiteY14" fmla="*/ 302492 h 605463"/>
                  <a:gd name="connsiteX15" fmla="*/ 72778 w 605463"/>
                  <a:gd name="connsiteY15" fmla="*/ 273100 h 605463"/>
                  <a:gd name="connsiteX16" fmla="*/ 29081 w 605463"/>
                  <a:gd name="connsiteY16" fmla="*/ 273100 h 605463"/>
                  <a:gd name="connsiteX17" fmla="*/ -310 w 605463"/>
                  <a:gd name="connsiteY17" fmla="*/ 302492 h 605463"/>
                  <a:gd name="connsiteX18" fmla="*/ 29081 w 605463"/>
                  <a:gd name="connsiteY18" fmla="*/ 331883 h 605463"/>
                  <a:gd name="connsiteX19" fmla="*/ 72778 w 605463"/>
                  <a:gd name="connsiteY19" fmla="*/ 331883 h 605463"/>
                  <a:gd name="connsiteX20" fmla="*/ 102169 w 605463"/>
                  <a:gd name="connsiteY20" fmla="*/ 302492 h 605463"/>
                  <a:gd name="connsiteX21" fmla="*/ 575763 w 605463"/>
                  <a:gd name="connsiteY21" fmla="*/ 273100 h 605463"/>
                  <a:gd name="connsiteX22" fmla="*/ 532066 w 605463"/>
                  <a:gd name="connsiteY22" fmla="*/ 273100 h 605463"/>
                  <a:gd name="connsiteX23" fmla="*/ 502675 w 605463"/>
                  <a:gd name="connsiteY23" fmla="*/ 302492 h 605463"/>
                  <a:gd name="connsiteX24" fmla="*/ 532066 w 605463"/>
                  <a:gd name="connsiteY24" fmla="*/ 331883 h 605463"/>
                  <a:gd name="connsiteX25" fmla="*/ 575763 w 605463"/>
                  <a:gd name="connsiteY25" fmla="*/ 331883 h 605463"/>
                  <a:gd name="connsiteX26" fmla="*/ 605154 w 605463"/>
                  <a:gd name="connsiteY26" fmla="*/ 302492 h 605463"/>
                  <a:gd name="connsiteX27" fmla="*/ 575763 w 605463"/>
                  <a:gd name="connsiteY27" fmla="*/ 273100 h 605463"/>
                  <a:gd name="connsiteX28" fmla="*/ 129894 w 605463"/>
                  <a:gd name="connsiteY28" fmla="*/ 88424 h 605463"/>
                  <a:gd name="connsiteX29" fmla="*/ 88355 w 605463"/>
                  <a:gd name="connsiteY29" fmla="*/ 86955 h 605463"/>
                  <a:gd name="connsiteX30" fmla="*/ 86885 w 605463"/>
                  <a:gd name="connsiteY30" fmla="*/ 128494 h 605463"/>
                  <a:gd name="connsiteX31" fmla="*/ 88355 w 605463"/>
                  <a:gd name="connsiteY31" fmla="*/ 129964 h 605463"/>
                  <a:gd name="connsiteX32" fmla="*/ 119216 w 605463"/>
                  <a:gd name="connsiteY32" fmla="*/ 160923 h 605463"/>
                  <a:gd name="connsiteX33" fmla="*/ 160854 w 605463"/>
                  <a:gd name="connsiteY33" fmla="*/ 160923 h 605463"/>
                  <a:gd name="connsiteX34" fmla="*/ 160854 w 605463"/>
                  <a:gd name="connsiteY34" fmla="*/ 119285 h 605463"/>
                  <a:gd name="connsiteX35" fmla="*/ 485628 w 605463"/>
                  <a:gd name="connsiteY35" fmla="*/ 444061 h 605463"/>
                  <a:gd name="connsiteX36" fmla="*/ 443990 w 605463"/>
                  <a:gd name="connsiteY36" fmla="*/ 444061 h 605463"/>
                  <a:gd name="connsiteX37" fmla="*/ 443990 w 605463"/>
                  <a:gd name="connsiteY37" fmla="*/ 485698 h 605463"/>
                  <a:gd name="connsiteX38" fmla="*/ 474950 w 605463"/>
                  <a:gd name="connsiteY38" fmla="*/ 516559 h 605463"/>
                  <a:gd name="connsiteX39" fmla="*/ 516489 w 605463"/>
                  <a:gd name="connsiteY39" fmla="*/ 516559 h 605463"/>
                  <a:gd name="connsiteX40" fmla="*/ 516489 w 605463"/>
                  <a:gd name="connsiteY40" fmla="*/ 475019 h 605463"/>
                  <a:gd name="connsiteX41" fmla="*/ 119216 w 605463"/>
                  <a:gd name="connsiteY41" fmla="*/ 444061 h 605463"/>
                  <a:gd name="connsiteX42" fmla="*/ 88355 w 605463"/>
                  <a:gd name="connsiteY42" fmla="*/ 475019 h 605463"/>
                  <a:gd name="connsiteX43" fmla="*/ 88355 w 605463"/>
                  <a:gd name="connsiteY43" fmla="*/ 516589 h 605463"/>
                  <a:gd name="connsiteX44" fmla="*/ 109125 w 605463"/>
                  <a:gd name="connsiteY44" fmla="*/ 525181 h 605463"/>
                  <a:gd name="connsiteX45" fmla="*/ 129894 w 605463"/>
                  <a:gd name="connsiteY45" fmla="*/ 516559 h 605463"/>
                  <a:gd name="connsiteX46" fmla="*/ 160854 w 605463"/>
                  <a:gd name="connsiteY46" fmla="*/ 485698 h 605463"/>
                  <a:gd name="connsiteX47" fmla="*/ 160854 w 605463"/>
                  <a:gd name="connsiteY47" fmla="*/ 444061 h 605463"/>
                  <a:gd name="connsiteX48" fmla="*/ 119216 w 605463"/>
                  <a:gd name="connsiteY48" fmla="*/ 444061 h 605463"/>
                  <a:gd name="connsiteX49" fmla="*/ 464858 w 605463"/>
                  <a:gd name="connsiteY49" fmla="*/ 169740 h 605463"/>
                  <a:gd name="connsiteX50" fmla="*/ 485628 w 605463"/>
                  <a:gd name="connsiteY50" fmla="*/ 161217 h 605463"/>
                  <a:gd name="connsiteX51" fmla="*/ 516489 w 605463"/>
                  <a:gd name="connsiteY51" fmla="*/ 130258 h 605463"/>
                  <a:gd name="connsiteX52" fmla="*/ 517959 w 605463"/>
                  <a:gd name="connsiteY52" fmla="*/ 88718 h 605463"/>
                  <a:gd name="connsiteX53" fmla="*/ 476419 w 605463"/>
                  <a:gd name="connsiteY53" fmla="*/ 87248 h 605463"/>
                  <a:gd name="connsiteX54" fmla="*/ 474950 w 605463"/>
                  <a:gd name="connsiteY54" fmla="*/ 88718 h 605463"/>
                  <a:gd name="connsiteX55" fmla="*/ 443990 w 605463"/>
                  <a:gd name="connsiteY55" fmla="*/ 119579 h 605463"/>
                  <a:gd name="connsiteX56" fmla="*/ 443990 w 605463"/>
                  <a:gd name="connsiteY56" fmla="*/ 161148 h 605463"/>
                  <a:gd name="connsiteX57" fmla="*/ 464858 w 605463"/>
                  <a:gd name="connsiteY57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605463" h="605463">
                    <a:moveTo>
                      <a:pt x="302422" y="-240"/>
                    </a:moveTo>
                    <a:cubicBezTo>
                      <a:pt x="286158" y="-240"/>
                      <a:pt x="273031" y="12917"/>
                      <a:pt x="273031" y="29151"/>
                    </a:cubicBezTo>
                    <a:lnTo>
                      <a:pt x="273031" y="72847"/>
                    </a:lnTo>
                    <a:cubicBezTo>
                      <a:pt x="273031" y="89081"/>
                      <a:pt x="286158" y="102238"/>
                      <a:pt x="302422" y="102238"/>
                    </a:cubicBezTo>
                    <a:cubicBezTo>
                      <a:pt x="318686" y="102238"/>
                      <a:pt x="331813" y="89081"/>
                      <a:pt x="331813" y="72847"/>
                    </a:cubicBezTo>
                    <a:lnTo>
                      <a:pt x="331813" y="29151"/>
                    </a:lnTo>
                    <a:cubicBezTo>
                      <a:pt x="331813" y="12917"/>
                      <a:pt x="318686" y="-240"/>
                      <a:pt x="302422" y="-240"/>
                    </a:cubicBezTo>
                    <a:close/>
                    <a:moveTo>
                      <a:pt x="302422" y="502745"/>
                    </a:moveTo>
                    <a:cubicBezTo>
                      <a:pt x="286158" y="502745"/>
                      <a:pt x="273031" y="515903"/>
                      <a:pt x="273031" y="532137"/>
                    </a:cubicBezTo>
                    <a:lnTo>
                      <a:pt x="273031" y="575832"/>
                    </a:lnTo>
                    <a:cubicBezTo>
                      <a:pt x="273031" y="592066"/>
                      <a:pt x="286158" y="605223"/>
                      <a:pt x="302422" y="605223"/>
                    </a:cubicBezTo>
                    <a:cubicBezTo>
                      <a:pt x="318686" y="605223"/>
                      <a:pt x="331813" y="592066"/>
                      <a:pt x="331813" y="575832"/>
                    </a:cubicBezTo>
                    <a:lnTo>
                      <a:pt x="331813" y="532137"/>
                    </a:lnTo>
                    <a:cubicBezTo>
                      <a:pt x="331813" y="515903"/>
                      <a:pt x="318686" y="502745"/>
                      <a:pt x="302422" y="502745"/>
                    </a:cubicBezTo>
                    <a:close/>
                    <a:moveTo>
                      <a:pt x="102169" y="302492"/>
                    </a:moveTo>
                    <a:cubicBezTo>
                      <a:pt x="102169" y="286258"/>
                      <a:pt x="89040" y="273100"/>
                      <a:pt x="72778" y="273100"/>
                    </a:cubicBezTo>
                    <a:lnTo>
                      <a:pt x="29081" y="273100"/>
                    </a:lnTo>
                    <a:cubicBezTo>
                      <a:pt x="12818" y="273100"/>
                      <a:pt x="-310" y="286258"/>
                      <a:pt x="-310" y="302492"/>
                    </a:cubicBezTo>
                    <a:cubicBezTo>
                      <a:pt x="-310" y="318726"/>
                      <a:pt x="12818" y="331883"/>
                      <a:pt x="29081" y="331883"/>
                    </a:cubicBezTo>
                    <a:lnTo>
                      <a:pt x="72778" y="331883"/>
                    </a:lnTo>
                    <a:cubicBezTo>
                      <a:pt x="89040" y="331883"/>
                      <a:pt x="102169" y="318726"/>
                      <a:pt x="102169" y="302492"/>
                    </a:cubicBezTo>
                    <a:close/>
                    <a:moveTo>
                      <a:pt x="575763" y="273100"/>
                    </a:moveTo>
                    <a:lnTo>
                      <a:pt x="532066" y="273100"/>
                    </a:lnTo>
                    <a:cubicBezTo>
                      <a:pt x="515804" y="273100"/>
                      <a:pt x="502675" y="286258"/>
                      <a:pt x="502675" y="302492"/>
                    </a:cubicBezTo>
                    <a:cubicBezTo>
                      <a:pt x="502675" y="318726"/>
                      <a:pt x="515804" y="331883"/>
                      <a:pt x="532066" y="331883"/>
                    </a:cubicBezTo>
                    <a:lnTo>
                      <a:pt x="575763" y="331883"/>
                    </a:lnTo>
                    <a:cubicBezTo>
                      <a:pt x="592026" y="331883"/>
                      <a:pt x="605154" y="318726"/>
                      <a:pt x="605154" y="302492"/>
                    </a:cubicBezTo>
                    <a:cubicBezTo>
                      <a:pt x="605154" y="286258"/>
                      <a:pt x="592026" y="273100"/>
                      <a:pt x="575763" y="273100"/>
                    </a:cubicBezTo>
                    <a:close/>
                    <a:moveTo>
                      <a:pt x="129894" y="88424"/>
                    </a:moveTo>
                    <a:cubicBezTo>
                      <a:pt x="118824" y="76550"/>
                      <a:pt x="100209" y="75894"/>
                      <a:pt x="88355" y="86955"/>
                    </a:cubicBezTo>
                    <a:cubicBezTo>
                      <a:pt x="76499" y="98025"/>
                      <a:pt x="75814" y="116620"/>
                      <a:pt x="86885" y="128494"/>
                    </a:cubicBezTo>
                    <a:cubicBezTo>
                      <a:pt x="87375" y="129004"/>
                      <a:pt x="87864" y="129494"/>
                      <a:pt x="88355" y="129964"/>
                    </a:cubicBezTo>
                    <a:lnTo>
                      <a:pt x="119216" y="160923"/>
                    </a:lnTo>
                    <a:cubicBezTo>
                      <a:pt x="130678" y="172425"/>
                      <a:pt x="149391" y="172425"/>
                      <a:pt x="160854" y="160923"/>
                    </a:cubicBezTo>
                    <a:cubicBezTo>
                      <a:pt x="172316" y="149421"/>
                      <a:pt x="172316" y="130787"/>
                      <a:pt x="160854" y="119285"/>
                    </a:cubicBezTo>
                    <a:close/>
                    <a:moveTo>
                      <a:pt x="485628" y="444061"/>
                    </a:moveTo>
                    <a:cubicBezTo>
                      <a:pt x="474166" y="432559"/>
                      <a:pt x="455453" y="432559"/>
                      <a:pt x="443990" y="444061"/>
                    </a:cubicBezTo>
                    <a:cubicBezTo>
                      <a:pt x="432528" y="455562"/>
                      <a:pt x="432528" y="474196"/>
                      <a:pt x="443990" y="485698"/>
                    </a:cubicBezTo>
                    <a:lnTo>
                      <a:pt x="474950" y="516559"/>
                    </a:lnTo>
                    <a:cubicBezTo>
                      <a:pt x="486413" y="528022"/>
                      <a:pt x="505027" y="528022"/>
                      <a:pt x="516489" y="516559"/>
                    </a:cubicBezTo>
                    <a:cubicBezTo>
                      <a:pt x="527952" y="505087"/>
                      <a:pt x="527952" y="486492"/>
                      <a:pt x="516489" y="475019"/>
                    </a:cubicBezTo>
                    <a:close/>
                    <a:moveTo>
                      <a:pt x="119216" y="444061"/>
                    </a:moveTo>
                    <a:lnTo>
                      <a:pt x="88355" y="475019"/>
                    </a:lnTo>
                    <a:cubicBezTo>
                      <a:pt x="76892" y="486502"/>
                      <a:pt x="76892" y="505116"/>
                      <a:pt x="88355" y="516589"/>
                    </a:cubicBezTo>
                    <a:cubicBezTo>
                      <a:pt x="93840" y="522085"/>
                      <a:pt x="101384" y="525171"/>
                      <a:pt x="109125" y="525181"/>
                    </a:cubicBezTo>
                    <a:cubicBezTo>
                      <a:pt x="116962" y="525171"/>
                      <a:pt x="124407" y="522075"/>
                      <a:pt x="129894" y="516559"/>
                    </a:cubicBezTo>
                    <a:lnTo>
                      <a:pt x="160854" y="485698"/>
                    </a:lnTo>
                    <a:cubicBezTo>
                      <a:pt x="172316" y="474196"/>
                      <a:pt x="172316" y="455562"/>
                      <a:pt x="160854" y="444061"/>
                    </a:cubicBezTo>
                    <a:cubicBezTo>
                      <a:pt x="149391" y="432559"/>
                      <a:pt x="130678" y="432559"/>
                      <a:pt x="119216" y="444061"/>
                    </a:cubicBezTo>
                    <a:close/>
                    <a:moveTo>
                      <a:pt x="464858" y="169740"/>
                    </a:moveTo>
                    <a:cubicBezTo>
                      <a:pt x="472598" y="169760"/>
                      <a:pt x="480142" y="166694"/>
                      <a:pt x="485628" y="161217"/>
                    </a:cubicBezTo>
                    <a:lnTo>
                      <a:pt x="516489" y="130258"/>
                    </a:lnTo>
                    <a:cubicBezTo>
                      <a:pt x="528345" y="119187"/>
                      <a:pt x="529030" y="100592"/>
                      <a:pt x="517959" y="88718"/>
                    </a:cubicBezTo>
                    <a:cubicBezTo>
                      <a:pt x="506888" y="76844"/>
                      <a:pt x="488273" y="76187"/>
                      <a:pt x="476419" y="87248"/>
                    </a:cubicBezTo>
                    <a:cubicBezTo>
                      <a:pt x="475929" y="87719"/>
                      <a:pt x="475440" y="88208"/>
                      <a:pt x="474950" y="88718"/>
                    </a:cubicBezTo>
                    <a:lnTo>
                      <a:pt x="443990" y="119579"/>
                    </a:lnTo>
                    <a:cubicBezTo>
                      <a:pt x="432528" y="131061"/>
                      <a:pt x="432528" y="149676"/>
                      <a:pt x="443990" y="161148"/>
                    </a:cubicBezTo>
                    <a:cubicBezTo>
                      <a:pt x="449575" y="166664"/>
                      <a:pt x="457021" y="169760"/>
                      <a:pt x="464858" y="1697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0" name="Полилиния: фигура 75">
              <a:extLst>
                <a:ext uri="{FF2B5EF4-FFF2-40B4-BE49-F238E27FC236}">
                  <a16:creationId xmlns:a16="http://schemas.microsoft.com/office/drawing/2014/main" id="{81F99469-47F3-5E7C-6CA4-6DCEB846CA29}"/>
                </a:ext>
              </a:extLst>
            </p:cNvPr>
            <p:cNvSpPr/>
            <p:nvPr/>
          </p:nvSpPr>
          <p:spPr>
            <a:xfrm>
              <a:off x="6926011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Полилиния: фигура 76">
              <a:extLst>
                <a:ext uri="{FF2B5EF4-FFF2-40B4-BE49-F238E27FC236}">
                  <a16:creationId xmlns:a16="http://schemas.microsoft.com/office/drawing/2014/main" id="{7AE61898-43E7-4DE4-6129-B22B7D9A3DC4}"/>
                </a:ext>
              </a:extLst>
            </p:cNvPr>
            <p:cNvSpPr/>
            <p:nvPr/>
          </p:nvSpPr>
          <p:spPr>
            <a:xfrm>
              <a:off x="6436154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Полилиния: фигура 77">
              <a:extLst>
                <a:ext uri="{FF2B5EF4-FFF2-40B4-BE49-F238E27FC236}">
                  <a16:creationId xmlns:a16="http://schemas.microsoft.com/office/drawing/2014/main" id="{547CF65D-CEAE-C352-5A85-FFF9189150B5}"/>
                </a:ext>
              </a:extLst>
            </p:cNvPr>
            <p:cNvSpPr/>
            <p:nvPr/>
          </p:nvSpPr>
          <p:spPr>
            <a:xfrm>
              <a:off x="6926011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Полилиния: фигура 78">
              <a:extLst>
                <a:ext uri="{FF2B5EF4-FFF2-40B4-BE49-F238E27FC236}">
                  <a16:creationId xmlns:a16="http://schemas.microsoft.com/office/drawing/2014/main" id="{23CAF896-8BE7-B71B-77DA-6D0B1FB876E5}"/>
                </a:ext>
              </a:extLst>
            </p:cNvPr>
            <p:cNvSpPr/>
            <p:nvPr/>
          </p:nvSpPr>
          <p:spPr>
            <a:xfrm>
              <a:off x="6681083" y="367417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Полилиния: фигура 79">
              <a:extLst>
                <a:ext uri="{FF2B5EF4-FFF2-40B4-BE49-F238E27FC236}">
                  <a16:creationId xmlns:a16="http://schemas.microsoft.com/office/drawing/2014/main" id="{2B37F7E8-E89D-8459-5373-131DADF7A792}"/>
                </a:ext>
              </a:extLst>
            </p:cNvPr>
            <p:cNvSpPr/>
            <p:nvPr/>
          </p:nvSpPr>
          <p:spPr>
            <a:xfrm>
              <a:off x="6436154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Полилиния: фигура 81">
              <a:extLst>
                <a:ext uri="{FF2B5EF4-FFF2-40B4-BE49-F238E27FC236}">
                  <a16:creationId xmlns:a16="http://schemas.microsoft.com/office/drawing/2014/main" id="{C1A6FAE4-111D-E1CF-5EA3-53F0E6708016}"/>
                </a:ext>
              </a:extLst>
            </p:cNvPr>
            <p:cNvSpPr/>
            <p:nvPr/>
          </p:nvSpPr>
          <p:spPr>
            <a:xfrm rot="5400000">
              <a:off x="11210613" y="-2508"/>
              <a:ext cx="978877" cy="98389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Полилиния: фигура 82">
              <a:extLst>
                <a:ext uri="{FF2B5EF4-FFF2-40B4-BE49-F238E27FC236}">
                  <a16:creationId xmlns:a16="http://schemas.microsoft.com/office/drawing/2014/main" id="{09EB9843-1497-0BF8-D6D3-8895C82F1CFF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Полилиния: фигура 83">
              <a:extLst>
                <a:ext uri="{FF2B5EF4-FFF2-40B4-BE49-F238E27FC236}">
                  <a16:creationId xmlns:a16="http://schemas.microsoft.com/office/drawing/2014/main" id="{A7960E16-D3C6-7C19-B284-9D6891D41091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Полилиния: фигура 84">
              <a:extLst>
                <a:ext uri="{FF2B5EF4-FFF2-40B4-BE49-F238E27FC236}">
                  <a16:creationId xmlns:a16="http://schemas.microsoft.com/office/drawing/2014/main" id="{7E7243CA-C318-CFBD-752B-3ECB9C85005E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Полилиния: фигура 85">
              <a:extLst>
                <a:ext uri="{FF2B5EF4-FFF2-40B4-BE49-F238E27FC236}">
                  <a16:creationId xmlns:a16="http://schemas.microsoft.com/office/drawing/2014/main" id="{C0D6D19C-8414-5B25-9FF2-68CCA3C32376}"/>
                </a:ext>
              </a:extLst>
            </p:cNvPr>
            <p:cNvSpPr/>
            <p:nvPr/>
          </p:nvSpPr>
          <p:spPr>
            <a:xfrm>
              <a:off x="10477475" y="122466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Полилиния: фигура 87">
              <a:extLst>
                <a:ext uri="{FF2B5EF4-FFF2-40B4-BE49-F238E27FC236}">
                  <a16:creationId xmlns:a16="http://schemas.microsoft.com/office/drawing/2014/main" id="{9318107F-7C68-343C-164E-A2DABF4D6B11}"/>
                </a:ext>
              </a:extLst>
            </p:cNvPr>
            <p:cNvSpPr/>
            <p:nvPr/>
          </p:nvSpPr>
          <p:spPr>
            <a:xfrm rot="5400000">
              <a:off x="1121212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Полилиния: фигура 91">
              <a:extLst>
                <a:ext uri="{FF2B5EF4-FFF2-40B4-BE49-F238E27FC236}">
                  <a16:creationId xmlns:a16="http://schemas.microsoft.com/office/drawing/2014/main" id="{8F76CF08-4CE0-BDAB-FAC1-DEA5A1118CE7}"/>
                </a:ext>
              </a:extLst>
            </p:cNvPr>
            <p:cNvSpPr/>
            <p:nvPr/>
          </p:nvSpPr>
          <p:spPr>
            <a:xfrm>
              <a:off x="1144945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2" name="Группа 136">
              <a:extLst>
                <a:ext uri="{FF2B5EF4-FFF2-40B4-BE49-F238E27FC236}">
                  <a16:creationId xmlns:a16="http://schemas.microsoft.com/office/drawing/2014/main" id="{4748D860-3CD8-49C3-3166-E2B8CE443A34}"/>
                </a:ext>
              </a:extLst>
            </p:cNvPr>
            <p:cNvGrpSpPr/>
            <p:nvPr/>
          </p:nvGrpSpPr>
          <p:grpSpPr>
            <a:xfrm>
              <a:off x="11393801" y="1597449"/>
              <a:ext cx="523658" cy="198686"/>
              <a:chOff x="11393801" y="1597449"/>
              <a:chExt cx="523658" cy="198686"/>
            </a:xfrm>
          </p:grpSpPr>
          <p:sp>
            <p:nvSpPr>
              <p:cNvPr id="238" name="Полилиния: фигура 90">
                <a:extLst>
                  <a:ext uri="{FF2B5EF4-FFF2-40B4-BE49-F238E27FC236}">
                    <a16:creationId xmlns:a16="http://schemas.microsoft.com/office/drawing/2014/main" id="{33AE071A-B5EC-184F-2257-0BE906262B02}"/>
                  </a:ext>
                </a:extLst>
              </p:cNvPr>
              <p:cNvSpPr/>
              <p:nvPr userDrawn="1"/>
            </p:nvSpPr>
            <p:spPr>
              <a:xfrm>
                <a:off x="11393801" y="1597449"/>
                <a:ext cx="300576" cy="198686"/>
              </a:xfrm>
              <a:custGeom>
                <a:avLst/>
                <a:gdLst>
                  <a:gd name="connsiteX0" fmla="*/ -310 w 300576"/>
                  <a:gd name="connsiteY0" fmla="*/ -240 h 198686"/>
                  <a:gd name="connsiteX1" fmla="*/ 300267 w 300576"/>
                  <a:gd name="connsiteY1" fmla="*/ 198446 h 198686"/>
                  <a:gd name="connsiteX2" fmla="*/ -310 w 300576"/>
                  <a:gd name="connsiteY2" fmla="*/ -240 h 19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576" h="198686">
                    <a:moveTo>
                      <a:pt x="-310" y="-240"/>
                    </a:moveTo>
                    <a:cubicBezTo>
                      <a:pt x="51028" y="120255"/>
                      <a:pt x="169279" y="198466"/>
                      <a:pt x="300267" y="198446"/>
                    </a:cubicBezTo>
                    <a:cubicBezTo>
                      <a:pt x="248930" y="77951"/>
                      <a:pt x="130678" y="-259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Полилиния: фигура 92">
                <a:extLst>
                  <a:ext uri="{FF2B5EF4-FFF2-40B4-BE49-F238E27FC236}">
                    <a16:creationId xmlns:a16="http://schemas.microsoft.com/office/drawing/2014/main" id="{7F605E93-15E8-0197-4A45-5CB6613358C5}"/>
                  </a:ext>
                </a:extLst>
              </p:cNvPr>
              <p:cNvSpPr/>
              <p:nvPr userDrawn="1"/>
            </p:nvSpPr>
            <p:spPr>
              <a:xfrm>
                <a:off x="11694378" y="1652509"/>
                <a:ext cx="223081" cy="143625"/>
              </a:xfrm>
              <a:custGeom>
                <a:avLst/>
                <a:gdLst>
                  <a:gd name="connsiteX0" fmla="*/ -310 w 223081"/>
                  <a:gd name="connsiteY0" fmla="*/ 143386 h 143625"/>
                  <a:gd name="connsiteX1" fmla="*/ 222771 w 223081"/>
                  <a:gd name="connsiteY1" fmla="*/ -240 h 143625"/>
                  <a:gd name="connsiteX2" fmla="*/ -310 w 223081"/>
                  <a:gd name="connsiteY2" fmla="*/ 143386 h 14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081" h="143625">
                    <a:moveTo>
                      <a:pt x="-310" y="143386"/>
                    </a:moveTo>
                    <a:cubicBezTo>
                      <a:pt x="95801" y="143415"/>
                      <a:pt x="182994" y="87248"/>
                      <a:pt x="222771" y="-240"/>
                    </a:cubicBezTo>
                    <a:cubicBezTo>
                      <a:pt x="126661" y="-270"/>
                      <a:pt x="39467" y="55897"/>
                      <a:pt x="-310" y="143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" name="Полилиния: фигура 89">
              <a:extLst>
                <a:ext uri="{FF2B5EF4-FFF2-40B4-BE49-F238E27FC236}">
                  <a16:creationId xmlns:a16="http://schemas.microsoft.com/office/drawing/2014/main" id="{54DC7FAB-EE34-8839-AD62-9DFA1B0EDFB3}"/>
                </a:ext>
              </a:extLst>
            </p:cNvPr>
            <p:cNvSpPr/>
            <p:nvPr/>
          </p:nvSpPr>
          <p:spPr>
            <a:xfrm>
              <a:off x="1157191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Полилиния: фигура 94">
              <a:extLst>
                <a:ext uri="{FF2B5EF4-FFF2-40B4-BE49-F238E27FC236}">
                  <a16:creationId xmlns:a16="http://schemas.microsoft.com/office/drawing/2014/main" id="{07126D8E-FA74-0C18-3599-8D18AC06DC1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Полилиния: фигура 95">
              <a:extLst>
                <a:ext uri="{FF2B5EF4-FFF2-40B4-BE49-F238E27FC236}">
                  <a16:creationId xmlns:a16="http://schemas.microsoft.com/office/drawing/2014/main" id="{9A1A78D4-29DC-474D-98E7-A92F4B0A90CD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Полилиния: фигура 96">
              <a:extLst>
                <a:ext uri="{FF2B5EF4-FFF2-40B4-BE49-F238E27FC236}">
                  <a16:creationId xmlns:a16="http://schemas.microsoft.com/office/drawing/2014/main" id="{D6A7AA67-C7B4-4520-EBCD-AF8BE1AD1198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Полилиния: фигура 97">
              <a:extLst>
                <a:ext uri="{FF2B5EF4-FFF2-40B4-BE49-F238E27FC236}">
                  <a16:creationId xmlns:a16="http://schemas.microsoft.com/office/drawing/2014/main" id="{D20415EB-ED5E-5235-0EAE-2EAF652432C0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Полилиния: фигура 99">
              <a:extLst>
                <a:ext uri="{FF2B5EF4-FFF2-40B4-BE49-F238E27FC236}">
                  <a16:creationId xmlns:a16="http://schemas.microsoft.com/office/drawing/2014/main" id="{152FC6B9-D657-0563-6A0C-099048BB738D}"/>
                </a:ext>
              </a:extLst>
            </p:cNvPr>
            <p:cNvSpPr/>
            <p:nvPr/>
          </p:nvSpPr>
          <p:spPr>
            <a:xfrm>
              <a:off x="8886079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Полилиния: фигура 100">
              <a:extLst>
                <a:ext uri="{FF2B5EF4-FFF2-40B4-BE49-F238E27FC236}">
                  <a16:creationId xmlns:a16="http://schemas.microsoft.com/office/drawing/2014/main" id="{68FA2434-9773-3100-E7E8-ABFD1A4CE02B}"/>
                </a:ext>
              </a:extLst>
            </p:cNvPr>
            <p:cNvSpPr/>
            <p:nvPr/>
          </p:nvSpPr>
          <p:spPr>
            <a:xfrm>
              <a:off x="8396222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Полилиния: фигура 101">
              <a:extLst>
                <a:ext uri="{FF2B5EF4-FFF2-40B4-BE49-F238E27FC236}">
                  <a16:creationId xmlns:a16="http://schemas.microsoft.com/office/drawing/2014/main" id="{98DB10FD-4F0D-930E-0BEB-87ED4C7A2599}"/>
                </a:ext>
              </a:extLst>
            </p:cNvPr>
            <p:cNvSpPr/>
            <p:nvPr/>
          </p:nvSpPr>
          <p:spPr>
            <a:xfrm>
              <a:off x="8886079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Полилиния: фигура 102">
              <a:extLst>
                <a:ext uri="{FF2B5EF4-FFF2-40B4-BE49-F238E27FC236}">
                  <a16:creationId xmlns:a16="http://schemas.microsoft.com/office/drawing/2014/main" id="{804A6F9D-B6D0-ABAE-F6D4-C39115C3EE49}"/>
                </a:ext>
              </a:extLst>
            </p:cNvPr>
            <p:cNvSpPr/>
            <p:nvPr/>
          </p:nvSpPr>
          <p:spPr>
            <a:xfrm>
              <a:off x="8641150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Полилиния: фигура 103">
              <a:extLst>
                <a:ext uri="{FF2B5EF4-FFF2-40B4-BE49-F238E27FC236}">
                  <a16:creationId xmlns:a16="http://schemas.microsoft.com/office/drawing/2014/main" id="{DBE9AE2F-8403-94CC-6FA2-45F66F486747}"/>
                </a:ext>
              </a:extLst>
            </p:cNvPr>
            <p:cNvSpPr/>
            <p:nvPr/>
          </p:nvSpPr>
          <p:spPr>
            <a:xfrm>
              <a:off x="8396222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Полилиния: фигура 105">
              <a:extLst>
                <a:ext uri="{FF2B5EF4-FFF2-40B4-BE49-F238E27FC236}">
                  <a16:creationId xmlns:a16="http://schemas.microsoft.com/office/drawing/2014/main" id="{221F817F-7EC3-54E3-C932-F09C8401708B}"/>
                </a:ext>
              </a:extLst>
            </p:cNvPr>
            <p:cNvSpPr/>
            <p:nvPr userDrawn="1"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Полилиния: фигура 106">
              <a:extLst>
                <a:ext uri="{FF2B5EF4-FFF2-40B4-BE49-F238E27FC236}">
                  <a16:creationId xmlns:a16="http://schemas.microsoft.com/office/drawing/2014/main" id="{CF9A9883-D805-017B-FC4D-85501BEA2102}"/>
                </a:ext>
              </a:extLst>
            </p:cNvPr>
            <p:cNvSpPr/>
            <p:nvPr userDrawn="1"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Полилиния: фигура 107">
              <a:extLst>
                <a:ext uri="{FF2B5EF4-FFF2-40B4-BE49-F238E27FC236}">
                  <a16:creationId xmlns:a16="http://schemas.microsoft.com/office/drawing/2014/main" id="{DC063878-F546-B7EE-03D8-FB173F2E2DC5}"/>
                </a:ext>
              </a:extLst>
            </p:cNvPr>
            <p:cNvSpPr/>
            <p:nvPr userDrawn="1"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Полилиния: фигура 108">
              <a:extLst>
                <a:ext uri="{FF2B5EF4-FFF2-40B4-BE49-F238E27FC236}">
                  <a16:creationId xmlns:a16="http://schemas.microsoft.com/office/drawing/2014/main" id="{B1DD7367-C17C-4447-675A-13AE0E3EAFE8}"/>
                </a:ext>
              </a:extLst>
            </p:cNvPr>
            <p:cNvSpPr/>
            <p:nvPr userDrawn="1"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Полилиния: фигура 110">
              <a:extLst>
                <a:ext uri="{FF2B5EF4-FFF2-40B4-BE49-F238E27FC236}">
                  <a16:creationId xmlns:a16="http://schemas.microsoft.com/office/drawing/2014/main" id="{11C01802-A229-F95E-4D88-5A0B0E4362C3}"/>
                </a:ext>
              </a:extLst>
            </p:cNvPr>
            <p:cNvSpPr/>
            <p:nvPr/>
          </p:nvSpPr>
          <p:spPr>
            <a:xfrm rot="16200000">
              <a:off x="10229248" y="1955232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Полилиния: фигура 111">
              <a:extLst>
                <a:ext uri="{FF2B5EF4-FFF2-40B4-BE49-F238E27FC236}">
                  <a16:creationId xmlns:a16="http://schemas.microsoft.com/office/drawing/2014/main" id="{4CF64195-5C84-6E06-EA28-632701FF62FA}"/>
                </a:ext>
              </a:extLst>
            </p:cNvPr>
            <p:cNvSpPr/>
            <p:nvPr/>
          </p:nvSpPr>
          <p:spPr>
            <a:xfrm>
              <a:off x="10218043" y="2449310"/>
              <a:ext cx="499188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Полилиния: фигура 112">
              <a:extLst>
                <a:ext uri="{FF2B5EF4-FFF2-40B4-BE49-F238E27FC236}">
                  <a16:creationId xmlns:a16="http://schemas.microsoft.com/office/drawing/2014/main" id="{A232DDF6-FFE9-4A7C-95FA-78B6B0B68787}"/>
                </a:ext>
              </a:extLst>
            </p:cNvPr>
            <p:cNvSpPr/>
            <p:nvPr/>
          </p:nvSpPr>
          <p:spPr>
            <a:xfrm>
              <a:off x="10218043" y="1956342"/>
              <a:ext cx="499188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Полилиния: фигура 113">
              <a:extLst>
                <a:ext uri="{FF2B5EF4-FFF2-40B4-BE49-F238E27FC236}">
                  <a16:creationId xmlns:a16="http://schemas.microsoft.com/office/drawing/2014/main" id="{F87E652F-7893-9F92-6C7A-03C586308241}"/>
                </a:ext>
              </a:extLst>
            </p:cNvPr>
            <p:cNvSpPr/>
            <p:nvPr/>
          </p:nvSpPr>
          <p:spPr>
            <a:xfrm>
              <a:off x="10722404" y="195634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Полилиния: фигура 114">
              <a:extLst>
                <a:ext uri="{FF2B5EF4-FFF2-40B4-BE49-F238E27FC236}">
                  <a16:creationId xmlns:a16="http://schemas.microsoft.com/office/drawing/2014/main" id="{E52A84F5-A190-3CBA-533E-1D627B7406C3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Полилиния: фигура 116">
              <a:extLst>
                <a:ext uri="{FF2B5EF4-FFF2-40B4-BE49-F238E27FC236}">
                  <a16:creationId xmlns:a16="http://schemas.microsoft.com/office/drawing/2014/main" id="{8020401A-CB1E-7102-5C24-F4A4AA6155A6}"/>
                </a:ext>
              </a:extLst>
            </p:cNvPr>
            <p:cNvSpPr/>
            <p:nvPr/>
          </p:nvSpPr>
          <p:spPr>
            <a:xfrm rot="16200000">
              <a:off x="10229248" y="2927837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3" name="Группа 142">
              <a:extLst>
                <a:ext uri="{FF2B5EF4-FFF2-40B4-BE49-F238E27FC236}">
                  <a16:creationId xmlns:a16="http://schemas.microsoft.com/office/drawing/2014/main" id="{55BFAE82-8F16-9F3B-4729-653EB69CB0F7}"/>
                </a:ext>
              </a:extLst>
            </p:cNvPr>
            <p:cNvGrpSpPr/>
            <p:nvPr/>
          </p:nvGrpSpPr>
          <p:grpSpPr>
            <a:xfrm>
              <a:off x="10562417" y="3072801"/>
              <a:ext cx="240030" cy="160281"/>
              <a:chOff x="10562417" y="3072801"/>
              <a:chExt cx="240030" cy="160281"/>
            </a:xfrm>
          </p:grpSpPr>
          <p:sp>
            <p:nvSpPr>
              <p:cNvPr id="236" name="Полилиния: фигура 117">
                <a:extLst>
                  <a:ext uri="{FF2B5EF4-FFF2-40B4-BE49-F238E27FC236}">
                    <a16:creationId xmlns:a16="http://schemas.microsoft.com/office/drawing/2014/main" id="{A881E735-97A3-0633-9C8E-4D7471867FE6}"/>
                  </a:ext>
                </a:extLst>
              </p:cNvPr>
              <p:cNvSpPr/>
              <p:nvPr userDrawn="1"/>
            </p:nvSpPr>
            <p:spPr>
              <a:xfrm>
                <a:off x="10722404" y="3152843"/>
                <a:ext cx="80043" cy="80238"/>
              </a:xfrm>
              <a:custGeom>
                <a:avLst/>
                <a:gdLst>
                  <a:gd name="connsiteX0" fmla="*/ 79733 w 80043"/>
                  <a:gd name="connsiteY0" fmla="*/ -240 h 80238"/>
                  <a:gd name="connsiteX1" fmla="*/ -310 w 80043"/>
                  <a:gd name="connsiteY1" fmla="*/ 79607 h 80238"/>
                  <a:gd name="connsiteX2" fmla="*/ -310 w 80043"/>
                  <a:gd name="connsiteY2" fmla="*/ 79999 h 80238"/>
                  <a:gd name="connsiteX3" fmla="*/ 79733 w 80043"/>
                  <a:gd name="connsiteY3" fmla="*/ 152 h 80238"/>
                  <a:gd name="connsiteX4" fmla="*/ 79733 w 80043"/>
                  <a:gd name="connsiteY4" fmla="*/ -240 h 8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43" h="80238">
                    <a:moveTo>
                      <a:pt x="79733" y="-240"/>
                    </a:moveTo>
                    <a:cubicBezTo>
                      <a:pt x="35548" y="-299"/>
                      <a:pt x="-212" y="35451"/>
                      <a:pt x="-310" y="79607"/>
                    </a:cubicBezTo>
                    <a:cubicBezTo>
                      <a:pt x="-310" y="79734"/>
                      <a:pt x="-310" y="79871"/>
                      <a:pt x="-310" y="79999"/>
                    </a:cubicBezTo>
                    <a:cubicBezTo>
                      <a:pt x="43875" y="80057"/>
                      <a:pt x="79635" y="44308"/>
                      <a:pt x="79733" y="152"/>
                    </a:cubicBezTo>
                    <a:cubicBezTo>
                      <a:pt x="79733" y="24"/>
                      <a:pt x="79733" y="-113"/>
                      <a:pt x="79733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Полилиния: фигура 118">
                <a:extLst>
                  <a:ext uri="{FF2B5EF4-FFF2-40B4-BE49-F238E27FC236}">
                    <a16:creationId xmlns:a16="http://schemas.microsoft.com/office/drawing/2014/main" id="{DB7BD1C1-1207-FF95-3C79-C6385CC944E7}"/>
                  </a:ext>
                </a:extLst>
              </p:cNvPr>
              <p:cNvSpPr/>
              <p:nvPr userDrawn="1"/>
            </p:nvSpPr>
            <p:spPr>
              <a:xfrm>
                <a:off x="10562417" y="3072801"/>
                <a:ext cx="159987" cy="160281"/>
              </a:xfrm>
              <a:custGeom>
                <a:avLst/>
                <a:gdLst>
                  <a:gd name="connsiteX0" fmla="*/ -310 w 159987"/>
                  <a:gd name="connsiteY0" fmla="*/ -240 h 160281"/>
                  <a:gd name="connsiteX1" fmla="*/ 159383 w 159987"/>
                  <a:gd name="connsiteY1" fmla="*/ 160041 h 160281"/>
                  <a:gd name="connsiteX2" fmla="*/ 159677 w 159987"/>
                  <a:gd name="connsiteY2" fmla="*/ 160041 h 160281"/>
                  <a:gd name="connsiteX3" fmla="*/ -17 w 159987"/>
                  <a:gd name="connsiteY3" fmla="*/ -240 h 160281"/>
                  <a:gd name="connsiteX4" fmla="*/ -310 w 159987"/>
                  <a:gd name="connsiteY4" fmla="*/ -240 h 1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987" h="160281">
                    <a:moveTo>
                      <a:pt x="-310" y="-240"/>
                    </a:moveTo>
                    <a:cubicBezTo>
                      <a:pt x="-506" y="88120"/>
                      <a:pt x="71013" y="159874"/>
                      <a:pt x="159383" y="160041"/>
                    </a:cubicBezTo>
                    <a:cubicBezTo>
                      <a:pt x="159481" y="160041"/>
                      <a:pt x="159579" y="160041"/>
                      <a:pt x="159677" y="160041"/>
                    </a:cubicBezTo>
                    <a:cubicBezTo>
                      <a:pt x="159873" y="71681"/>
                      <a:pt x="88354" y="-74"/>
                      <a:pt x="-17" y="-240"/>
                    </a:cubicBezTo>
                    <a:cubicBezTo>
                      <a:pt x="-115" y="-240"/>
                      <a:pt x="-212" y="-240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4" name="Полилиния: фигура 119">
              <a:extLst>
                <a:ext uri="{FF2B5EF4-FFF2-40B4-BE49-F238E27FC236}">
                  <a16:creationId xmlns:a16="http://schemas.microsoft.com/office/drawing/2014/main" id="{9AB5CFF2-BC5D-D96E-96E9-9F3FEBE273D3}"/>
                </a:ext>
              </a:extLst>
            </p:cNvPr>
            <p:cNvSpPr/>
            <p:nvPr/>
          </p:nvSpPr>
          <p:spPr>
            <a:xfrm>
              <a:off x="10579947" y="3232812"/>
              <a:ext cx="284927" cy="503156"/>
            </a:xfrm>
            <a:custGeom>
              <a:avLst/>
              <a:gdLst>
                <a:gd name="connsiteX0" fmla="*/ 142147 w 284927"/>
                <a:gd name="connsiteY0" fmla="*/ 502917 h 503156"/>
                <a:gd name="connsiteX1" fmla="*/ 284206 w 284927"/>
                <a:gd name="connsiteY1" fmla="*/ 134152 h 503156"/>
                <a:gd name="connsiteX2" fmla="*/ 89 w 284927"/>
                <a:gd name="connsiteY2" fmla="*/ 134152 h 503156"/>
                <a:gd name="connsiteX3" fmla="*/ 142147 w 284927"/>
                <a:gd name="connsiteY3" fmla="*/ 502917 h 5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27" h="503156">
                  <a:moveTo>
                    <a:pt x="142147" y="502917"/>
                  </a:moveTo>
                  <a:cubicBezTo>
                    <a:pt x="238355" y="404857"/>
                    <a:pt x="289790" y="271410"/>
                    <a:pt x="284206" y="134152"/>
                  </a:cubicBezTo>
                  <a:cubicBezTo>
                    <a:pt x="277543" y="-45037"/>
                    <a:pt x="6848" y="-45037"/>
                    <a:pt x="89" y="134152"/>
                  </a:cubicBezTo>
                  <a:cubicBezTo>
                    <a:pt x="-5398" y="271400"/>
                    <a:pt x="45940" y="404837"/>
                    <a:pt x="142147" y="502917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Полилиния: фигура 121">
              <a:extLst>
                <a:ext uri="{FF2B5EF4-FFF2-40B4-BE49-F238E27FC236}">
                  <a16:creationId xmlns:a16="http://schemas.microsoft.com/office/drawing/2014/main" id="{5724ABB9-23F9-557B-640F-4EDA08185EA2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Полилиния: фигура 122">
              <a:extLst>
                <a:ext uri="{FF2B5EF4-FFF2-40B4-BE49-F238E27FC236}">
                  <a16:creationId xmlns:a16="http://schemas.microsoft.com/office/drawing/2014/main" id="{2E6D9482-2CA0-8F16-ADC6-1839E26E999F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Полилиния: фигура 123">
              <a:extLst>
                <a:ext uri="{FF2B5EF4-FFF2-40B4-BE49-F238E27FC236}">
                  <a16:creationId xmlns:a16="http://schemas.microsoft.com/office/drawing/2014/main" id="{32880002-40DF-0E72-E8B9-259EBD329D29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Полилиния: фигура 125">
              <a:extLst>
                <a:ext uri="{FF2B5EF4-FFF2-40B4-BE49-F238E27FC236}">
                  <a16:creationId xmlns:a16="http://schemas.microsoft.com/office/drawing/2014/main" id="{7C23478D-CA78-9564-4653-E6EE3B7F9873}"/>
                </a:ext>
              </a:extLst>
            </p:cNvPr>
            <p:cNvSpPr/>
            <p:nvPr/>
          </p:nvSpPr>
          <p:spPr>
            <a:xfrm>
              <a:off x="11701548" y="440093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Полилиния: фигура 126">
              <a:extLst>
                <a:ext uri="{FF2B5EF4-FFF2-40B4-BE49-F238E27FC236}">
                  <a16:creationId xmlns:a16="http://schemas.microsoft.com/office/drawing/2014/main" id="{880455E5-D941-01B7-2E0B-428B3E1168AF}"/>
                </a:ext>
              </a:extLst>
            </p:cNvPr>
            <p:cNvSpPr/>
            <p:nvPr/>
          </p:nvSpPr>
          <p:spPr>
            <a:xfrm>
              <a:off x="11211691" y="391107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Полилиния: фигура 127">
              <a:extLst>
                <a:ext uri="{FF2B5EF4-FFF2-40B4-BE49-F238E27FC236}">
                  <a16:creationId xmlns:a16="http://schemas.microsoft.com/office/drawing/2014/main" id="{97F171CD-74ED-E86B-FCA3-2D8AB57BCA8F}"/>
                </a:ext>
              </a:extLst>
            </p:cNvPr>
            <p:cNvSpPr/>
            <p:nvPr/>
          </p:nvSpPr>
          <p:spPr>
            <a:xfrm>
              <a:off x="11701548" y="391107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Полилиния: фигура 128">
              <a:extLst>
                <a:ext uri="{FF2B5EF4-FFF2-40B4-BE49-F238E27FC236}">
                  <a16:creationId xmlns:a16="http://schemas.microsoft.com/office/drawing/2014/main" id="{6B5C7B98-9AF3-A3C5-CC56-1F8415A3BBFA}"/>
                </a:ext>
              </a:extLst>
            </p:cNvPr>
            <p:cNvSpPr/>
            <p:nvPr/>
          </p:nvSpPr>
          <p:spPr>
            <a:xfrm>
              <a:off x="11211691" y="440093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Полилиния: фигура 130">
              <a:extLst>
                <a:ext uri="{FF2B5EF4-FFF2-40B4-BE49-F238E27FC236}">
                  <a16:creationId xmlns:a16="http://schemas.microsoft.com/office/drawing/2014/main" id="{E7E3018D-75B7-25D3-F819-65B4866C5B11}"/>
                </a:ext>
              </a:extLst>
            </p:cNvPr>
            <p:cNvSpPr/>
            <p:nvPr/>
          </p:nvSpPr>
          <p:spPr>
            <a:xfrm>
              <a:off x="7564294" y="1321178"/>
              <a:ext cx="437931" cy="274907"/>
            </a:xfrm>
            <a:custGeom>
              <a:avLst/>
              <a:gdLst>
                <a:gd name="connsiteX0" fmla="*/ 297270 w 437931"/>
                <a:gd name="connsiteY0" fmla="*/ 274668 h 274907"/>
                <a:gd name="connsiteX1" fmla="*/ 134245 w 437931"/>
                <a:gd name="connsiteY1" fmla="*/ 274668 h 274907"/>
                <a:gd name="connsiteX2" fmla="*/ -3207 w 437931"/>
                <a:gd name="connsiteY2" fmla="*/ 137214 h 274907"/>
                <a:gd name="connsiteX3" fmla="*/ 134245 w 437931"/>
                <a:gd name="connsiteY3" fmla="*/ -240 h 274907"/>
                <a:gd name="connsiteX4" fmla="*/ 297270 w 437931"/>
                <a:gd name="connsiteY4" fmla="*/ -240 h 274907"/>
                <a:gd name="connsiteX5" fmla="*/ 434725 w 437931"/>
                <a:gd name="connsiteY5" fmla="*/ 137214 h 274907"/>
                <a:gd name="connsiteX6" fmla="*/ 297270 w 437931"/>
                <a:gd name="connsiteY6" fmla="*/ 274668 h 27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931" h="274907">
                  <a:moveTo>
                    <a:pt x="297270" y="274668"/>
                  </a:moveTo>
                  <a:lnTo>
                    <a:pt x="134245" y="274668"/>
                  </a:lnTo>
                  <a:cubicBezTo>
                    <a:pt x="58317" y="274668"/>
                    <a:pt x="-3207" y="213132"/>
                    <a:pt x="-3207" y="137214"/>
                  </a:cubicBezTo>
                  <a:cubicBezTo>
                    <a:pt x="-3207" y="61296"/>
                    <a:pt x="58317" y="-240"/>
                    <a:pt x="134245" y="-240"/>
                  </a:cubicBezTo>
                  <a:lnTo>
                    <a:pt x="297270" y="-240"/>
                  </a:lnTo>
                  <a:cubicBezTo>
                    <a:pt x="373198" y="-240"/>
                    <a:pt x="434725" y="61296"/>
                    <a:pt x="434725" y="137214"/>
                  </a:cubicBezTo>
                  <a:cubicBezTo>
                    <a:pt x="434725" y="213132"/>
                    <a:pt x="373198" y="274668"/>
                    <a:pt x="297270" y="274668"/>
                  </a:cubicBezTo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3" name="Группа 139">
              <a:extLst>
                <a:ext uri="{FF2B5EF4-FFF2-40B4-BE49-F238E27FC236}">
                  <a16:creationId xmlns:a16="http://schemas.microsoft.com/office/drawing/2014/main" id="{C1B504CE-0FB3-5DDF-21DE-5E26A943F780}"/>
                </a:ext>
              </a:extLst>
            </p:cNvPr>
            <p:cNvGrpSpPr/>
            <p:nvPr/>
          </p:nvGrpSpPr>
          <p:grpSpPr>
            <a:xfrm>
              <a:off x="7431641" y="1321766"/>
              <a:ext cx="703239" cy="274320"/>
              <a:chOff x="7431641" y="1321766"/>
              <a:chExt cx="703239" cy="274320"/>
            </a:xfrm>
          </p:grpSpPr>
          <p:sp>
            <p:nvSpPr>
              <p:cNvPr id="234" name="Полилиния: фигура 131">
                <a:extLst>
                  <a:ext uri="{FF2B5EF4-FFF2-40B4-BE49-F238E27FC236}">
                    <a16:creationId xmlns:a16="http://schemas.microsoft.com/office/drawing/2014/main" id="{50082B8F-F977-7DDB-6F97-4532406ECC27}"/>
                  </a:ext>
                </a:extLst>
              </p:cNvPr>
              <p:cNvSpPr/>
              <p:nvPr userDrawn="1"/>
            </p:nvSpPr>
            <p:spPr>
              <a:xfrm>
                <a:off x="7997720" y="1321766"/>
                <a:ext cx="137160" cy="274320"/>
              </a:xfrm>
              <a:custGeom>
                <a:avLst/>
                <a:gdLst>
                  <a:gd name="connsiteX0" fmla="*/ 133953 w 137160"/>
                  <a:gd name="connsiteY0" fmla="*/ -240 h 274320"/>
                  <a:gd name="connsiteX1" fmla="*/ -3207 w 137160"/>
                  <a:gd name="connsiteY1" fmla="*/ 136920 h 274320"/>
                  <a:gd name="connsiteX2" fmla="*/ 133953 w 137160"/>
                  <a:gd name="connsiteY2" fmla="*/ 27408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133953" y="-240"/>
                    </a:moveTo>
                    <a:cubicBezTo>
                      <a:pt x="58219" y="-240"/>
                      <a:pt x="-3207" y="61169"/>
                      <a:pt x="-3207" y="136920"/>
                    </a:cubicBezTo>
                    <a:cubicBezTo>
                      <a:pt x="-3207" y="212671"/>
                      <a:pt x="58219" y="274080"/>
                      <a:pt x="133953" y="27408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Полилиния: фигура 132">
                <a:extLst>
                  <a:ext uri="{FF2B5EF4-FFF2-40B4-BE49-F238E27FC236}">
                    <a16:creationId xmlns:a16="http://schemas.microsoft.com/office/drawing/2014/main" id="{3A232097-AB6A-7375-0DA6-83BC51B54CD8}"/>
                  </a:ext>
                </a:extLst>
              </p:cNvPr>
              <p:cNvSpPr/>
              <p:nvPr userDrawn="1"/>
            </p:nvSpPr>
            <p:spPr>
              <a:xfrm>
                <a:off x="7431641" y="1321766"/>
                <a:ext cx="137160" cy="274320"/>
              </a:xfrm>
              <a:custGeom>
                <a:avLst/>
                <a:gdLst>
                  <a:gd name="connsiteX0" fmla="*/ -3207 w 137160"/>
                  <a:gd name="connsiteY0" fmla="*/ 274080 h 274320"/>
                  <a:gd name="connsiteX1" fmla="*/ 133953 w 137160"/>
                  <a:gd name="connsiteY1" fmla="*/ 136920 h 274320"/>
                  <a:gd name="connsiteX2" fmla="*/ -3207 w 137160"/>
                  <a:gd name="connsiteY2" fmla="*/ -24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-3207" y="274080"/>
                    </a:moveTo>
                    <a:cubicBezTo>
                      <a:pt x="72525" y="274080"/>
                      <a:pt x="133953" y="212671"/>
                      <a:pt x="133953" y="136920"/>
                    </a:cubicBezTo>
                    <a:cubicBezTo>
                      <a:pt x="133953" y="61169"/>
                      <a:pt x="72525" y="-240"/>
                      <a:pt x="-3207" y="-2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7952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75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2031325"/>
          </a:xfrm>
        </p:spPr>
        <p:txBody>
          <a:bodyPr/>
          <a:lstStyle/>
          <a:p>
            <a:r>
              <a:rPr lang="ru-RU" dirty="0"/>
              <a:t>Виды компенсаций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sz="1800" dirty="0"/>
              <a:t>Возврат</a:t>
            </a:r>
            <a:r>
              <a:rPr lang="ru-RU" sz="1800" b="0" dirty="0"/>
              <a:t> производится с места обнаружения брака по Уведомлению на № 41…</a:t>
            </a:r>
            <a:r>
              <a:rPr lang="ru-RU" sz="1800" dirty="0"/>
              <a:t/>
            </a:r>
            <a:br>
              <a:rPr lang="ru-RU" sz="1800" dirty="0"/>
            </a:br>
            <a:endParaRPr lang="ru-RU" sz="18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571498" y="2299394"/>
          <a:ext cx="10002539" cy="2764286"/>
        </p:xfrm>
        <a:graphic>
          <a:graphicData uri="http://schemas.openxmlformats.org/drawingml/2006/table">
            <a:tbl>
              <a:tblPr firstRow="1" firstCol="1" bandRow="1"/>
              <a:tblGrid>
                <a:gridCol w="5162803">
                  <a:extLst>
                    <a:ext uri="{9D8B030D-6E8A-4147-A177-3AD203B41FA5}">
                      <a16:colId xmlns:a16="http://schemas.microsoft.com/office/drawing/2014/main" val="435750564"/>
                    </a:ext>
                  </a:extLst>
                </a:gridCol>
                <a:gridCol w="4839736">
                  <a:extLst>
                    <a:ext uri="{9D8B030D-6E8A-4147-A177-3AD203B41FA5}">
                      <a16:colId xmlns:a16="http://schemas.microsoft.com/office/drawing/2014/main" val="2055737493"/>
                    </a:ext>
                  </a:extLst>
                </a:gridCol>
              </a:tblGrid>
              <a:tr h="200241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Возврат </a:t>
                      </a: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товара напрямую из ТК по Уведомлению на возврат</a:t>
                      </a:r>
                      <a:endParaRPr lang="ru-RU" sz="1800" dirty="0">
                        <a:solidFill>
                          <a:schemeClr val="bg1"/>
                        </a:solidFill>
                        <a:effectLst/>
                        <a:latin typeface="+mj-lt"/>
                        <a:ea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350" marR="37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4041584"/>
                  </a:ext>
                </a:extLst>
              </a:tr>
              <a:tr h="457511">
                <a:tc grid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При осуществлении возврата с </a:t>
                      </a:r>
                      <a:r>
                        <a:rPr lang="ru-RU" sz="1800" dirty="0" smtClean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ТК/РЦ </a:t>
                      </a:r>
                      <a: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ваш представитель при себе должен иметь:</a:t>
                      </a:r>
                      <a:b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1.       Уведомление о возврате. Уведомление должно быть заверено - проставлена оригинальная печать поставщика и соответствующие подписи (по сканам и копиям возврат невозможен);</a:t>
                      </a:r>
                      <a:b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3.       Доверенность на человека, который осуществляет возврат товара.</a:t>
                      </a:r>
                    </a:p>
                  </a:txBody>
                  <a:tcPr marL="37350" marR="373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02391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Для поставщиков НЕ подключенных к ЭДО по возвратам комплект документов содержит:</a:t>
                      </a:r>
                      <a:endParaRPr lang="ru-RU" sz="1800" dirty="0">
                        <a:effectLst/>
                        <a:latin typeface="+mj-lt"/>
                        <a:ea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350" marR="37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Для поставщиков подключенных к ЭДО по возвратам комплект документов содержит:</a:t>
                      </a:r>
                      <a:endParaRPr lang="ru-RU" sz="1800" dirty="0">
                        <a:effectLst/>
                        <a:latin typeface="+mj-lt"/>
                        <a:ea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350" marR="37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7553792"/>
                  </a:ext>
                </a:extLst>
              </a:tr>
              <a:tr h="29540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Накладная на возврат, СчФ.</a:t>
                      </a:r>
                    </a:p>
                  </a:txBody>
                  <a:tcPr marL="37350" marR="37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УПД </a:t>
                      </a:r>
                      <a:r>
                        <a:rPr lang="ru-RU" sz="1800" dirty="0" smtClean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ДОП,  </a:t>
                      </a:r>
                      <a: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УПД СчФ</a:t>
                      </a:r>
                    </a:p>
                  </a:txBody>
                  <a:tcPr marL="37350" marR="37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1095730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71499" y="1082040"/>
            <a:ext cx="1052861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ru-RU" dirty="0" smtClean="0"/>
              <a:t>Два основных вида компенсации – </a:t>
            </a:r>
            <a:r>
              <a:rPr lang="ru-RU" b="1" u="sng" dirty="0" smtClean="0"/>
              <a:t>возврат</a:t>
            </a:r>
            <a:r>
              <a:rPr lang="ru-RU" dirty="0" smtClean="0"/>
              <a:t> и </a:t>
            </a:r>
            <a:r>
              <a:rPr lang="ru-RU" b="1" u="sng" dirty="0" smtClean="0"/>
              <a:t>утилизация</a:t>
            </a:r>
            <a:r>
              <a:rPr lang="ru-RU" dirty="0" smtClean="0"/>
              <a:t>.</a:t>
            </a:r>
          </a:p>
          <a:p>
            <a:pPr algn="l"/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98626" y="5514090"/>
            <a:ext cx="10862477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dirty="0" smtClean="0">
                <a:latin typeface="Verdana" panose="020B0604030504040204" pitchFamily="34" charset="0"/>
                <a:ea typeface="Calibri" panose="020F0502020204030204" pitchFamily="34" charset="0"/>
              </a:rPr>
              <a:t>По вопросу подключения к ЭДО (электронному </a:t>
            </a:r>
            <a:r>
              <a:rPr lang="ru-RU" dirty="0">
                <a:latin typeface="Verdana" panose="020B0604030504040204" pitchFamily="34" charset="0"/>
                <a:ea typeface="Calibri" panose="020F0502020204030204" pitchFamily="34" charset="0"/>
              </a:rPr>
              <a:t>документообороту) просим Вас отправлять </a:t>
            </a:r>
            <a:r>
              <a:rPr lang="ru-RU" dirty="0" smtClean="0">
                <a:latin typeface="Verdana" panose="020B0604030504040204" pitchFamily="34" charset="0"/>
                <a:ea typeface="Calibri" panose="020F0502020204030204" pitchFamily="34" charset="0"/>
              </a:rPr>
              <a:t>запросы на </a:t>
            </a:r>
            <a:r>
              <a:rPr lang="ru-RU" dirty="0">
                <a:latin typeface="Verdana" panose="020B0604030504040204" pitchFamily="34" charset="0"/>
                <a:ea typeface="Calibri" panose="020F0502020204030204" pitchFamily="34" charset="0"/>
              </a:rPr>
              <a:t>электронный адрес: </a:t>
            </a:r>
            <a:r>
              <a:rPr lang="en-US" sz="2000" b="1" u="sng" dirty="0">
                <a:solidFill>
                  <a:srgbClr val="0070C0"/>
                </a:solidFill>
                <a:latin typeface="Verdana" panose="020B0604030504040204" pitchFamily="34" charset="0"/>
                <a:ea typeface="Calibri" panose="020F0502020204030204" pitchFamily="34" charset="0"/>
                <a:hlinkClick r:id="rId2"/>
              </a:rPr>
              <a:t>eworkflow</a:t>
            </a:r>
            <a:r>
              <a:rPr lang="ru-RU" sz="2000" b="1" u="sng" dirty="0">
                <a:solidFill>
                  <a:srgbClr val="0070C0"/>
                </a:solidFill>
                <a:latin typeface="Verdana" panose="020B0604030504040204" pitchFamily="34" charset="0"/>
                <a:ea typeface="Calibri" panose="020F0502020204030204" pitchFamily="34" charset="0"/>
                <a:hlinkClick r:id="rId2"/>
              </a:rPr>
              <a:t>@</a:t>
            </a:r>
            <a:r>
              <a:rPr lang="en-US" sz="2000" b="1" u="sng" dirty="0">
                <a:solidFill>
                  <a:srgbClr val="0070C0"/>
                </a:solidFill>
                <a:latin typeface="Verdana" panose="020B0604030504040204" pitchFamily="34" charset="0"/>
                <a:ea typeface="Calibri" panose="020F0502020204030204" pitchFamily="34" charset="0"/>
                <a:hlinkClick r:id="rId2"/>
              </a:rPr>
              <a:t>lenta</a:t>
            </a:r>
            <a:r>
              <a:rPr lang="ru-RU" sz="2000" b="1" u="sng" dirty="0">
                <a:solidFill>
                  <a:srgbClr val="0070C0"/>
                </a:solidFill>
                <a:latin typeface="Verdana" panose="020B0604030504040204" pitchFamily="34" charset="0"/>
                <a:ea typeface="Calibri" panose="020F0502020204030204" pitchFamily="34" charset="0"/>
                <a:hlinkClick r:id="rId2"/>
              </a:rPr>
              <a:t>.</a:t>
            </a:r>
            <a:r>
              <a:rPr lang="en-US" sz="2000" b="1" u="sng" dirty="0">
                <a:solidFill>
                  <a:srgbClr val="0070C0"/>
                </a:solidFill>
                <a:latin typeface="Verdana" panose="020B0604030504040204" pitchFamily="34" charset="0"/>
                <a:ea typeface="Calibri" panose="020F0502020204030204" pitchFamily="34" charset="0"/>
                <a:hlinkClick r:id="rId2"/>
              </a:rPr>
              <a:t>com</a:t>
            </a:r>
            <a:endParaRPr lang="ru-RU" sz="2000" b="1" dirty="0">
              <a:solidFill>
                <a:srgbClr val="0070C0"/>
              </a:solidFill>
              <a:latin typeface="Verdana" panose="020B060403050404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179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76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71499" y="805825"/>
            <a:ext cx="10002539" cy="738664"/>
          </a:xfrm>
        </p:spPr>
        <p:txBody>
          <a:bodyPr/>
          <a:lstStyle/>
          <a:p>
            <a:r>
              <a:rPr lang="ru-RU" dirty="0" smtClean="0"/>
              <a:t>Оформление Уведомления о возврате № 41 и Доверенности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028" y="1693628"/>
            <a:ext cx="7513201" cy="477084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712765" y="2043484"/>
            <a:ext cx="4076037" cy="36009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ru-RU" dirty="0" smtClean="0"/>
              <a:t>Доверенность – типовая межотраслевая форма № М-2.</a:t>
            </a:r>
          </a:p>
          <a:p>
            <a:pPr algn="l"/>
            <a:endParaRPr lang="ru-RU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dirty="0" smtClean="0"/>
              <a:t>Срок действия 15 дней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dirty="0" smtClean="0"/>
              <a:t>Данные сверяются с документом удостоверяющим личность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dirty="0" smtClean="0"/>
              <a:t>Обязательно наличие печати организации и подписи Руководителя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dirty="0" smtClean="0"/>
              <a:t>Подпись доверенного лица должна совпадать с его же подписью на накладной.</a:t>
            </a:r>
          </a:p>
        </p:txBody>
      </p:sp>
    </p:spTree>
    <p:extLst>
      <p:ext uri="{BB962C8B-B14F-4D97-AF65-F5344CB8AC3E}">
        <p14:creationId xmlns:p14="http://schemas.microsoft.com/office/powerpoint/2010/main" val="1579724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7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32460" y="1021080"/>
            <a:ext cx="1066038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ru-RU" b="1" dirty="0" smtClean="0"/>
              <a:t>Утилизация</a:t>
            </a:r>
            <a:r>
              <a:rPr lang="ru-RU" dirty="0" smtClean="0"/>
              <a:t> проводится на месте обнаружения брака (в магазине) по уведомлению № 46…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632460" y="2164080"/>
          <a:ext cx="10325011" cy="3291840"/>
        </p:xfrm>
        <a:graphic>
          <a:graphicData uri="http://schemas.openxmlformats.org/drawingml/2006/table">
            <a:tbl>
              <a:tblPr firstRow="1" firstCol="1" bandRow="1"/>
              <a:tblGrid>
                <a:gridCol w="5314594">
                  <a:extLst>
                    <a:ext uri="{9D8B030D-6E8A-4147-A177-3AD203B41FA5}">
                      <a16:colId xmlns:a16="http://schemas.microsoft.com/office/drawing/2014/main" val="3108091967"/>
                    </a:ext>
                  </a:extLst>
                </a:gridCol>
                <a:gridCol w="5010417">
                  <a:extLst>
                    <a:ext uri="{9D8B030D-6E8A-4147-A177-3AD203B41FA5}">
                      <a16:colId xmlns:a16="http://schemas.microsoft.com/office/drawing/2014/main" val="1804035451"/>
                    </a:ext>
                  </a:extLst>
                </a:gridCol>
              </a:tblGrid>
              <a:tr h="213751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Утилизация </a:t>
                      </a:r>
                      <a:r>
                        <a:rPr lang="ru-RU" sz="1800" b="1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товара за счёт поставщика в ТК Лента</a:t>
                      </a:r>
                      <a:endParaRPr lang="ru-RU" sz="1800" baseline="0" dirty="0">
                        <a:solidFill>
                          <a:schemeClr val="bg1"/>
                        </a:solidFill>
                        <a:effectLst/>
                        <a:latin typeface="+mj-lt"/>
                        <a:ea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439" marR="304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9183823"/>
                  </a:ext>
                </a:extLst>
              </a:tr>
              <a:tr h="5212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Поставщикам подключенным к процессу по Акта возмещения убытков (без НДС)</a:t>
                      </a:r>
                      <a:endParaRPr lang="ru-RU" sz="1800" dirty="0">
                        <a:effectLst/>
                        <a:latin typeface="+mj-lt"/>
                        <a:ea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439" marR="304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Поставщикам с процессом утилизации по актам (с НДС)</a:t>
                      </a:r>
                      <a:endParaRPr lang="ru-RU" sz="1800" dirty="0">
                        <a:effectLst/>
                        <a:latin typeface="+mj-lt"/>
                        <a:ea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439" marR="304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9182639"/>
                  </a:ext>
                </a:extLst>
              </a:tr>
              <a:tr h="89338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Списание бракованного товара за счет поставщика, подлежащего в дальнейшем утилизации на ТК, проводится по Уведомлению об обнаружении брака.</a:t>
                      </a:r>
                    </a:p>
                  </a:txBody>
                  <a:tcPr marL="30439" marR="304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Списание бракованного товара за счет поставщика, подлежащего в дальнейшем утилизации на ТК,  проводится по Уведомлению на возврат.</a:t>
                      </a:r>
                    </a:p>
                  </a:txBody>
                  <a:tcPr marL="30439" marR="304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047873"/>
                  </a:ext>
                </a:extLst>
              </a:tr>
              <a:tr h="6700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Комплект документов содержит Акт возмещения убытков - за месяц.</a:t>
                      </a:r>
                    </a:p>
                  </a:txBody>
                  <a:tcPr marL="30439" marR="304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j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Комплект документов содержит Акт уничтожения (утилизации) - по каждому заказу на возврат.</a:t>
                      </a:r>
                    </a:p>
                  </a:txBody>
                  <a:tcPr marL="30439" marR="304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3025849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632460" y="5635588"/>
            <a:ext cx="1057092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Verdana" panose="020B0604030504040204" pitchFamily="34" charset="0"/>
              </a:rPr>
              <a:t>Все запросы относительно финансовой документации </a:t>
            </a:r>
            <a:r>
              <a:rPr lang="ru-RU" dirty="0" smtClean="0">
                <a:latin typeface="Verdana" panose="020B0604030504040204" pitchFamily="34" charset="0"/>
              </a:rPr>
              <a:t>просим </a:t>
            </a:r>
            <a:r>
              <a:rPr lang="ru-RU" dirty="0">
                <a:latin typeface="Verdana" panose="020B0604030504040204" pitchFamily="34" charset="0"/>
              </a:rPr>
              <a:t>Вас отправлять на Единый электронный адрес Центра:  </a:t>
            </a:r>
            <a:r>
              <a:rPr lang="ru-RU" sz="2000" b="1" u="sng" dirty="0" smtClean="0">
                <a:latin typeface="Verdana" panose="020B0604030504040204" pitchFamily="34" charset="0"/>
                <a:hlinkClick r:id="rId2"/>
              </a:rPr>
              <a:t>SSCsinglewindow@lenta.com</a:t>
            </a:r>
            <a:endParaRPr lang="ru-RU" sz="2000" b="1" u="sng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5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78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тилизация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571499" y="1290824"/>
            <a:ext cx="1037844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ru-RU" dirty="0" smtClean="0"/>
              <a:t>Утилизация алкоголя проводится по отдельному документу – Претензия на возмещение потерь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499" y="2168535"/>
            <a:ext cx="7190422" cy="3604631"/>
          </a:xfrm>
          <a:prstGeom prst="rect">
            <a:avLst/>
          </a:prstGeom>
        </p:spPr>
      </p:pic>
      <p:sp>
        <p:nvSpPr>
          <p:cNvPr id="7" name="Прямоугольная выноска 6"/>
          <p:cNvSpPr/>
          <p:nvPr/>
        </p:nvSpPr>
        <p:spPr>
          <a:xfrm>
            <a:off x="3937926" y="5975576"/>
            <a:ext cx="936000" cy="471084"/>
          </a:xfrm>
          <a:prstGeom prst="wedgeRectCallout">
            <a:avLst>
              <a:gd name="adj1" fmla="val -166075"/>
              <a:gd name="adj2" fmla="val -187308"/>
            </a:avLst>
          </a:prstGeom>
          <a:solidFill>
            <a:schemeClr val="bg1"/>
          </a:solidFill>
          <a:ln w="1270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+mj-lt"/>
              </a:rPr>
              <a:t>Заполняет поставщик</a:t>
            </a:r>
            <a:endParaRPr lang="ru-RU" sz="1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9332" y="4371703"/>
            <a:ext cx="2863468" cy="137595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79494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79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71499" y="257185"/>
            <a:ext cx="9959341" cy="492443"/>
          </a:xfrm>
        </p:spPr>
        <p:txBody>
          <a:bodyPr/>
          <a:lstStyle/>
          <a:p>
            <a:r>
              <a:rPr lang="ru-RU" sz="1600" dirty="0" smtClean="0"/>
              <a:t>Разница процессов согласования брака (порчи) и нарушений в маркировке «Честный знак».</a:t>
            </a:r>
            <a:endParaRPr lang="ru-RU" sz="16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3106" y="822961"/>
            <a:ext cx="9748871" cy="278476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105" y="3627837"/>
            <a:ext cx="9748871" cy="3091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056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5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2264B0-4980-4D78-9E65-92E1A1354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15903"/>
            <a:ext cx="10002539" cy="738664"/>
          </a:xfrm>
        </p:spPr>
        <p:txBody>
          <a:bodyPr vert="horz"/>
          <a:lstStyle/>
          <a:p>
            <a:r>
              <a:rPr lang="ru-RU" dirty="0" smtClean="0"/>
              <a:t>Перечень </a:t>
            </a:r>
            <a:r>
              <a:rPr lang="ru-RU" dirty="0"/>
              <a:t>несоответствий, при которых товар не будет пропущен  ОК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B492A86-8688-4A8C-8639-055ABD2CA35E}"/>
              </a:ext>
            </a:extLst>
          </p:cNvPr>
          <p:cNvSpPr txBox="1"/>
          <p:nvPr/>
        </p:nvSpPr>
        <p:spPr>
          <a:xfrm>
            <a:off x="7691632" y="1362174"/>
            <a:ext cx="2447284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685800"/>
            <a:r>
              <a:rPr lang="ru-RU" sz="1600" b="1" dirty="0">
                <a:cs typeface="Calibri" panose="020F0502020204030204" pitchFamily="34" charset="0"/>
              </a:rPr>
              <a:t>Маркировка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DFAFB97-DC0B-656C-0B2C-09762C6AB525}"/>
              </a:ext>
            </a:extLst>
          </p:cNvPr>
          <p:cNvSpPr txBox="1"/>
          <p:nvPr/>
        </p:nvSpPr>
        <p:spPr>
          <a:xfrm>
            <a:off x="1778845" y="1391793"/>
            <a:ext cx="2879204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685800"/>
            <a:r>
              <a:rPr lang="ru-RU" sz="1600" b="1" dirty="0">
                <a:cs typeface="Calibri" panose="020F0502020204030204" pitchFamily="34" charset="0"/>
              </a:rPr>
              <a:t>Документы качеств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A99C4CC-D3A1-B030-AF45-E2ADF94A5E5C}"/>
              </a:ext>
            </a:extLst>
          </p:cNvPr>
          <p:cNvSpPr txBox="1"/>
          <p:nvPr/>
        </p:nvSpPr>
        <p:spPr>
          <a:xfrm>
            <a:off x="858838" y="1983529"/>
            <a:ext cx="4706220" cy="36625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Декларация о соответствии/сертификат о соответствии на проверку </a:t>
            </a:r>
            <a:r>
              <a:rPr lang="ru-RU" sz="1400" b="1" dirty="0"/>
              <a:t>не </a:t>
            </a:r>
            <a:r>
              <a:rPr lang="ru-RU" sz="1400" b="1" dirty="0" smtClean="0"/>
              <a:t>предоставлен</a:t>
            </a:r>
            <a:r>
              <a:rPr lang="ru-RU" sz="1400" dirty="0" smtClean="0"/>
              <a:t>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1" dirty="0"/>
              <a:t>Отсутствует</a:t>
            </a:r>
            <a:r>
              <a:rPr lang="ru-RU" sz="1400" dirty="0"/>
              <a:t> на сайте </a:t>
            </a:r>
            <a:r>
              <a:rPr lang="ru-RU" sz="1400" dirty="0" smtClean="0"/>
              <a:t>Росаккредитации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Статус документа на сайте Росаккредитации «</a:t>
            </a:r>
            <a:r>
              <a:rPr lang="ru-RU" sz="1400" b="1" dirty="0"/>
              <a:t>Прекращен», «Приостановлен», «Архивный</a:t>
            </a:r>
            <a:r>
              <a:rPr lang="ru-RU" sz="1400" dirty="0" smtClean="0"/>
              <a:t>»; «</a:t>
            </a:r>
            <a:r>
              <a:rPr lang="ru-RU" sz="1400" b="1" dirty="0" smtClean="0"/>
              <a:t>Недействителен</a:t>
            </a:r>
            <a:r>
              <a:rPr lang="ru-RU" sz="1400" dirty="0" smtClean="0"/>
              <a:t>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Дата изготовления товара </a:t>
            </a:r>
            <a:r>
              <a:rPr lang="ru-RU" sz="1400" b="1" dirty="0"/>
              <a:t>не попадает в сроки действия документа </a:t>
            </a:r>
            <a:r>
              <a:rPr lang="ru-RU" sz="1400" b="1" dirty="0" smtClean="0"/>
              <a:t>качества</a:t>
            </a:r>
            <a:r>
              <a:rPr lang="ru-RU" sz="1400" dirty="0" smtClean="0"/>
              <a:t>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1" dirty="0"/>
              <a:t>Не соответствует</a:t>
            </a:r>
            <a:r>
              <a:rPr lang="ru-RU" sz="1400" dirty="0"/>
              <a:t>: </a:t>
            </a:r>
          </a:p>
          <a:p>
            <a:r>
              <a:rPr lang="ru-RU" sz="1400" dirty="0"/>
              <a:t> </a:t>
            </a:r>
            <a:r>
              <a:rPr lang="ru-RU" sz="1400" dirty="0" smtClean="0"/>
              <a:t>    наименование </a:t>
            </a:r>
            <a:r>
              <a:rPr lang="ru-RU" sz="1400" dirty="0"/>
              <a:t>товара,</a:t>
            </a:r>
            <a:br>
              <a:rPr lang="ru-RU" sz="1400" dirty="0"/>
            </a:br>
            <a:r>
              <a:rPr lang="ru-RU" sz="1400" dirty="0" smtClean="0"/>
              <a:t>     изготовитель</a:t>
            </a:r>
            <a:r>
              <a:rPr lang="ru-RU" sz="1400" dirty="0"/>
              <a:t>,                   </a:t>
            </a:r>
            <a:br>
              <a:rPr lang="ru-RU" sz="1400" dirty="0"/>
            </a:br>
            <a:r>
              <a:rPr lang="ru-RU" sz="1400" dirty="0" smtClean="0"/>
              <a:t>     № нормативной документации,</a:t>
            </a: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 smtClean="0"/>
              <a:t>     условия </a:t>
            </a:r>
            <a:r>
              <a:rPr lang="ru-RU" sz="1400" dirty="0"/>
              <a:t>хранения и сроки </a:t>
            </a:r>
            <a:r>
              <a:rPr lang="ru-RU" sz="1400" dirty="0" smtClean="0"/>
              <a:t>годности.</a:t>
            </a:r>
            <a:endParaRPr lang="ru-RU" sz="1400" dirty="0"/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E2D5F6DC-9D60-5AE2-CC0D-34806231A76E}"/>
              </a:ext>
            </a:extLst>
          </p:cNvPr>
          <p:cNvGrpSpPr/>
          <p:nvPr/>
        </p:nvGrpSpPr>
        <p:grpSpPr>
          <a:xfrm>
            <a:off x="732364" y="1200746"/>
            <a:ext cx="5007172" cy="5073009"/>
            <a:chOff x="567690" y="1198562"/>
            <a:chExt cx="3524250" cy="5073009"/>
          </a:xfrm>
        </p:grpSpPr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E5A6EFDE-6D5A-73DB-01DD-A5B0F2BEE116}"/>
                </a:ext>
              </a:extLst>
            </p:cNvPr>
            <p:cNvSpPr/>
            <p:nvPr/>
          </p:nvSpPr>
          <p:spPr>
            <a:xfrm>
              <a:off x="571501" y="1198562"/>
              <a:ext cx="3516312" cy="507300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816B5294-D860-FB19-3585-D6B6D17CEE0E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id="{D152CB20-151F-4128-F832-FE035738BEC7}"/>
                </a:ext>
              </a:extLst>
            </p:cNvPr>
            <p:cNvCxnSpPr>
              <a:cxnSpLocks/>
            </p:cNvCxnSpPr>
            <p:nvPr/>
          </p:nvCxnSpPr>
          <p:spPr>
            <a:xfrm>
              <a:off x="571501" y="1845239"/>
              <a:ext cx="351902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EAB28EA4-35F9-4D9C-30F4-8D8E29154677}"/>
              </a:ext>
            </a:extLst>
          </p:cNvPr>
          <p:cNvSpPr txBox="1"/>
          <p:nvPr/>
        </p:nvSpPr>
        <p:spPr>
          <a:xfrm>
            <a:off x="6282813" y="2025464"/>
            <a:ext cx="4680155" cy="40934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Продукт многокомпонентный, но </a:t>
            </a:r>
            <a:r>
              <a:rPr lang="ru-RU" sz="1400" b="1" dirty="0"/>
              <a:t>состав не указан</a:t>
            </a:r>
            <a:r>
              <a:rPr lang="ru-RU" sz="1400" dirty="0"/>
              <a:t>/в составе </a:t>
            </a:r>
            <a:r>
              <a:rPr lang="ru-RU" sz="1400" b="1" dirty="0"/>
              <a:t>не расписаны многосоставные </a:t>
            </a:r>
            <a:r>
              <a:rPr lang="ru-RU" sz="1400" b="1" dirty="0" smtClean="0"/>
              <a:t>компоненты</a:t>
            </a:r>
            <a:r>
              <a:rPr lang="ru-RU" sz="1400" dirty="0" smtClean="0"/>
              <a:t>; 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1" dirty="0"/>
              <a:t>Некорректное указание пищевых добавок </a:t>
            </a:r>
            <a:r>
              <a:rPr lang="ru-RU" sz="1400" dirty="0"/>
              <a:t>(функциональное назначение/наименование</a:t>
            </a:r>
            <a:r>
              <a:rPr lang="ru-RU" sz="1400" dirty="0" smtClean="0"/>
              <a:t>);  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1" dirty="0"/>
              <a:t>Фальсификат</a:t>
            </a:r>
            <a:r>
              <a:rPr lang="ru-RU" sz="1400" dirty="0"/>
              <a:t> (когда состав на маркировке не соответствует наименованию</a:t>
            </a:r>
            <a:r>
              <a:rPr lang="ru-RU" sz="1400" dirty="0" smtClean="0"/>
              <a:t>); 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1" dirty="0"/>
              <a:t>Отсутствие предупредительных надписей </a:t>
            </a:r>
            <a:r>
              <a:rPr lang="ru-RU" sz="1400" dirty="0"/>
              <a:t>(подсластители, красители, кофеин</a:t>
            </a:r>
            <a:r>
              <a:rPr lang="ru-RU" sz="1400" dirty="0" smtClean="0"/>
              <a:t>); 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Отсутствует </a:t>
            </a:r>
            <a:r>
              <a:rPr lang="ru-RU" sz="1400" b="1" dirty="0"/>
              <a:t>дата изготовления </a:t>
            </a:r>
            <a:r>
              <a:rPr lang="ru-RU" sz="1400" dirty="0"/>
              <a:t>или дата «</a:t>
            </a:r>
            <a:r>
              <a:rPr lang="ru-RU" sz="1400" b="1" dirty="0"/>
              <a:t>годен до</a:t>
            </a:r>
            <a:r>
              <a:rPr lang="ru-RU" sz="1400" dirty="0"/>
              <a:t>» (где необходимо</a:t>
            </a:r>
            <a:r>
              <a:rPr lang="ru-RU" sz="1400" dirty="0" smtClean="0"/>
              <a:t>);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Отсутствует/некорректный общий </a:t>
            </a:r>
            <a:r>
              <a:rPr lang="ru-RU" sz="1400" b="1" dirty="0"/>
              <a:t>срок </a:t>
            </a:r>
            <a:r>
              <a:rPr lang="ru-RU" sz="1400" b="1" dirty="0" smtClean="0"/>
              <a:t>годности</a:t>
            </a:r>
            <a:r>
              <a:rPr lang="ru-RU" sz="1400" dirty="0" smtClean="0"/>
              <a:t>; 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1" dirty="0"/>
              <a:t>Бумажный</a:t>
            </a:r>
            <a:r>
              <a:rPr lang="ru-RU" sz="1400" dirty="0"/>
              <a:t> легкоудаляемый </a:t>
            </a:r>
            <a:r>
              <a:rPr lang="ru-RU" sz="1400" b="1" dirty="0" smtClean="0"/>
              <a:t>стикер</a:t>
            </a:r>
            <a:r>
              <a:rPr lang="ru-RU" sz="1400" dirty="0" smtClean="0"/>
              <a:t>;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На потребительской маркировке товара не указаны </a:t>
            </a:r>
            <a:r>
              <a:rPr lang="ru-RU" sz="1400" b="1" dirty="0"/>
              <a:t>условия </a:t>
            </a:r>
            <a:r>
              <a:rPr lang="ru-RU" sz="1400" b="1" dirty="0" smtClean="0"/>
              <a:t>хранения</a:t>
            </a:r>
            <a:r>
              <a:rPr lang="ru-RU" sz="1400" dirty="0" smtClean="0"/>
              <a:t>;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Отсутствует/не соответствует </a:t>
            </a:r>
            <a:r>
              <a:rPr lang="ru-RU" sz="1400" b="1" dirty="0"/>
              <a:t>знак подтверждения </a:t>
            </a:r>
            <a:r>
              <a:rPr lang="ru-RU" sz="1400" b="1" dirty="0" smtClean="0"/>
              <a:t>соответствия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12B25F7D-8826-0CFF-D96A-0BE3FD05A729}"/>
              </a:ext>
            </a:extLst>
          </p:cNvPr>
          <p:cNvGrpSpPr/>
          <p:nvPr/>
        </p:nvGrpSpPr>
        <p:grpSpPr>
          <a:xfrm>
            <a:off x="6008189" y="1198562"/>
            <a:ext cx="5091929" cy="5073009"/>
            <a:chOff x="567690" y="1198562"/>
            <a:chExt cx="3524250" cy="5073009"/>
          </a:xfrm>
        </p:grpSpPr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46233DBB-EBAD-983D-C1C1-4503E96A51CC}"/>
                </a:ext>
              </a:extLst>
            </p:cNvPr>
            <p:cNvSpPr/>
            <p:nvPr/>
          </p:nvSpPr>
          <p:spPr>
            <a:xfrm>
              <a:off x="571501" y="1198562"/>
              <a:ext cx="3516312" cy="507300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id="{D3A0CDA5-5982-F9BF-B9BC-8BCB28291088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0050176A-96DC-39E3-E8A8-2F73378861FF}"/>
                </a:ext>
              </a:extLst>
            </p:cNvPr>
            <p:cNvCxnSpPr>
              <a:cxnSpLocks/>
            </p:cNvCxnSpPr>
            <p:nvPr/>
          </p:nvCxnSpPr>
          <p:spPr>
            <a:xfrm>
              <a:off x="571501" y="1845239"/>
              <a:ext cx="351902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21" name="Рисунок 13">
            <a:extLst>
              <a:ext uri="{FF2B5EF4-FFF2-40B4-BE49-F238E27FC236}">
                <a16:creationId xmlns:a16="http://schemas.microsoft.com/office/drawing/2014/main" id="{FCEEEA77-6F69-403B-941A-F828CCE693AA}"/>
              </a:ext>
            </a:extLst>
          </p:cNvPr>
          <p:cNvGrpSpPr/>
          <p:nvPr/>
        </p:nvGrpSpPr>
        <p:grpSpPr>
          <a:xfrm>
            <a:off x="830654" y="1254051"/>
            <a:ext cx="385277" cy="540066"/>
            <a:chOff x="696928" y="4475641"/>
            <a:chExt cx="385277" cy="540066"/>
          </a:xfrm>
          <a:solidFill>
            <a:schemeClr val="tx1"/>
          </a:solidFill>
        </p:grpSpPr>
        <p:sp>
          <p:nvSpPr>
            <p:cNvPr id="22" name="Полилиния: фигура 49">
              <a:extLst>
                <a:ext uri="{FF2B5EF4-FFF2-40B4-BE49-F238E27FC236}">
                  <a16:creationId xmlns:a16="http://schemas.microsoft.com/office/drawing/2014/main" id="{AFE2D5A1-56E9-4C4C-9000-94F8EF259AD8}"/>
                </a:ext>
              </a:extLst>
            </p:cNvPr>
            <p:cNvSpPr/>
            <p:nvPr/>
          </p:nvSpPr>
          <p:spPr>
            <a:xfrm>
              <a:off x="696928" y="4475641"/>
              <a:ext cx="385277" cy="540066"/>
            </a:xfrm>
            <a:custGeom>
              <a:avLst/>
              <a:gdLst>
                <a:gd name="connsiteX0" fmla="*/ 376804 w 385277"/>
                <a:gd name="connsiteY0" fmla="*/ 104511 h 540066"/>
                <a:gd name="connsiteX1" fmla="*/ 346298 w 385277"/>
                <a:gd name="connsiteY1" fmla="*/ 104511 h 540066"/>
                <a:gd name="connsiteX2" fmla="*/ 346298 w 385277"/>
                <a:gd name="connsiteY2" fmla="*/ 74005 h 540066"/>
                <a:gd name="connsiteX3" fmla="*/ 337824 w 385277"/>
                <a:gd name="connsiteY3" fmla="*/ 65531 h 540066"/>
                <a:gd name="connsiteX4" fmla="*/ 307318 w 385277"/>
                <a:gd name="connsiteY4" fmla="*/ 65531 h 540066"/>
                <a:gd name="connsiteX5" fmla="*/ 307318 w 385277"/>
                <a:gd name="connsiteY5" fmla="*/ 34460 h 540066"/>
                <a:gd name="connsiteX6" fmla="*/ 298844 w 385277"/>
                <a:gd name="connsiteY6" fmla="*/ 25986 h 540066"/>
                <a:gd name="connsiteX7" fmla="*/ 98297 w 385277"/>
                <a:gd name="connsiteY7" fmla="*/ 25986 h 540066"/>
                <a:gd name="connsiteX8" fmla="*/ 70050 w 385277"/>
                <a:gd name="connsiteY8" fmla="*/ 0 h 540066"/>
                <a:gd name="connsiteX9" fmla="*/ 41804 w 385277"/>
                <a:gd name="connsiteY9" fmla="*/ 25986 h 540066"/>
                <a:gd name="connsiteX10" fmla="*/ 8474 w 385277"/>
                <a:gd name="connsiteY10" fmla="*/ 25986 h 540066"/>
                <a:gd name="connsiteX11" fmla="*/ 0 w 385277"/>
                <a:gd name="connsiteY11" fmla="*/ 34460 h 540066"/>
                <a:gd name="connsiteX12" fmla="*/ 0 w 385277"/>
                <a:gd name="connsiteY12" fmla="*/ 453633 h 540066"/>
                <a:gd name="connsiteX13" fmla="*/ 8474 w 385277"/>
                <a:gd name="connsiteY13" fmla="*/ 462107 h 540066"/>
                <a:gd name="connsiteX14" fmla="*/ 38980 w 385277"/>
                <a:gd name="connsiteY14" fmla="*/ 462107 h 540066"/>
                <a:gd name="connsiteX15" fmla="*/ 38980 w 385277"/>
                <a:gd name="connsiteY15" fmla="*/ 492613 h 540066"/>
                <a:gd name="connsiteX16" fmla="*/ 47454 w 385277"/>
                <a:gd name="connsiteY16" fmla="*/ 501087 h 540066"/>
                <a:gd name="connsiteX17" fmla="*/ 77959 w 385277"/>
                <a:gd name="connsiteY17" fmla="*/ 501087 h 540066"/>
                <a:gd name="connsiteX18" fmla="*/ 77959 w 385277"/>
                <a:gd name="connsiteY18" fmla="*/ 531593 h 540066"/>
                <a:gd name="connsiteX19" fmla="*/ 86433 w 385277"/>
                <a:gd name="connsiteY19" fmla="*/ 540066 h 540066"/>
                <a:gd name="connsiteX20" fmla="*/ 376804 w 385277"/>
                <a:gd name="connsiteY20" fmla="*/ 540066 h 540066"/>
                <a:gd name="connsiteX21" fmla="*/ 385278 w 385277"/>
                <a:gd name="connsiteY21" fmla="*/ 531593 h 540066"/>
                <a:gd name="connsiteX22" fmla="*/ 385278 w 385277"/>
                <a:gd name="connsiteY22" fmla="*/ 112985 h 540066"/>
                <a:gd name="connsiteX23" fmla="*/ 376804 w 385277"/>
                <a:gd name="connsiteY23" fmla="*/ 104511 h 540066"/>
                <a:gd name="connsiteX24" fmla="*/ 70050 w 385277"/>
                <a:gd name="connsiteY24" fmla="*/ 17513 h 540066"/>
                <a:gd name="connsiteX25" fmla="*/ 81349 w 385277"/>
                <a:gd name="connsiteY25" fmla="*/ 26551 h 540066"/>
                <a:gd name="connsiteX26" fmla="*/ 58752 w 385277"/>
                <a:gd name="connsiteY26" fmla="*/ 26551 h 540066"/>
                <a:gd name="connsiteX27" fmla="*/ 70050 w 385277"/>
                <a:gd name="connsiteY27" fmla="*/ 17513 h 540066"/>
                <a:gd name="connsiteX28" fmla="*/ 16948 w 385277"/>
                <a:gd name="connsiteY28" fmla="*/ 42934 h 540066"/>
                <a:gd name="connsiteX29" fmla="*/ 41804 w 385277"/>
                <a:gd name="connsiteY29" fmla="*/ 42934 h 540066"/>
                <a:gd name="connsiteX30" fmla="*/ 41804 w 385277"/>
                <a:gd name="connsiteY30" fmla="*/ 110725 h 540066"/>
                <a:gd name="connsiteX31" fmla="*/ 70050 w 385277"/>
                <a:gd name="connsiteY31" fmla="*/ 138971 h 540066"/>
                <a:gd name="connsiteX32" fmla="*/ 98297 w 385277"/>
                <a:gd name="connsiteY32" fmla="*/ 110725 h 540066"/>
                <a:gd name="connsiteX33" fmla="*/ 98297 w 385277"/>
                <a:gd name="connsiteY33" fmla="*/ 69486 h 540066"/>
                <a:gd name="connsiteX34" fmla="*/ 89823 w 385277"/>
                <a:gd name="connsiteY34" fmla="*/ 61012 h 540066"/>
                <a:gd name="connsiteX35" fmla="*/ 81349 w 385277"/>
                <a:gd name="connsiteY35" fmla="*/ 69486 h 540066"/>
                <a:gd name="connsiteX36" fmla="*/ 81349 w 385277"/>
                <a:gd name="connsiteY36" fmla="*/ 110725 h 540066"/>
                <a:gd name="connsiteX37" fmla="*/ 70050 w 385277"/>
                <a:gd name="connsiteY37" fmla="*/ 122023 h 540066"/>
                <a:gd name="connsiteX38" fmla="*/ 58752 w 385277"/>
                <a:gd name="connsiteY38" fmla="*/ 110725 h 540066"/>
                <a:gd name="connsiteX39" fmla="*/ 58752 w 385277"/>
                <a:gd name="connsiteY39" fmla="*/ 42934 h 540066"/>
                <a:gd name="connsiteX40" fmla="*/ 290370 w 385277"/>
                <a:gd name="connsiteY40" fmla="*/ 42934 h 540066"/>
                <a:gd name="connsiteX41" fmla="*/ 290370 w 385277"/>
                <a:gd name="connsiteY41" fmla="*/ 445159 h 540066"/>
                <a:gd name="connsiteX42" fmla="*/ 16948 w 385277"/>
                <a:gd name="connsiteY42" fmla="*/ 445159 h 540066"/>
                <a:gd name="connsiteX43" fmla="*/ 16948 w 385277"/>
                <a:gd name="connsiteY43" fmla="*/ 42934 h 540066"/>
                <a:gd name="connsiteX44" fmla="*/ 55927 w 385277"/>
                <a:gd name="connsiteY44" fmla="*/ 462672 h 540066"/>
                <a:gd name="connsiteX45" fmla="*/ 298844 w 385277"/>
                <a:gd name="connsiteY45" fmla="*/ 462672 h 540066"/>
                <a:gd name="connsiteX46" fmla="*/ 307318 w 385277"/>
                <a:gd name="connsiteY46" fmla="*/ 454198 h 540066"/>
                <a:gd name="connsiteX47" fmla="*/ 307318 w 385277"/>
                <a:gd name="connsiteY47" fmla="*/ 82479 h 540066"/>
                <a:gd name="connsiteX48" fmla="*/ 329350 w 385277"/>
                <a:gd name="connsiteY48" fmla="*/ 82479 h 540066"/>
                <a:gd name="connsiteX49" fmla="*/ 329350 w 385277"/>
                <a:gd name="connsiteY49" fmla="*/ 484704 h 540066"/>
                <a:gd name="connsiteX50" fmla="*/ 55927 w 385277"/>
                <a:gd name="connsiteY50" fmla="*/ 484704 h 540066"/>
                <a:gd name="connsiteX51" fmla="*/ 55927 w 385277"/>
                <a:gd name="connsiteY51" fmla="*/ 462672 h 540066"/>
                <a:gd name="connsiteX52" fmla="*/ 368330 w 385277"/>
                <a:gd name="connsiteY52" fmla="*/ 523684 h 540066"/>
                <a:gd name="connsiteX53" fmla="*/ 94907 w 385277"/>
                <a:gd name="connsiteY53" fmla="*/ 523684 h 540066"/>
                <a:gd name="connsiteX54" fmla="*/ 94907 w 385277"/>
                <a:gd name="connsiteY54" fmla="*/ 501652 h 540066"/>
                <a:gd name="connsiteX55" fmla="*/ 337824 w 385277"/>
                <a:gd name="connsiteY55" fmla="*/ 501652 h 540066"/>
                <a:gd name="connsiteX56" fmla="*/ 346298 w 385277"/>
                <a:gd name="connsiteY56" fmla="*/ 493178 h 540066"/>
                <a:gd name="connsiteX57" fmla="*/ 346298 w 385277"/>
                <a:gd name="connsiteY57" fmla="*/ 121458 h 540066"/>
                <a:gd name="connsiteX58" fmla="*/ 368330 w 385277"/>
                <a:gd name="connsiteY58" fmla="*/ 121458 h 540066"/>
                <a:gd name="connsiteX59" fmla="*/ 368330 w 385277"/>
                <a:gd name="connsiteY59" fmla="*/ 523684 h 54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85277" h="540066">
                  <a:moveTo>
                    <a:pt x="376804" y="104511"/>
                  </a:moveTo>
                  <a:lnTo>
                    <a:pt x="346298" y="104511"/>
                  </a:lnTo>
                  <a:lnTo>
                    <a:pt x="346298" y="74005"/>
                  </a:lnTo>
                  <a:cubicBezTo>
                    <a:pt x="346298" y="69486"/>
                    <a:pt x="342343" y="65531"/>
                    <a:pt x="337824" y="65531"/>
                  </a:cubicBezTo>
                  <a:lnTo>
                    <a:pt x="307318" y="65531"/>
                  </a:lnTo>
                  <a:lnTo>
                    <a:pt x="307318" y="34460"/>
                  </a:lnTo>
                  <a:cubicBezTo>
                    <a:pt x="307318" y="29941"/>
                    <a:pt x="303364" y="25986"/>
                    <a:pt x="298844" y="25986"/>
                  </a:cubicBezTo>
                  <a:lnTo>
                    <a:pt x="98297" y="25986"/>
                  </a:lnTo>
                  <a:cubicBezTo>
                    <a:pt x="97167" y="11298"/>
                    <a:pt x="84738" y="0"/>
                    <a:pt x="70050" y="0"/>
                  </a:cubicBezTo>
                  <a:cubicBezTo>
                    <a:pt x="55362" y="0"/>
                    <a:pt x="42934" y="11298"/>
                    <a:pt x="41804" y="25986"/>
                  </a:cubicBezTo>
                  <a:lnTo>
                    <a:pt x="8474" y="25986"/>
                  </a:lnTo>
                  <a:cubicBezTo>
                    <a:pt x="3954" y="25986"/>
                    <a:pt x="0" y="29941"/>
                    <a:pt x="0" y="34460"/>
                  </a:cubicBezTo>
                  <a:lnTo>
                    <a:pt x="0" y="453633"/>
                  </a:lnTo>
                  <a:cubicBezTo>
                    <a:pt x="0" y="458153"/>
                    <a:pt x="3954" y="462107"/>
                    <a:pt x="8474" y="462107"/>
                  </a:cubicBezTo>
                  <a:lnTo>
                    <a:pt x="38980" y="462107"/>
                  </a:lnTo>
                  <a:lnTo>
                    <a:pt x="38980" y="492613"/>
                  </a:lnTo>
                  <a:cubicBezTo>
                    <a:pt x="38980" y="497132"/>
                    <a:pt x="42934" y="501087"/>
                    <a:pt x="47454" y="501087"/>
                  </a:cubicBezTo>
                  <a:lnTo>
                    <a:pt x="77959" y="501087"/>
                  </a:lnTo>
                  <a:lnTo>
                    <a:pt x="77959" y="531593"/>
                  </a:lnTo>
                  <a:cubicBezTo>
                    <a:pt x="77959" y="536112"/>
                    <a:pt x="81914" y="540066"/>
                    <a:pt x="86433" y="540066"/>
                  </a:cubicBezTo>
                  <a:lnTo>
                    <a:pt x="376804" y="540066"/>
                  </a:lnTo>
                  <a:cubicBezTo>
                    <a:pt x="381323" y="540066"/>
                    <a:pt x="385278" y="536112"/>
                    <a:pt x="385278" y="531593"/>
                  </a:cubicBezTo>
                  <a:lnTo>
                    <a:pt x="385278" y="112985"/>
                  </a:lnTo>
                  <a:cubicBezTo>
                    <a:pt x="385278" y="108465"/>
                    <a:pt x="381323" y="104511"/>
                    <a:pt x="376804" y="104511"/>
                  </a:cubicBezTo>
                  <a:close/>
                  <a:moveTo>
                    <a:pt x="70050" y="17513"/>
                  </a:moveTo>
                  <a:cubicBezTo>
                    <a:pt x="75700" y="17513"/>
                    <a:pt x="80219" y="21467"/>
                    <a:pt x="81349" y="26551"/>
                  </a:cubicBezTo>
                  <a:lnTo>
                    <a:pt x="58752" y="26551"/>
                  </a:lnTo>
                  <a:cubicBezTo>
                    <a:pt x="59882" y="20902"/>
                    <a:pt x="64401" y="17513"/>
                    <a:pt x="70050" y="17513"/>
                  </a:cubicBezTo>
                  <a:close/>
                  <a:moveTo>
                    <a:pt x="16948" y="42934"/>
                  </a:moveTo>
                  <a:lnTo>
                    <a:pt x="41804" y="42934"/>
                  </a:lnTo>
                  <a:lnTo>
                    <a:pt x="41804" y="110725"/>
                  </a:lnTo>
                  <a:cubicBezTo>
                    <a:pt x="41804" y="126543"/>
                    <a:pt x="54798" y="138971"/>
                    <a:pt x="70050" y="138971"/>
                  </a:cubicBezTo>
                  <a:cubicBezTo>
                    <a:pt x="85303" y="138971"/>
                    <a:pt x="98297" y="125978"/>
                    <a:pt x="98297" y="110725"/>
                  </a:cubicBezTo>
                  <a:lnTo>
                    <a:pt x="98297" y="69486"/>
                  </a:lnTo>
                  <a:cubicBezTo>
                    <a:pt x="98297" y="64966"/>
                    <a:pt x="94342" y="61012"/>
                    <a:pt x="89823" y="61012"/>
                  </a:cubicBezTo>
                  <a:cubicBezTo>
                    <a:pt x="85303" y="61012"/>
                    <a:pt x="81349" y="64966"/>
                    <a:pt x="81349" y="69486"/>
                  </a:cubicBezTo>
                  <a:lnTo>
                    <a:pt x="81349" y="110725"/>
                  </a:lnTo>
                  <a:cubicBezTo>
                    <a:pt x="81349" y="116939"/>
                    <a:pt x="76265" y="122023"/>
                    <a:pt x="70050" y="122023"/>
                  </a:cubicBezTo>
                  <a:cubicBezTo>
                    <a:pt x="63836" y="122023"/>
                    <a:pt x="58752" y="116939"/>
                    <a:pt x="58752" y="110725"/>
                  </a:cubicBezTo>
                  <a:lnTo>
                    <a:pt x="58752" y="42934"/>
                  </a:lnTo>
                  <a:lnTo>
                    <a:pt x="290370" y="42934"/>
                  </a:lnTo>
                  <a:lnTo>
                    <a:pt x="290370" y="445159"/>
                  </a:lnTo>
                  <a:lnTo>
                    <a:pt x="16948" y="445159"/>
                  </a:lnTo>
                  <a:lnTo>
                    <a:pt x="16948" y="42934"/>
                  </a:lnTo>
                  <a:close/>
                  <a:moveTo>
                    <a:pt x="55927" y="462672"/>
                  </a:moveTo>
                  <a:lnTo>
                    <a:pt x="298844" y="462672"/>
                  </a:lnTo>
                  <a:cubicBezTo>
                    <a:pt x="303364" y="462672"/>
                    <a:pt x="307318" y="458717"/>
                    <a:pt x="307318" y="454198"/>
                  </a:cubicBezTo>
                  <a:lnTo>
                    <a:pt x="307318" y="82479"/>
                  </a:lnTo>
                  <a:lnTo>
                    <a:pt x="329350" y="82479"/>
                  </a:lnTo>
                  <a:lnTo>
                    <a:pt x="329350" y="484704"/>
                  </a:lnTo>
                  <a:lnTo>
                    <a:pt x="55927" y="484704"/>
                  </a:lnTo>
                  <a:lnTo>
                    <a:pt x="55927" y="462672"/>
                  </a:lnTo>
                  <a:close/>
                  <a:moveTo>
                    <a:pt x="368330" y="523684"/>
                  </a:moveTo>
                  <a:lnTo>
                    <a:pt x="94907" y="523684"/>
                  </a:lnTo>
                  <a:lnTo>
                    <a:pt x="94907" y="501652"/>
                  </a:lnTo>
                  <a:lnTo>
                    <a:pt x="337824" y="501652"/>
                  </a:lnTo>
                  <a:cubicBezTo>
                    <a:pt x="342343" y="501652"/>
                    <a:pt x="346298" y="497697"/>
                    <a:pt x="346298" y="493178"/>
                  </a:cubicBezTo>
                  <a:lnTo>
                    <a:pt x="346298" y="121458"/>
                  </a:lnTo>
                  <a:lnTo>
                    <a:pt x="368330" y="121458"/>
                  </a:lnTo>
                  <a:lnTo>
                    <a:pt x="368330" y="523684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Полилиния: фигура 60">
              <a:extLst>
                <a:ext uri="{FF2B5EF4-FFF2-40B4-BE49-F238E27FC236}">
                  <a16:creationId xmlns:a16="http://schemas.microsoft.com/office/drawing/2014/main" id="{6C2A42A3-96E8-497A-BCE2-62ECB425FF50}"/>
                </a:ext>
              </a:extLst>
            </p:cNvPr>
            <p:cNvSpPr/>
            <p:nvPr/>
          </p:nvSpPr>
          <p:spPr>
            <a:xfrm>
              <a:off x="782231" y="4660935"/>
              <a:ext cx="136146" cy="16947"/>
            </a:xfrm>
            <a:custGeom>
              <a:avLst/>
              <a:gdLst>
                <a:gd name="connsiteX0" fmla="*/ 8474 w 136146"/>
                <a:gd name="connsiteY0" fmla="*/ 16948 h 16947"/>
                <a:gd name="connsiteX1" fmla="*/ 127673 w 136146"/>
                <a:gd name="connsiteY1" fmla="*/ 16948 h 16947"/>
                <a:gd name="connsiteX2" fmla="*/ 136146 w 136146"/>
                <a:gd name="connsiteY2" fmla="*/ 8474 h 16947"/>
                <a:gd name="connsiteX3" fmla="*/ 127673 w 136146"/>
                <a:gd name="connsiteY3" fmla="*/ 0 h 16947"/>
                <a:gd name="connsiteX4" fmla="*/ 8474 w 136146"/>
                <a:gd name="connsiteY4" fmla="*/ 0 h 16947"/>
                <a:gd name="connsiteX5" fmla="*/ 0 w 136146"/>
                <a:gd name="connsiteY5" fmla="*/ 8474 h 16947"/>
                <a:gd name="connsiteX6" fmla="*/ 8474 w 136146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146" h="16947">
                  <a:moveTo>
                    <a:pt x="8474" y="16948"/>
                  </a:moveTo>
                  <a:lnTo>
                    <a:pt x="127673" y="16948"/>
                  </a:lnTo>
                  <a:cubicBezTo>
                    <a:pt x="132192" y="16948"/>
                    <a:pt x="136146" y="12993"/>
                    <a:pt x="136146" y="8474"/>
                  </a:cubicBezTo>
                  <a:cubicBezTo>
                    <a:pt x="136146" y="3954"/>
                    <a:pt x="132192" y="0"/>
                    <a:pt x="127673" y="0"/>
                  </a:cubicBezTo>
                  <a:lnTo>
                    <a:pt x="8474" y="0"/>
                  </a:lnTo>
                  <a:cubicBezTo>
                    <a:pt x="3954" y="0"/>
                    <a:pt x="0" y="3954"/>
                    <a:pt x="0" y="8474"/>
                  </a:cubicBezTo>
                  <a:cubicBezTo>
                    <a:pt x="0" y="12993"/>
                    <a:pt x="3954" y="16948"/>
                    <a:pt x="847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Полилиния: фигура 61">
              <a:extLst>
                <a:ext uri="{FF2B5EF4-FFF2-40B4-BE49-F238E27FC236}">
                  <a16:creationId xmlns:a16="http://schemas.microsoft.com/office/drawing/2014/main" id="{7D0EB6D2-BDB9-4E6C-8CB1-FBB3322AA02A}"/>
                </a:ext>
              </a:extLst>
            </p:cNvPr>
            <p:cNvSpPr/>
            <p:nvPr/>
          </p:nvSpPr>
          <p:spPr>
            <a:xfrm>
              <a:off x="782231" y="4705564"/>
              <a:ext cx="136146" cy="16947"/>
            </a:xfrm>
            <a:custGeom>
              <a:avLst/>
              <a:gdLst>
                <a:gd name="connsiteX0" fmla="*/ 8474 w 136146"/>
                <a:gd name="connsiteY0" fmla="*/ 16948 h 16947"/>
                <a:gd name="connsiteX1" fmla="*/ 127673 w 136146"/>
                <a:gd name="connsiteY1" fmla="*/ 16948 h 16947"/>
                <a:gd name="connsiteX2" fmla="*/ 136146 w 136146"/>
                <a:gd name="connsiteY2" fmla="*/ 8474 h 16947"/>
                <a:gd name="connsiteX3" fmla="*/ 127673 w 136146"/>
                <a:gd name="connsiteY3" fmla="*/ 0 h 16947"/>
                <a:gd name="connsiteX4" fmla="*/ 8474 w 136146"/>
                <a:gd name="connsiteY4" fmla="*/ 0 h 16947"/>
                <a:gd name="connsiteX5" fmla="*/ 0 w 136146"/>
                <a:gd name="connsiteY5" fmla="*/ 8474 h 16947"/>
                <a:gd name="connsiteX6" fmla="*/ 8474 w 136146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146" h="16947">
                  <a:moveTo>
                    <a:pt x="8474" y="16948"/>
                  </a:moveTo>
                  <a:lnTo>
                    <a:pt x="127673" y="16948"/>
                  </a:lnTo>
                  <a:cubicBezTo>
                    <a:pt x="132192" y="16948"/>
                    <a:pt x="136146" y="12993"/>
                    <a:pt x="136146" y="8474"/>
                  </a:cubicBezTo>
                  <a:cubicBezTo>
                    <a:pt x="136146" y="3954"/>
                    <a:pt x="132192" y="0"/>
                    <a:pt x="127673" y="0"/>
                  </a:cubicBezTo>
                  <a:lnTo>
                    <a:pt x="8474" y="0"/>
                  </a:lnTo>
                  <a:cubicBezTo>
                    <a:pt x="3954" y="0"/>
                    <a:pt x="0" y="3954"/>
                    <a:pt x="0" y="8474"/>
                  </a:cubicBezTo>
                  <a:cubicBezTo>
                    <a:pt x="0" y="12993"/>
                    <a:pt x="3954" y="16948"/>
                    <a:pt x="847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Полилиния: фигура 62">
              <a:extLst>
                <a:ext uri="{FF2B5EF4-FFF2-40B4-BE49-F238E27FC236}">
                  <a16:creationId xmlns:a16="http://schemas.microsoft.com/office/drawing/2014/main" id="{537089AA-3C77-425A-A164-147DACEFC335}"/>
                </a:ext>
              </a:extLst>
            </p:cNvPr>
            <p:cNvSpPr/>
            <p:nvPr/>
          </p:nvSpPr>
          <p:spPr>
            <a:xfrm>
              <a:off x="812737" y="4750193"/>
              <a:ext cx="75134" cy="16947"/>
            </a:xfrm>
            <a:custGeom>
              <a:avLst/>
              <a:gdLst>
                <a:gd name="connsiteX0" fmla="*/ 66661 w 75134"/>
                <a:gd name="connsiteY0" fmla="*/ 0 h 16947"/>
                <a:gd name="connsiteX1" fmla="*/ 8474 w 75134"/>
                <a:gd name="connsiteY1" fmla="*/ 0 h 16947"/>
                <a:gd name="connsiteX2" fmla="*/ 0 w 75134"/>
                <a:gd name="connsiteY2" fmla="*/ 8474 h 16947"/>
                <a:gd name="connsiteX3" fmla="*/ 8474 w 75134"/>
                <a:gd name="connsiteY3" fmla="*/ 16948 h 16947"/>
                <a:gd name="connsiteX4" fmla="*/ 66661 w 75134"/>
                <a:gd name="connsiteY4" fmla="*/ 16948 h 16947"/>
                <a:gd name="connsiteX5" fmla="*/ 75135 w 75134"/>
                <a:gd name="connsiteY5" fmla="*/ 8474 h 16947"/>
                <a:gd name="connsiteX6" fmla="*/ 66661 w 75134"/>
                <a:gd name="connsiteY6" fmla="*/ 0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134" h="16947">
                  <a:moveTo>
                    <a:pt x="66661" y="0"/>
                  </a:moveTo>
                  <a:lnTo>
                    <a:pt x="8474" y="0"/>
                  </a:lnTo>
                  <a:cubicBezTo>
                    <a:pt x="3954" y="0"/>
                    <a:pt x="0" y="3954"/>
                    <a:pt x="0" y="8474"/>
                  </a:cubicBezTo>
                  <a:cubicBezTo>
                    <a:pt x="0" y="12993"/>
                    <a:pt x="3954" y="16948"/>
                    <a:pt x="8474" y="16948"/>
                  </a:cubicBezTo>
                  <a:lnTo>
                    <a:pt x="66661" y="16948"/>
                  </a:lnTo>
                  <a:cubicBezTo>
                    <a:pt x="71180" y="16948"/>
                    <a:pt x="75135" y="12993"/>
                    <a:pt x="75135" y="8474"/>
                  </a:cubicBezTo>
                  <a:cubicBezTo>
                    <a:pt x="75135" y="3954"/>
                    <a:pt x="71180" y="0"/>
                    <a:pt x="66661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6" name="Рисунок 40">
            <a:extLst>
              <a:ext uri="{FF2B5EF4-FFF2-40B4-BE49-F238E27FC236}">
                <a16:creationId xmlns:a16="http://schemas.microsoft.com/office/drawing/2014/main" id="{11EB6D35-AED5-4210-A6B9-DFA1CF2AB0D7}"/>
              </a:ext>
            </a:extLst>
          </p:cNvPr>
          <p:cNvGrpSpPr/>
          <p:nvPr/>
        </p:nvGrpSpPr>
        <p:grpSpPr>
          <a:xfrm>
            <a:off x="6155281" y="1313475"/>
            <a:ext cx="546775" cy="441652"/>
            <a:chOff x="2935003" y="1262366"/>
            <a:chExt cx="546775" cy="441652"/>
          </a:xfrm>
          <a:solidFill>
            <a:schemeClr val="tx1"/>
          </a:solidFill>
        </p:grpSpPr>
        <p:sp>
          <p:nvSpPr>
            <p:cNvPr id="37" name="Полилиния: фигура 179">
              <a:extLst>
                <a:ext uri="{FF2B5EF4-FFF2-40B4-BE49-F238E27FC236}">
                  <a16:creationId xmlns:a16="http://schemas.microsoft.com/office/drawing/2014/main" id="{F01A4A49-1305-4AE6-9199-5781065591F8}"/>
                </a:ext>
              </a:extLst>
            </p:cNvPr>
            <p:cNvSpPr/>
            <p:nvPr/>
          </p:nvSpPr>
          <p:spPr>
            <a:xfrm>
              <a:off x="3083972" y="1262366"/>
              <a:ext cx="397806" cy="400066"/>
            </a:xfrm>
            <a:custGeom>
              <a:avLst/>
              <a:gdLst>
                <a:gd name="connsiteX0" fmla="*/ 347635 w 397806"/>
                <a:gd name="connsiteY0" fmla="*/ 0 h 400066"/>
                <a:gd name="connsiteX1" fmla="*/ 50144 w 397806"/>
                <a:gd name="connsiteY1" fmla="*/ 0 h 400066"/>
                <a:gd name="connsiteX2" fmla="*/ 0 w 397806"/>
                <a:gd name="connsiteY2" fmla="*/ 50122 h 400066"/>
                <a:gd name="connsiteX3" fmla="*/ 0 w 397806"/>
                <a:gd name="connsiteY3" fmla="*/ 104528 h 400066"/>
                <a:gd name="connsiteX4" fmla="*/ 8390 w 397806"/>
                <a:gd name="connsiteY4" fmla="*/ 112917 h 400066"/>
                <a:gd name="connsiteX5" fmla="*/ 16780 w 397806"/>
                <a:gd name="connsiteY5" fmla="*/ 104528 h 400066"/>
                <a:gd name="connsiteX6" fmla="*/ 16780 w 397806"/>
                <a:gd name="connsiteY6" fmla="*/ 50122 h 400066"/>
                <a:gd name="connsiteX7" fmla="*/ 50144 w 397806"/>
                <a:gd name="connsiteY7" fmla="*/ 16780 h 400066"/>
                <a:gd name="connsiteX8" fmla="*/ 347635 w 397806"/>
                <a:gd name="connsiteY8" fmla="*/ 16780 h 400066"/>
                <a:gd name="connsiteX9" fmla="*/ 381027 w 397806"/>
                <a:gd name="connsiteY9" fmla="*/ 50122 h 400066"/>
                <a:gd name="connsiteX10" fmla="*/ 381027 w 397806"/>
                <a:gd name="connsiteY10" fmla="*/ 254887 h 400066"/>
                <a:gd name="connsiteX11" fmla="*/ 347635 w 397806"/>
                <a:gd name="connsiteY11" fmla="*/ 288228 h 400066"/>
                <a:gd name="connsiteX12" fmla="*/ 236166 w 397806"/>
                <a:gd name="connsiteY12" fmla="*/ 288228 h 400066"/>
                <a:gd name="connsiteX13" fmla="*/ 235752 w 397806"/>
                <a:gd name="connsiteY13" fmla="*/ 288267 h 400066"/>
                <a:gd name="connsiteX14" fmla="*/ 235338 w 397806"/>
                <a:gd name="connsiteY14" fmla="*/ 288228 h 400066"/>
                <a:gd name="connsiteX15" fmla="*/ 162401 w 397806"/>
                <a:gd name="connsiteY15" fmla="*/ 288228 h 400066"/>
                <a:gd name="connsiteX16" fmla="*/ 154011 w 397806"/>
                <a:gd name="connsiteY16" fmla="*/ 296618 h 400066"/>
                <a:gd name="connsiteX17" fmla="*/ 154011 w 397806"/>
                <a:gd name="connsiteY17" fmla="*/ 383286 h 400066"/>
                <a:gd name="connsiteX18" fmla="*/ 73927 w 397806"/>
                <a:gd name="connsiteY18" fmla="*/ 383286 h 400066"/>
                <a:gd name="connsiteX19" fmla="*/ 65537 w 397806"/>
                <a:gd name="connsiteY19" fmla="*/ 391676 h 400066"/>
                <a:gd name="connsiteX20" fmla="*/ 73927 w 397806"/>
                <a:gd name="connsiteY20" fmla="*/ 400066 h 400066"/>
                <a:gd name="connsiteX21" fmla="*/ 162407 w 397806"/>
                <a:gd name="connsiteY21" fmla="*/ 400066 h 400066"/>
                <a:gd name="connsiteX22" fmla="*/ 235344 w 397806"/>
                <a:gd name="connsiteY22" fmla="*/ 400066 h 400066"/>
                <a:gd name="connsiteX23" fmla="*/ 323897 w 397806"/>
                <a:gd name="connsiteY23" fmla="*/ 400066 h 400066"/>
                <a:gd name="connsiteX24" fmla="*/ 332287 w 397806"/>
                <a:gd name="connsiteY24" fmla="*/ 391676 h 400066"/>
                <a:gd name="connsiteX25" fmla="*/ 323897 w 397806"/>
                <a:gd name="connsiteY25" fmla="*/ 383286 h 400066"/>
                <a:gd name="connsiteX26" fmla="*/ 243734 w 397806"/>
                <a:gd name="connsiteY26" fmla="*/ 383286 h 400066"/>
                <a:gd name="connsiteX27" fmla="*/ 243734 w 397806"/>
                <a:gd name="connsiteY27" fmla="*/ 305008 h 400066"/>
                <a:gd name="connsiteX28" fmla="*/ 347635 w 397806"/>
                <a:gd name="connsiteY28" fmla="*/ 305008 h 400066"/>
                <a:gd name="connsiteX29" fmla="*/ 397807 w 397806"/>
                <a:gd name="connsiteY29" fmla="*/ 254887 h 400066"/>
                <a:gd name="connsiteX30" fmla="*/ 397807 w 397806"/>
                <a:gd name="connsiteY30" fmla="*/ 50122 h 400066"/>
                <a:gd name="connsiteX31" fmla="*/ 347635 w 397806"/>
                <a:gd name="connsiteY31" fmla="*/ 0 h 400066"/>
                <a:gd name="connsiteX32" fmla="*/ 170797 w 397806"/>
                <a:gd name="connsiteY32" fmla="*/ 383286 h 400066"/>
                <a:gd name="connsiteX33" fmla="*/ 170797 w 397806"/>
                <a:gd name="connsiteY33" fmla="*/ 305008 h 400066"/>
                <a:gd name="connsiteX34" fmla="*/ 226954 w 397806"/>
                <a:gd name="connsiteY34" fmla="*/ 305008 h 400066"/>
                <a:gd name="connsiteX35" fmla="*/ 226954 w 397806"/>
                <a:gd name="connsiteY35" fmla="*/ 383286 h 400066"/>
                <a:gd name="connsiteX36" fmla="*/ 170797 w 397806"/>
                <a:gd name="connsiteY36" fmla="*/ 383286 h 40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97806" h="400066">
                  <a:moveTo>
                    <a:pt x="347635" y="0"/>
                  </a:moveTo>
                  <a:lnTo>
                    <a:pt x="50144" y="0"/>
                  </a:lnTo>
                  <a:cubicBezTo>
                    <a:pt x="22496" y="0"/>
                    <a:pt x="0" y="22485"/>
                    <a:pt x="0" y="50122"/>
                  </a:cubicBezTo>
                  <a:lnTo>
                    <a:pt x="0" y="104528"/>
                  </a:lnTo>
                  <a:cubicBezTo>
                    <a:pt x="0" y="109164"/>
                    <a:pt x="3753" y="112917"/>
                    <a:pt x="8390" y="112917"/>
                  </a:cubicBezTo>
                  <a:cubicBezTo>
                    <a:pt x="13027" y="112917"/>
                    <a:pt x="16780" y="109164"/>
                    <a:pt x="16780" y="104528"/>
                  </a:cubicBezTo>
                  <a:lnTo>
                    <a:pt x="16780" y="50122"/>
                  </a:lnTo>
                  <a:cubicBezTo>
                    <a:pt x="16780" y="31736"/>
                    <a:pt x="31748" y="16780"/>
                    <a:pt x="50144" y="16780"/>
                  </a:cubicBezTo>
                  <a:lnTo>
                    <a:pt x="347635" y="16780"/>
                  </a:lnTo>
                  <a:cubicBezTo>
                    <a:pt x="366048" y="16780"/>
                    <a:pt x="381027" y="31736"/>
                    <a:pt x="381027" y="50122"/>
                  </a:cubicBezTo>
                  <a:lnTo>
                    <a:pt x="381027" y="254887"/>
                  </a:lnTo>
                  <a:cubicBezTo>
                    <a:pt x="381027" y="273272"/>
                    <a:pt x="366048" y="288228"/>
                    <a:pt x="347635" y="288228"/>
                  </a:cubicBezTo>
                  <a:lnTo>
                    <a:pt x="236166" y="288228"/>
                  </a:lnTo>
                  <a:cubicBezTo>
                    <a:pt x="236026" y="288228"/>
                    <a:pt x="235892" y="288262"/>
                    <a:pt x="235752" y="288267"/>
                  </a:cubicBezTo>
                  <a:cubicBezTo>
                    <a:pt x="235612" y="288262"/>
                    <a:pt x="235483" y="288228"/>
                    <a:pt x="235338" y="288228"/>
                  </a:cubicBezTo>
                  <a:lnTo>
                    <a:pt x="162401" y="288228"/>
                  </a:lnTo>
                  <a:cubicBezTo>
                    <a:pt x="157770" y="288228"/>
                    <a:pt x="154011" y="291987"/>
                    <a:pt x="154011" y="296618"/>
                  </a:cubicBezTo>
                  <a:lnTo>
                    <a:pt x="154011" y="383286"/>
                  </a:lnTo>
                  <a:lnTo>
                    <a:pt x="73927" y="383286"/>
                  </a:lnTo>
                  <a:cubicBezTo>
                    <a:pt x="69290" y="383286"/>
                    <a:pt x="65537" y="387045"/>
                    <a:pt x="65537" y="391676"/>
                  </a:cubicBezTo>
                  <a:cubicBezTo>
                    <a:pt x="65537" y="396308"/>
                    <a:pt x="69290" y="400066"/>
                    <a:pt x="73927" y="400066"/>
                  </a:cubicBezTo>
                  <a:lnTo>
                    <a:pt x="162407" y="400066"/>
                  </a:lnTo>
                  <a:lnTo>
                    <a:pt x="235344" y="400066"/>
                  </a:lnTo>
                  <a:lnTo>
                    <a:pt x="323897" y="400066"/>
                  </a:lnTo>
                  <a:cubicBezTo>
                    <a:pt x="328528" y="400066"/>
                    <a:pt x="332287" y="396308"/>
                    <a:pt x="332287" y="391676"/>
                  </a:cubicBezTo>
                  <a:cubicBezTo>
                    <a:pt x="332287" y="387045"/>
                    <a:pt x="328528" y="383286"/>
                    <a:pt x="323897" y="383286"/>
                  </a:cubicBezTo>
                  <a:lnTo>
                    <a:pt x="243734" y="383286"/>
                  </a:lnTo>
                  <a:lnTo>
                    <a:pt x="243734" y="305008"/>
                  </a:lnTo>
                  <a:lnTo>
                    <a:pt x="347635" y="305008"/>
                  </a:lnTo>
                  <a:cubicBezTo>
                    <a:pt x="375299" y="305008"/>
                    <a:pt x="397807" y="282523"/>
                    <a:pt x="397807" y="254887"/>
                  </a:cubicBezTo>
                  <a:lnTo>
                    <a:pt x="397807" y="50122"/>
                  </a:lnTo>
                  <a:cubicBezTo>
                    <a:pt x="397807" y="22485"/>
                    <a:pt x="375299" y="0"/>
                    <a:pt x="347635" y="0"/>
                  </a:cubicBezTo>
                  <a:close/>
                  <a:moveTo>
                    <a:pt x="170797" y="383286"/>
                  </a:moveTo>
                  <a:lnTo>
                    <a:pt x="170797" y="305008"/>
                  </a:lnTo>
                  <a:lnTo>
                    <a:pt x="226954" y="305008"/>
                  </a:lnTo>
                  <a:lnTo>
                    <a:pt x="226954" y="383286"/>
                  </a:lnTo>
                  <a:lnTo>
                    <a:pt x="170797" y="383286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Полилиния: фигура 180">
              <a:extLst>
                <a:ext uri="{FF2B5EF4-FFF2-40B4-BE49-F238E27FC236}">
                  <a16:creationId xmlns:a16="http://schemas.microsoft.com/office/drawing/2014/main" id="{F95392B6-2125-4806-A727-6A99DEC34417}"/>
                </a:ext>
              </a:extLst>
            </p:cNvPr>
            <p:cNvSpPr/>
            <p:nvPr/>
          </p:nvSpPr>
          <p:spPr>
            <a:xfrm>
              <a:off x="2935003" y="1398019"/>
              <a:ext cx="287133" cy="305999"/>
            </a:xfrm>
            <a:custGeom>
              <a:avLst/>
              <a:gdLst>
                <a:gd name="connsiteX0" fmla="*/ 174021 w 287133"/>
                <a:gd name="connsiteY0" fmla="*/ 226110 h 305999"/>
                <a:gd name="connsiteX1" fmla="*/ 258693 w 287133"/>
                <a:gd name="connsiteY1" fmla="*/ 188115 h 305999"/>
                <a:gd name="connsiteX2" fmla="*/ 258693 w 287133"/>
                <a:gd name="connsiteY2" fmla="*/ 188115 h 305999"/>
                <a:gd name="connsiteX3" fmla="*/ 249134 w 287133"/>
                <a:gd name="connsiteY3" fmla="*/ 28426 h 305999"/>
                <a:gd name="connsiteX4" fmla="*/ 89456 w 287133"/>
                <a:gd name="connsiteY4" fmla="*/ 37985 h 305999"/>
                <a:gd name="connsiteX5" fmla="*/ 93014 w 287133"/>
                <a:gd name="connsiteY5" fmla="*/ 191779 h 305999"/>
                <a:gd name="connsiteX6" fmla="*/ 79260 w 287133"/>
                <a:gd name="connsiteY6" fmla="*/ 207300 h 305999"/>
                <a:gd name="connsiteX7" fmla="*/ 76083 w 287133"/>
                <a:gd name="connsiteY7" fmla="*/ 204487 h 305999"/>
                <a:gd name="connsiteX8" fmla="*/ 64275 w 287133"/>
                <a:gd name="connsiteY8" fmla="*/ 205169 h 305999"/>
                <a:gd name="connsiteX9" fmla="*/ 2139 w 287133"/>
                <a:gd name="connsiteY9" fmla="*/ 274554 h 305999"/>
                <a:gd name="connsiteX10" fmla="*/ 14 w 287133"/>
                <a:gd name="connsiteY10" fmla="*/ 280617 h 305999"/>
                <a:gd name="connsiteX11" fmla="*/ 2799 w 287133"/>
                <a:gd name="connsiteY11" fmla="*/ 286406 h 305999"/>
                <a:gd name="connsiteX12" fmla="*/ 22337 w 287133"/>
                <a:gd name="connsiteY12" fmla="*/ 303863 h 305999"/>
                <a:gd name="connsiteX13" fmla="*/ 27924 w 287133"/>
                <a:gd name="connsiteY13" fmla="*/ 305999 h 305999"/>
                <a:gd name="connsiteX14" fmla="*/ 34178 w 287133"/>
                <a:gd name="connsiteY14" fmla="*/ 303203 h 305999"/>
                <a:gd name="connsiteX15" fmla="*/ 96375 w 287133"/>
                <a:gd name="connsiteY15" fmla="*/ 233706 h 305999"/>
                <a:gd name="connsiteX16" fmla="*/ 98501 w 287133"/>
                <a:gd name="connsiteY16" fmla="*/ 227626 h 305999"/>
                <a:gd name="connsiteX17" fmla="*/ 95687 w 287133"/>
                <a:gd name="connsiteY17" fmla="*/ 221832 h 305999"/>
                <a:gd name="connsiteX18" fmla="*/ 91833 w 287133"/>
                <a:gd name="connsiteY18" fmla="*/ 218420 h 305999"/>
                <a:gd name="connsiteX19" fmla="*/ 105554 w 287133"/>
                <a:gd name="connsiteY19" fmla="*/ 202937 h 305999"/>
                <a:gd name="connsiteX20" fmla="*/ 174021 w 287133"/>
                <a:gd name="connsiteY20" fmla="*/ 226110 h 305999"/>
                <a:gd name="connsiteX21" fmla="*/ 27264 w 287133"/>
                <a:gd name="connsiteY21" fmla="*/ 285769 h 305999"/>
                <a:gd name="connsiteX22" fmla="*/ 20239 w 287133"/>
                <a:gd name="connsiteY22" fmla="*/ 279493 h 305999"/>
                <a:gd name="connsiteX23" fmla="*/ 70618 w 287133"/>
                <a:gd name="connsiteY23" fmla="*/ 223247 h 305999"/>
                <a:gd name="connsiteX24" fmla="*/ 73023 w 287133"/>
                <a:gd name="connsiteY24" fmla="*/ 227000 h 305999"/>
                <a:gd name="connsiteX25" fmla="*/ 78063 w 287133"/>
                <a:gd name="connsiteY25" fmla="*/ 229013 h 305999"/>
                <a:gd name="connsiteX26" fmla="*/ 27264 w 287133"/>
                <a:gd name="connsiteY26" fmla="*/ 285769 h 305999"/>
                <a:gd name="connsiteX27" fmla="*/ 102013 w 287133"/>
                <a:gd name="connsiteY27" fmla="*/ 49122 h 305999"/>
                <a:gd name="connsiteX28" fmla="*/ 174128 w 287133"/>
                <a:gd name="connsiteY28" fmla="*/ 16770 h 305999"/>
                <a:gd name="connsiteX29" fmla="*/ 238003 w 287133"/>
                <a:gd name="connsiteY29" fmla="*/ 40978 h 305999"/>
                <a:gd name="connsiteX30" fmla="*/ 246141 w 287133"/>
                <a:gd name="connsiteY30" fmla="*/ 176979 h 305999"/>
                <a:gd name="connsiteX31" fmla="*/ 110146 w 287133"/>
                <a:gd name="connsiteY31" fmla="*/ 185112 h 305999"/>
                <a:gd name="connsiteX32" fmla="*/ 102013 w 287133"/>
                <a:gd name="connsiteY32" fmla="*/ 49122 h 305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87133" h="305999">
                  <a:moveTo>
                    <a:pt x="174021" y="226110"/>
                  </a:moveTo>
                  <a:cubicBezTo>
                    <a:pt x="205266" y="226110"/>
                    <a:pt x="236381" y="213268"/>
                    <a:pt x="258693" y="188115"/>
                  </a:cubicBezTo>
                  <a:cubicBezTo>
                    <a:pt x="258693" y="188115"/>
                    <a:pt x="258693" y="188115"/>
                    <a:pt x="258693" y="188115"/>
                  </a:cubicBezTo>
                  <a:cubicBezTo>
                    <a:pt x="300078" y="141439"/>
                    <a:pt x="295793" y="69806"/>
                    <a:pt x="249134" y="28426"/>
                  </a:cubicBezTo>
                  <a:cubicBezTo>
                    <a:pt x="202463" y="-12942"/>
                    <a:pt x="130836" y="-8651"/>
                    <a:pt x="89456" y="37985"/>
                  </a:cubicBezTo>
                  <a:cubicBezTo>
                    <a:pt x="49962" y="82536"/>
                    <a:pt x="52171" y="149762"/>
                    <a:pt x="93014" y="191779"/>
                  </a:cubicBezTo>
                  <a:lnTo>
                    <a:pt x="79260" y="207300"/>
                  </a:lnTo>
                  <a:lnTo>
                    <a:pt x="76083" y="204487"/>
                  </a:lnTo>
                  <a:cubicBezTo>
                    <a:pt x="72621" y="201422"/>
                    <a:pt x="67346" y="201735"/>
                    <a:pt x="64275" y="205169"/>
                  </a:cubicBezTo>
                  <a:lnTo>
                    <a:pt x="2139" y="274554"/>
                  </a:lnTo>
                  <a:cubicBezTo>
                    <a:pt x="652" y="276215"/>
                    <a:pt x="-115" y="278397"/>
                    <a:pt x="14" y="280617"/>
                  </a:cubicBezTo>
                  <a:cubicBezTo>
                    <a:pt x="137" y="282838"/>
                    <a:pt x="1138" y="284930"/>
                    <a:pt x="2799" y="286406"/>
                  </a:cubicBezTo>
                  <a:lnTo>
                    <a:pt x="22337" y="303863"/>
                  </a:lnTo>
                  <a:cubicBezTo>
                    <a:pt x="23936" y="305295"/>
                    <a:pt x="25933" y="305999"/>
                    <a:pt x="27924" y="305999"/>
                  </a:cubicBezTo>
                  <a:cubicBezTo>
                    <a:pt x="30229" y="305999"/>
                    <a:pt x="32522" y="305054"/>
                    <a:pt x="34178" y="303203"/>
                  </a:cubicBezTo>
                  <a:lnTo>
                    <a:pt x="96375" y="233706"/>
                  </a:lnTo>
                  <a:cubicBezTo>
                    <a:pt x="97863" y="232045"/>
                    <a:pt x="98629" y="229858"/>
                    <a:pt x="98501" y="227626"/>
                  </a:cubicBezTo>
                  <a:cubicBezTo>
                    <a:pt x="98372" y="225400"/>
                    <a:pt x="97354" y="223314"/>
                    <a:pt x="95687" y="221832"/>
                  </a:cubicBezTo>
                  <a:lnTo>
                    <a:pt x="91833" y="218420"/>
                  </a:lnTo>
                  <a:lnTo>
                    <a:pt x="105554" y="202937"/>
                  </a:lnTo>
                  <a:cubicBezTo>
                    <a:pt x="125830" y="218420"/>
                    <a:pt x="149948" y="226110"/>
                    <a:pt x="174021" y="226110"/>
                  </a:cubicBezTo>
                  <a:close/>
                  <a:moveTo>
                    <a:pt x="27264" y="285769"/>
                  </a:moveTo>
                  <a:lnTo>
                    <a:pt x="20239" y="279493"/>
                  </a:lnTo>
                  <a:lnTo>
                    <a:pt x="70618" y="223247"/>
                  </a:lnTo>
                  <a:cubicBezTo>
                    <a:pt x="71060" y="224645"/>
                    <a:pt x="71843" y="225959"/>
                    <a:pt x="73023" y="227000"/>
                  </a:cubicBezTo>
                  <a:cubicBezTo>
                    <a:pt x="74477" y="228286"/>
                    <a:pt x="76262" y="228901"/>
                    <a:pt x="78063" y="229013"/>
                  </a:cubicBezTo>
                  <a:lnTo>
                    <a:pt x="27264" y="285769"/>
                  </a:lnTo>
                  <a:close/>
                  <a:moveTo>
                    <a:pt x="102013" y="49122"/>
                  </a:moveTo>
                  <a:cubicBezTo>
                    <a:pt x="121019" y="27699"/>
                    <a:pt x="147509" y="16770"/>
                    <a:pt x="174128" y="16770"/>
                  </a:cubicBezTo>
                  <a:cubicBezTo>
                    <a:pt x="196864" y="16770"/>
                    <a:pt x="219691" y="24752"/>
                    <a:pt x="238003" y="40978"/>
                  </a:cubicBezTo>
                  <a:cubicBezTo>
                    <a:pt x="277738" y="76216"/>
                    <a:pt x="281390" y="137227"/>
                    <a:pt x="246141" y="176979"/>
                  </a:cubicBezTo>
                  <a:cubicBezTo>
                    <a:pt x="210904" y="216708"/>
                    <a:pt x="149886" y="220360"/>
                    <a:pt x="110146" y="185112"/>
                  </a:cubicBezTo>
                  <a:cubicBezTo>
                    <a:pt x="70422" y="149879"/>
                    <a:pt x="66776" y="88873"/>
                    <a:pt x="102013" y="4912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Полилиния: фигура 181">
              <a:extLst>
                <a:ext uri="{FF2B5EF4-FFF2-40B4-BE49-F238E27FC236}">
                  <a16:creationId xmlns:a16="http://schemas.microsoft.com/office/drawing/2014/main" id="{9CCE6FDB-6FCB-4815-9628-0B72C4E4E274}"/>
                </a:ext>
              </a:extLst>
            </p:cNvPr>
            <p:cNvSpPr/>
            <p:nvPr/>
          </p:nvSpPr>
          <p:spPr>
            <a:xfrm>
              <a:off x="3273484" y="1320626"/>
              <a:ext cx="20024" cy="20024"/>
            </a:xfrm>
            <a:custGeom>
              <a:avLst/>
              <a:gdLst>
                <a:gd name="connsiteX0" fmla="*/ 20024 w 20024"/>
                <a:gd name="connsiteY0" fmla="*/ 10012 h 20024"/>
                <a:gd name="connsiteX1" fmla="*/ 10012 w 20024"/>
                <a:gd name="connsiteY1" fmla="*/ 20024 h 20024"/>
                <a:gd name="connsiteX2" fmla="*/ 0 w 20024"/>
                <a:gd name="connsiteY2" fmla="*/ 10012 h 20024"/>
                <a:gd name="connsiteX3" fmla="*/ 10012 w 20024"/>
                <a:gd name="connsiteY3" fmla="*/ 0 h 20024"/>
                <a:gd name="connsiteX4" fmla="*/ 20024 w 20024"/>
                <a:gd name="connsiteY4" fmla="*/ 10012 h 2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24" h="20024">
                  <a:moveTo>
                    <a:pt x="20024" y="10012"/>
                  </a:moveTo>
                  <a:cubicBezTo>
                    <a:pt x="20024" y="15541"/>
                    <a:pt x="15541" y="20024"/>
                    <a:pt x="10012" y="20024"/>
                  </a:cubicBezTo>
                  <a:cubicBezTo>
                    <a:pt x="4483" y="20024"/>
                    <a:pt x="0" y="15541"/>
                    <a:pt x="0" y="10012"/>
                  </a:cubicBezTo>
                  <a:cubicBezTo>
                    <a:pt x="0" y="4483"/>
                    <a:pt x="4483" y="0"/>
                    <a:pt x="10012" y="0"/>
                  </a:cubicBezTo>
                  <a:cubicBezTo>
                    <a:pt x="15541" y="0"/>
                    <a:pt x="20024" y="4483"/>
                    <a:pt x="20024" y="1001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1BBBCDEA-02EA-4887-8E49-49C33BDC2A6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 flipV="1">
            <a:off x="9932662" y="1266295"/>
            <a:ext cx="564923" cy="564923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1BBBCDEA-02EA-4887-8E49-49C33BDC2A6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 flipV="1">
            <a:off x="4726899" y="1266295"/>
            <a:ext cx="564923" cy="564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086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9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Заголовок 33">
            <a:extLst>
              <a:ext uri="{FF2B5EF4-FFF2-40B4-BE49-F238E27FC236}">
                <a16:creationId xmlns:a16="http://schemas.microsoft.com/office/drawing/2014/main" id="{DFE19F94-644B-42C1-AD3F-8528C51CFA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499" y="2305538"/>
            <a:ext cx="8995021" cy="553998"/>
          </a:xfrm>
        </p:spPr>
        <p:txBody>
          <a:bodyPr vert="horz"/>
          <a:lstStyle/>
          <a:p>
            <a:r>
              <a:rPr lang="ru-RU" dirty="0" smtClean="0"/>
              <a:t>Спасибо за внимание!</a:t>
            </a:r>
            <a:endParaRPr lang="ru-RU" dirty="0">
              <a:solidFill>
                <a:schemeClr val="tx2"/>
              </a:solidFill>
            </a:endParaRP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C8C12EE-F6E3-DC38-EC5D-561226AB2A87}"/>
              </a:ext>
            </a:extLst>
          </p:cNvPr>
          <p:cNvGrpSpPr/>
          <p:nvPr/>
        </p:nvGrpSpPr>
        <p:grpSpPr>
          <a:xfrm>
            <a:off x="0" y="4895068"/>
            <a:ext cx="5700035" cy="1962956"/>
            <a:chOff x="0" y="4895068"/>
            <a:chExt cx="5700035" cy="1962956"/>
          </a:xfrm>
        </p:grpSpPr>
        <p:sp>
          <p:nvSpPr>
            <p:cNvPr id="125" name="Полилиния: фигура 7">
              <a:extLst>
                <a:ext uri="{FF2B5EF4-FFF2-40B4-BE49-F238E27FC236}">
                  <a16:creationId xmlns:a16="http://schemas.microsoft.com/office/drawing/2014/main" id="{3789CB51-94F1-F8FA-A79F-06A57F1C8DF4}"/>
                </a:ext>
              </a:extLst>
            </p:cNvPr>
            <p:cNvSpPr/>
            <p:nvPr userDrawn="1"/>
          </p:nvSpPr>
          <p:spPr>
            <a:xfrm rot="16200000">
              <a:off x="979714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Полилиния: фигура 8">
              <a:extLst>
                <a:ext uri="{FF2B5EF4-FFF2-40B4-BE49-F238E27FC236}">
                  <a16:creationId xmlns:a16="http://schemas.microsoft.com/office/drawing/2014/main" id="{A6ACED56-6CF8-39E8-A8FB-2A87C0231D3C}"/>
                </a:ext>
              </a:extLst>
            </p:cNvPr>
            <p:cNvSpPr/>
            <p:nvPr userDrawn="1"/>
          </p:nvSpPr>
          <p:spPr>
            <a:xfrm>
              <a:off x="1224642" y="6123239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Полилиния: фигура 11">
              <a:extLst>
                <a:ext uri="{FF2B5EF4-FFF2-40B4-BE49-F238E27FC236}">
                  <a16:creationId xmlns:a16="http://schemas.microsoft.com/office/drawing/2014/main" id="{5DB7683A-9BD5-4464-68F8-5EDE8AF6796A}"/>
                </a:ext>
              </a:extLst>
            </p:cNvPr>
            <p:cNvSpPr/>
            <p:nvPr userDrawn="1"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Полилиния: фигура 12">
              <a:extLst>
                <a:ext uri="{FF2B5EF4-FFF2-40B4-BE49-F238E27FC236}">
                  <a16:creationId xmlns:a16="http://schemas.microsoft.com/office/drawing/2014/main" id="{F57E5213-5C20-6A07-918A-83451D3052F3}"/>
                </a:ext>
              </a:extLst>
            </p:cNvPr>
            <p:cNvSpPr/>
            <p:nvPr userDrawn="1"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Полилиния: фигура 13">
              <a:extLst>
                <a:ext uri="{FF2B5EF4-FFF2-40B4-BE49-F238E27FC236}">
                  <a16:creationId xmlns:a16="http://schemas.microsoft.com/office/drawing/2014/main" id="{EEC48DA5-7A77-6D8F-679C-6B23C76D5E64}"/>
                </a:ext>
              </a:extLst>
            </p:cNvPr>
            <p:cNvSpPr/>
            <p:nvPr userDrawn="1"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Полилиния: фигура 14">
              <a:extLst>
                <a:ext uri="{FF2B5EF4-FFF2-40B4-BE49-F238E27FC236}">
                  <a16:creationId xmlns:a16="http://schemas.microsoft.com/office/drawing/2014/main" id="{1613629D-47BB-7796-0553-499C6821CA59}"/>
                </a:ext>
              </a:extLst>
            </p:cNvPr>
            <p:cNvSpPr/>
            <p:nvPr userDrawn="1"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Полилиния: фигура 15">
              <a:extLst>
                <a:ext uri="{FF2B5EF4-FFF2-40B4-BE49-F238E27FC236}">
                  <a16:creationId xmlns:a16="http://schemas.microsoft.com/office/drawing/2014/main" id="{C85BD5F8-F7C8-28E1-BFDB-DDC8307360F7}"/>
                </a:ext>
              </a:extLst>
            </p:cNvPr>
            <p:cNvSpPr/>
            <p:nvPr userDrawn="1"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17">
              <a:extLst>
                <a:ext uri="{FF2B5EF4-FFF2-40B4-BE49-F238E27FC236}">
                  <a16:creationId xmlns:a16="http://schemas.microsoft.com/office/drawing/2014/main" id="{0355DC7A-A024-569E-0B8D-DDEEE1CADB03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Полилиния: фигура 18">
              <a:extLst>
                <a:ext uri="{FF2B5EF4-FFF2-40B4-BE49-F238E27FC236}">
                  <a16:creationId xmlns:a16="http://schemas.microsoft.com/office/drawing/2014/main" id="{26A08EE6-873F-5FF3-69E5-49E927186F08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Полилиния: фигура 19">
              <a:extLst>
                <a:ext uri="{FF2B5EF4-FFF2-40B4-BE49-F238E27FC236}">
                  <a16:creationId xmlns:a16="http://schemas.microsoft.com/office/drawing/2014/main" id="{18ED321C-6A84-4D58-AD6B-4E8876929C0F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Полилиния: фигура 21">
              <a:extLst>
                <a:ext uri="{FF2B5EF4-FFF2-40B4-BE49-F238E27FC236}">
                  <a16:creationId xmlns:a16="http://schemas.microsoft.com/office/drawing/2014/main" id="{1D4D272C-D9B3-B449-31B4-629820975AD7}"/>
                </a:ext>
              </a:extLst>
            </p:cNvPr>
            <p:cNvSpPr/>
            <p:nvPr/>
          </p:nvSpPr>
          <p:spPr>
            <a:xfrm>
              <a:off x="1959428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Полилиния: фигура 22">
              <a:extLst>
                <a:ext uri="{FF2B5EF4-FFF2-40B4-BE49-F238E27FC236}">
                  <a16:creationId xmlns:a16="http://schemas.microsoft.com/office/drawing/2014/main" id="{4553FED2-7C22-3A82-5723-3CB1B665DA29}"/>
                </a:ext>
              </a:extLst>
            </p:cNvPr>
            <p:cNvSpPr/>
            <p:nvPr/>
          </p:nvSpPr>
          <p:spPr>
            <a:xfrm>
              <a:off x="1959428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Полилиния: фигура 23">
              <a:extLst>
                <a:ext uri="{FF2B5EF4-FFF2-40B4-BE49-F238E27FC236}">
                  <a16:creationId xmlns:a16="http://schemas.microsoft.com/office/drawing/2014/main" id="{92BE6DE7-1F2A-EC43-8771-8E2CCF1F4233}"/>
                </a:ext>
              </a:extLst>
            </p:cNvPr>
            <p:cNvSpPr/>
            <p:nvPr/>
          </p:nvSpPr>
          <p:spPr>
            <a:xfrm>
              <a:off x="2449285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Полилиния: фигура 24">
              <a:extLst>
                <a:ext uri="{FF2B5EF4-FFF2-40B4-BE49-F238E27FC236}">
                  <a16:creationId xmlns:a16="http://schemas.microsoft.com/office/drawing/2014/main" id="{EEED14F5-BCFF-9854-C273-6F2CDA8A487B}"/>
                </a:ext>
              </a:extLst>
            </p:cNvPr>
            <p:cNvSpPr/>
            <p:nvPr/>
          </p:nvSpPr>
          <p:spPr>
            <a:xfrm>
              <a:off x="2449285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Полилиния: фигура 26">
              <a:extLst>
                <a:ext uri="{FF2B5EF4-FFF2-40B4-BE49-F238E27FC236}">
                  <a16:creationId xmlns:a16="http://schemas.microsoft.com/office/drawing/2014/main" id="{99B323CD-8E61-4B69-EA1D-5DCA632F6E66}"/>
                </a:ext>
              </a:extLst>
            </p:cNvPr>
            <p:cNvSpPr/>
            <p:nvPr/>
          </p:nvSpPr>
          <p:spPr>
            <a:xfrm>
              <a:off x="3268046" y="6171445"/>
              <a:ext cx="432445" cy="432445"/>
            </a:xfrm>
            <a:custGeom>
              <a:avLst/>
              <a:gdLst>
                <a:gd name="connsiteX0" fmla="*/ 432446 w 432445"/>
                <a:gd name="connsiteY0" fmla="*/ 216223 h 432445"/>
                <a:gd name="connsiteX1" fmla="*/ 216223 w 432445"/>
                <a:gd name="connsiteY1" fmla="*/ 432446 h 432445"/>
                <a:gd name="connsiteX2" fmla="*/ 0 w 432445"/>
                <a:gd name="connsiteY2" fmla="*/ 216223 h 432445"/>
                <a:gd name="connsiteX3" fmla="*/ 216223 w 432445"/>
                <a:gd name="connsiteY3" fmla="*/ 0 h 432445"/>
                <a:gd name="connsiteX4" fmla="*/ 432446 w 432445"/>
                <a:gd name="connsiteY4" fmla="*/ 216223 h 4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445" h="432445">
                  <a:moveTo>
                    <a:pt x="432446" y="216223"/>
                  </a:moveTo>
                  <a:cubicBezTo>
                    <a:pt x="432446" y="335639"/>
                    <a:pt x="335640" y="432446"/>
                    <a:pt x="216223" y="432446"/>
                  </a:cubicBezTo>
                  <a:cubicBezTo>
                    <a:pt x="96806" y="432446"/>
                    <a:pt x="0" y="335639"/>
                    <a:pt x="0" y="216223"/>
                  </a:cubicBezTo>
                  <a:cubicBezTo>
                    <a:pt x="0" y="96806"/>
                    <a:pt x="96806" y="0"/>
                    <a:pt x="216223" y="0"/>
                  </a:cubicBezTo>
                  <a:cubicBezTo>
                    <a:pt x="335640" y="0"/>
                    <a:pt x="432446" y="96806"/>
                    <a:pt x="432446" y="216223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Полилиния: фигура 27">
              <a:extLst>
                <a:ext uri="{FF2B5EF4-FFF2-40B4-BE49-F238E27FC236}">
                  <a16:creationId xmlns:a16="http://schemas.microsoft.com/office/drawing/2014/main" id="{436C948C-C636-AD72-AEAA-7147655F72E7}"/>
                </a:ext>
              </a:extLst>
            </p:cNvPr>
            <p:cNvSpPr/>
            <p:nvPr/>
          </p:nvSpPr>
          <p:spPr>
            <a:xfrm>
              <a:off x="3484268" y="6011751"/>
              <a:ext cx="159988" cy="159987"/>
            </a:xfrm>
            <a:custGeom>
              <a:avLst/>
              <a:gdLst>
                <a:gd name="connsiteX0" fmla="*/ -3207 w 159988"/>
                <a:gd name="connsiteY0" fmla="*/ 159748 h 159987"/>
                <a:gd name="connsiteX1" fmla="*/ 156781 w 159988"/>
                <a:gd name="connsiteY1" fmla="*/ -240 h 159987"/>
                <a:gd name="connsiteX2" fmla="*/ -3207 w 159988"/>
                <a:gd name="connsiteY2" fmla="*/ 159748 h 15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88" h="159987">
                  <a:moveTo>
                    <a:pt x="-3207" y="159748"/>
                  </a:moveTo>
                  <a:cubicBezTo>
                    <a:pt x="85163" y="159748"/>
                    <a:pt x="156781" y="88121"/>
                    <a:pt x="156781" y="-240"/>
                  </a:cubicBezTo>
                  <a:cubicBezTo>
                    <a:pt x="68410" y="-240"/>
                    <a:pt x="-3207" y="71387"/>
                    <a:pt x="-3207" y="159748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4" name="Группа 48">
              <a:extLst>
                <a:ext uri="{FF2B5EF4-FFF2-40B4-BE49-F238E27FC236}">
                  <a16:creationId xmlns:a16="http://schemas.microsoft.com/office/drawing/2014/main" id="{A344F5CA-3BFA-949C-3A3C-50FC4802C112}"/>
                </a:ext>
              </a:extLst>
            </p:cNvPr>
            <p:cNvGrpSpPr/>
            <p:nvPr/>
          </p:nvGrpSpPr>
          <p:grpSpPr>
            <a:xfrm>
              <a:off x="5094572" y="6068734"/>
              <a:ext cx="605463" cy="605463"/>
              <a:chOff x="5094572" y="6068734"/>
              <a:chExt cx="605463" cy="605463"/>
            </a:xfrm>
          </p:grpSpPr>
          <p:sp>
            <p:nvSpPr>
              <p:cNvPr id="159" name="Полилиния: фигура 49">
                <a:extLst>
                  <a:ext uri="{FF2B5EF4-FFF2-40B4-BE49-F238E27FC236}">
                    <a16:creationId xmlns:a16="http://schemas.microsoft.com/office/drawing/2014/main" id="{D0C567A5-1393-2D50-08F3-F4763D871D24}"/>
                  </a:ext>
                </a:extLst>
              </p:cNvPr>
              <p:cNvSpPr/>
              <p:nvPr userDrawn="1"/>
            </p:nvSpPr>
            <p:spPr>
              <a:xfrm>
                <a:off x="5226343" y="6200506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2" y="341920"/>
                      <a:pt x="0" y="265379"/>
                      <a:pt x="0" y="170960"/>
                    </a:cubicBezTo>
                    <a:cubicBezTo>
                      <a:pt x="0" y="76541"/>
                      <a:pt x="76542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Полилиния: фигура 50">
                <a:extLst>
                  <a:ext uri="{FF2B5EF4-FFF2-40B4-BE49-F238E27FC236}">
                    <a16:creationId xmlns:a16="http://schemas.microsoft.com/office/drawing/2014/main" id="{A1867F93-FB8B-B633-D8E3-07D0B8ADBE26}"/>
                  </a:ext>
                </a:extLst>
              </p:cNvPr>
              <p:cNvSpPr/>
              <p:nvPr userDrawn="1"/>
            </p:nvSpPr>
            <p:spPr>
              <a:xfrm>
                <a:off x="5094572" y="6068734"/>
                <a:ext cx="605463" cy="605463"/>
              </a:xfrm>
              <a:custGeom>
                <a:avLst/>
                <a:gdLst>
                  <a:gd name="connsiteX0" fmla="*/ 299524 w 605463"/>
                  <a:gd name="connsiteY0" fmla="*/ -240 h 605463"/>
                  <a:gd name="connsiteX1" fmla="*/ 270132 w 605463"/>
                  <a:gd name="connsiteY1" fmla="*/ 29151 h 605463"/>
                  <a:gd name="connsiteX2" fmla="*/ 270132 w 605463"/>
                  <a:gd name="connsiteY2" fmla="*/ 72847 h 605463"/>
                  <a:gd name="connsiteX3" fmla="*/ 299524 w 605463"/>
                  <a:gd name="connsiteY3" fmla="*/ 102238 h 605463"/>
                  <a:gd name="connsiteX4" fmla="*/ 328915 w 605463"/>
                  <a:gd name="connsiteY4" fmla="*/ 72847 h 605463"/>
                  <a:gd name="connsiteX5" fmla="*/ 328915 w 605463"/>
                  <a:gd name="connsiteY5" fmla="*/ 29151 h 605463"/>
                  <a:gd name="connsiteX6" fmla="*/ 299524 w 605463"/>
                  <a:gd name="connsiteY6" fmla="*/ -240 h 605463"/>
                  <a:gd name="connsiteX7" fmla="*/ 299524 w 605463"/>
                  <a:gd name="connsiteY7" fmla="*/ 502745 h 605463"/>
                  <a:gd name="connsiteX8" fmla="*/ 270132 w 605463"/>
                  <a:gd name="connsiteY8" fmla="*/ 532137 h 605463"/>
                  <a:gd name="connsiteX9" fmla="*/ 270132 w 605463"/>
                  <a:gd name="connsiteY9" fmla="*/ 575832 h 605463"/>
                  <a:gd name="connsiteX10" fmla="*/ 299524 w 605463"/>
                  <a:gd name="connsiteY10" fmla="*/ 605223 h 605463"/>
                  <a:gd name="connsiteX11" fmla="*/ 328915 w 605463"/>
                  <a:gd name="connsiteY11" fmla="*/ 575832 h 605463"/>
                  <a:gd name="connsiteX12" fmla="*/ 328915 w 605463"/>
                  <a:gd name="connsiteY12" fmla="*/ 532137 h 605463"/>
                  <a:gd name="connsiteX13" fmla="*/ 299524 w 605463"/>
                  <a:gd name="connsiteY13" fmla="*/ 502745 h 605463"/>
                  <a:gd name="connsiteX14" fmla="*/ 99271 w 605463"/>
                  <a:gd name="connsiteY14" fmla="*/ 302492 h 605463"/>
                  <a:gd name="connsiteX15" fmla="*/ 69879 w 605463"/>
                  <a:gd name="connsiteY15" fmla="*/ 273100 h 605463"/>
                  <a:gd name="connsiteX16" fmla="*/ 26184 w 605463"/>
                  <a:gd name="connsiteY16" fmla="*/ 273100 h 605463"/>
                  <a:gd name="connsiteX17" fmla="*/ -3207 w 605463"/>
                  <a:gd name="connsiteY17" fmla="*/ 302492 h 605463"/>
                  <a:gd name="connsiteX18" fmla="*/ 26184 w 605463"/>
                  <a:gd name="connsiteY18" fmla="*/ 331883 h 605463"/>
                  <a:gd name="connsiteX19" fmla="*/ 69879 w 605463"/>
                  <a:gd name="connsiteY19" fmla="*/ 331883 h 605463"/>
                  <a:gd name="connsiteX20" fmla="*/ 99271 w 605463"/>
                  <a:gd name="connsiteY20" fmla="*/ 302492 h 605463"/>
                  <a:gd name="connsiteX21" fmla="*/ 572865 w 605463"/>
                  <a:gd name="connsiteY21" fmla="*/ 273100 h 605463"/>
                  <a:gd name="connsiteX22" fmla="*/ 529168 w 605463"/>
                  <a:gd name="connsiteY22" fmla="*/ 273100 h 605463"/>
                  <a:gd name="connsiteX23" fmla="*/ 499777 w 605463"/>
                  <a:gd name="connsiteY23" fmla="*/ 302492 h 605463"/>
                  <a:gd name="connsiteX24" fmla="*/ 529168 w 605463"/>
                  <a:gd name="connsiteY24" fmla="*/ 331883 h 605463"/>
                  <a:gd name="connsiteX25" fmla="*/ 572865 w 605463"/>
                  <a:gd name="connsiteY25" fmla="*/ 331883 h 605463"/>
                  <a:gd name="connsiteX26" fmla="*/ 602257 w 605463"/>
                  <a:gd name="connsiteY26" fmla="*/ 302492 h 605463"/>
                  <a:gd name="connsiteX27" fmla="*/ 572865 w 605463"/>
                  <a:gd name="connsiteY27" fmla="*/ 273100 h 605463"/>
                  <a:gd name="connsiteX28" fmla="*/ 126997 w 605463"/>
                  <a:gd name="connsiteY28" fmla="*/ 88424 h 605463"/>
                  <a:gd name="connsiteX29" fmla="*/ 85457 w 605463"/>
                  <a:gd name="connsiteY29" fmla="*/ 86955 h 605463"/>
                  <a:gd name="connsiteX30" fmla="*/ 83986 w 605463"/>
                  <a:gd name="connsiteY30" fmla="*/ 128494 h 605463"/>
                  <a:gd name="connsiteX31" fmla="*/ 85457 w 605463"/>
                  <a:gd name="connsiteY31" fmla="*/ 129964 h 605463"/>
                  <a:gd name="connsiteX32" fmla="*/ 116317 w 605463"/>
                  <a:gd name="connsiteY32" fmla="*/ 160923 h 605463"/>
                  <a:gd name="connsiteX33" fmla="*/ 157955 w 605463"/>
                  <a:gd name="connsiteY33" fmla="*/ 160923 h 605463"/>
                  <a:gd name="connsiteX34" fmla="*/ 157955 w 605463"/>
                  <a:gd name="connsiteY34" fmla="*/ 119285 h 605463"/>
                  <a:gd name="connsiteX35" fmla="*/ 482730 w 605463"/>
                  <a:gd name="connsiteY35" fmla="*/ 444061 h 605463"/>
                  <a:gd name="connsiteX36" fmla="*/ 441092 w 605463"/>
                  <a:gd name="connsiteY36" fmla="*/ 444061 h 605463"/>
                  <a:gd name="connsiteX37" fmla="*/ 441092 w 605463"/>
                  <a:gd name="connsiteY37" fmla="*/ 485698 h 605463"/>
                  <a:gd name="connsiteX38" fmla="*/ 472052 w 605463"/>
                  <a:gd name="connsiteY38" fmla="*/ 516559 h 605463"/>
                  <a:gd name="connsiteX39" fmla="*/ 513592 w 605463"/>
                  <a:gd name="connsiteY39" fmla="*/ 516559 h 605463"/>
                  <a:gd name="connsiteX40" fmla="*/ 513592 w 605463"/>
                  <a:gd name="connsiteY40" fmla="*/ 475019 h 605463"/>
                  <a:gd name="connsiteX41" fmla="*/ 116317 w 605463"/>
                  <a:gd name="connsiteY41" fmla="*/ 444061 h 605463"/>
                  <a:gd name="connsiteX42" fmla="*/ 85457 w 605463"/>
                  <a:gd name="connsiteY42" fmla="*/ 475019 h 605463"/>
                  <a:gd name="connsiteX43" fmla="*/ 85457 w 605463"/>
                  <a:gd name="connsiteY43" fmla="*/ 516589 h 605463"/>
                  <a:gd name="connsiteX44" fmla="*/ 106226 w 605463"/>
                  <a:gd name="connsiteY44" fmla="*/ 525181 h 605463"/>
                  <a:gd name="connsiteX45" fmla="*/ 126997 w 605463"/>
                  <a:gd name="connsiteY45" fmla="*/ 516559 h 605463"/>
                  <a:gd name="connsiteX46" fmla="*/ 157955 w 605463"/>
                  <a:gd name="connsiteY46" fmla="*/ 485698 h 605463"/>
                  <a:gd name="connsiteX47" fmla="*/ 157955 w 605463"/>
                  <a:gd name="connsiteY47" fmla="*/ 444061 h 605463"/>
                  <a:gd name="connsiteX48" fmla="*/ 116317 w 605463"/>
                  <a:gd name="connsiteY48" fmla="*/ 444061 h 605463"/>
                  <a:gd name="connsiteX49" fmla="*/ 461961 w 605463"/>
                  <a:gd name="connsiteY49" fmla="*/ 169740 h 605463"/>
                  <a:gd name="connsiteX50" fmla="*/ 482730 w 605463"/>
                  <a:gd name="connsiteY50" fmla="*/ 161217 h 605463"/>
                  <a:gd name="connsiteX51" fmla="*/ 513592 w 605463"/>
                  <a:gd name="connsiteY51" fmla="*/ 130258 h 605463"/>
                  <a:gd name="connsiteX52" fmla="*/ 512121 w 605463"/>
                  <a:gd name="connsiteY52" fmla="*/ 88718 h 605463"/>
                  <a:gd name="connsiteX53" fmla="*/ 472052 w 605463"/>
                  <a:gd name="connsiteY53" fmla="*/ 88718 h 605463"/>
                  <a:gd name="connsiteX54" fmla="*/ 441092 w 605463"/>
                  <a:gd name="connsiteY54" fmla="*/ 119579 h 605463"/>
                  <a:gd name="connsiteX55" fmla="*/ 441092 w 605463"/>
                  <a:gd name="connsiteY55" fmla="*/ 161148 h 605463"/>
                  <a:gd name="connsiteX56" fmla="*/ 461961 w 605463"/>
                  <a:gd name="connsiteY56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5463" h="605463">
                    <a:moveTo>
                      <a:pt x="299524" y="-240"/>
                    </a:moveTo>
                    <a:cubicBezTo>
                      <a:pt x="283261" y="-240"/>
                      <a:pt x="270132" y="12917"/>
                      <a:pt x="270132" y="29151"/>
                    </a:cubicBezTo>
                    <a:lnTo>
                      <a:pt x="270132" y="72847"/>
                    </a:lnTo>
                    <a:cubicBezTo>
                      <a:pt x="270132" y="89081"/>
                      <a:pt x="283261" y="102238"/>
                      <a:pt x="299524" y="102238"/>
                    </a:cubicBezTo>
                    <a:cubicBezTo>
                      <a:pt x="315786" y="102238"/>
                      <a:pt x="328915" y="89081"/>
                      <a:pt x="328915" y="72847"/>
                    </a:cubicBezTo>
                    <a:lnTo>
                      <a:pt x="328915" y="29151"/>
                    </a:lnTo>
                    <a:cubicBezTo>
                      <a:pt x="328915" y="12917"/>
                      <a:pt x="315786" y="-240"/>
                      <a:pt x="299524" y="-240"/>
                    </a:cubicBezTo>
                    <a:close/>
                    <a:moveTo>
                      <a:pt x="299524" y="502745"/>
                    </a:moveTo>
                    <a:cubicBezTo>
                      <a:pt x="283261" y="502745"/>
                      <a:pt x="270132" y="515903"/>
                      <a:pt x="270132" y="532137"/>
                    </a:cubicBezTo>
                    <a:lnTo>
                      <a:pt x="270132" y="575832"/>
                    </a:lnTo>
                    <a:cubicBezTo>
                      <a:pt x="270132" y="592066"/>
                      <a:pt x="283261" y="605223"/>
                      <a:pt x="299524" y="605223"/>
                    </a:cubicBezTo>
                    <a:cubicBezTo>
                      <a:pt x="315786" y="605223"/>
                      <a:pt x="328915" y="592066"/>
                      <a:pt x="328915" y="575832"/>
                    </a:cubicBezTo>
                    <a:lnTo>
                      <a:pt x="328915" y="532137"/>
                    </a:lnTo>
                    <a:cubicBezTo>
                      <a:pt x="328915" y="515903"/>
                      <a:pt x="315786" y="502745"/>
                      <a:pt x="299524" y="502745"/>
                    </a:cubicBezTo>
                    <a:close/>
                    <a:moveTo>
                      <a:pt x="99271" y="302492"/>
                    </a:moveTo>
                    <a:cubicBezTo>
                      <a:pt x="99271" y="286258"/>
                      <a:pt x="86141" y="273100"/>
                      <a:pt x="69879" y="273100"/>
                    </a:cubicBezTo>
                    <a:lnTo>
                      <a:pt x="26184" y="273100"/>
                    </a:lnTo>
                    <a:cubicBezTo>
                      <a:pt x="9919" y="273100"/>
                      <a:pt x="-3207" y="286258"/>
                      <a:pt x="-3207" y="302492"/>
                    </a:cubicBezTo>
                    <a:cubicBezTo>
                      <a:pt x="-3207" y="318726"/>
                      <a:pt x="9919" y="331883"/>
                      <a:pt x="26184" y="331883"/>
                    </a:cubicBezTo>
                    <a:lnTo>
                      <a:pt x="69879" y="331883"/>
                    </a:lnTo>
                    <a:cubicBezTo>
                      <a:pt x="86141" y="331883"/>
                      <a:pt x="99271" y="318726"/>
                      <a:pt x="99271" y="302492"/>
                    </a:cubicBezTo>
                    <a:close/>
                    <a:moveTo>
                      <a:pt x="572865" y="273100"/>
                    </a:moveTo>
                    <a:lnTo>
                      <a:pt x="529168" y="273100"/>
                    </a:lnTo>
                    <a:cubicBezTo>
                      <a:pt x="512906" y="273100"/>
                      <a:pt x="499777" y="286258"/>
                      <a:pt x="499777" y="302492"/>
                    </a:cubicBezTo>
                    <a:cubicBezTo>
                      <a:pt x="499777" y="318726"/>
                      <a:pt x="512906" y="331883"/>
                      <a:pt x="529168" y="331883"/>
                    </a:cubicBezTo>
                    <a:lnTo>
                      <a:pt x="572865" y="331883"/>
                    </a:lnTo>
                    <a:cubicBezTo>
                      <a:pt x="589128" y="331883"/>
                      <a:pt x="602257" y="318726"/>
                      <a:pt x="602257" y="302492"/>
                    </a:cubicBezTo>
                    <a:cubicBezTo>
                      <a:pt x="602257" y="286258"/>
                      <a:pt x="589128" y="273100"/>
                      <a:pt x="572865" y="273100"/>
                    </a:cubicBezTo>
                    <a:close/>
                    <a:moveTo>
                      <a:pt x="126997" y="88424"/>
                    </a:moveTo>
                    <a:cubicBezTo>
                      <a:pt x="115925" y="76550"/>
                      <a:pt x="97312" y="75894"/>
                      <a:pt x="85457" y="86955"/>
                    </a:cubicBezTo>
                    <a:cubicBezTo>
                      <a:pt x="73601" y="98025"/>
                      <a:pt x="72917" y="116620"/>
                      <a:pt x="83986" y="128494"/>
                    </a:cubicBezTo>
                    <a:cubicBezTo>
                      <a:pt x="84477" y="129004"/>
                      <a:pt x="84967" y="129494"/>
                      <a:pt x="85457" y="129964"/>
                    </a:cubicBezTo>
                    <a:lnTo>
                      <a:pt x="116317" y="160923"/>
                    </a:lnTo>
                    <a:cubicBezTo>
                      <a:pt x="127779" y="172425"/>
                      <a:pt x="146493" y="172425"/>
                      <a:pt x="157955" y="160923"/>
                    </a:cubicBezTo>
                    <a:cubicBezTo>
                      <a:pt x="169417" y="149421"/>
                      <a:pt x="169417" y="130787"/>
                      <a:pt x="157955" y="119285"/>
                    </a:cubicBezTo>
                    <a:close/>
                    <a:moveTo>
                      <a:pt x="482730" y="444061"/>
                    </a:moveTo>
                    <a:cubicBezTo>
                      <a:pt x="471268" y="432559"/>
                      <a:pt x="452556" y="432559"/>
                      <a:pt x="441092" y="444061"/>
                    </a:cubicBezTo>
                    <a:cubicBezTo>
                      <a:pt x="429630" y="455562"/>
                      <a:pt x="429630" y="474196"/>
                      <a:pt x="441092" y="485698"/>
                    </a:cubicBezTo>
                    <a:lnTo>
                      <a:pt x="472052" y="516559"/>
                    </a:lnTo>
                    <a:cubicBezTo>
                      <a:pt x="483514" y="528022"/>
                      <a:pt x="502128" y="528022"/>
                      <a:pt x="513592" y="516559"/>
                    </a:cubicBezTo>
                    <a:cubicBezTo>
                      <a:pt x="525054" y="505087"/>
                      <a:pt x="525054" y="486492"/>
                      <a:pt x="513592" y="475019"/>
                    </a:cubicBezTo>
                    <a:close/>
                    <a:moveTo>
                      <a:pt x="116317" y="444061"/>
                    </a:moveTo>
                    <a:lnTo>
                      <a:pt x="85457" y="475019"/>
                    </a:lnTo>
                    <a:cubicBezTo>
                      <a:pt x="73993" y="486502"/>
                      <a:pt x="73993" y="505116"/>
                      <a:pt x="85457" y="516589"/>
                    </a:cubicBezTo>
                    <a:cubicBezTo>
                      <a:pt x="90942" y="522085"/>
                      <a:pt x="98486" y="525171"/>
                      <a:pt x="106226" y="525181"/>
                    </a:cubicBezTo>
                    <a:cubicBezTo>
                      <a:pt x="114064" y="525171"/>
                      <a:pt x="121510" y="522075"/>
                      <a:pt x="126997" y="516559"/>
                    </a:cubicBezTo>
                    <a:lnTo>
                      <a:pt x="157955" y="485698"/>
                    </a:lnTo>
                    <a:cubicBezTo>
                      <a:pt x="169417" y="474196"/>
                      <a:pt x="169417" y="455562"/>
                      <a:pt x="157955" y="444061"/>
                    </a:cubicBezTo>
                    <a:cubicBezTo>
                      <a:pt x="146493" y="432559"/>
                      <a:pt x="127779" y="432559"/>
                      <a:pt x="116317" y="444061"/>
                    </a:cubicBezTo>
                    <a:close/>
                    <a:moveTo>
                      <a:pt x="461961" y="169740"/>
                    </a:moveTo>
                    <a:cubicBezTo>
                      <a:pt x="469701" y="169760"/>
                      <a:pt x="477245" y="166694"/>
                      <a:pt x="482730" y="161217"/>
                    </a:cubicBezTo>
                    <a:lnTo>
                      <a:pt x="513592" y="130258"/>
                    </a:lnTo>
                    <a:cubicBezTo>
                      <a:pt x="524662" y="118384"/>
                      <a:pt x="523975" y="99789"/>
                      <a:pt x="512121" y="88718"/>
                    </a:cubicBezTo>
                    <a:cubicBezTo>
                      <a:pt x="500855" y="78196"/>
                      <a:pt x="483318" y="78196"/>
                      <a:pt x="472052" y="88718"/>
                    </a:cubicBezTo>
                    <a:lnTo>
                      <a:pt x="441092" y="119579"/>
                    </a:lnTo>
                    <a:cubicBezTo>
                      <a:pt x="429630" y="131061"/>
                      <a:pt x="429630" y="149676"/>
                      <a:pt x="441092" y="161148"/>
                    </a:cubicBezTo>
                    <a:cubicBezTo>
                      <a:pt x="446677" y="166664"/>
                      <a:pt x="454123" y="169760"/>
                      <a:pt x="461961" y="1697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5" name="Полилиния: фигура 52">
              <a:extLst>
                <a:ext uri="{FF2B5EF4-FFF2-40B4-BE49-F238E27FC236}">
                  <a16:creationId xmlns:a16="http://schemas.microsoft.com/office/drawing/2014/main" id="{2BEBA008-9D8E-B612-6D74-7BA0ED06E2B4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Полилиния: фигура 53">
              <a:extLst>
                <a:ext uri="{FF2B5EF4-FFF2-40B4-BE49-F238E27FC236}">
                  <a16:creationId xmlns:a16="http://schemas.microsoft.com/office/drawing/2014/main" id="{EBFCDC05-7D2B-F87E-3430-3371007F1F4F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Полилиния: фигура 54">
              <a:extLst>
                <a:ext uri="{FF2B5EF4-FFF2-40B4-BE49-F238E27FC236}">
                  <a16:creationId xmlns:a16="http://schemas.microsoft.com/office/drawing/2014/main" id="{044E6A5C-147D-9D07-B80F-DC0BF76FAD0D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55">
              <a:extLst>
                <a:ext uri="{FF2B5EF4-FFF2-40B4-BE49-F238E27FC236}">
                  <a16:creationId xmlns:a16="http://schemas.microsoft.com/office/drawing/2014/main" id="{6A1BF84E-F638-1593-8342-EEBE750D39CF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4BF8E173-FACE-ED4C-FDD4-55EC1D155F37}"/>
              </a:ext>
            </a:extLst>
          </p:cNvPr>
          <p:cNvGrpSpPr/>
          <p:nvPr/>
        </p:nvGrpSpPr>
        <p:grpSpPr>
          <a:xfrm>
            <a:off x="6436154" y="-838"/>
            <a:ext cx="5755846" cy="6858838"/>
            <a:chOff x="6436154" y="-838"/>
            <a:chExt cx="5755846" cy="6858838"/>
          </a:xfrm>
        </p:grpSpPr>
        <p:sp>
          <p:nvSpPr>
            <p:cNvPr id="162" name="Полилиния: фигура 29">
              <a:extLst>
                <a:ext uri="{FF2B5EF4-FFF2-40B4-BE49-F238E27FC236}">
                  <a16:creationId xmlns:a16="http://schemas.microsoft.com/office/drawing/2014/main" id="{7AE37D25-279B-FAD5-AEE7-483751C79B9B}"/>
                </a:ext>
              </a:extLst>
            </p:cNvPr>
            <p:cNvSpPr/>
            <p:nvPr/>
          </p:nvSpPr>
          <p:spPr>
            <a:xfrm>
              <a:off x="9306282" y="5879124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Полилиния: фигура 30">
              <a:extLst>
                <a:ext uri="{FF2B5EF4-FFF2-40B4-BE49-F238E27FC236}">
                  <a16:creationId xmlns:a16="http://schemas.microsoft.com/office/drawing/2014/main" id="{AC1D7F98-B9D9-57B7-CC22-7DF1DAED54CF}"/>
                </a:ext>
              </a:extLst>
            </p:cNvPr>
            <p:cNvSpPr/>
            <p:nvPr/>
          </p:nvSpPr>
          <p:spPr>
            <a:xfrm>
              <a:off x="9795720" y="5879124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35">
              <a:extLst>
                <a:ext uri="{FF2B5EF4-FFF2-40B4-BE49-F238E27FC236}">
                  <a16:creationId xmlns:a16="http://schemas.microsoft.com/office/drawing/2014/main" id="{1EC629B3-F129-7CF7-A2BD-42A84E922D3C}"/>
                </a:ext>
              </a:extLst>
            </p:cNvPr>
            <p:cNvSpPr/>
            <p:nvPr/>
          </p:nvSpPr>
          <p:spPr>
            <a:xfrm rot="16200000">
              <a:off x="11213124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noFill/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Полилиния: фигура 32">
              <a:extLst>
                <a:ext uri="{FF2B5EF4-FFF2-40B4-BE49-F238E27FC236}">
                  <a16:creationId xmlns:a16="http://schemas.microsoft.com/office/drawing/2014/main" id="{9399CA00-A682-3BD2-C663-F3FEA23DE7A8}"/>
                </a:ext>
              </a:extLst>
            </p:cNvPr>
            <p:cNvSpPr/>
            <p:nvPr/>
          </p:nvSpPr>
          <p:spPr>
            <a:xfrm rot="5400000">
              <a:off x="10234009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Полилиния: фигура 37">
              <a:extLst>
                <a:ext uri="{FF2B5EF4-FFF2-40B4-BE49-F238E27FC236}">
                  <a16:creationId xmlns:a16="http://schemas.microsoft.com/office/drawing/2014/main" id="{771D2AE4-D7A7-37B7-2A9F-C9F8B9B1DF1A}"/>
                </a:ext>
              </a:extLst>
            </p:cNvPr>
            <p:cNvSpPr/>
            <p:nvPr/>
          </p:nvSpPr>
          <p:spPr>
            <a:xfrm>
              <a:off x="10478966" y="6123843"/>
              <a:ext cx="489438" cy="489438"/>
            </a:xfrm>
            <a:custGeom>
              <a:avLst/>
              <a:gdLst>
                <a:gd name="connsiteX0" fmla="*/ 489438 w 489438"/>
                <a:gd name="connsiteY0" fmla="*/ 244719 h 489438"/>
                <a:gd name="connsiteX1" fmla="*/ 244719 w 489438"/>
                <a:gd name="connsiteY1" fmla="*/ 489438 h 489438"/>
                <a:gd name="connsiteX2" fmla="*/ 0 w 489438"/>
                <a:gd name="connsiteY2" fmla="*/ 244719 h 489438"/>
                <a:gd name="connsiteX3" fmla="*/ 244719 w 489438"/>
                <a:gd name="connsiteY3" fmla="*/ 0 h 489438"/>
                <a:gd name="connsiteX4" fmla="*/ 489438 w 489438"/>
                <a:gd name="connsiteY4" fmla="*/ 244719 h 48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438" h="489438">
                  <a:moveTo>
                    <a:pt x="489438" y="244719"/>
                  </a:moveTo>
                  <a:cubicBezTo>
                    <a:pt x="489438" y="379874"/>
                    <a:pt x="379874" y="489438"/>
                    <a:pt x="244719" y="489438"/>
                  </a:cubicBezTo>
                  <a:cubicBezTo>
                    <a:pt x="109564" y="489438"/>
                    <a:pt x="0" y="379874"/>
                    <a:pt x="0" y="244719"/>
                  </a:cubicBezTo>
                  <a:cubicBezTo>
                    <a:pt x="0" y="109564"/>
                    <a:pt x="109564" y="0"/>
                    <a:pt x="244719" y="0"/>
                  </a:cubicBezTo>
                  <a:cubicBezTo>
                    <a:pt x="379874" y="0"/>
                    <a:pt x="489438" y="109564"/>
                    <a:pt x="489438" y="244719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Полилиния: фигура 36">
              <a:extLst>
                <a:ext uri="{FF2B5EF4-FFF2-40B4-BE49-F238E27FC236}">
                  <a16:creationId xmlns:a16="http://schemas.microsoft.com/office/drawing/2014/main" id="{97BFECD6-3F78-D810-D06D-4DB788A24550}"/>
                </a:ext>
              </a:extLst>
            </p:cNvPr>
            <p:cNvSpPr/>
            <p:nvPr/>
          </p:nvSpPr>
          <p:spPr>
            <a:xfrm rot="5400000">
              <a:off x="10234247" y="4900247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38">
              <a:extLst>
                <a:ext uri="{FF2B5EF4-FFF2-40B4-BE49-F238E27FC236}">
                  <a16:creationId xmlns:a16="http://schemas.microsoft.com/office/drawing/2014/main" id="{541C9ACD-568F-8637-D608-4D98DE612750}"/>
                </a:ext>
              </a:extLst>
            </p:cNvPr>
            <p:cNvSpPr/>
            <p:nvPr/>
          </p:nvSpPr>
          <p:spPr>
            <a:xfrm>
              <a:off x="10234247" y="4900247"/>
              <a:ext cx="978876" cy="978876"/>
            </a:xfrm>
            <a:custGeom>
              <a:avLst/>
              <a:gdLst>
                <a:gd name="connsiteX0" fmla="*/ 978567 w 978876"/>
                <a:gd name="connsiteY0" fmla="*/ -240 h 978876"/>
                <a:gd name="connsiteX1" fmla="*/ -310 w 978876"/>
                <a:gd name="connsiteY1" fmla="*/ 978637 h 978876"/>
                <a:gd name="connsiteX2" fmla="*/ 978567 w 978876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8876" h="978876">
                  <a:moveTo>
                    <a:pt x="978567" y="-240"/>
                  </a:moveTo>
                  <a:cubicBezTo>
                    <a:pt x="437953" y="-240"/>
                    <a:pt x="-310" y="438022"/>
                    <a:pt x="-310" y="978637"/>
                  </a:cubicBezTo>
                  <a:cubicBezTo>
                    <a:pt x="540304" y="978637"/>
                    <a:pt x="978567" y="540374"/>
                    <a:pt x="978567" y="-240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Полилиния: фигура 39">
              <a:extLst>
                <a:ext uri="{FF2B5EF4-FFF2-40B4-BE49-F238E27FC236}">
                  <a16:creationId xmlns:a16="http://schemas.microsoft.com/office/drawing/2014/main" id="{2CEFE2E8-C801-B2DF-C309-266491FD61D3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Полилиния: фигура 40">
              <a:extLst>
                <a:ext uri="{FF2B5EF4-FFF2-40B4-BE49-F238E27FC236}">
                  <a16:creationId xmlns:a16="http://schemas.microsoft.com/office/drawing/2014/main" id="{5A76BE50-F569-D366-7AB1-3FACC18FC8FD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Полилиния: фигура 41">
              <a:extLst>
                <a:ext uri="{FF2B5EF4-FFF2-40B4-BE49-F238E27FC236}">
                  <a16:creationId xmlns:a16="http://schemas.microsoft.com/office/drawing/2014/main" id="{FE22727D-1C1D-4E79-495B-FC295573D98A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Полилиния: фигура 42">
              <a:extLst>
                <a:ext uri="{FF2B5EF4-FFF2-40B4-BE49-F238E27FC236}">
                  <a16:creationId xmlns:a16="http://schemas.microsoft.com/office/drawing/2014/main" id="{77B5FFA8-6C14-166E-0498-93163BC1066B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Полилиния: фигура 43">
              <a:extLst>
                <a:ext uri="{FF2B5EF4-FFF2-40B4-BE49-F238E27FC236}">
                  <a16:creationId xmlns:a16="http://schemas.microsoft.com/office/drawing/2014/main" id="{DFC74432-806C-FE9B-3172-74E47A38D527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2"/>
                </a:solidFill>
              </a:endParaRPr>
            </a:p>
          </p:txBody>
        </p:sp>
        <p:grpSp>
          <p:nvGrpSpPr>
            <p:cNvPr id="174" name="Группа 145">
              <a:extLst>
                <a:ext uri="{FF2B5EF4-FFF2-40B4-BE49-F238E27FC236}">
                  <a16:creationId xmlns:a16="http://schemas.microsoft.com/office/drawing/2014/main" id="{BBD5BFD8-DD3E-902E-5832-1A201C6D220F}"/>
                </a:ext>
              </a:extLst>
            </p:cNvPr>
            <p:cNvGrpSpPr/>
            <p:nvPr/>
          </p:nvGrpSpPr>
          <p:grpSpPr>
            <a:xfrm>
              <a:off x="11482993" y="6055615"/>
              <a:ext cx="204201" cy="625502"/>
              <a:chOff x="11482993" y="6055615"/>
              <a:chExt cx="204201" cy="625502"/>
            </a:xfrm>
          </p:grpSpPr>
          <p:sp>
            <p:nvSpPr>
              <p:cNvPr id="244" name="Полилиния: фигура 44">
                <a:extLst>
                  <a:ext uri="{FF2B5EF4-FFF2-40B4-BE49-F238E27FC236}">
                    <a16:creationId xmlns:a16="http://schemas.microsoft.com/office/drawing/2014/main" id="{BBA50A16-7AD7-629F-F2D8-D5EC976D3A5E}"/>
                  </a:ext>
                </a:extLst>
              </p:cNvPr>
              <p:cNvSpPr/>
              <p:nvPr/>
            </p:nvSpPr>
            <p:spPr>
              <a:xfrm>
                <a:off x="11547704" y="6327156"/>
                <a:ext cx="74786" cy="353961"/>
              </a:xfrm>
              <a:custGeom>
                <a:avLst/>
                <a:gdLst>
                  <a:gd name="connsiteX0" fmla="*/ 37083 w 74786"/>
                  <a:gd name="connsiteY0" fmla="*/ 353722 h 353961"/>
                  <a:gd name="connsiteX1" fmla="*/ 37083 w 74786"/>
                  <a:gd name="connsiteY1" fmla="*/ 353722 h 353961"/>
                  <a:gd name="connsiteX2" fmla="*/ 74476 w 74786"/>
                  <a:gd name="connsiteY2" fmla="*/ 316328 h 353961"/>
                  <a:gd name="connsiteX3" fmla="*/ 74476 w 74786"/>
                  <a:gd name="connsiteY3" fmla="*/ -240 h 353961"/>
                  <a:gd name="connsiteX4" fmla="*/ -310 w 74786"/>
                  <a:gd name="connsiteY4" fmla="*/ -240 h 353961"/>
                  <a:gd name="connsiteX5" fmla="*/ -310 w 74786"/>
                  <a:gd name="connsiteY5" fmla="*/ 316328 h 353961"/>
                  <a:gd name="connsiteX6" fmla="*/ 37083 w 74786"/>
                  <a:gd name="connsiteY6" fmla="*/ 353722 h 353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353961">
                    <a:moveTo>
                      <a:pt x="37083" y="353722"/>
                    </a:moveTo>
                    <a:lnTo>
                      <a:pt x="37083" y="353722"/>
                    </a:lnTo>
                    <a:cubicBezTo>
                      <a:pt x="57737" y="353722"/>
                      <a:pt x="74476" y="336983"/>
                      <a:pt x="74476" y="316328"/>
                    </a:cubicBezTo>
                    <a:lnTo>
                      <a:pt x="74476" y="-240"/>
                    </a:lnTo>
                    <a:lnTo>
                      <a:pt x="-310" y="-240"/>
                    </a:lnTo>
                    <a:lnTo>
                      <a:pt x="-310" y="316328"/>
                    </a:lnTo>
                    <a:cubicBezTo>
                      <a:pt x="-310" y="336983"/>
                      <a:pt x="16429" y="353722"/>
                      <a:pt x="37083" y="353722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Полилиния: фигура 45">
                <a:extLst>
                  <a:ext uri="{FF2B5EF4-FFF2-40B4-BE49-F238E27FC236}">
                    <a16:creationId xmlns:a16="http://schemas.microsoft.com/office/drawing/2014/main" id="{D5720F4F-4224-CC6B-B843-E58AA10355BA}"/>
                  </a:ext>
                </a:extLst>
              </p:cNvPr>
              <p:cNvSpPr/>
              <p:nvPr/>
            </p:nvSpPr>
            <p:spPr>
              <a:xfrm>
                <a:off x="11482993" y="6055615"/>
                <a:ext cx="204201" cy="288885"/>
              </a:xfrm>
              <a:custGeom>
                <a:avLst/>
                <a:gdLst>
                  <a:gd name="connsiteX0" fmla="*/ 162974 w 204201"/>
                  <a:gd name="connsiteY0" fmla="*/ 20512 h 288885"/>
                  <a:gd name="connsiteX1" fmla="*/ 162974 w 204201"/>
                  <a:gd name="connsiteY1" fmla="*/ 165875 h 288885"/>
                  <a:gd name="connsiteX2" fmla="*/ 143984 w 204201"/>
                  <a:gd name="connsiteY2" fmla="*/ 187694 h 288885"/>
                  <a:gd name="connsiteX3" fmla="*/ 122155 w 204201"/>
                  <a:gd name="connsiteY3" fmla="*/ 168704 h 288885"/>
                  <a:gd name="connsiteX4" fmla="*/ 122155 w 204201"/>
                  <a:gd name="connsiteY4" fmla="*/ 165875 h 288885"/>
                  <a:gd name="connsiteX5" fmla="*/ 122155 w 204201"/>
                  <a:gd name="connsiteY5" fmla="*/ 20512 h 288885"/>
                  <a:gd name="connsiteX6" fmla="*/ 101794 w 204201"/>
                  <a:gd name="connsiteY6" fmla="*/ 151 h 288885"/>
                  <a:gd name="connsiteX7" fmla="*/ 101794 w 204201"/>
                  <a:gd name="connsiteY7" fmla="*/ 151 h 288885"/>
                  <a:gd name="connsiteX8" fmla="*/ 81336 w 204201"/>
                  <a:gd name="connsiteY8" fmla="*/ 20512 h 288885"/>
                  <a:gd name="connsiteX9" fmla="*/ 81336 w 204201"/>
                  <a:gd name="connsiteY9" fmla="*/ 165875 h 288885"/>
                  <a:gd name="connsiteX10" fmla="*/ 62336 w 204201"/>
                  <a:gd name="connsiteY10" fmla="*/ 187694 h 288885"/>
                  <a:gd name="connsiteX11" fmla="*/ 40517 w 204201"/>
                  <a:gd name="connsiteY11" fmla="*/ 168704 h 288885"/>
                  <a:gd name="connsiteX12" fmla="*/ 40517 w 204201"/>
                  <a:gd name="connsiteY12" fmla="*/ 165875 h 288885"/>
                  <a:gd name="connsiteX13" fmla="*/ 40517 w 204201"/>
                  <a:gd name="connsiteY13" fmla="*/ 20512 h 288885"/>
                  <a:gd name="connsiteX14" fmla="*/ 18688 w 204201"/>
                  <a:gd name="connsiteY14" fmla="*/ 1522 h 288885"/>
                  <a:gd name="connsiteX15" fmla="*/ -302 w 204201"/>
                  <a:gd name="connsiteY15" fmla="*/ 20512 h 288885"/>
                  <a:gd name="connsiteX16" fmla="*/ -302 w 204201"/>
                  <a:gd name="connsiteY16" fmla="*/ 183201 h 288885"/>
                  <a:gd name="connsiteX17" fmla="*/ 99837 w 204201"/>
                  <a:gd name="connsiteY17" fmla="*/ 288626 h 288885"/>
                  <a:gd name="connsiteX18" fmla="*/ 203871 w 204201"/>
                  <a:gd name="connsiteY18" fmla="*/ 188507 h 288885"/>
                  <a:gd name="connsiteX19" fmla="*/ 203891 w 204201"/>
                  <a:gd name="connsiteY19" fmla="*/ 186627 h 288885"/>
                  <a:gd name="connsiteX20" fmla="*/ 203891 w 204201"/>
                  <a:gd name="connsiteY20" fmla="*/ 20218 h 288885"/>
                  <a:gd name="connsiteX21" fmla="*/ 183433 w 204201"/>
                  <a:gd name="connsiteY21" fmla="*/ -240 h 288885"/>
                  <a:gd name="connsiteX22" fmla="*/ 162974 w 204201"/>
                  <a:gd name="connsiteY22" fmla="*/ 20218 h 28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201" h="288885">
                    <a:moveTo>
                      <a:pt x="162974" y="20512"/>
                    </a:moveTo>
                    <a:lnTo>
                      <a:pt x="162974" y="165875"/>
                    </a:lnTo>
                    <a:cubicBezTo>
                      <a:pt x="163757" y="177142"/>
                      <a:pt x="155251" y="186921"/>
                      <a:pt x="143984" y="187694"/>
                    </a:cubicBezTo>
                    <a:cubicBezTo>
                      <a:pt x="132708" y="188478"/>
                      <a:pt x="122938" y="179971"/>
                      <a:pt x="122155" y="168704"/>
                    </a:cubicBezTo>
                    <a:cubicBezTo>
                      <a:pt x="122087" y="167764"/>
                      <a:pt x="122087" y="166815"/>
                      <a:pt x="122155" y="165875"/>
                    </a:cubicBezTo>
                    <a:lnTo>
                      <a:pt x="122155" y="20512"/>
                    </a:lnTo>
                    <a:cubicBezTo>
                      <a:pt x="122155" y="9264"/>
                      <a:pt x="113042" y="151"/>
                      <a:pt x="101794" y="151"/>
                    </a:cubicBezTo>
                    <a:lnTo>
                      <a:pt x="101794" y="151"/>
                    </a:lnTo>
                    <a:cubicBezTo>
                      <a:pt x="90537" y="151"/>
                      <a:pt x="81395" y="9255"/>
                      <a:pt x="81336" y="20512"/>
                    </a:cubicBezTo>
                    <a:lnTo>
                      <a:pt x="81336" y="165875"/>
                    </a:lnTo>
                    <a:cubicBezTo>
                      <a:pt x="82119" y="177142"/>
                      <a:pt x="73612" y="186921"/>
                      <a:pt x="62336" y="187694"/>
                    </a:cubicBezTo>
                    <a:cubicBezTo>
                      <a:pt x="51069" y="188478"/>
                      <a:pt x="41300" y="179971"/>
                      <a:pt x="40517" y="168704"/>
                    </a:cubicBezTo>
                    <a:cubicBezTo>
                      <a:pt x="40448" y="167764"/>
                      <a:pt x="40448" y="166815"/>
                      <a:pt x="40517" y="165875"/>
                    </a:cubicBezTo>
                    <a:lnTo>
                      <a:pt x="40517" y="20512"/>
                    </a:lnTo>
                    <a:cubicBezTo>
                      <a:pt x="39733" y="9245"/>
                      <a:pt x="29964" y="739"/>
                      <a:pt x="18688" y="1522"/>
                    </a:cubicBezTo>
                    <a:cubicBezTo>
                      <a:pt x="8507" y="2226"/>
                      <a:pt x="403" y="10331"/>
                      <a:pt x="-302" y="20512"/>
                    </a:cubicBezTo>
                    <a:lnTo>
                      <a:pt x="-302" y="183201"/>
                    </a:lnTo>
                    <a:cubicBezTo>
                      <a:pt x="-978" y="239663"/>
                      <a:pt x="43414" y="286404"/>
                      <a:pt x="99837" y="288626"/>
                    </a:cubicBezTo>
                    <a:cubicBezTo>
                      <a:pt x="156210" y="289713"/>
                      <a:pt x="202795" y="244880"/>
                      <a:pt x="203871" y="188507"/>
                    </a:cubicBezTo>
                    <a:cubicBezTo>
                      <a:pt x="203882" y="187880"/>
                      <a:pt x="203891" y="187254"/>
                      <a:pt x="203891" y="186627"/>
                    </a:cubicBezTo>
                    <a:lnTo>
                      <a:pt x="203891" y="20218"/>
                    </a:lnTo>
                    <a:cubicBezTo>
                      <a:pt x="203891" y="8922"/>
                      <a:pt x="194729" y="-240"/>
                      <a:pt x="183433" y="-240"/>
                    </a:cubicBezTo>
                    <a:cubicBezTo>
                      <a:pt x="172136" y="-240"/>
                      <a:pt x="162974" y="8922"/>
                      <a:pt x="162974" y="20218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75" name="Группа 146">
              <a:extLst>
                <a:ext uri="{FF2B5EF4-FFF2-40B4-BE49-F238E27FC236}">
                  <a16:creationId xmlns:a16="http://schemas.microsoft.com/office/drawing/2014/main" id="{3EC56F36-211F-8B4D-FCF9-75345C83DEBB}"/>
                </a:ext>
              </a:extLst>
            </p:cNvPr>
            <p:cNvGrpSpPr/>
            <p:nvPr/>
          </p:nvGrpSpPr>
          <p:grpSpPr>
            <a:xfrm>
              <a:off x="11717931" y="6056007"/>
              <a:ext cx="204193" cy="625110"/>
              <a:chOff x="11717931" y="6056007"/>
              <a:chExt cx="204193" cy="625110"/>
            </a:xfrm>
          </p:grpSpPr>
          <p:sp>
            <p:nvSpPr>
              <p:cNvPr id="242" name="Полилиния: фигура 46">
                <a:extLst>
                  <a:ext uri="{FF2B5EF4-FFF2-40B4-BE49-F238E27FC236}">
                    <a16:creationId xmlns:a16="http://schemas.microsoft.com/office/drawing/2014/main" id="{EE5E528E-80B1-3D17-9DD3-FCB9DE83E1B3}"/>
                  </a:ext>
                </a:extLst>
              </p:cNvPr>
              <p:cNvSpPr/>
              <p:nvPr/>
            </p:nvSpPr>
            <p:spPr>
              <a:xfrm>
                <a:off x="11782635" y="6056007"/>
                <a:ext cx="74786" cy="425224"/>
              </a:xfrm>
              <a:custGeom>
                <a:avLst/>
                <a:gdLst>
                  <a:gd name="connsiteX0" fmla="*/ 37083 w 74786"/>
                  <a:gd name="connsiteY0" fmla="*/ -240 h 425224"/>
                  <a:gd name="connsiteX1" fmla="*/ 37083 w 74786"/>
                  <a:gd name="connsiteY1" fmla="*/ -240 h 425224"/>
                  <a:gd name="connsiteX2" fmla="*/ -310 w 74786"/>
                  <a:gd name="connsiteY2" fmla="*/ 37153 h 425224"/>
                  <a:gd name="connsiteX3" fmla="*/ -310 w 74786"/>
                  <a:gd name="connsiteY3" fmla="*/ 424984 h 425224"/>
                  <a:gd name="connsiteX4" fmla="*/ 74476 w 74786"/>
                  <a:gd name="connsiteY4" fmla="*/ 424984 h 425224"/>
                  <a:gd name="connsiteX5" fmla="*/ 74476 w 74786"/>
                  <a:gd name="connsiteY5" fmla="*/ 37153 h 425224"/>
                  <a:gd name="connsiteX6" fmla="*/ 37083 w 74786"/>
                  <a:gd name="connsiteY6" fmla="*/ -240 h 42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425224">
                    <a:moveTo>
                      <a:pt x="37083" y="-240"/>
                    </a:moveTo>
                    <a:lnTo>
                      <a:pt x="37083" y="-240"/>
                    </a:lnTo>
                    <a:cubicBezTo>
                      <a:pt x="16429" y="-240"/>
                      <a:pt x="-310" y="16499"/>
                      <a:pt x="-310" y="37153"/>
                    </a:cubicBezTo>
                    <a:lnTo>
                      <a:pt x="-310" y="424984"/>
                    </a:lnTo>
                    <a:lnTo>
                      <a:pt x="74476" y="424984"/>
                    </a:lnTo>
                    <a:lnTo>
                      <a:pt x="74476" y="37153"/>
                    </a:lnTo>
                    <a:cubicBezTo>
                      <a:pt x="74476" y="16499"/>
                      <a:pt x="57737" y="-240"/>
                      <a:pt x="37083" y="-240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Полилиния: фигура 47">
                <a:extLst>
                  <a:ext uri="{FF2B5EF4-FFF2-40B4-BE49-F238E27FC236}">
                    <a16:creationId xmlns:a16="http://schemas.microsoft.com/office/drawing/2014/main" id="{9EC87D7A-39AB-4CD3-0F1C-31B70D227BE8}"/>
                  </a:ext>
                </a:extLst>
              </p:cNvPr>
              <p:cNvSpPr/>
              <p:nvPr/>
            </p:nvSpPr>
            <p:spPr>
              <a:xfrm>
                <a:off x="11717931" y="6392545"/>
                <a:ext cx="204193" cy="288572"/>
              </a:xfrm>
              <a:custGeom>
                <a:avLst/>
                <a:gdLst>
                  <a:gd name="connsiteX0" fmla="*/ 101787 w 204193"/>
                  <a:gd name="connsiteY0" fmla="*/ 288333 h 288572"/>
                  <a:gd name="connsiteX1" fmla="*/ 203884 w 204193"/>
                  <a:gd name="connsiteY1" fmla="*/ 186236 h 288572"/>
                  <a:gd name="connsiteX2" fmla="*/ 203884 w 204193"/>
                  <a:gd name="connsiteY2" fmla="*/ 101857 h 288572"/>
                  <a:gd name="connsiteX3" fmla="*/ 101787 w 204193"/>
                  <a:gd name="connsiteY3" fmla="*/ -240 h 288572"/>
                  <a:gd name="connsiteX4" fmla="*/ -310 w 204193"/>
                  <a:gd name="connsiteY4" fmla="*/ 101857 h 288572"/>
                  <a:gd name="connsiteX5" fmla="*/ -310 w 204193"/>
                  <a:gd name="connsiteY5" fmla="*/ 186236 h 288572"/>
                  <a:gd name="connsiteX6" fmla="*/ 101787 w 204193"/>
                  <a:gd name="connsiteY6" fmla="*/ 288333 h 28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193" h="288572">
                    <a:moveTo>
                      <a:pt x="101787" y="288333"/>
                    </a:moveTo>
                    <a:cubicBezTo>
                      <a:pt x="158170" y="288333"/>
                      <a:pt x="203884" y="242619"/>
                      <a:pt x="203884" y="186236"/>
                    </a:cubicBezTo>
                    <a:lnTo>
                      <a:pt x="203884" y="101857"/>
                    </a:lnTo>
                    <a:cubicBezTo>
                      <a:pt x="203884" y="45473"/>
                      <a:pt x="158170" y="-240"/>
                      <a:pt x="101787" y="-240"/>
                    </a:cubicBezTo>
                    <a:cubicBezTo>
                      <a:pt x="45403" y="-240"/>
                      <a:pt x="-310" y="45473"/>
                      <a:pt x="-310" y="101857"/>
                    </a:cubicBezTo>
                    <a:lnTo>
                      <a:pt x="-310" y="186236"/>
                    </a:lnTo>
                    <a:cubicBezTo>
                      <a:pt x="-310" y="242619"/>
                      <a:pt x="45403" y="288333"/>
                      <a:pt x="101787" y="288333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6" name="Полилиния: фигура 56">
              <a:extLst>
                <a:ext uri="{FF2B5EF4-FFF2-40B4-BE49-F238E27FC236}">
                  <a16:creationId xmlns:a16="http://schemas.microsoft.com/office/drawing/2014/main" id="{6E6199AE-034D-751B-0B41-16843783D52E}"/>
                </a:ext>
              </a:extLst>
            </p:cNvPr>
            <p:cNvSpPr/>
            <p:nvPr/>
          </p:nvSpPr>
          <p:spPr>
            <a:xfrm>
              <a:off x="9252833" y="0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Полилиния: фигура 57">
              <a:extLst>
                <a:ext uri="{FF2B5EF4-FFF2-40B4-BE49-F238E27FC236}">
                  <a16:creationId xmlns:a16="http://schemas.microsoft.com/office/drawing/2014/main" id="{9B637539-34B8-C902-670F-61DA69B52B5E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Полилиния: фигура 59">
              <a:extLst>
                <a:ext uri="{FF2B5EF4-FFF2-40B4-BE49-F238E27FC236}">
                  <a16:creationId xmlns:a16="http://schemas.microsoft.com/office/drawing/2014/main" id="{F5129B11-D1CB-5277-B291-BC940C69B3B7}"/>
                </a:ext>
              </a:extLst>
            </p:cNvPr>
            <p:cNvSpPr/>
            <p:nvPr/>
          </p:nvSpPr>
          <p:spPr>
            <a:xfrm rot="16200000">
              <a:off x="7297491" y="4107"/>
              <a:ext cx="978852" cy="972412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Полилиния: фигура 60">
              <a:extLst>
                <a:ext uri="{FF2B5EF4-FFF2-40B4-BE49-F238E27FC236}">
                  <a16:creationId xmlns:a16="http://schemas.microsoft.com/office/drawing/2014/main" id="{974EF996-E4A2-7F1D-39E1-C0E93962FF0D}"/>
                </a:ext>
              </a:extLst>
            </p:cNvPr>
            <p:cNvSpPr/>
            <p:nvPr/>
          </p:nvSpPr>
          <p:spPr>
            <a:xfrm>
              <a:off x="7288368" y="489882"/>
              <a:ext cx="494894" cy="495482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Полилиния: фигура 61">
              <a:extLst>
                <a:ext uri="{FF2B5EF4-FFF2-40B4-BE49-F238E27FC236}">
                  <a16:creationId xmlns:a16="http://schemas.microsoft.com/office/drawing/2014/main" id="{2109B157-2DB2-D42E-0D05-727A20A19A9C}"/>
                </a:ext>
              </a:extLst>
            </p:cNvPr>
            <p:cNvSpPr/>
            <p:nvPr/>
          </p:nvSpPr>
          <p:spPr>
            <a:xfrm>
              <a:off x="7284210" y="25"/>
              <a:ext cx="499051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Полилиния: фигура 62">
              <a:extLst>
                <a:ext uri="{FF2B5EF4-FFF2-40B4-BE49-F238E27FC236}">
                  <a16:creationId xmlns:a16="http://schemas.microsoft.com/office/drawing/2014/main" id="{1DF63EB9-998D-F6DC-0EA8-B1427C621F3D}"/>
                </a:ext>
              </a:extLst>
            </p:cNvPr>
            <p:cNvSpPr/>
            <p:nvPr/>
          </p:nvSpPr>
          <p:spPr>
            <a:xfrm>
              <a:off x="7774067" y="25"/>
              <a:ext cx="499051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Полилиния: фигура 63">
              <a:extLst>
                <a:ext uri="{FF2B5EF4-FFF2-40B4-BE49-F238E27FC236}">
                  <a16:creationId xmlns:a16="http://schemas.microsoft.com/office/drawing/2014/main" id="{D859794D-6835-2E5D-0A71-C4015F66C477}"/>
                </a:ext>
              </a:extLst>
            </p:cNvPr>
            <p:cNvSpPr/>
            <p:nvPr/>
          </p:nvSpPr>
          <p:spPr>
            <a:xfrm>
              <a:off x="7778225" y="489882"/>
              <a:ext cx="494894" cy="495482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Полилиния: фигура 65">
              <a:extLst>
                <a:ext uri="{FF2B5EF4-FFF2-40B4-BE49-F238E27FC236}">
                  <a16:creationId xmlns:a16="http://schemas.microsoft.com/office/drawing/2014/main" id="{8D146B39-1CF3-38A2-02D7-8EEE1021B295}"/>
                </a:ext>
              </a:extLst>
            </p:cNvPr>
            <p:cNvSpPr/>
            <p:nvPr/>
          </p:nvSpPr>
          <p:spPr>
            <a:xfrm rot="16200000">
              <a:off x="10229303" y="2406"/>
              <a:ext cx="986202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66">
              <a:extLst>
                <a:ext uri="{FF2B5EF4-FFF2-40B4-BE49-F238E27FC236}">
                  <a16:creationId xmlns:a16="http://schemas.microsoft.com/office/drawing/2014/main" id="{808F38F4-0E60-680B-48D4-095F2B513E1F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Полилиния: фигура 67">
              <a:extLst>
                <a:ext uri="{FF2B5EF4-FFF2-40B4-BE49-F238E27FC236}">
                  <a16:creationId xmlns:a16="http://schemas.microsoft.com/office/drawing/2014/main" id="{C89429AF-71A5-1284-B6E1-D71AABE0B71D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Полилиния: фигура 68">
              <a:extLst>
                <a:ext uri="{FF2B5EF4-FFF2-40B4-BE49-F238E27FC236}">
                  <a16:creationId xmlns:a16="http://schemas.microsoft.com/office/drawing/2014/main" id="{C405CC03-1321-0681-8E46-9ED5F4699D77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Полилиния: фигура 69">
              <a:extLst>
                <a:ext uri="{FF2B5EF4-FFF2-40B4-BE49-F238E27FC236}">
                  <a16:creationId xmlns:a16="http://schemas.microsoft.com/office/drawing/2014/main" id="{47E90767-1CD4-229E-F8B8-B9F62694FD46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Полилиния: фигура 71">
              <a:extLst>
                <a:ext uri="{FF2B5EF4-FFF2-40B4-BE49-F238E27FC236}">
                  <a16:creationId xmlns:a16="http://schemas.microsoft.com/office/drawing/2014/main" id="{7577D1C3-34C5-3C69-A9A7-CC93CEC67644}"/>
                </a:ext>
              </a:extLst>
            </p:cNvPr>
            <p:cNvSpPr/>
            <p:nvPr/>
          </p:nvSpPr>
          <p:spPr>
            <a:xfrm rot="16200000">
              <a:off x="8273043" y="4107"/>
              <a:ext cx="978852" cy="972411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9" name="Группа 133">
              <a:extLst>
                <a:ext uri="{FF2B5EF4-FFF2-40B4-BE49-F238E27FC236}">
                  <a16:creationId xmlns:a16="http://schemas.microsoft.com/office/drawing/2014/main" id="{038C248A-533D-7B45-7FF8-783145FF53E9}"/>
                </a:ext>
              </a:extLst>
            </p:cNvPr>
            <p:cNvGrpSpPr/>
            <p:nvPr/>
          </p:nvGrpSpPr>
          <p:grpSpPr>
            <a:xfrm>
              <a:off x="8460243" y="187150"/>
              <a:ext cx="605463" cy="605463"/>
              <a:chOff x="8460243" y="187150"/>
              <a:chExt cx="605463" cy="605463"/>
            </a:xfrm>
          </p:grpSpPr>
          <p:sp>
            <p:nvSpPr>
              <p:cNvPr id="240" name="Полилиния: фигура 72">
                <a:extLst>
                  <a:ext uri="{FF2B5EF4-FFF2-40B4-BE49-F238E27FC236}">
                    <a16:creationId xmlns:a16="http://schemas.microsoft.com/office/drawing/2014/main" id="{94AE1B0D-F2A2-80E9-FDB9-FB89DE377F2C}"/>
                  </a:ext>
                </a:extLst>
              </p:cNvPr>
              <p:cNvSpPr/>
              <p:nvPr userDrawn="1"/>
            </p:nvSpPr>
            <p:spPr>
              <a:xfrm>
                <a:off x="8592015" y="318922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1" y="341920"/>
                      <a:pt x="0" y="265379"/>
                      <a:pt x="0" y="170960"/>
                    </a:cubicBezTo>
                    <a:cubicBezTo>
                      <a:pt x="0" y="76541"/>
                      <a:pt x="76541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Полилиния: фигура 73">
                <a:extLst>
                  <a:ext uri="{FF2B5EF4-FFF2-40B4-BE49-F238E27FC236}">
                    <a16:creationId xmlns:a16="http://schemas.microsoft.com/office/drawing/2014/main" id="{C3CE0353-B3A6-B07F-A4F3-82D85DE782BE}"/>
                  </a:ext>
                </a:extLst>
              </p:cNvPr>
              <p:cNvSpPr/>
              <p:nvPr userDrawn="1"/>
            </p:nvSpPr>
            <p:spPr>
              <a:xfrm>
                <a:off x="8460243" y="187150"/>
                <a:ext cx="605463" cy="605463"/>
              </a:xfrm>
              <a:custGeom>
                <a:avLst/>
                <a:gdLst>
                  <a:gd name="connsiteX0" fmla="*/ 302422 w 605463"/>
                  <a:gd name="connsiteY0" fmla="*/ -240 h 605463"/>
                  <a:gd name="connsiteX1" fmla="*/ 273031 w 605463"/>
                  <a:gd name="connsiteY1" fmla="*/ 29151 h 605463"/>
                  <a:gd name="connsiteX2" fmla="*/ 273031 w 605463"/>
                  <a:gd name="connsiteY2" fmla="*/ 72847 h 605463"/>
                  <a:gd name="connsiteX3" fmla="*/ 302422 w 605463"/>
                  <a:gd name="connsiteY3" fmla="*/ 102238 h 605463"/>
                  <a:gd name="connsiteX4" fmla="*/ 331813 w 605463"/>
                  <a:gd name="connsiteY4" fmla="*/ 72847 h 605463"/>
                  <a:gd name="connsiteX5" fmla="*/ 331813 w 605463"/>
                  <a:gd name="connsiteY5" fmla="*/ 29151 h 605463"/>
                  <a:gd name="connsiteX6" fmla="*/ 302422 w 605463"/>
                  <a:gd name="connsiteY6" fmla="*/ -240 h 605463"/>
                  <a:gd name="connsiteX7" fmla="*/ 302422 w 605463"/>
                  <a:gd name="connsiteY7" fmla="*/ 502745 h 605463"/>
                  <a:gd name="connsiteX8" fmla="*/ 273031 w 605463"/>
                  <a:gd name="connsiteY8" fmla="*/ 532137 h 605463"/>
                  <a:gd name="connsiteX9" fmla="*/ 273031 w 605463"/>
                  <a:gd name="connsiteY9" fmla="*/ 575832 h 605463"/>
                  <a:gd name="connsiteX10" fmla="*/ 302422 w 605463"/>
                  <a:gd name="connsiteY10" fmla="*/ 605223 h 605463"/>
                  <a:gd name="connsiteX11" fmla="*/ 331813 w 605463"/>
                  <a:gd name="connsiteY11" fmla="*/ 575832 h 605463"/>
                  <a:gd name="connsiteX12" fmla="*/ 331813 w 605463"/>
                  <a:gd name="connsiteY12" fmla="*/ 532137 h 605463"/>
                  <a:gd name="connsiteX13" fmla="*/ 302422 w 605463"/>
                  <a:gd name="connsiteY13" fmla="*/ 502745 h 605463"/>
                  <a:gd name="connsiteX14" fmla="*/ 102169 w 605463"/>
                  <a:gd name="connsiteY14" fmla="*/ 302492 h 605463"/>
                  <a:gd name="connsiteX15" fmla="*/ 72778 w 605463"/>
                  <a:gd name="connsiteY15" fmla="*/ 273100 h 605463"/>
                  <a:gd name="connsiteX16" fmla="*/ 29081 w 605463"/>
                  <a:gd name="connsiteY16" fmla="*/ 273100 h 605463"/>
                  <a:gd name="connsiteX17" fmla="*/ -310 w 605463"/>
                  <a:gd name="connsiteY17" fmla="*/ 302492 h 605463"/>
                  <a:gd name="connsiteX18" fmla="*/ 29081 w 605463"/>
                  <a:gd name="connsiteY18" fmla="*/ 331883 h 605463"/>
                  <a:gd name="connsiteX19" fmla="*/ 72778 w 605463"/>
                  <a:gd name="connsiteY19" fmla="*/ 331883 h 605463"/>
                  <a:gd name="connsiteX20" fmla="*/ 102169 w 605463"/>
                  <a:gd name="connsiteY20" fmla="*/ 302492 h 605463"/>
                  <a:gd name="connsiteX21" fmla="*/ 575763 w 605463"/>
                  <a:gd name="connsiteY21" fmla="*/ 273100 h 605463"/>
                  <a:gd name="connsiteX22" fmla="*/ 532066 w 605463"/>
                  <a:gd name="connsiteY22" fmla="*/ 273100 h 605463"/>
                  <a:gd name="connsiteX23" fmla="*/ 502675 w 605463"/>
                  <a:gd name="connsiteY23" fmla="*/ 302492 h 605463"/>
                  <a:gd name="connsiteX24" fmla="*/ 532066 w 605463"/>
                  <a:gd name="connsiteY24" fmla="*/ 331883 h 605463"/>
                  <a:gd name="connsiteX25" fmla="*/ 575763 w 605463"/>
                  <a:gd name="connsiteY25" fmla="*/ 331883 h 605463"/>
                  <a:gd name="connsiteX26" fmla="*/ 605154 w 605463"/>
                  <a:gd name="connsiteY26" fmla="*/ 302492 h 605463"/>
                  <a:gd name="connsiteX27" fmla="*/ 575763 w 605463"/>
                  <a:gd name="connsiteY27" fmla="*/ 273100 h 605463"/>
                  <a:gd name="connsiteX28" fmla="*/ 129894 w 605463"/>
                  <a:gd name="connsiteY28" fmla="*/ 88424 h 605463"/>
                  <a:gd name="connsiteX29" fmla="*/ 88355 w 605463"/>
                  <a:gd name="connsiteY29" fmla="*/ 86955 h 605463"/>
                  <a:gd name="connsiteX30" fmla="*/ 86885 w 605463"/>
                  <a:gd name="connsiteY30" fmla="*/ 128494 h 605463"/>
                  <a:gd name="connsiteX31" fmla="*/ 88355 w 605463"/>
                  <a:gd name="connsiteY31" fmla="*/ 129964 h 605463"/>
                  <a:gd name="connsiteX32" fmla="*/ 119216 w 605463"/>
                  <a:gd name="connsiteY32" fmla="*/ 160923 h 605463"/>
                  <a:gd name="connsiteX33" fmla="*/ 160854 w 605463"/>
                  <a:gd name="connsiteY33" fmla="*/ 160923 h 605463"/>
                  <a:gd name="connsiteX34" fmla="*/ 160854 w 605463"/>
                  <a:gd name="connsiteY34" fmla="*/ 119285 h 605463"/>
                  <a:gd name="connsiteX35" fmla="*/ 485628 w 605463"/>
                  <a:gd name="connsiteY35" fmla="*/ 444061 h 605463"/>
                  <a:gd name="connsiteX36" fmla="*/ 443990 w 605463"/>
                  <a:gd name="connsiteY36" fmla="*/ 444061 h 605463"/>
                  <a:gd name="connsiteX37" fmla="*/ 443990 w 605463"/>
                  <a:gd name="connsiteY37" fmla="*/ 485698 h 605463"/>
                  <a:gd name="connsiteX38" fmla="*/ 474950 w 605463"/>
                  <a:gd name="connsiteY38" fmla="*/ 516559 h 605463"/>
                  <a:gd name="connsiteX39" fmla="*/ 516489 w 605463"/>
                  <a:gd name="connsiteY39" fmla="*/ 516559 h 605463"/>
                  <a:gd name="connsiteX40" fmla="*/ 516489 w 605463"/>
                  <a:gd name="connsiteY40" fmla="*/ 475019 h 605463"/>
                  <a:gd name="connsiteX41" fmla="*/ 119216 w 605463"/>
                  <a:gd name="connsiteY41" fmla="*/ 444061 h 605463"/>
                  <a:gd name="connsiteX42" fmla="*/ 88355 w 605463"/>
                  <a:gd name="connsiteY42" fmla="*/ 475019 h 605463"/>
                  <a:gd name="connsiteX43" fmla="*/ 88355 w 605463"/>
                  <a:gd name="connsiteY43" fmla="*/ 516589 h 605463"/>
                  <a:gd name="connsiteX44" fmla="*/ 109125 w 605463"/>
                  <a:gd name="connsiteY44" fmla="*/ 525181 h 605463"/>
                  <a:gd name="connsiteX45" fmla="*/ 129894 w 605463"/>
                  <a:gd name="connsiteY45" fmla="*/ 516559 h 605463"/>
                  <a:gd name="connsiteX46" fmla="*/ 160854 w 605463"/>
                  <a:gd name="connsiteY46" fmla="*/ 485698 h 605463"/>
                  <a:gd name="connsiteX47" fmla="*/ 160854 w 605463"/>
                  <a:gd name="connsiteY47" fmla="*/ 444061 h 605463"/>
                  <a:gd name="connsiteX48" fmla="*/ 119216 w 605463"/>
                  <a:gd name="connsiteY48" fmla="*/ 444061 h 605463"/>
                  <a:gd name="connsiteX49" fmla="*/ 464858 w 605463"/>
                  <a:gd name="connsiteY49" fmla="*/ 169740 h 605463"/>
                  <a:gd name="connsiteX50" fmla="*/ 485628 w 605463"/>
                  <a:gd name="connsiteY50" fmla="*/ 161217 h 605463"/>
                  <a:gd name="connsiteX51" fmla="*/ 516489 w 605463"/>
                  <a:gd name="connsiteY51" fmla="*/ 130258 h 605463"/>
                  <a:gd name="connsiteX52" fmla="*/ 517959 w 605463"/>
                  <a:gd name="connsiteY52" fmla="*/ 88718 h 605463"/>
                  <a:gd name="connsiteX53" fmla="*/ 476419 w 605463"/>
                  <a:gd name="connsiteY53" fmla="*/ 87248 h 605463"/>
                  <a:gd name="connsiteX54" fmla="*/ 474950 w 605463"/>
                  <a:gd name="connsiteY54" fmla="*/ 88718 h 605463"/>
                  <a:gd name="connsiteX55" fmla="*/ 443990 w 605463"/>
                  <a:gd name="connsiteY55" fmla="*/ 119579 h 605463"/>
                  <a:gd name="connsiteX56" fmla="*/ 443990 w 605463"/>
                  <a:gd name="connsiteY56" fmla="*/ 161148 h 605463"/>
                  <a:gd name="connsiteX57" fmla="*/ 464858 w 605463"/>
                  <a:gd name="connsiteY57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605463" h="605463">
                    <a:moveTo>
                      <a:pt x="302422" y="-240"/>
                    </a:moveTo>
                    <a:cubicBezTo>
                      <a:pt x="286158" y="-240"/>
                      <a:pt x="273031" y="12917"/>
                      <a:pt x="273031" y="29151"/>
                    </a:cubicBezTo>
                    <a:lnTo>
                      <a:pt x="273031" y="72847"/>
                    </a:lnTo>
                    <a:cubicBezTo>
                      <a:pt x="273031" y="89081"/>
                      <a:pt x="286158" y="102238"/>
                      <a:pt x="302422" y="102238"/>
                    </a:cubicBezTo>
                    <a:cubicBezTo>
                      <a:pt x="318686" y="102238"/>
                      <a:pt x="331813" y="89081"/>
                      <a:pt x="331813" y="72847"/>
                    </a:cubicBezTo>
                    <a:lnTo>
                      <a:pt x="331813" y="29151"/>
                    </a:lnTo>
                    <a:cubicBezTo>
                      <a:pt x="331813" y="12917"/>
                      <a:pt x="318686" y="-240"/>
                      <a:pt x="302422" y="-240"/>
                    </a:cubicBezTo>
                    <a:close/>
                    <a:moveTo>
                      <a:pt x="302422" y="502745"/>
                    </a:moveTo>
                    <a:cubicBezTo>
                      <a:pt x="286158" y="502745"/>
                      <a:pt x="273031" y="515903"/>
                      <a:pt x="273031" y="532137"/>
                    </a:cubicBezTo>
                    <a:lnTo>
                      <a:pt x="273031" y="575832"/>
                    </a:lnTo>
                    <a:cubicBezTo>
                      <a:pt x="273031" y="592066"/>
                      <a:pt x="286158" y="605223"/>
                      <a:pt x="302422" y="605223"/>
                    </a:cubicBezTo>
                    <a:cubicBezTo>
                      <a:pt x="318686" y="605223"/>
                      <a:pt x="331813" y="592066"/>
                      <a:pt x="331813" y="575832"/>
                    </a:cubicBezTo>
                    <a:lnTo>
                      <a:pt x="331813" y="532137"/>
                    </a:lnTo>
                    <a:cubicBezTo>
                      <a:pt x="331813" y="515903"/>
                      <a:pt x="318686" y="502745"/>
                      <a:pt x="302422" y="502745"/>
                    </a:cubicBezTo>
                    <a:close/>
                    <a:moveTo>
                      <a:pt x="102169" y="302492"/>
                    </a:moveTo>
                    <a:cubicBezTo>
                      <a:pt x="102169" y="286258"/>
                      <a:pt x="89040" y="273100"/>
                      <a:pt x="72778" y="273100"/>
                    </a:cubicBezTo>
                    <a:lnTo>
                      <a:pt x="29081" y="273100"/>
                    </a:lnTo>
                    <a:cubicBezTo>
                      <a:pt x="12818" y="273100"/>
                      <a:pt x="-310" y="286258"/>
                      <a:pt x="-310" y="302492"/>
                    </a:cubicBezTo>
                    <a:cubicBezTo>
                      <a:pt x="-310" y="318726"/>
                      <a:pt x="12818" y="331883"/>
                      <a:pt x="29081" y="331883"/>
                    </a:cubicBezTo>
                    <a:lnTo>
                      <a:pt x="72778" y="331883"/>
                    </a:lnTo>
                    <a:cubicBezTo>
                      <a:pt x="89040" y="331883"/>
                      <a:pt x="102169" y="318726"/>
                      <a:pt x="102169" y="302492"/>
                    </a:cubicBezTo>
                    <a:close/>
                    <a:moveTo>
                      <a:pt x="575763" y="273100"/>
                    </a:moveTo>
                    <a:lnTo>
                      <a:pt x="532066" y="273100"/>
                    </a:lnTo>
                    <a:cubicBezTo>
                      <a:pt x="515804" y="273100"/>
                      <a:pt x="502675" y="286258"/>
                      <a:pt x="502675" y="302492"/>
                    </a:cubicBezTo>
                    <a:cubicBezTo>
                      <a:pt x="502675" y="318726"/>
                      <a:pt x="515804" y="331883"/>
                      <a:pt x="532066" y="331883"/>
                    </a:cubicBezTo>
                    <a:lnTo>
                      <a:pt x="575763" y="331883"/>
                    </a:lnTo>
                    <a:cubicBezTo>
                      <a:pt x="592026" y="331883"/>
                      <a:pt x="605154" y="318726"/>
                      <a:pt x="605154" y="302492"/>
                    </a:cubicBezTo>
                    <a:cubicBezTo>
                      <a:pt x="605154" y="286258"/>
                      <a:pt x="592026" y="273100"/>
                      <a:pt x="575763" y="273100"/>
                    </a:cubicBezTo>
                    <a:close/>
                    <a:moveTo>
                      <a:pt x="129894" y="88424"/>
                    </a:moveTo>
                    <a:cubicBezTo>
                      <a:pt x="118824" y="76550"/>
                      <a:pt x="100209" y="75894"/>
                      <a:pt x="88355" y="86955"/>
                    </a:cubicBezTo>
                    <a:cubicBezTo>
                      <a:pt x="76499" y="98025"/>
                      <a:pt x="75814" y="116620"/>
                      <a:pt x="86885" y="128494"/>
                    </a:cubicBezTo>
                    <a:cubicBezTo>
                      <a:pt x="87375" y="129004"/>
                      <a:pt x="87864" y="129494"/>
                      <a:pt x="88355" y="129964"/>
                    </a:cubicBezTo>
                    <a:lnTo>
                      <a:pt x="119216" y="160923"/>
                    </a:lnTo>
                    <a:cubicBezTo>
                      <a:pt x="130678" y="172425"/>
                      <a:pt x="149391" y="172425"/>
                      <a:pt x="160854" y="160923"/>
                    </a:cubicBezTo>
                    <a:cubicBezTo>
                      <a:pt x="172316" y="149421"/>
                      <a:pt x="172316" y="130787"/>
                      <a:pt x="160854" y="119285"/>
                    </a:cubicBezTo>
                    <a:close/>
                    <a:moveTo>
                      <a:pt x="485628" y="444061"/>
                    </a:moveTo>
                    <a:cubicBezTo>
                      <a:pt x="474166" y="432559"/>
                      <a:pt x="455453" y="432559"/>
                      <a:pt x="443990" y="444061"/>
                    </a:cubicBezTo>
                    <a:cubicBezTo>
                      <a:pt x="432528" y="455562"/>
                      <a:pt x="432528" y="474196"/>
                      <a:pt x="443990" y="485698"/>
                    </a:cubicBezTo>
                    <a:lnTo>
                      <a:pt x="474950" y="516559"/>
                    </a:lnTo>
                    <a:cubicBezTo>
                      <a:pt x="486413" y="528022"/>
                      <a:pt x="505027" y="528022"/>
                      <a:pt x="516489" y="516559"/>
                    </a:cubicBezTo>
                    <a:cubicBezTo>
                      <a:pt x="527952" y="505087"/>
                      <a:pt x="527952" y="486492"/>
                      <a:pt x="516489" y="475019"/>
                    </a:cubicBezTo>
                    <a:close/>
                    <a:moveTo>
                      <a:pt x="119216" y="444061"/>
                    </a:moveTo>
                    <a:lnTo>
                      <a:pt x="88355" y="475019"/>
                    </a:lnTo>
                    <a:cubicBezTo>
                      <a:pt x="76892" y="486502"/>
                      <a:pt x="76892" y="505116"/>
                      <a:pt x="88355" y="516589"/>
                    </a:cubicBezTo>
                    <a:cubicBezTo>
                      <a:pt x="93840" y="522085"/>
                      <a:pt x="101384" y="525171"/>
                      <a:pt x="109125" y="525181"/>
                    </a:cubicBezTo>
                    <a:cubicBezTo>
                      <a:pt x="116962" y="525171"/>
                      <a:pt x="124407" y="522075"/>
                      <a:pt x="129894" y="516559"/>
                    </a:cubicBezTo>
                    <a:lnTo>
                      <a:pt x="160854" y="485698"/>
                    </a:lnTo>
                    <a:cubicBezTo>
                      <a:pt x="172316" y="474196"/>
                      <a:pt x="172316" y="455562"/>
                      <a:pt x="160854" y="444061"/>
                    </a:cubicBezTo>
                    <a:cubicBezTo>
                      <a:pt x="149391" y="432559"/>
                      <a:pt x="130678" y="432559"/>
                      <a:pt x="119216" y="444061"/>
                    </a:cubicBezTo>
                    <a:close/>
                    <a:moveTo>
                      <a:pt x="464858" y="169740"/>
                    </a:moveTo>
                    <a:cubicBezTo>
                      <a:pt x="472598" y="169760"/>
                      <a:pt x="480142" y="166694"/>
                      <a:pt x="485628" y="161217"/>
                    </a:cubicBezTo>
                    <a:lnTo>
                      <a:pt x="516489" y="130258"/>
                    </a:lnTo>
                    <a:cubicBezTo>
                      <a:pt x="528345" y="119187"/>
                      <a:pt x="529030" y="100592"/>
                      <a:pt x="517959" y="88718"/>
                    </a:cubicBezTo>
                    <a:cubicBezTo>
                      <a:pt x="506888" y="76844"/>
                      <a:pt x="488273" y="76187"/>
                      <a:pt x="476419" y="87248"/>
                    </a:cubicBezTo>
                    <a:cubicBezTo>
                      <a:pt x="475929" y="87719"/>
                      <a:pt x="475440" y="88208"/>
                      <a:pt x="474950" y="88718"/>
                    </a:cubicBezTo>
                    <a:lnTo>
                      <a:pt x="443990" y="119579"/>
                    </a:lnTo>
                    <a:cubicBezTo>
                      <a:pt x="432528" y="131061"/>
                      <a:pt x="432528" y="149676"/>
                      <a:pt x="443990" y="161148"/>
                    </a:cubicBezTo>
                    <a:cubicBezTo>
                      <a:pt x="449575" y="166664"/>
                      <a:pt x="457021" y="169760"/>
                      <a:pt x="464858" y="1697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0" name="Полилиния: фигура 75">
              <a:extLst>
                <a:ext uri="{FF2B5EF4-FFF2-40B4-BE49-F238E27FC236}">
                  <a16:creationId xmlns:a16="http://schemas.microsoft.com/office/drawing/2014/main" id="{81F99469-47F3-5E7C-6CA4-6DCEB846CA29}"/>
                </a:ext>
              </a:extLst>
            </p:cNvPr>
            <p:cNvSpPr/>
            <p:nvPr/>
          </p:nvSpPr>
          <p:spPr>
            <a:xfrm>
              <a:off x="6926011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Полилиния: фигура 76">
              <a:extLst>
                <a:ext uri="{FF2B5EF4-FFF2-40B4-BE49-F238E27FC236}">
                  <a16:creationId xmlns:a16="http://schemas.microsoft.com/office/drawing/2014/main" id="{7AE61898-43E7-4DE4-6129-B22B7D9A3DC4}"/>
                </a:ext>
              </a:extLst>
            </p:cNvPr>
            <p:cNvSpPr/>
            <p:nvPr/>
          </p:nvSpPr>
          <p:spPr>
            <a:xfrm>
              <a:off x="6436154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Полилиния: фигура 77">
              <a:extLst>
                <a:ext uri="{FF2B5EF4-FFF2-40B4-BE49-F238E27FC236}">
                  <a16:creationId xmlns:a16="http://schemas.microsoft.com/office/drawing/2014/main" id="{547CF65D-CEAE-C352-5A85-FFF9189150B5}"/>
                </a:ext>
              </a:extLst>
            </p:cNvPr>
            <p:cNvSpPr/>
            <p:nvPr/>
          </p:nvSpPr>
          <p:spPr>
            <a:xfrm>
              <a:off x="6926011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Полилиния: фигура 78">
              <a:extLst>
                <a:ext uri="{FF2B5EF4-FFF2-40B4-BE49-F238E27FC236}">
                  <a16:creationId xmlns:a16="http://schemas.microsoft.com/office/drawing/2014/main" id="{23CAF896-8BE7-B71B-77DA-6D0B1FB876E5}"/>
                </a:ext>
              </a:extLst>
            </p:cNvPr>
            <p:cNvSpPr/>
            <p:nvPr/>
          </p:nvSpPr>
          <p:spPr>
            <a:xfrm>
              <a:off x="6681083" y="367417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Полилиния: фигура 79">
              <a:extLst>
                <a:ext uri="{FF2B5EF4-FFF2-40B4-BE49-F238E27FC236}">
                  <a16:creationId xmlns:a16="http://schemas.microsoft.com/office/drawing/2014/main" id="{2B37F7E8-E89D-8459-5373-131DADF7A792}"/>
                </a:ext>
              </a:extLst>
            </p:cNvPr>
            <p:cNvSpPr/>
            <p:nvPr/>
          </p:nvSpPr>
          <p:spPr>
            <a:xfrm>
              <a:off x="6436154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Полилиния: фигура 81">
              <a:extLst>
                <a:ext uri="{FF2B5EF4-FFF2-40B4-BE49-F238E27FC236}">
                  <a16:creationId xmlns:a16="http://schemas.microsoft.com/office/drawing/2014/main" id="{C1A6FAE4-111D-E1CF-5EA3-53F0E6708016}"/>
                </a:ext>
              </a:extLst>
            </p:cNvPr>
            <p:cNvSpPr/>
            <p:nvPr/>
          </p:nvSpPr>
          <p:spPr>
            <a:xfrm rot="5400000">
              <a:off x="11210613" y="-2508"/>
              <a:ext cx="978877" cy="98389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Полилиния: фигура 82">
              <a:extLst>
                <a:ext uri="{FF2B5EF4-FFF2-40B4-BE49-F238E27FC236}">
                  <a16:creationId xmlns:a16="http://schemas.microsoft.com/office/drawing/2014/main" id="{09EB9843-1497-0BF8-D6D3-8895C82F1CFF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Полилиния: фигура 83">
              <a:extLst>
                <a:ext uri="{FF2B5EF4-FFF2-40B4-BE49-F238E27FC236}">
                  <a16:creationId xmlns:a16="http://schemas.microsoft.com/office/drawing/2014/main" id="{A7960E16-D3C6-7C19-B284-9D6891D41091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Полилиния: фигура 84">
              <a:extLst>
                <a:ext uri="{FF2B5EF4-FFF2-40B4-BE49-F238E27FC236}">
                  <a16:creationId xmlns:a16="http://schemas.microsoft.com/office/drawing/2014/main" id="{7E7243CA-C318-CFBD-752B-3ECB9C85005E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Полилиния: фигура 85">
              <a:extLst>
                <a:ext uri="{FF2B5EF4-FFF2-40B4-BE49-F238E27FC236}">
                  <a16:creationId xmlns:a16="http://schemas.microsoft.com/office/drawing/2014/main" id="{C0D6D19C-8414-5B25-9FF2-68CCA3C32376}"/>
                </a:ext>
              </a:extLst>
            </p:cNvPr>
            <p:cNvSpPr/>
            <p:nvPr/>
          </p:nvSpPr>
          <p:spPr>
            <a:xfrm>
              <a:off x="10477475" y="122466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Полилиния: фигура 87">
              <a:extLst>
                <a:ext uri="{FF2B5EF4-FFF2-40B4-BE49-F238E27FC236}">
                  <a16:creationId xmlns:a16="http://schemas.microsoft.com/office/drawing/2014/main" id="{9318107F-7C68-343C-164E-A2DABF4D6B11}"/>
                </a:ext>
              </a:extLst>
            </p:cNvPr>
            <p:cNvSpPr/>
            <p:nvPr/>
          </p:nvSpPr>
          <p:spPr>
            <a:xfrm rot="5400000">
              <a:off x="1121212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Полилиния: фигура 91">
              <a:extLst>
                <a:ext uri="{FF2B5EF4-FFF2-40B4-BE49-F238E27FC236}">
                  <a16:creationId xmlns:a16="http://schemas.microsoft.com/office/drawing/2014/main" id="{8F76CF08-4CE0-BDAB-FAC1-DEA5A1118CE7}"/>
                </a:ext>
              </a:extLst>
            </p:cNvPr>
            <p:cNvSpPr/>
            <p:nvPr/>
          </p:nvSpPr>
          <p:spPr>
            <a:xfrm>
              <a:off x="1144945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2" name="Группа 136">
              <a:extLst>
                <a:ext uri="{FF2B5EF4-FFF2-40B4-BE49-F238E27FC236}">
                  <a16:creationId xmlns:a16="http://schemas.microsoft.com/office/drawing/2014/main" id="{4748D860-3CD8-49C3-3166-E2B8CE443A34}"/>
                </a:ext>
              </a:extLst>
            </p:cNvPr>
            <p:cNvGrpSpPr/>
            <p:nvPr/>
          </p:nvGrpSpPr>
          <p:grpSpPr>
            <a:xfrm>
              <a:off x="11393801" y="1597449"/>
              <a:ext cx="523658" cy="198686"/>
              <a:chOff x="11393801" y="1597449"/>
              <a:chExt cx="523658" cy="198686"/>
            </a:xfrm>
          </p:grpSpPr>
          <p:sp>
            <p:nvSpPr>
              <p:cNvPr id="238" name="Полилиния: фигура 90">
                <a:extLst>
                  <a:ext uri="{FF2B5EF4-FFF2-40B4-BE49-F238E27FC236}">
                    <a16:creationId xmlns:a16="http://schemas.microsoft.com/office/drawing/2014/main" id="{33AE071A-B5EC-184F-2257-0BE906262B02}"/>
                  </a:ext>
                </a:extLst>
              </p:cNvPr>
              <p:cNvSpPr/>
              <p:nvPr userDrawn="1"/>
            </p:nvSpPr>
            <p:spPr>
              <a:xfrm>
                <a:off x="11393801" y="1597449"/>
                <a:ext cx="300576" cy="198686"/>
              </a:xfrm>
              <a:custGeom>
                <a:avLst/>
                <a:gdLst>
                  <a:gd name="connsiteX0" fmla="*/ -310 w 300576"/>
                  <a:gd name="connsiteY0" fmla="*/ -240 h 198686"/>
                  <a:gd name="connsiteX1" fmla="*/ 300267 w 300576"/>
                  <a:gd name="connsiteY1" fmla="*/ 198446 h 198686"/>
                  <a:gd name="connsiteX2" fmla="*/ -310 w 300576"/>
                  <a:gd name="connsiteY2" fmla="*/ -240 h 19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576" h="198686">
                    <a:moveTo>
                      <a:pt x="-310" y="-240"/>
                    </a:moveTo>
                    <a:cubicBezTo>
                      <a:pt x="51028" y="120255"/>
                      <a:pt x="169279" y="198466"/>
                      <a:pt x="300267" y="198446"/>
                    </a:cubicBezTo>
                    <a:cubicBezTo>
                      <a:pt x="248930" y="77951"/>
                      <a:pt x="130678" y="-259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Полилиния: фигура 92">
                <a:extLst>
                  <a:ext uri="{FF2B5EF4-FFF2-40B4-BE49-F238E27FC236}">
                    <a16:creationId xmlns:a16="http://schemas.microsoft.com/office/drawing/2014/main" id="{7F605E93-15E8-0197-4A45-5CB6613358C5}"/>
                  </a:ext>
                </a:extLst>
              </p:cNvPr>
              <p:cNvSpPr/>
              <p:nvPr userDrawn="1"/>
            </p:nvSpPr>
            <p:spPr>
              <a:xfrm>
                <a:off x="11694378" y="1652509"/>
                <a:ext cx="223081" cy="143625"/>
              </a:xfrm>
              <a:custGeom>
                <a:avLst/>
                <a:gdLst>
                  <a:gd name="connsiteX0" fmla="*/ -310 w 223081"/>
                  <a:gd name="connsiteY0" fmla="*/ 143386 h 143625"/>
                  <a:gd name="connsiteX1" fmla="*/ 222771 w 223081"/>
                  <a:gd name="connsiteY1" fmla="*/ -240 h 143625"/>
                  <a:gd name="connsiteX2" fmla="*/ -310 w 223081"/>
                  <a:gd name="connsiteY2" fmla="*/ 143386 h 14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081" h="143625">
                    <a:moveTo>
                      <a:pt x="-310" y="143386"/>
                    </a:moveTo>
                    <a:cubicBezTo>
                      <a:pt x="95801" y="143415"/>
                      <a:pt x="182994" y="87248"/>
                      <a:pt x="222771" y="-240"/>
                    </a:cubicBezTo>
                    <a:cubicBezTo>
                      <a:pt x="126661" y="-270"/>
                      <a:pt x="39467" y="55897"/>
                      <a:pt x="-310" y="143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" name="Полилиния: фигура 89">
              <a:extLst>
                <a:ext uri="{FF2B5EF4-FFF2-40B4-BE49-F238E27FC236}">
                  <a16:creationId xmlns:a16="http://schemas.microsoft.com/office/drawing/2014/main" id="{54DC7FAB-EE34-8839-AD62-9DFA1B0EDFB3}"/>
                </a:ext>
              </a:extLst>
            </p:cNvPr>
            <p:cNvSpPr/>
            <p:nvPr/>
          </p:nvSpPr>
          <p:spPr>
            <a:xfrm>
              <a:off x="1157191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Полилиния: фигура 94">
              <a:extLst>
                <a:ext uri="{FF2B5EF4-FFF2-40B4-BE49-F238E27FC236}">
                  <a16:creationId xmlns:a16="http://schemas.microsoft.com/office/drawing/2014/main" id="{07126D8E-FA74-0C18-3599-8D18AC06DC1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Полилиния: фигура 95">
              <a:extLst>
                <a:ext uri="{FF2B5EF4-FFF2-40B4-BE49-F238E27FC236}">
                  <a16:creationId xmlns:a16="http://schemas.microsoft.com/office/drawing/2014/main" id="{9A1A78D4-29DC-474D-98E7-A92F4B0A90CD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Полилиния: фигура 96">
              <a:extLst>
                <a:ext uri="{FF2B5EF4-FFF2-40B4-BE49-F238E27FC236}">
                  <a16:creationId xmlns:a16="http://schemas.microsoft.com/office/drawing/2014/main" id="{D6A7AA67-C7B4-4520-EBCD-AF8BE1AD1198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Полилиния: фигура 97">
              <a:extLst>
                <a:ext uri="{FF2B5EF4-FFF2-40B4-BE49-F238E27FC236}">
                  <a16:creationId xmlns:a16="http://schemas.microsoft.com/office/drawing/2014/main" id="{D20415EB-ED5E-5235-0EAE-2EAF652432C0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Полилиния: фигура 99">
              <a:extLst>
                <a:ext uri="{FF2B5EF4-FFF2-40B4-BE49-F238E27FC236}">
                  <a16:creationId xmlns:a16="http://schemas.microsoft.com/office/drawing/2014/main" id="{152FC6B9-D657-0563-6A0C-099048BB738D}"/>
                </a:ext>
              </a:extLst>
            </p:cNvPr>
            <p:cNvSpPr/>
            <p:nvPr/>
          </p:nvSpPr>
          <p:spPr>
            <a:xfrm>
              <a:off x="8886079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Полилиния: фигура 100">
              <a:extLst>
                <a:ext uri="{FF2B5EF4-FFF2-40B4-BE49-F238E27FC236}">
                  <a16:creationId xmlns:a16="http://schemas.microsoft.com/office/drawing/2014/main" id="{68FA2434-9773-3100-E7E8-ABFD1A4CE02B}"/>
                </a:ext>
              </a:extLst>
            </p:cNvPr>
            <p:cNvSpPr/>
            <p:nvPr/>
          </p:nvSpPr>
          <p:spPr>
            <a:xfrm>
              <a:off x="8396222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Полилиния: фигура 101">
              <a:extLst>
                <a:ext uri="{FF2B5EF4-FFF2-40B4-BE49-F238E27FC236}">
                  <a16:creationId xmlns:a16="http://schemas.microsoft.com/office/drawing/2014/main" id="{98DB10FD-4F0D-930E-0BEB-87ED4C7A2599}"/>
                </a:ext>
              </a:extLst>
            </p:cNvPr>
            <p:cNvSpPr/>
            <p:nvPr/>
          </p:nvSpPr>
          <p:spPr>
            <a:xfrm>
              <a:off x="8886079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Полилиния: фигура 102">
              <a:extLst>
                <a:ext uri="{FF2B5EF4-FFF2-40B4-BE49-F238E27FC236}">
                  <a16:creationId xmlns:a16="http://schemas.microsoft.com/office/drawing/2014/main" id="{804A6F9D-B6D0-ABAE-F6D4-C39115C3EE49}"/>
                </a:ext>
              </a:extLst>
            </p:cNvPr>
            <p:cNvSpPr/>
            <p:nvPr/>
          </p:nvSpPr>
          <p:spPr>
            <a:xfrm>
              <a:off x="8641150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Полилиния: фигура 103">
              <a:extLst>
                <a:ext uri="{FF2B5EF4-FFF2-40B4-BE49-F238E27FC236}">
                  <a16:creationId xmlns:a16="http://schemas.microsoft.com/office/drawing/2014/main" id="{DBE9AE2F-8403-94CC-6FA2-45F66F486747}"/>
                </a:ext>
              </a:extLst>
            </p:cNvPr>
            <p:cNvSpPr/>
            <p:nvPr/>
          </p:nvSpPr>
          <p:spPr>
            <a:xfrm>
              <a:off x="8396222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Полилиния: фигура 105">
              <a:extLst>
                <a:ext uri="{FF2B5EF4-FFF2-40B4-BE49-F238E27FC236}">
                  <a16:creationId xmlns:a16="http://schemas.microsoft.com/office/drawing/2014/main" id="{221F817F-7EC3-54E3-C932-F09C8401708B}"/>
                </a:ext>
              </a:extLst>
            </p:cNvPr>
            <p:cNvSpPr/>
            <p:nvPr userDrawn="1"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Полилиния: фигура 106">
              <a:extLst>
                <a:ext uri="{FF2B5EF4-FFF2-40B4-BE49-F238E27FC236}">
                  <a16:creationId xmlns:a16="http://schemas.microsoft.com/office/drawing/2014/main" id="{CF9A9883-D805-017B-FC4D-85501BEA2102}"/>
                </a:ext>
              </a:extLst>
            </p:cNvPr>
            <p:cNvSpPr/>
            <p:nvPr userDrawn="1"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Полилиния: фигура 107">
              <a:extLst>
                <a:ext uri="{FF2B5EF4-FFF2-40B4-BE49-F238E27FC236}">
                  <a16:creationId xmlns:a16="http://schemas.microsoft.com/office/drawing/2014/main" id="{DC063878-F546-B7EE-03D8-FB173F2E2DC5}"/>
                </a:ext>
              </a:extLst>
            </p:cNvPr>
            <p:cNvSpPr/>
            <p:nvPr userDrawn="1"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Полилиния: фигура 108">
              <a:extLst>
                <a:ext uri="{FF2B5EF4-FFF2-40B4-BE49-F238E27FC236}">
                  <a16:creationId xmlns:a16="http://schemas.microsoft.com/office/drawing/2014/main" id="{B1DD7367-C17C-4447-675A-13AE0E3EAFE8}"/>
                </a:ext>
              </a:extLst>
            </p:cNvPr>
            <p:cNvSpPr/>
            <p:nvPr userDrawn="1"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Полилиния: фигура 110">
              <a:extLst>
                <a:ext uri="{FF2B5EF4-FFF2-40B4-BE49-F238E27FC236}">
                  <a16:creationId xmlns:a16="http://schemas.microsoft.com/office/drawing/2014/main" id="{11C01802-A229-F95E-4D88-5A0B0E4362C3}"/>
                </a:ext>
              </a:extLst>
            </p:cNvPr>
            <p:cNvSpPr/>
            <p:nvPr/>
          </p:nvSpPr>
          <p:spPr>
            <a:xfrm rot="16200000">
              <a:off x="10229248" y="1955232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Полилиния: фигура 111">
              <a:extLst>
                <a:ext uri="{FF2B5EF4-FFF2-40B4-BE49-F238E27FC236}">
                  <a16:creationId xmlns:a16="http://schemas.microsoft.com/office/drawing/2014/main" id="{4CF64195-5C84-6E06-EA28-632701FF62FA}"/>
                </a:ext>
              </a:extLst>
            </p:cNvPr>
            <p:cNvSpPr/>
            <p:nvPr/>
          </p:nvSpPr>
          <p:spPr>
            <a:xfrm>
              <a:off x="10218043" y="2449310"/>
              <a:ext cx="499188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Полилиния: фигура 112">
              <a:extLst>
                <a:ext uri="{FF2B5EF4-FFF2-40B4-BE49-F238E27FC236}">
                  <a16:creationId xmlns:a16="http://schemas.microsoft.com/office/drawing/2014/main" id="{A232DDF6-FFE9-4A7C-95FA-78B6B0B68787}"/>
                </a:ext>
              </a:extLst>
            </p:cNvPr>
            <p:cNvSpPr/>
            <p:nvPr/>
          </p:nvSpPr>
          <p:spPr>
            <a:xfrm>
              <a:off x="10218043" y="1956342"/>
              <a:ext cx="499188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Полилиния: фигура 113">
              <a:extLst>
                <a:ext uri="{FF2B5EF4-FFF2-40B4-BE49-F238E27FC236}">
                  <a16:creationId xmlns:a16="http://schemas.microsoft.com/office/drawing/2014/main" id="{F87E652F-7893-9F92-6C7A-03C586308241}"/>
                </a:ext>
              </a:extLst>
            </p:cNvPr>
            <p:cNvSpPr/>
            <p:nvPr/>
          </p:nvSpPr>
          <p:spPr>
            <a:xfrm>
              <a:off x="10722404" y="195634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Полилиния: фигура 114">
              <a:extLst>
                <a:ext uri="{FF2B5EF4-FFF2-40B4-BE49-F238E27FC236}">
                  <a16:creationId xmlns:a16="http://schemas.microsoft.com/office/drawing/2014/main" id="{E52A84F5-A190-3CBA-533E-1D627B7406C3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Полилиния: фигура 116">
              <a:extLst>
                <a:ext uri="{FF2B5EF4-FFF2-40B4-BE49-F238E27FC236}">
                  <a16:creationId xmlns:a16="http://schemas.microsoft.com/office/drawing/2014/main" id="{8020401A-CB1E-7102-5C24-F4A4AA6155A6}"/>
                </a:ext>
              </a:extLst>
            </p:cNvPr>
            <p:cNvSpPr/>
            <p:nvPr/>
          </p:nvSpPr>
          <p:spPr>
            <a:xfrm rot="16200000">
              <a:off x="10229248" y="2927837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3" name="Группа 142">
              <a:extLst>
                <a:ext uri="{FF2B5EF4-FFF2-40B4-BE49-F238E27FC236}">
                  <a16:creationId xmlns:a16="http://schemas.microsoft.com/office/drawing/2014/main" id="{55BFAE82-8F16-9F3B-4729-653EB69CB0F7}"/>
                </a:ext>
              </a:extLst>
            </p:cNvPr>
            <p:cNvGrpSpPr/>
            <p:nvPr/>
          </p:nvGrpSpPr>
          <p:grpSpPr>
            <a:xfrm>
              <a:off x="10562417" y="3072801"/>
              <a:ext cx="240030" cy="160281"/>
              <a:chOff x="10562417" y="3072801"/>
              <a:chExt cx="240030" cy="160281"/>
            </a:xfrm>
          </p:grpSpPr>
          <p:sp>
            <p:nvSpPr>
              <p:cNvPr id="236" name="Полилиния: фигура 117">
                <a:extLst>
                  <a:ext uri="{FF2B5EF4-FFF2-40B4-BE49-F238E27FC236}">
                    <a16:creationId xmlns:a16="http://schemas.microsoft.com/office/drawing/2014/main" id="{A881E735-97A3-0633-9C8E-4D7471867FE6}"/>
                  </a:ext>
                </a:extLst>
              </p:cNvPr>
              <p:cNvSpPr/>
              <p:nvPr userDrawn="1"/>
            </p:nvSpPr>
            <p:spPr>
              <a:xfrm>
                <a:off x="10722404" y="3152843"/>
                <a:ext cx="80043" cy="80238"/>
              </a:xfrm>
              <a:custGeom>
                <a:avLst/>
                <a:gdLst>
                  <a:gd name="connsiteX0" fmla="*/ 79733 w 80043"/>
                  <a:gd name="connsiteY0" fmla="*/ -240 h 80238"/>
                  <a:gd name="connsiteX1" fmla="*/ -310 w 80043"/>
                  <a:gd name="connsiteY1" fmla="*/ 79607 h 80238"/>
                  <a:gd name="connsiteX2" fmla="*/ -310 w 80043"/>
                  <a:gd name="connsiteY2" fmla="*/ 79999 h 80238"/>
                  <a:gd name="connsiteX3" fmla="*/ 79733 w 80043"/>
                  <a:gd name="connsiteY3" fmla="*/ 152 h 80238"/>
                  <a:gd name="connsiteX4" fmla="*/ 79733 w 80043"/>
                  <a:gd name="connsiteY4" fmla="*/ -240 h 8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43" h="80238">
                    <a:moveTo>
                      <a:pt x="79733" y="-240"/>
                    </a:moveTo>
                    <a:cubicBezTo>
                      <a:pt x="35548" y="-299"/>
                      <a:pt x="-212" y="35451"/>
                      <a:pt x="-310" y="79607"/>
                    </a:cubicBezTo>
                    <a:cubicBezTo>
                      <a:pt x="-310" y="79734"/>
                      <a:pt x="-310" y="79871"/>
                      <a:pt x="-310" y="79999"/>
                    </a:cubicBezTo>
                    <a:cubicBezTo>
                      <a:pt x="43875" y="80057"/>
                      <a:pt x="79635" y="44308"/>
                      <a:pt x="79733" y="152"/>
                    </a:cubicBezTo>
                    <a:cubicBezTo>
                      <a:pt x="79733" y="24"/>
                      <a:pt x="79733" y="-113"/>
                      <a:pt x="79733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Полилиния: фигура 118">
                <a:extLst>
                  <a:ext uri="{FF2B5EF4-FFF2-40B4-BE49-F238E27FC236}">
                    <a16:creationId xmlns:a16="http://schemas.microsoft.com/office/drawing/2014/main" id="{DB7BD1C1-1207-FF95-3C79-C6385CC944E7}"/>
                  </a:ext>
                </a:extLst>
              </p:cNvPr>
              <p:cNvSpPr/>
              <p:nvPr userDrawn="1"/>
            </p:nvSpPr>
            <p:spPr>
              <a:xfrm>
                <a:off x="10562417" y="3072801"/>
                <a:ext cx="159987" cy="160281"/>
              </a:xfrm>
              <a:custGeom>
                <a:avLst/>
                <a:gdLst>
                  <a:gd name="connsiteX0" fmla="*/ -310 w 159987"/>
                  <a:gd name="connsiteY0" fmla="*/ -240 h 160281"/>
                  <a:gd name="connsiteX1" fmla="*/ 159383 w 159987"/>
                  <a:gd name="connsiteY1" fmla="*/ 160041 h 160281"/>
                  <a:gd name="connsiteX2" fmla="*/ 159677 w 159987"/>
                  <a:gd name="connsiteY2" fmla="*/ 160041 h 160281"/>
                  <a:gd name="connsiteX3" fmla="*/ -17 w 159987"/>
                  <a:gd name="connsiteY3" fmla="*/ -240 h 160281"/>
                  <a:gd name="connsiteX4" fmla="*/ -310 w 159987"/>
                  <a:gd name="connsiteY4" fmla="*/ -240 h 1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987" h="160281">
                    <a:moveTo>
                      <a:pt x="-310" y="-240"/>
                    </a:moveTo>
                    <a:cubicBezTo>
                      <a:pt x="-506" y="88120"/>
                      <a:pt x="71013" y="159874"/>
                      <a:pt x="159383" y="160041"/>
                    </a:cubicBezTo>
                    <a:cubicBezTo>
                      <a:pt x="159481" y="160041"/>
                      <a:pt x="159579" y="160041"/>
                      <a:pt x="159677" y="160041"/>
                    </a:cubicBezTo>
                    <a:cubicBezTo>
                      <a:pt x="159873" y="71681"/>
                      <a:pt x="88354" y="-74"/>
                      <a:pt x="-17" y="-240"/>
                    </a:cubicBezTo>
                    <a:cubicBezTo>
                      <a:pt x="-115" y="-240"/>
                      <a:pt x="-212" y="-240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4" name="Полилиния: фигура 119">
              <a:extLst>
                <a:ext uri="{FF2B5EF4-FFF2-40B4-BE49-F238E27FC236}">
                  <a16:creationId xmlns:a16="http://schemas.microsoft.com/office/drawing/2014/main" id="{9AB5CFF2-BC5D-D96E-96E9-9F3FEBE273D3}"/>
                </a:ext>
              </a:extLst>
            </p:cNvPr>
            <p:cNvSpPr/>
            <p:nvPr/>
          </p:nvSpPr>
          <p:spPr>
            <a:xfrm>
              <a:off x="10579947" y="3232812"/>
              <a:ext cx="284927" cy="503156"/>
            </a:xfrm>
            <a:custGeom>
              <a:avLst/>
              <a:gdLst>
                <a:gd name="connsiteX0" fmla="*/ 142147 w 284927"/>
                <a:gd name="connsiteY0" fmla="*/ 502917 h 503156"/>
                <a:gd name="connsiteX1" fmla="*/ 284206 w 284927"/>
                <a:gd name="connsiteY1" fmla="*/ 134152 h 503156"/>
                <a:gd name="connsiteX2" fmla="*/ 89 w 284927"/>
                <a:gd name="connsiteY2" fmla="*/ 134152 h 503156"/>
                <a:gd name="connsiteX3" fmla="*/ 142147 w 284927"/>
                <a:gd name="connsiteY3" fmla="*/ 502917 h 5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27" h="503156">
                  <a:moveTo>
                    <a:pt x="142147" y="502917"/>
                  </a:moveTo>
                  <a:cubicBezTo>
                    <a:pt x="238355" y="404857"/>
                    <a:pt x="289790" y="271410"/>
                    <a:pt x="284206" y="134152"/>
                  </a:cubicBezTo>
                  <a:cubicBezTo>
                    <a:pt x="277543" y="-45037"/>
                    <a:pt x="6848" y="-45037"/>
                    <a:pt x="89" y="134152"/>
                  </a:cubicBezTo>
                  <a:cubicBezTo>
                    <a:pt x="-5398" y="271400"/>
                    <a:pt x="45940" y="404837"/>
                    <a:pt x="142147" y="502917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Полилиния: фигура 121">
              <a:extLst>
                <a:ext uri="{FF2B5EF4-FFF2-40B4-BE49-F238E27FC236}">
                  <a16:creationId xmlns:a16="http://schemas.microsoft.com/office/drawing/2014/main" id="{5724ABB9-23F9-557B-640F-4EDA08185EA2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Полилиния: фигура 122">
              <a:extLst>
                <a:ext uri="{FF2B5EF4-FFF2-40B4-BE49-F238E27FC236}">
                  <a16:creationId xmlns:a16="http://schemas.microsoft.com/office/drawing/2014/main" id="{2E6D9482-2CA0-8F16-ADC6-1839E26E999F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Полилиния: фигура 123">
              <a:extLst>
                <a:ext uri="{FF2B5EF4-FFF2-40B4-BE49-F238E27FC236}">
                  <a16:creationId xmlns:a16="http://schemas.microsoft.com/office/drawing/2014/main" id="{32880002-40DF-0E72-E8B9-259EBD329D29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Полилиния: фигура 125">
              <a:extLst>
                <a:ext uri="{FF2B5EF4-FFF2-40B4-BE49-F238E27FC236}">
                  <a16:creationId xmlns:a16="http://schemas.microsoft.com/office/drawing/2014/main" id="{7C23478D-CA78-9564-4653-E6EE3B7F9873}"/>
                </a:ext>
              </a:extLst>
            </p:cNvPr>
            <p:cNvSpPr/>
            <p:nvPr/>
          </p:nvSpPr>
          <p:spPr>
            <a:xfrm>
              <a:off x="11701548" y="440093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Полилиния: фигура 126">
              <a:extLst>
                <a:ext uri="{FF2B5EF4-FFF2-40B4-BE49-F238E27FC236}">
                  <a16:creationId xmlns:a16="http://schemas.microsoft.com/office/drawing/2014/main" id="{880455E5-D941-01B7-2E0B-428B3E1168AF}"/>
                </a:ext>
              </a:extLst>
            </p:cNvPr>
            <p:cNvSpPr/>
            <p:nvPr/>
          </p:nvSpPr>
          <p:spPr>
            <a:xfrm>
              <a:off x="11211691" y="391107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Полилиния: фигура 127">
              <a:extLst>
                <a:ext uri="{FF2B5EF4-FFF2-40B4-BE49-F238E27FC236}">
                  <a16:creationId xmlns:a16="http://schemas.microsoft.com/office/drawing/2014/main" id="{97F171CD-74ED-E86B-FCA3-2D8AB57BCA8F}"/>
                </a:ext>
              </a:extLst>
            </p:cNvPr>
            <p:cNvSpPr/>
            <p:nvPr/>
          </p:nvSpPr>
          <p:spPr>
            <a:xfrm>
              <a:off x="11701548" y="391107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Полилиния: фигура 128">
              <a:extLst>
                <a:ext uri="{FF2B5EF4-FFF2-40B4-BE49-F238E27FC236}">
                  <a16:creationId xmlns:a16="http://schemas.microsoft.com/office/drawing/2014/main" id="{6B5C7B98-9AF3-A3C5-CC56-1F8415A3BBFA}"/>
                </a:ext>
              </a:extLst>
            </p:cNvPr>
            <p:cNvSpPr/>
            <p:nvPr/>
          </p:nvSpPr>
          <p:spPr>
            <a:xfrm>
              <a:off x="11211691" y="440093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Полилиния: фигура 130">
              <a:extLst>
                <a:ext uri="{FF2B5EF4-FFF2-40B4-BE49-F238E27FC236}">
                  <a16:creationId xmlns:a16="http://schemas.microsoft.com/office/drawing/2014/main" id="{E7E3018D-75B7-25D3-F819-65B4866C5B11}"/>
                </a:ext>
              </a:extLst>
            </p:cNvPr>
            <p:cNvSpPr/>
            <p:nvPr/>
          </p:nvSpPr>
          <p:spPr>
            <a:xfrm>
              <a:off x="7564294" y="1321178"/>
              <a:ext cx="437931" cy="274907"/>
            </a:xfrm>
            <a:custGeom>
              <a:avLst/>
              <a:gdLst>
                <a:gd name="connsiteX0" fmla="*/ 297270 w 437931"/>
                <a:gd name="connsiteY0" fmla="*/ 274668 h 274907"/>
                <a:gd name="connsiteX1" fmla="*/ 134245 w 437931"/>
                <a:gd name="connsiteY1" fmla="*/ 274668 h 274907"/>
                <a:gd name="connsiteX2" fmla="*/ -3207 w 437931"/>
                <a:gd name="connsiteY2" fmla="*/ 137214 h 274907"/>
                <a:gd name="connsiteX3" fmla="*/ 134245 w 437931"/>
                <a:gd name="connsiteY3" fmla="*/ -240 h 274907"/>
                <a:gd name="connsiteX4" fmla="*/ 297270 w 437931"/>
                <a:gd name="connsiteY4" fmla="*/ -240 h 274907"/>
                <a:gd name="connsiteX5" fmla="*/ 434725 w 437931"/>
                <a:gd name="connsiteY5" fmla="*/ 137214 h 274907"/>
                <a:gd name="connsiteX6" fmla="*/ 297270 w 437931"/>
                <a:gd name="connsiteY6" fmla="*/ 274668 h 27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931" h="274907">
                  <a:moveTo>
                    <a:pt x="297270" y="274668"/>
                  </a:moveTo>
                  <a:lnTo>
                    <a:pt x="134245" y="274668"/>
                  </a:lnTo>
                  <a:cubicBezTo>
                    <a:pt x="58317" y="274668"/>
                    <a:pt x="-3207" y="213132"/>
                    <a:pt x="-3207" y="137214"/>
                  </a:cubicBezTo>
                  <a:cubicBezTo>
                    <a:pt x="-3207" y="61296"/>
                    <a:pt x="58317" y="-240"/>
                    <a:pt x="134245" y="-240"/>
                  </a:cubicBezTo>
                  <a:lnTo>
                    <a:pt x="297270" y="-240"/>
                  </a:lnTo>
                  <a:cubicBezTo>
                    <a:pt x="373198" y="-240"/>
                    <a:pt x="434725" y="61296"/>
                    <a:pt x="434725" y="137214"/>
                  </a:cubicBezTo>
                  <a:cubicBezTo>
                    <a:pt x="434725" y="213132"/>
                    <a:pt x="373198" y="274668"/>
                    <a:pt x="297270" y="274668"/>
                  </a:cubicBezTo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3" name="Группа 139">
              <a:extLst>
                <a:ext uri="{FF2B5EF4-FFF2-40B4-BE49-F238E27FC236}">
                  <a16:creationId xmlns:a16="http://schemas.microsoft.com/office/drawing/2014/main" id="{C1B504CE-0FB3-5DDF-21DE-5E26A943F780}"/>
                </a:ext>
              </a:extLst>
            </p:cNvPr>
            <p:cNvGrpSpPr/>
            <p:nvPr/>
          </p:nvGrpSpPr>
          <p:grpSpPr>
            <a:xfrm>
              <a:off x="7431641" y="1321766"/>
              <a:ext cx="703239" cy="274320"/>
              <a:chOff x="7431641" y="1321766"/>
              <a:chExt cx="703239" cy="274320"/>
            </a:xfrm>
          </p:grpSpPr>
          <p:sp>
            <p:nvSpPr>
              <p:cNvPr id="234" name="Полилиния: фигура 131">
                <a:extLst>
                  <a:ext uri="{FF2B5EF4-FFF2-40B4-BE49-F238E27FC236}">
                    <a16:creationId xmlns:a16="http://schemas.microsoft.com/office/drawing/2014/main" id="{50082B8F-F977-7DDB-6F97-4532406ECC27}"/>
                  </a:ext>
                </a:extLst>
              </p:cNvPr>
              <p:cNvSpPr/>
              <p:nvPr userDrawn="1"/>
            </p:nvSpPr>
            <p:spPr>
              <a:xfrm>
                <a:off x="7997720" y="1321766"/>
                <a:ext cx="137160" cy="274320"/>
              </a:xfrm>
              <a:custGeom>
                <a:avLst/>
                <a:gdLst>
                  <a:gd name="connsiteX0" fmla="*/ 133953 w 137160"/>
                  <a:gd name="connsiteY0" fmla="*/ -240 h 274320"/>
                  <a:gd name="connsiteX1" fmla="*/ -3207 w 137160"/>
                  <a:gd name="connsiteY1" fmla="*/ 136920 h 274320"/>
                  <a:gd name="connsiteX2" fmla="*/ 133953 w 137160"/>
                  <a:gd name="connsiteY2" fmla="*/ 27408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133953" y="-240"/>
                    </a:moveTo>
                    <a:cubicBezTo>
                      <a:pt x="58219" y="-240"/>
                      <a:pt x="-3207" y="61169"/>
                      <a:pt x="-3207" y="136920"/>
                    </a:cubicBezTo>
                    <a:cubicBezTo>
                      <a:pt x="-3207" y="212671"/>
                      <a:pt x="58219" y="274080"/>
                      <a:pt x="133953" y="27408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Полилиния: фигура 132">
                <a:extLst>
                  <a:ext uri="{FF2B5EF4-FFF2-40B4-BE49-F238E27FC236}">
                    <a16:creationId xmlns:a16="http://schemas.microsoft.com/office/drawing/2014/main" id="{3A232097-AB6A-7375-0DA6-83BC51B54CD8}"/>
                  </a:ext>
                </a:extLst>
              </p:cNvPr>
              <p:cNvSpPr/>
              <p:nvPr userDrawn="1"/>
            </p:nvSpPr>
            <p:spPr>
              <a:xfrm>
                <a:off x="7431641" y="1321766"/>
                <a:ext cx="137160" cy="274320"/>
              </a:xfrm>
              <a:custGeom>
                <a:avLst/>
                <a:gdLst>
                  <a:gd name="connsiteX0" fmla="*/ -3207 w 137160"/>
                  <a:gd name="connsiteY0" fmla="*/ 274080 h 274320"/>
                  <a:gd name="connsiteX1" fmla="*/ 133953 w 137160"/>
                  <a:gd name="connsiteY1" fmla="*/ 136920 h 274320"/>
                  <a:gd name="connsiteX2" fmla="*/ -3207 w 137160"/>
                  <a:gd name="connsiteY2" fmla="*/ -24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-3207" y="274080"/>
                    </a:moveTo>
                    <a:cubicBezTo>
                      <a:pt x="72525" y="274080"/>
                      <a:pt x="133953" y="212671"/>
                      <a:pt x="133953" y="136920"/>
                    </a:cubicBezTo>
                    <a:cubicBezTo>
                      <a:pt x="133953" y="61169"/>
                      <a:pt x="72525" y="-240"/>
                      <a:pt x="-3207" y="-2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TextBox 3"/>
          <p:cNvSpPr txBox="1"/>
          <p:nvPr/>
        </p:nvSpPr>
        <p:spPr>
          <a:xfrm>
            <a:off x="1272295" y="3204833"/>
            <a:ext cx="166684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ru-RU" dirty="0" smtClean="0"/>
              <a:t> </a:t>
            </a:r>
            <a:r>
              <a:rPr lang="ru-RU" b="1" dirty="0" smtClean="0"/>
              <a:t>Ли Юлия 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1272295" y="3662549"/>
            <a:ext cx="8033987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dirty="0" smtClean="0"/>
              <a:t> </a:t>
            </a:r>
            <a:r>
              <a:rPr lang="ru-RU" u="sng" dirty="0" smtClean="0">
                <a:hlinkClick r:id="rId6"/>
              </a:rPr>
              <a:t>julia.li@lenta.com</a:t>
            </a:r>
            <a:endParaRPr lang="ru-RU" u="sng" dirty="0" smtClean="0"/>
          </a:p>
          <a:p>
            <a:endParaRPr lang="ru-RU" dirty="0" smtClean="0"/>
          </a:p>
          <a:p>
            <a:r>
              <a:rPr lang="ru-RU" dirty="0" smtClean="0"/>
              <a:t>Специалисты </a:t>
            </a:r>
            <a:r>
              <a:rPr lang="ru-RU" dirty="0"/>
              <a:t>по претензионной работе </a:t>
            </a:r>
            <a:r>
              <a:rPr lang="ru-RU" u="sng" dirty="0" smtClean="0">
                <a:hlinkClick r:id="rId7"/>
              </a:rPr>
              <a:t>WHSPbSpecialistsinQuality@lenta.com</a:t>
            </a:r>
            <a:endParaRPr lang="ru-RU" u="sng" dirty="0" smtClean="0"/>
          </a:p>
          <a:p>
            <a:endParaRPr lang="ru-RU" b="1" dirty="0" smtClean="0"/>
          </a:p>
        </p:txBody>
      </p: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6EFBBDF3-5282-4319-9A2A-F8EEF1055BF2}"/>
              </a:ext>
            </a:extLst>
          </p:cNvPr>
          <p:cNvGrpSpPr/>
          <p:nvPr/>
        </p:nvGrpSpPr>
        <p:grpSpPr>
          <a:xfrm>
            <a:off x="633025" y="3660784"/>
            <a:ext cx="475430" cy="307631"/>
            <a:chOff x="6456937" y="3498028"/>
            <a:chExt cx="475430" cy="307631"/>
          </a:xfrm>
          <a:solidFill>
            <a:schemeClr val="tx1"/>
          </a:solidFill>
        </p:grpSpPr>
        <p:sp>
          <p:nvSpPr>
            <p:cNvPr id="120" name="Полилиния: фигура 149">
              <a:extLst>
                <a:ext uri="{FF2B5EF4-FFF2-40B4-BE49-F238E27FC236}">
                  <a16:creationId xmlns:a16="http://schemas.microsoft.com/office/drawing/2014/main" id="{C1C6AD35-FA6E-42FE-B650-5B51309F97BD}"/>
                </a:ext>
              </a:extLst>
            </p:cNvPr>
            <p:cNvSpPr/>
            <p:nvPr/>
          </p:nvSpPr>
          <p:spPr>
            <a:xfrm>
              <a:off x="6456937" y="3498028"/>
              <a:ext cx="475430" cy="307631"/>
            </a:xfrm>
            <a:custGeom>
              <a:avLst/>
              <a:gdLst>
                <a:gd name="connsiteX0" fmla="*/ 467040 w 475430"/>
                <a:gd name="connsiteY0" fmla="*/ 0 h 307631"/>
                <a:gd name="connsiteX1" fmla="*/ 8390 w 475430"/>
                <a:gd name="connsiteY1" fmla="*/ 0 h 307631"/>
                <a:gd name="connsiteX2" fmla="*/ 0 w 475430"/>
                <a:gd name="connsiteY2" fmla="*/ 8390 h 307631"/>
                <a:gd name="connsiteX3" fmla="*/ 0 w 475430"/>
                <a:gd name="connsiteY3" fmla="*/ 299241 h 307631"/>
                <a:gd name="connsiteX4" fmla="*/ 8390 w 475430"/>
                <a:gd name="connsiteY4" fmla="*/ 307631 h 307631"/>
                <a:gd name="connsiteX5" fmla="*/ 467040 w 475430"/>
                <a:gd name="connsiteY5" fmla="*/ 307631 h 307631"/>
                <a:gd name="connsiteX6" fmla="*/ 475430 w 475430"/>
                <a:gd name="connsiteY6" fmla="*/ 299241 h 307631"/>
                <a:gd name="connsiteX7" fmla="*/ 475430 w 475430"/>
                <a:gd name="connsiteY7" fmla="*/ 8390 h 307631"/>
                <a:gd name="connsiteX8" fmla="*/ 467040 w 475430"/>
                <a:gd name="connsiteY8" fmla="*/ 0 h 307631"/>
                <a:gd name="connsiteX9" fmla="*/ 458650 w 475430"/>
                <a:gd name="connsiteY9" fmla="*/ 290851 h 307631"/>
                <a:gd name="connsiteX10" fmla="*/ 16780 w 475430"/>
                <a:gd name="connsiteY10" fmla="*/ 290851 h 307631"/>
                <a:gd name="connsiteX11" fmla="*/ 16780 w 475430"/>
                <a:gd name="connsiteY11" fmla="*/ 16780 h 307631"/>
                <a:gd name="connsiteX12" fmla="*/ 458650 w 475430"/>
                <a:gd name="connsiteY12" fmla="*/ 16780 h 307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5430" h="307631">
                  <a:moveTo>
                    <a:pt x="467040" y="0"/>
                  </a:moveTo>
                  <a:lnTo>
                    <a:pt x="8390" y="0"/>
                  </a:lnTo>
                  <a:cubicBezTo>
                    <a:pt x="3756" y="0"/>
                    <a:pt x="0" y="3756"/>
                    <a:pt x="0" y="8390"/>
                  </a:cubicBezTo>
                  <a:lnTo>
                    <a:pt x="0" y="299241"/>
                  </a:lnTo>
                  <a:cubicBezTo>
                    <a:pt x="0" y="303875"/>
                    <a:pt x="3756" y="307631"/>
                    <a:pt x="8390" y="307631"/>
                  </a:cubicBezTo>
                  <a:lnTo>
                    <a:pt x="467040" y="307631"/>
                  </a:lnTo>
                  <a:cubicBezTo>
                    <a:pt x="471674" y="307631"/>
                    <a:pt x="475430" y="303875"/>
                    <a:pt x="475430" y="299241"/>
                  </a:cubicBezTo>
                  <a:lnTo>
                    <a:pt x="475430" y="8390"/>
                  </a:lnTo>
                  <a:cubicBezTo>
                    <a:pt x="475430" y="3756"/>
                    <a:pt x="471674" y="0"/>
                    <a:pt x="467040" y="0"/>
                  </a:cubicBezTo>
                  <a:close/>
                  <a:moveTo>
                    <a:pt x="458650" y="290851"/>
                  </a:moveTo>
                  <a:lnTo>
                    <a:pt x="16780" y="290851"/>
                  </a:lnTo>
                  <a:lnTo>
                    <a:pt x="16780" y="16780"/>
                  </a:lnTo>
                  <a:lnTo>
                    <a:pt x="458650" y="16780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Полилиния: фигура 150">
              <a:extLst>
                <a:ext uri="{FF2B5EF4-FFF2-40B4-BE49-F238E27FC236}">
                  <a16:creationId xmlns:a16="http://schemas.microsoft.com/office/drawing/2014/main" id="{496A1DFF-0A32-49B1-8AA6-928E71B9824B}"/>
                </a:ext>
              </a:extLst>
            </p:cNvPr>
            <p:cNvSpPr/>
            <p:nvPr/>
          </p:nvSpPr>
          <p:spPr>
            <a:xfrm>
              <a:off x="6504480" y="3665817"/>
              <a:ext cx="178985" cy="95095"/>
            </a:xfrm>
            <a:custGeom>
              <a:avLst/>
              <a:gdLst>
                <a:gd name="connsiteX0" fmla="*/ 8390 w 178985"/>
                <a:gd name="connsiteY0" fmla="*/ 95096 h 95095"/>
                <a:gd name="connsiteX1" fmla="*/ 170596 w 178985"/>
                <a:gd name="connsiteY1" fmla="*/ 95096 h 95095"/>
                <a:gd name="connsiteX2" fmla="*/ 178986 w 178985"/>
                <a:gd name="connsiteY2" fmla="*/ 86706 h 95095"/>
                <a:gd name="connsiteX3" fmla="*/ 89493 w 178985"/>
                <a:gd name="connsiteY3" fmla="*/ 10 h 95095"/>
                <a:gd name="connsiteX4" fmla="*/ 0 w 178985"/>
                <a:gd name="connsiteY4" fmla="*/ 86706 h 95095"/>
                <a:gd name="connsiteX5" fmla="*/ 8390 w 178985"/>
                <a:gd name="connsiteY5" fmla="*/ 95096 h 95095"/>
                <a:gd name="connsiteX6" fmla="*/ 89493 w 178985"/>
                <a:gd name="connsiteY6" fmla="*/ 16790 h 95095"/>
                <a:gd name="connsiteX7" fmla="*/ 161702 w 178985"/>
                <a:gd name="connsiteY7" fmla="*/ 78316 h 95095"/>
                <a:gd name="connsiteX8" fmla="*/ 17283 w 178985"/>
                <a:gd name="connsiteY8" fmla="*/ 78316 h 95095"/>
                <a:gd name="connsiteX9" fmla="*/ 89493 w 178985"/>
                <a:gd name="connsiteY9" fmla="*/ 16790 h 95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985" h="95095">
                  <a:moveTo>
                    <a:pt x="8390" y="95096"/>
                  </a:moveTo>
                  <a:lnTo>
                    <a:pt x="170596" y="95096"/>
                  </a:lnTo>
                  <a:cubicBezTo>
                    <a:pt x="175229" y="95096"/>
                    <a:pt x="178986" y="91339"/>
                    <a:pt x="178986" y="86706"/>
                  </a:cubicBezTo>
                  <a:cubicBezTo>
                    <a:pt x="178158" y="38077"/>
                    <a:pt x="138124" y="-707"/>
                    <a:pt x="89493" y="10"/>
                  </a:cubicBezTo>
                  <a:cubicBezTo>
                    <a:pt x="40862" y="-707"/>
                    <a:pt x="827" y="38077"/>
                    <a:pt x="0" y="86706"/>
                  </a:cubicBezTo>
                  <a:cubicBezTo>
                    <a:pt x="0" y="91339"/>
                    <a:pt x="3756" y="95096"/>
                    <a:pt x="8390" y="95096"/>
                  </a:cubicBezTo>
                  <a:close/>
                  <a:moveTo>
                    <a:pt x="89493" y="16790"/>
                  </a:moveTo>
                  <a:cubicBezTo>
                    <a:pt x="125601" y="16245"/>
                    <a:pt x="156507" y="42579"/>
                    <a:pt x="161702" y="78316"/>
                  </a:cubicBezTo>
                  <a:lnTo>
                    <a:pt x="17283" y="78316"/>
                  </a:lnTo>
                  <a:cubicBezTo>
                    <a:pt x="22478" y="42579"/>
                    <a:pt x="53384" y="16245"/>
                    <a:pt x="89493" y="1679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Полилиния: фигура 151">
              <a:extLst>
                <a:ext uri="{FF2B5EF4-FFF2-40B4-BE49-F238E27FC236}">
                  <a16:creationId xmlns:a16="http://schemas.microsoft.com/office/drawing/2014/main" id="{83DEDF78-FE9B-4A70-88C0-EE71E8ECD3A7}"/>
                </a:ext>
              </a:extLst>
            </p:cNvPr>
            <p:cNvSpPr/>
            <p:nvPr/>
          </p:nvSpPr>
          <p:spPr>
            <a:xfrm>
              <a:off x="6546430" y="3553961"/>
              <a:ext cx="95086" cy="95086"/>
            </a:xfrm>
            <a:custGeom>
              <a:avLst/>
              <a:gdLst>
                <a:gd name="connsiteX0" fmla="*/ 47543 w 95086"/>
                <a:gd name="connsiteY0" fmla="*/ 95086 h 95086"/>
                <a:gd name="connsiteX1" fmla="*/ 95086 w 95086"/>
                <a:gd name="connsiteY1" fmla="*/ 47543 h 95086"/>
                <a:gd name="connsiteX2" fmla="*/ 47543 w 95086"/>
                <a:gd name="connsiteY2" fmla="*/ 0 h 95086"/>
                <a:gd name="connsiteX3" fmla="*/ 0 w 95086"/>
                <a:gd name="connsiteY3" fmla="*/ 47543 h 95086"/>
                <a:gd name="connsiteX4" fmla="*/ 47543 w 95086"/>
                <a:gd name="connsiteY4" fmla="*/ 95086 h 95086"/>
                <a:gd name="connsiteX5" fmla="*/ 47543 w 95086"/>
                <a:gd name="connsiteY5" fmla="*/ 16780 h 95086"/>
                <a:gd name="connsiteX6" fmla="*/ 78306 w 95086"/>
                <a:gd name="connsiteY6" fmla="*/ 47543 h 95086"/>
                <a:gd name="connsiteX7" fmla="*/ 47543 w 95086"/>
                <a:gd name="connsiteY7" fmla="*/ 78306 h 95086"/>
                <a:gd name="connsiteX8" fmla="*/ 16780 w 95086"/>
                <a:gd name="connsiteY8" fmla="*/ 47543 h 95086"/>
                <a:gd name="connsiteX9" fmla="*/ 47543 w 95086"/>
                <a:gd name="connsiteY9" fmla="*/ 16780 h 95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086" h="95086">
                  <a:moveTo>
                    <a:pt x="47543" y="95086"/>
                  </a:moveTo>
                  <a:cubicBezTo>
                    <a:pt x="73800" y="95086"/>
                    <a:pt x="95086" y="73800"/>
                    <a:pt x="95086" y="47543"/>
                  </a:cubicBezTo>
                  <a:cubicBezTo>
                    <a:pt x="95086" y="21286"/>
                    <a:pt x="73800" y="0"/>
                    <a:pt x="47543" y="0"/>
                  </a:cubicBezTo>
                  <a:cubicBezTo>
                    <a:pt x="21286" y="0"/>
                    <a:pt x="0" y="21286"/>
                    <a:pt x="0" y="47543"/>
                  </a:cubicBezTo>
                  <a:cubicBezTo>
                    <a:pt x="31" y="73787"/>
                    <a:pt x="21299" y="95055"/>
                    <a:pt x="47543" y="95086"/>
                  </a:cubicBezTo>
                  <a:close/>
                  <a:moveTo>
                    <a:pt x="47543" y="16780"/>
                  </a:moveTo>
                  <a:cubicBezTo>
                    <a:pt x="64533" y="16780"/>
                    <a:pt x="78306" y="30553"/>
                    <a:pt x="78306" y="47543"/>
                  </a:cubicBezTo>
                  <a:cubicBezTo>
                    <a:pt x="78306" y="64533"/>
                    <a:pt x="64533" y="78306"/>
                    <a:pt x="47543" y="78306"/>
                  </a:cubicBezTo>
                  <a:cubicBezTo>
                    <a:pt x="30553" y="78306"/>
                    <a:pt x="16780" y="64533"/>
                    <a:pt x="16780" y="47543"/>
                  </a:cubicBezTo>
                  <a:cubicBezTo>
                    <a:pt x="16811" y="30566"/>
                    <a:pt x="30566" y="16811"/>
                    <a:pt x="47543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Полилиния: фигура 152">
              <a:extLst>
                <a:ext uri="{FF2B5EF4-FFF2-40B4-BE49-F238E27FC236}">
                  <a16:creationId xmlns:a16="http://schemas.microsoft.com/office/drawing/2014/main" id="{F8C0100A-4560-4AD1-81F6-EC5C04C50256}"/>
                </a:ext>
              </a:extLst>
            </p:cNvPr>
            <p:cNvSpPr/>
            <p:nvPr/>
          </p:nvSpPr>
          <p:spPr>
            <a:xfrm>
              <a:off x="6691855" y="3587521"/>
              <a:ext cx="184578" cy="16779"/>
            </a:xfrm>
            <a:custGeom>
              <a:avLst/>
              <a:gdLst>
                <a:gd name="connsiteX0" fmla="*/ 8390 w 184578"/>
                <a:gd name="connsiteY0" fmla="*/ 16780 h 16779"/>
                <a:gd name="connsiteX1" fmla="*/ 176189 w 184578"/>
                <a:gd name="connsiteY1" fmla="*/ 16780 h 16779"/>
                <a:gd name="connsiteX2" fmla="*/ 184579 w 184578"/>
                <a:gd name="connsiteY2" fmla="*/ 8390 h 16779"/>
                <a:gd name="connsiteX3" fmla="*/ 176189 w 184578"/>
                <a:gd name="connsiteY3" fmla="*/ 0 h 16779"/>
                <a:gd name="connsiteX4" fmla="*/ 8390 w 184578"/>
                <a:gd name="connsiteY4" fmla="*/ 0 h 16779"/>
                <a:gd name="connsiteX5" fmla="*/ 0 w 184578"/>
                <a:gd name="connsiteY5" fmla="*/ 8390 h 16779"/>
                <a:gd name="connsiteX6" fmla="*/ 8390 w 184578"/>
                <a:gd name="connsiteY6" fmla="*/ 1678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78" h="16779">
                  <a:moveTo>
                    <a:pt x="8390" y="16780"/>
                  </a:moveTo>
                  <a:lnTo>
                    <a:pt x="176189" y="16780"/>
                  </a:lnTo>
                  <a:cubicBezTo>
                    <a:pt x="180822" y="16780"/>
                    <a:pt x="184579" y="13023"/>
                    <a:pt x="184579" y="8390"/>
                  </a:cubicBezTo>
                  <a:cubicBezTo>
                    <a:pt x="184579" y="3756"/>
                    <a:pt x="180822" y="0"/>
                    <a:pt x="176189" y="0"/>
                  </a:cubicBezTo>
                  <a:lnTo>
                    <a:pt x="8390" y="0"/>
                  </a:lnTo>
                  <a:cubicBezTo>
                    <a:pt x="3756" y="0"/>
                    <a:pt x="0" y="3756"/>
                    <a:pt x="0" y="8390"/>
                  </a:cubicBezTo>
                  <a:cubicBezTo>
                    <a:pt x="0" y="13023"/>
                    <a:pt x="3756" y="16780"/>
                    <a:pt x="8390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Полилиния: фигура 153">
              <a:extLst>
                <a:ext uri="{FF2B5EF4-FFF2-40B4-BE49-F238E27FC236}">
                  <a16:creationId xmlns:a16="http://schemas.microsoft.com/office/drawing/2014/main" id="{7698371D-C422-44C8-8447-C4FE32493225}"/>
                </a:ext>
              </a:extLst>
            </p:cNvPr>
            <p:cNvSpPr/>
            <p:nvPr/>
          </p:nvSpPr>
          <p:spPr>
            <a:xfrm>
              <a:off x="6691855" y="3665827"/>
              <a:ext cx="184578" cy="16779"/>
            </a:xfrm>
            <a:custGeom>
              <a:avLst/>
              <a:gdLst>
                <a:gd name="connsiteX0" fmla="*/ 8390 w 184578"/>
                <a:gd name="connsiteY0" fmla="*/ 16780 h 16779"/>
                <a:gd name="connsiteX1" fmla="*/ 176189 w 184578"/>
                <a:gd name="connsiteY1" fmla="*/ 16780 h 16779"/>
                <a:gd name="connsiteX2" fmla="*/ 184579 w 184578"/>
                <a:gd name="connsiteY2" fmla="*/ 8390 h 16779"/>
                <a:gd name="connsiteX3" fmla="*/ 176189 w 184578"/>
                <a:gd name="connsiteY3" fmla="*/ 0 h 16779"/>
                <a:gd name="connsiteX4" fmla="*/ 8390 w 184578"/>
                <a:gd name="connsiteY4" fmla="*/ 0 h 16779"/>
                <a:gd name="connsiteX5" fmla="*/ 0 w 184578"/>
                <a:gd name="connsiteY5" fmla="*/ 8390 h 16779"/>
                <a:gd name="connsiteX6" fmla="*/ 8390 w 184578"/>
                <a:gd name="connsiteY6" fmla="*/ 1678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78" h="16779">
                  <a:moveTo>
                    <a:pt x="8390" y="16780"/>
                  </a:moveTo>
                  <a:lnTo>
                    <a:pt x="176189" y="16780"/>
                  </a:lnTo>
                  <a:cubicBezTo>
                    <a:pt x="180822" y="16780"/>
                    <a:pt x="184579" y="13023"/>
                    <a:pt x="184579" y="8390"/>
                  </a:cubicBezTo>
                  <a:cubicBezTo>
                    <a:pt x="184579" y="3756"/>
                    <a:pt x="180822" y="0"/>
                    <a:pt x="176189" y="0"/>
                  </a:cubicBezTo>
                  <a:lnTo>
                    <a:pt x="8390" y="0"/>
                  </a:lnTo>
                  <a:cubicBezTo>
                    <a:pt x="3756" y="0"/>
                    <a:pt x="0" y="3756"/>
                    <a:pt x="0" y="8390"/>
                  </a:cubicBezTo>
                  <a:cubicBezTo>
                    <a:pt x="0" y="13023"/>
                    <a:pt x="3756" y="16780"/>
                    <a:pt x="8390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7" name="Рисунок 55">
            <a:extLst>
              <a:ext uri="{FF2B5EF4-FFF2-40B4-BE49-F238E27FC236}">
                <a16:creationId xmlns:a16="http://schemas.microsoft.com/office/drawing/2014/main" id="{BE302F53-1E50-4E33-8830-AAD91F85E202}"/>
              </a:ext>
            </a:extLst>
          </p:cNvPr>
          <p:cNvGrpSpPr/>
          <p:nvPr/>
        </p:nvGrpSpPr>
        <p:grpSpPr>
          <a:xfrm>
            <a:off x="630650" y="4301660"/>
            <a:ext cx="474586" cy="515735"/>
            <a:chOff x="2975435" y="2316798"/>
            <a:chExt cx="474586" cy="515735"/>
          </a:xfrm>
          <a:solidFill>
            <a:schemeClr val="tx1"/>
          </a:solidFill>
        </p:grpSpPr>
        <p:sp>
          <p:nvSpPr>
            <p:cNvPr id="128" name="Полилиния: фигура 237">
              <a:extLst>
                <a:ext uri="{FF2B5EF4-FFF2-40B4-BE49-F238E27FC236}">
                  <a16:creationId xmlns:a16="http://schemas.microsoft.com/office/drawing/2014/main" id="{A14DF56C-E9C0-4DEB-BF1C-6390EA9724CE}"/>
                </a:ext>
              </a:extLst>
            </p:cNvPr>
            <p:cNvSpPr/>
            <p:nvPr/>
          </p:nvSpPr>
          <p:spPr>
            <a:xfrm>
              <a:off x="2975435" y="2528616"/>
              <a:ext cx="248682" cy="178685"/>
            </a:xfrm>
            <a:custGeom>
              <a:avLst/>
              <a:gdLst>
                <a:gd name="connsiteX0" fmla="*/ 170217 w 248682"/>
                <a:gd name="connsiteY0" fmla="*/ 16948 h 178685"/>
                <a:gd name="connsiteX1" fmla="*/ 236533 w 248682"/>
                <a:gd name="connsiteY1" fmla="*/ 31997 h 178685"/>
                <a:gd name="connsiteX2" fmla="*/ 247843 w 248682"/>
                <a:gd name="connsiteY2" fmla="*/ 28037 h 178685"/>
                <a:gd name="connsiteX3" fmla="*/ 243883 w 248682"/>
                <a:gd name="connsiteY3" fmla="*/ 16727 h 178685"/>
                <a:gd name="connsiteX4" fmla="*/ 170217 w 248682"/>
                <a:gd name="connsiteY4" fmla="*/ 0 h 178685"/>
                <a:gd name="connsiteX5" fmla="*/ 0 w 248682"/>
                <a:gd name="connsiteY5" fmla="*/ 170211 h 178685"/>
                <a:gd name="connsiteX6" fmla="*/ 8474 w 248682"/>
                <a:gd name="connsiteY6" fmla="*/ 178685 h 178685"/>
                <a:gd name="connsiteX7" fmla="*/ 155405 w 248682"/>
                <a:gd name="connsiteY7" fmla="*/ 178685 h 178685"/>
                <a:gd name="connsiteX8" fmla="*/ 163879 w 248682"/>
                <a:gd name="connsiteY8" fmla="*/ 170211 h 178685"/>
                <a:gd name="connsiteX9" fmla="*/ 155405 w 248682"/>
                <a:gd name="connsiteY9" fmla="*/ 161737 h 178685"/>
                <a:gd name="connsiteX10" fmla="*/ 17179 w 248682"/>
                <a:gd name="connsiteY10" fmla="*/ 161737 h 178685"/>
                <a:gd name="connsiteX11" fmla="*/ 170217 w 248682"/>
                <a:gd name="connsiteY11" fmla="*/ 16948 h 1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82" h="178685">
                  <a:moveTo>
                    <a:pt x="170217" y="16948"/>
                  </a:moveTo>
                  <a:cubicBezTo>
                    <a:pt x="193452" y="16948"/>
                    <a:pt x="215761" y="22009"/>
                    <a:pt x="236533" y="31997"/>
                  </a:cubicBezTo>
                  <a:cubicBezTo>
                    <a:pt x="240759" y="34020"/>
                    <a:pt x="245821" y="32251"/>
                    <a:pt x="247843" y="28037"/>
                  </a:cubicBezTo>
                  <a:cubicBezTo>
                    <a:pt x="249871" y="23817"/>
                    <a:pt x="248097" y="18750"/>
                    <a:pt x="243883" y="16727"/>
                  </a:cubicBezTo>
                  <a:cubicBezTo>
                    <a:pt x="220800" y="5627"/>
                    <a:pt x="196017" y="0"/>
                    <a:pt x="170217" y="0"/>
                  </a:cubicBezTo>
                  <a:cubicBezTo>
                    <a:pt x="76361" y="0"/>
                    <a:pt x="0" y="76361"/>
                    <a:pt x="0" y="170211"/>
                  </a:cubicBezTo>
                  <a:cubicBezTo>
                    <a:pt x="0" y="174889"/>
                    <a:pt x="3796" y="178685"/>
                    <a:pt x="8474" y="178685"/>
                  </a:cubicBezTo>
                  <a:lnTo>
                    <a:pt x="155405" y="178685"/>
                  </a:lnTo>
                  <a:cubicBezTo>
                    <a:pt x="160082" y="178685"/>
                    <a:pt x="163879" y="174889"/>
                    <a:pt x="163879" y="170211"/>
                  </a:cubicBezTo>
                  <a:cubicBezTo>
                    <a:pt x="163879" y="165534"/>
                    <a:pt x="160082" y="161737"/>
                    <a:pt x="155405" y="161737"/>
                  </a:cubicBezTo>
                  <a:lnTo>
                    <a:pt x="17179" y="161737"/>
                  </a:lnTo>
                  <a:cubicBezTo>
                    <a:pt x="21591" y="81151"/>
                    <a:pt x="88546" y="16948"/>
                    <a:pt x="170217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29" name="Полилиния: фигура 238">
              <a:extLst>
                <a:ext uri="{FF2B5EF4-FFF2-40B4-BE49-F238E27FC236}">
                  <a16:creationId xmlns:a16="http://schemas.microsoft.com/office/drawing/2014/main" id="{C9F5BC05-B7A8-45A7-9EFA-ACB070E0A99C}"/>
                </a:ext>
              </a:extLst>
            </p:cNvPr>
            <p:cNvSpPr/>
            <p:nvPr/>
          </p:nvSpPr>
          <p:spPr>
            <a:xfrm>
              <a:off x="3044282" y="2316798"/>
              <a:ext cx="197107" cy="197112"/>
            </a:xfrm>
            <a:custGeom>
              <a:avLst/>
              <a:gdLst>
                <a:gd name="connsiteX0" fmla="*/ 98534 w 197107"/>
                <a:gd name="connsiteY0" fmla="*/ 197113 h 197112"/>
                <a:gd name="connsiteX1" fmla="*/ 197107 w 197107"/>
                <a:gd name="connsiteY1" fmla="*/ 98551 h 197112"/>
                <a:gd name="connsiteX2" fmla="*/ 98534 w 197107"/>
                <a:gd name="connsiteY2" fmla="*/ 0 h 197112"/>
                <a:gd name="connsiteX3" fmla="*/ 0 w 197107"/>
                <a:gd name="connsiteY3" fmla="*/ 98551 h 197112"/>
                <a:gd name="connsiteX4" fmla="*/ 98534 w 197107"/>
                <a:gd name="connsiteY4" fmla="*/ 197113 h 197112"/>
                <a:gd name="connsiteX5" fmla="*/ 98534 w 197107"/>
                <a:gd name="connsiteY5" fmla="*/ 16948 h 197112"/>
                <a:gd name="connsiteX6" fmla="*/ 180160 w 197107"/>
                <a:gd name="connsiteY6" fmla="*/ 98551 h 197112"/>
                <a:gd name="connsiteX7" fmla="*/ 98534 w 197107"/>
                <a:gd name="connsiteY7" fmla="*/ 180165 h 197112"/>
                <a:gd name="connsiteX8" fmla="*/ 16948 w 197107"/>
                <a:gd name="connsiteY8" fmla="*/ 98551 h 197112"/>
                <a:gd name="connsiteX9" fmla="*/ 98534 w 197107"/>
                <a:gd name="connsiteY9" fmla="*/ 16948 h 19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07" h="197112">
                  <a:moveTo>
                    <a:pt x="98534" y="197113"/>
                  </a:moveTo>
                  <a:cubicBezTo>
                    <a:pt x="152885" y="197113"/>
                    <a:pt x="197107" y="152896"/>
                    <a:pt x="197107" y="98551"/>
                  </a:cubicBezTo>
                  <a:cubicBezTo>
                    <a:pt x="197107" y="44211"/>
                    <a:pt x="152885" y="0"/>
                    <a:pt x="98534" y="0"/>
                  </a:cubicBezTo>
                  <a:cubicBezTo>
                    <a:pt x="44200" y="0"/>
                    <a:pt x="0" y="44211"/>
                    <a:pt x="0" y="98551"/>
                  </a:cubicBezTo>
                  <a:cubicBezTo>
                    <a:pt x="-6" y="152896"/>
                    <a:pt x="44200" y="197113"/>
                    <a:pt x="98534" y="197113"/>
                  </a:cubicBezTo>
                  <a:close/>
                  <a:moveTo>
                    <a:pt x="98534" y="16948"/>
                  </a:moveTo>
                  <a:cubicBezTo>
                    <a:pt x="143547" y="16948"/>
                    <a:pt x="180160" y="53555"/>
                    <a:pt x="180160" y="98551"/>
                  </a:cubicBezTo>
                  <a:cubicBezTo>
                    <a:pt x="180160" y="143553"/>
                    <a:pt x="143547" y="180165"/>
                    <a:pt x="98534" y="180165"/>
                  </a:cubicBezTo>
                  <a:cubicBezTo>
                    <a:pt x="53543" y="180165"/>
                    <a:pt x="16948" y="143553"/>
                    <a:pt x="16948" y="98551"/>
                  </a:cubicBezTo>
                  <a:cubicBezTo>
                    <a:pt x="16942" y="53555"/>
                    <a:pt x="53543" y="16948"/>
                    <a:pt x="9853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Полилиния: фигура 239">
              <a:extLst>
                <a:ext uri="{FF2B5EF4-FFF2-40B4-BE49-F238E27FC236}">
                  <a16:creationId xmlns:a16="http://schemas.microsoft.com/office/drawing/2014/main" id="{2E361D31-713B-4C9C-BECD-763152EE2FC3}"/>
                </a:ext>
              </a:extLst>
            </p:cNvPr>
            <p:cNvSpPr/>
            <p:nvPr/>
          </p:nvSpPr>
          <p:spPr>
            <a:xfrm>
              <a:off x="3190151" y="2594316"/>
              <a:ext cx="259870" cy="238216"/>
            </a:xfrm>
            <a:custGeom>
              <a:avLst/>
              <a:gdLst>
                <a:gd name="connsiteX0" fmla="*/ 230805 w 259870"/>
                <a:gd name="connsiteY0" fmla="*/ 0 h 238216"/>
                <a:gd name="connsiteX1" fmla="*/ 29071 w 259870"/>
                <a:gd name="connsiteY1" fmla="*/ 0 h 238216"/>
                <a:gd name="connsiteX2" fmla="*/ 0 w 259870"/>
                <a:gd name="connsiteY2" fmla="*/ 29071 h 238216"/>
                <a:gd name="connsiteX3" fmla="*/ 0 w 259870"/>
                <a:gd name="connsiteY3" fmla="*/ 151716 h 238216"/>
                <a:gd name="connsiteX4" fmla="*/ 29065 w 259870"/>
                <a:gd name="connsiteY4" fmla="*/ 180781 h 238216"/>
                <a:gd name="connsiteX5" fmla="*/ 50843 w 259870"/>
                <a:gd name="connsiteY5" fmla="*/ 180781 h 238216"/>
                <a:gd name="connsiteX6" fmla="*/ 50843 w 259870"/>
                <a:gd name="connsiteY6" fmla="*/ 229743 h 238216"/>
                <a:gd name="connsiteX7" fmla="*/ 55899 w 259870"/>
                <a:gd name="connsiteY7" fmla="*/ 237494 h 238216"/>
                <a:gd name="connsiteX8" fmla="*/ 59317 w 259870"/>
                <a:gd name="connsiteY8" fmla="*/ 238217 h 238216"/>
                <a:gd name="connsiteX9" fmla="*/ 65034 w 259870"/>
                <a:gd name="connsiteY9" fmla="*/ 235997 h 238216"/>
                <a:gd name="connsiteX10" fmla="*/ 125475 w 259870"/>
                <a:gd name="connsiteY10" fmla="*/ 180781 h 238216"/>
                <a:gd name="connsiteX11" fmla="*/ 230811 w 259870"/>
                <a:gd name="connsiteY11" fmla="*/ 180781 h 238216"/>
                <a:gd name="connsiteX12" fmla="*/ 259870 w 259870"/>
                <a:gd name="connsiteY12" fmla="*/ 151721 h 238216"/>
                <a:gd name="connsiteX13" fmla="*/ 259870 w 259870"/>
                <a:gd name="connsiteY13" fmla="*/ 29065 h 238216"/>
                <a:gd name="connsiteX14" fmla="*/ 230805 w 259870"/>
                <a:gd name="connsiteY14" fmla="*/ 0 h 238216"/>
                <a:gd name="connsiteX15" fmla="*/ 242923 w 259870"/>
                <a:gd name="connsiteY15" fmla="*/ 151716 h 238216"/>
                <a:gd name="connsiteX16" fmla="*/ 230811 w 259870"/>
                <a:gd name="connsiteY16" fmla="*/ 163828 h 238216"/>
                <a:gd name="connsiteX17" fmla="*/ 122187 w 259870"/>
                <a:gd name="connsiteY17" fmla="*/ 163828 h 238216"/>
                <a:gd name="connsiteX18" fmla="*/ 116470 w 259870"/>
                <a:gd name="connsiteY18" fmla="*/ 166048 h 238216"/>
                <a:gd name="connsiteX19" fmla="*/ 67791 w 259870"/>
                <a:gd name="connsiteY19" fmla="*/ 210519 h 238216"/>
                <a:gd name="connsiteX20" fmla="*/ 67791 w 259870"/>
                <a:gd name="connsiteY20" fmla="*/ 172302 h 238216"/>
                <a:gd name="connsiteX21" fmla="*/ 59317 w 259870"/>
                <a:gd name="connsiteY21" fmla="*/ 163828 h 238216"/>
                <a:gd name="connsiteX22" fmla="*/ 29065 w 259870"/>
                <a:gd name="connsiteY22" fmla="*/ 163828 h 238216"/>
                <a:gd name="connsiteX23" fmla="*/ 16948 w 259870"/>
                <a:gd name="connsiteY23" fmla="*/ 151710 h 238216"/>
                <a:gd name="connsiteX24" fmla="*/ 16948 w 259870"/>
                <a:gd name="connsiteY24" fmla="*/ 29065 h 238216"/>
                <a:gd name="connsiteX25" fmla="*/ 29071 w 259870"/>
                <a:gd name="connsiteY25" fmla="*/ 16942 h 238216"/>
                <a:gd name="connsiteX26" fmla="*/ 230805 w 259870"/>
                <a:gd name="connsiteY26" fmla="*/ 16942 h 238216"/>
                <a:gd name="connsiteX27" fmla="*/ 242923 w 259870"/>
                <a:gd name="connsiteY27" fmla="*/ 29060 h 238216"/>
                <a:gd name="connsiteX28" fmla="*/ 242923 w 259870"/>
                <a:gd name="connsiteY28" fmla="*/ 151716 h 238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9870" h="238216">
                  <a:moveTo>
                    <a:pt x="230805" y="0"/>
                  </a:moveTo>
                  <a:lnTo>
                    <a:pt x="29071" y="0"/>
                  </a:lnTo>
                  <a:cubicBezTo>
                    <a:pt x="13044" y="0"/>
                    <a:pt x="0" y="13044"/>
                    <a:pt x="0" y="29071"/>
                  </a:cubicBezTo>
                  <a:lnTo>
                    <a:pt x="0" y="151716"/>
                  </a:lnTo>
                  <a:cubicBezTo>
                    <a:pt x="0" y="167743"/>
                    <a:pt x="13038" y="180781"/>
                    <a:pt x="29065" y="180781"/>
                  </a:cubicBezTo>
                  <a:lnTo>
                    <a:pt x="50843" y="180781"/>
                  </a:lnTo>
                  <a:lnTo>
                    <a:pt x="50843" y="229743"/>
                  </a:lnTo>
                  <a:cubicBezTo>
                    <a:pt x="50843" y="233104"/>
                    <a:pt x="52826" y="236143"/>
                    <a:pt x="55899" y="237494"/>
                  </a:cubicBezTo>
                  <a:cubicBezTo>
                    <a:pt x="56995" y="237979"/>
                    <a:pt x="58159" y="238217"/>
                    <a:pt x="59317" y="238217"/>
                  </a:cubicBezTo>
                  <a:cubicBezTo>
                    <a:pt x="61390" y="238217"/>
                    <a:pt x="63435" y="237454"/>
                    <a:pt x="65034" y="235997"/>
                  </a:cubicBezTo>
                  <a:lnTo>
                    <a:pt x="125475" y="180781"/>
                  </a:lnTo>
                  <a:lnTo>
                    <a:pt x="230811" y="180781"/>
                  </a:lnTo>
                  <a:cubicBezTo>
                    <a:pt x="246832" y="180781"/>
                    <a:pt x="259870" y="167743"/>
                    <a:pt x="259870" y="151721"/>
                  </a:cubicBezTo>
                  <a:lnTo>
                    <a:pt x="259870" y="29065"/>
                  </a:lnTo>
                  <a:cubicBezTo>
                    <a:pt x="259870" y="13033"/>
                    <a:pt x="246832" y="0"/>
                    <a:pt x="230805" y="0"/>
                  </a:cubicBezTo>
                  <a:close/>
                  <a:moveTo>
                    <a:pt x="242923" y="151716"/>
                  </a:moveTo>
                  <a:cubicBezTo>
                    <a:pt x="242923" y="158393"/>
                    <a:pt x="237488" y="163828"/>
                    <a:pt x="230811" y="163828"/>
                  </a:cubicBezTo>
                  <a:lnTo>
                    <a:pt x="122187" y="163828"/>
                  </a:lnTo>
                  <a:cubicBezTo>
                    <a:pt x="120074" y="163828"/>
                    <a:pt x="118035" y="164619"/>
                    <a:pt x="116470" y="166048"/>
                  </a:cubicBezTo>
                  <a:lnTo>
                    <a:pt x="67791" y="210519"/>
                  </a:lnTo>
                  <a:lnTo>
                    <a:pt x="67791" y="172302"/>
                  </a:lnTo>
                  <a:cubicBezTo>
                    <a:pt x="67791" y="167624"/>
                    <a:pt x="63994" y="163828"/>
                    <a:pt x="59317" y="163828"/>
                  </a:cubicBezTo>
                  <a:lnTo>
                    <a:pt x="29065" y="163828"/>
                  </a:lnTo>
                  <a:cubicBezTo>
                    <a:pt x="22382" y="163828"/>
                    <a:pt x="16948" y="158393"/>
                    <a:pt x="16948" y="151710"/>
                  </a:cubicBezTo>
                  <a:lnTo>
                    <a:pt x="16948" y="29065"/>
                  </a:lnTo>
                  <a:cubicBezTo>
                    <a:pt x="16948" y="22382"/>
                    <a:pt x="22388" y="16942"/>
                    <a:pt x="29071" y="16942"/>
                  </a:cubicBezTo>
                  <a:lnTo>
                    <a:pt x="230805" y="16942"/>
                  </a:lnTo>
                  <a:cubicBezTo>
                    <a:pt x="237488" y="16942"/>
                    <a:pt x="242923" y="22377"/>
                    <a:pt x="242923" y="29060"/>
                  </a:cubicBezTo>
                  <a:lnTo>
                    <a:pt x="242923" y="151716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Полилиния: фигура 240">
              <a:extLst>
                <a:ext uri="{FF2B5EF4-FFF2-40B4-BE49-F238E27FC236}">
                  <a16:creationId xmlns:a16="http://schemas.microsoft.com/office/drawing/2014/main" id="{2FF80F6D-33C9-46F0-8C02-319D570839F3}"/>
                </a:ext>
              </a:extLst>
            </p:cNvPr>
            <p:cNvSpPr/>
            <p:nvPr/>
          </p:nvSpPr>
          <p:spPr>
            <a:xfrm>
              <a:off x="3257947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Полилиния: фигура 241">
              <a:extLst>
                <a:ext uri="{FF2B5EF4-FFF2-40B4-BE49-F238E27FC236}">
                  <a16:creationId xmlns:a16="http://schemas.microsoft.com/office/drawing/2014/main" id="{4DC2F4AF-C375-4EDD-82C3-9C83C16E7694}"/>
                </a:ext>
              </a:extLst>
            </p:cNvPr>
            <p:cNvSpPr/>
            <p:nvPr/>
          </p:nvSpPr>
          <p:spPr>
            <a:xfrm>
              <a:off x="3314439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Полилиния: фигура 242">
              <a:extLst>
                <a:ext uri="{FF2B5EF4-FFF2-40B4-BE49-F238E27FC236}">
                  <a16:creationId xmlns:a16="http://schemas.microsoft.com/office/drawing/2014/main" id="{32B07BA9-C378-40FB-A27E-D5D3BCB79FAD}"/>
                </a:ext>
              </a:extLst>
            </p:cNvPr>
            <p:cNvSpPr/>
            <p:nvPr/>
          </p:nvSpPr>
          <p:spPr>
            <a:xfrm>
              <a:off x="3365283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8772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19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Заголовок 33">
            <a:extLst>
              <a:ext uri="{FF2B5EF4-FFF2-40B4-BE49-F238E27FC236}">
                <a16:creationId xmlns:a16="http://schemas.microsoft.com/office/drawing/2014/main" id="{DFE19F94-644B-42C1-AD3F-8528C51CFA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499" y="2399706"/>
            <a:ext cx="8995021" cy="1231106"/>
          </a:xfrm>
        </p:spPr>
        <p:txBody>
          <a:bodyPr vert="horz"/>
          <a:lstStyle/>
          <a:p>
            <a:r>
              <a:rPr lang="ru-RU" sz="4000" dirty="0" smtClean="0">
                <a:solidFill>
                  <a:schemeClr val="tx2"/>
                </a:solidFill>
              </a:rPr>
              <a:t>Особенности в работе с товарами МультиМедиа</a:t>
            </a:r>
            <a:endParaRPr lang="ru-RU" sz="4000" dirty="0">
              <a:solidFill>
                <a:schemeClr val="tx2"/>
              </a:solidFill>
            </a:endParaRPr>
          </a:p>
        </p:txBody>
      </p:sp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>
          <a:xfrm>
            <a:off x="571499" y="3837164"/>
            <a:ext cx="8995021" cy="1228028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2"/>
                </a:solidFill>
              </a:rPr>
              <a:t>03.10.2025</a:t>
            </a:r>
          </a:p>
          <a:p>
            <a:endParaRPr lang="ru-RU" dirty="0">
              <a:solidFill>
                <a:schemeClr val="bg2"/>
              </a:solidFill>
            </a:endParaRPr>
          </a:p>
          <a:p>
            <a:pPr algn="r"/>
            <a:r>
              <a:rPr lang="ru-RU" dirty="0" smtClean="0">
                <a:solidFill>
                  <a:schemeClr val="bg2"/>
                </a:solidFill>
              </a:rPr>
              <a:t>Ефимова Татьяна</a:t>
            </a:r>
          </a:p>
          <a:p>
            <a:pPr algn="r"/>
            <a:r>
              <a:rPr lang="ru-RU" dirty="0" smtClean="0">
                <a:solidFill>
                  <a:schemeClr val="bg2"/>
                </a:solidFill>
              </a:rPr>
              <a:t>Специалист по претензионной работе</a:t>
            </a:r>
            <a:endParaRPr lang="ru-RU" dirty="0">
              <a:solidFill>
                <a:schemeClr val="bg2"/>
              </a:solidFill>
            </a:endParaRP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C8C12EE-F6E3-DC38-EC5D-561226AB2A87}"/>
              </a:ext>
            </a:extLst>
          </p:cNvPr>
          <p:cNvGrpSpPr/>
          <p:nvPr/>
        </p:nvGrpSpPr>
        <p:grpSpPr>
          <a:xfrm>
            <a:off x="0" y="4895068"/>
            <a:ext cx="5700035" cy="1962956"/>
            <a:chOff x="0" y="4895068"/>
            <a:chExt cx="5700035" cy="1962956"/>
          </a:xfrm>
        </p:grpSpPr>
        <p:sp>
          <p:nvSpPr>
            <p:cNvPr id="125" name="Полилиния: фигура 7">
              <a:extLst>
                <a:ext uri="{FF2B5EF4-FFF2-40B4-BE49-F238E27FC236}">
                  <a16:creationId xmlns:a16="http://schemas.microsoft.com/office/drawing/2014/main" id="{3789CB51-94F1-F8FA-A79F-06A57F1C8DF4}"/>
                </a:ext>
              </a:extLst>
            </p:cNvPr>
            <p:cNvSpPr/>
            <p:nvPr userDrawn="1"/>
          </p:nvSpPr>
          <p:spPr>
            <a:xfrm rot="16200000">
              <a:off x="979714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Полилиния: фигура 8">
              <a:extLst>
                <a:ext uri="{FF2B5EF4-FFF2-40B4-BE49-F238E27FC236}">
                  <a16:creationId xmlns:a16="http://schemas.microsoft.com/office/drawing/2014/main" id="{A6ACED56-6CF8-39E8-A8FB-2A87C0231D3C}"/>
                </a:ext>
              </a:extLst>
            </p:cNvPr>
            <p:cNvSpPr/>
            <p:nvPr userDrawn="1"/>
          </p:nvSpPr>
          <p:spPr>
            <a:xfrm>
              <a:off x="1224642" y="6123239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Полилиния: фигура 11">
              <a:extLst>
                <a:ext uri="{FF2B5EF4-FFF2-40B4-BE49-F238E27FC236}">
                  <a16:creationId xmlns:a16="http://schemas.microsoft.com/office/drawing/2014/main" id="{5DB7683A-9BD5-4464-68F8-5EDE8AF6796A}"/>
                </a:ext>
              </a:extLst>
            </p:cNvPr>
            <p:cNvSpPr/>
            <p:nvPr userDrawn="1"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Полилиния: фигура 12">
              <a:extLst>
                <a:ext uri="{FF2B5EF4-FFF2-40B4-BE49-F238E27FC236}">
                  <a16:creationId xmlns:a16="http://schemas.microsoft.com/office/drawing/2014/main" id="{F57E5213-5C20-6A07-918A-83451D3052F3}"/>
                </a:ext>
              </a:extLst>
            </p:cNvPr>
            <p:cNvSpPr/>
            <p:nvPr userDrawn="1"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Полилиния: фигура 13">
              <a:extLst>
                <a:ext uri="{FF2B5EF4-FFF2-40B4-BE49-F238E27FC236}">
                  <a16:creationId xmlns:a16="http://schemas.microsoft.com/office/drawing/2014/main" id="{EEC48DA5-7A77-6D8F-679C-6B23C76D5E64}"/>
                </a:ext>
              </a:extLst>
            </p:cNvPr>
            <p:cNvSpPr/>
            <p:nvPr userDrawn="1"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Полилиния: фигура 14">
              <a:extLst>
                <a:ext uri="{FF2B5EF4-FFF2-40B4-BE49-F238E27FC236}">
                  <a16:creationId xmlns:a16="http://schemas.microsoft.com/office/drawing/2014/main" id="{1613629D-47BB-7796-0553-499C6821CA59}"/>
                </a:ext>
              </a:extLst>
            </p:cNvPr>
            <p:cNvSpPr/>
            <p:nvPr userDrawn="1"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Полилиния: фигура 15">
              <a:extLst>
                <a:ext uri="{FF2B5EF4-FFF2-40B4-BE49-F238E27FC236}">
                  <a16:creationId xmlns:a16="http://schemas.microsoft.com/office/drawing/2014/main" id="{C85BD5F8-F7C8-28E1-BFDB-DDC8307360F7}"/>
                </a:ext>
              </a:extLst>
            </p:cNvPr>
            <p:cNvSpPr/>
            <p:nvPr userDrawn="1"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17">
              <a:extLst>
                <a:ext uri="{FF2B5EF4-FFF2-40B4-BE49-F238E27FC236}">
                  <a16:creationId xmlns:a16="http://schemas.microsoft.com/office/drawing/2014/main" id="{0355DC7A-A024-569E-0B8D-DDEEE1CADB03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Полилиния: фигура 18">
              <a:extLst>
                <a:ext uri="{FF2B5EF4-FFF2-40B4-BE49-F238E27FC236}">
                  <a16:creationId xmlns:a16="http://schemas.microsoft.com/office/drawing/2014/main" id="{26A08EE6-873F-5FF3-69E5-49E927186F08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Полилиния: фигура 19">
              <a:extLst>
                <a:ext uri="{FF2B5EF4-FFF2-40B4-BE49-F238E27FC236}">
                  <a16:creationId xmlns:a16="http://schemas.microsoft.com/office/drawing/2014/main" id="{18ED321C-6A84-4D58-AD6B-4E8876929C0F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Полилиния: фигура 21">
              <a:extLst>
                <a:ext uri="{FF2B5EF4-FFF2-40B4-BE49-F238E27FC236}">
                  <a16:creationId xmlns:a16="http://schemas.microsoft.com/office/drawing/2014/main" id="{1D4D272C-D9B3-B449-31B4-629820975AD7}"/>
                </a:ext>
              </a:extLst>
            </p:cNvPr>
            <p:cNvSpPr/>
            <p:nvPr/>
          </p:nvSpPr>
          <p:spPr>
            <a:xfrm>
              <a:off x="1959428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Полилиния: фигура 22">
              <a:extLst>
                <a:ext uri="{FF2B5EF4-FFF2-40B4-BE49-F238E27FC236}">
                  <a16:creationId xmlns:a16="http://schemas.microsoft.com/office/drawing/2014/main" id="{4553FED2-7C22-3A82-5723-3CB1B665DA29}"/>
                </a:ext>
              </a:extLst>
            </p:cNvPr>
            <p:cNvSpPr/>
            <p:nvPr/>
          </p:nvSpPr>
          <p:spPr>
            <a:xfrm>
              <a:off x="1959428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Полилиния: фигура 23">
              <a:extLst>
                <a:ext uri="{FF2B5EF4-FFF2-40B4-BE49-F238E27FC236}">
                  <a16:creationId xmlns:a16="http://schemas.microsoft.com/office/drawing/2014/main" id="{92BE6DE7-1F2A-EC43-8771-8E2CCF1F4233}"/>
                </a:ext>
              </a:extLst>
            </p:cNvPr>
            <p:cNvSpPr/>
            <p:nvPr/>
          </p:nvSpPr>
          <p:spPr>
            <a:xfrm>
              <a:off x="2449285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Полилиния: фигура 24">
              <a:extLst>
                <a:ext uri="{FF2B5EF4-FFF2-40B4-BE49-F238E27FC236}">
                  <a16:creationId xmlns:a16="http://schemas.microsoft.com/office/drawing/2014/main" id="{EEED14F5-BCFF-9854-C273-6F2CDA8A487B}"/>
                </a:ext>
              </a:extLst>
            </p:cNvPr>
            <p:cNvSpPr/>
            <p:nvPr/>
          </p:nvSpPr>
          <p:spPr>
            <a:xfrm>
              <a:off x="2449285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Полилиния: фигура 26">
              <a:extLst>
                <a:ext uri="{FF2B5EF4-FFF2-40B4-BE49-F238E27FC236}">
                  <a16:creationId xmlns:a16="http://schemas.microsoft.com/office/drawing/2014/main" id="{99B323CD-8E61-4B69-EA1D-5DCA632F6E66}"/>
                </a:ext>
              </a:extLst>
            </p:cNvPr>
            <p:cNvSpPr/>
            <p:nvPr/>
          </p:nvSpPr>
          <p:spPr>
            <a:xfrm>
              <a:off x="3268046" y="6171445"/>
              <a:ext cx="432445" cy="432445"/>
            </a:xfrm>
            <a:custGeom>
              <a:avLst/>
              <a:gdLst>
                <a:gd name="connsiteX0" fmla="*/ 432446 w 432445"/>
                <a:gd name="connsiteY0" fmla="*/ 216223 h 432445"/>
                <a:gd name="connsiteX1" fmla="*/ 216223 w 432445"/>
                <a:gd name="connsiteY1" fmla="*/ 432446 h 432445"/>
                <a:gd name="connsiteX2" fmla="*/ 0 w 432445"/>
                <a:gd name="connsiteY2" fmla="*/ 216223 h 432445"/>
                <a:gd name="connsiteX3" fmla="*/ 216223 w 432445"/>
                <a:gd name="connsiteY3" fmla="*/ 0 h 432445"/>
                <a:gd name="connsiteX4" fmla="*/ 432446 w 432445"/>
                <a:gd name="connsiteY4" fmla="*/ 216223 h 4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445" h="432445">
                  <a:moveTo>
                    <a:pt x="432446" y="216223"/>
                  </a:moveTo>
                  <a:cubicBezTo>
                    <a:pt x="432446" y="335639"/>
                    <a:pt x="335640" y="432446"/>
                    <a:pt x="216223" y="432446"/>
                  </a:cubicBezTo>
                  <a:cubicBezTo>
                    <a:pt x="96806" y="432446"/>
                    <a:pt x="0" y="335639"/>
                    <a:pt x="0" y="216223"/>
                  </a:cubicBezTo>
                  <a:cubicBezTo>
                    <a:pt x="0" y="96806"/>
                    <a:pt x="96806" y="0"/>
                    <a:pt x="216223" y="0"/>
                  </a:cubicBezTo>
                  <a:cubicBezTo>
                    <a:pt x="335640" y="0"/>
                    <a:pt x="432446" y="96806"/>
                    <a:pt x="432446" y="216223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Полилиния: фигура 27">
              <a:extLst>
                <a:ext uri="{FF2B5EF4-FFF2-40B4-BE49-F238E27FC236}">
                  <a16:creationId xmlns:a16="http://schemas.microsoft.com/office/drawing/2014/main" id="{436C948C-C636-AD72-AEAA-7147655F72E7}"/>
                </a:ext>
              </a:extLst>
            </p:cNvPr>
            <p:cNvSpPr/>
            <p:nvPr/>
          </p:nvSpPr>
          <p:spPr>
            <a:xfrm>
              <a:off x="3484268" y="6011751"/>
              <a:ext cx="159988" cy="159987"/>
            </a:xfrm>
            <a:custGeom>
              <a:avLst/>
              <a:gdLst>
                <a:gd name="connsiteX0" fmla="*/ -3207 w 159988"/>
                <a:gd name="connsiteY0" fmla="*/ 159748 h 159987"/>
                <a:gd name="connsiteX1" fmla="*/ 156781 w 159988"/>
                <a:gd name="connsiteY1" fmla="*/ -240 h 159987"/>
                <a:gd name="connsiteX2" fmla="*/ -3207 w 159988"/>
                <a:gd name="connsiteY2" fmla="*/ 159748 h 15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88" h="159987">
                  <a:moveTo>
                    <a:pt x="-3207" y="159748"/>
                  </a:moveTo>
                  <a:cubicBezTo>
                    <a:pt x="85163" y="159748"/>
                    <a:pt x="156781" y="88121"/>
                    <a:pt x="156781" y="-240"/>
                  </a:cubicBezTo>
                  <a:cubicBezTo>
                    <a:pt x="68410" y="-240"/>
                    <a:pt x="-3207" y="71387"/>
                    <a:pt x="-3207" y="159748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4" name="Группа 48">
              <a:extLst>
                <a:ext uri="{FF2B5EF4-FFF2-40B4-BE49-F238E27FC236}">
                  <a16:creationId xmlns:a16="http://schemas.microsoft.com/office/drawing/2014/main" id="{A344F5CA-3BFA-949C-3A3C-50FC4802C112}"/>
                </a:ext>
              </a:extLst>
            </p:cNvPr>
            <p:cNvGrpSpPr/>
            <p:nvPr/>
          </p:nvGrpSpPr>
          <p:grpSpPr>
            <a:xfrm>
              <a:off x="5094572" y="6068734"/>
              <a:ext cx="605463" cy="605463"/>
              <a:chOff x="5094572" y="6068734"/>
              <a:chExt cx="605463" cy="605463"/>
            </a:xfrm>
          </p:grpSpPr>
          <p:sp>
            <p:nvSpPr>
              <p:cNvPr id="159" name="Полилиния: фигура 49">
                <a:extLst>
                  <a:ext uri="{FF2B5EF4-FFF2-40B4-BE49-F238E27FC236}">
                    <a16:creationId xmlns:a16="http://schemas.microsoft.com/office/drawing/2014/main" id="{D0C567A5-1393-2D50-08F3-F4763D871D24}"/>
                  </a:ext>
                </a:extLst>
              </p:cNvPr>
              <p:cNvSpPr/>
              <p:nvPr userDrawn="1"/>
            </p:nvSpPr>
            <p:spPr>
              <a:xfrm>
                <a:off x="5226343" y="6200506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2" y="341920"/>
                      <a:pt x="0" y="265379"/>
                      <a:pt x="0" y="170960"/>
                    </a:cubicBezTo>
                    <a:cubicBezTo>
                      <a:pt x="0" y="76541"/>
                      <a:pt x="76542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Полилиния: фигура 50">
                <a:extLst>
                  <a:ext uri="{FF2B5EF4-FFF2-40B4-BE49-F238E27FC236}">
                    <a16:creationId xmlns:a16="http://schemas.microsoft.com/office/drawing/2014/main" id="{A1867F93-FB8B-B633-D8E3-07D0B8ADBE26}"/>
                  </a:ext>
                </a:extLst>
              </p:cNvPr>
              <p:cNvSpPr/>
              <p:nvPr userDrawn="1"/>
            </p:nvSpPr>
            <p:spPr>
              <a:xfrm>
                <a:off x="5094572" y="6068734"/>
                <a:ext cx="605463" cy="605463"/>
              </a:xfrm>
              <a:custGeom>
                <a:avLst/>
                <a:gdLst>
                  <a:gd name="connsiteX0" fmla="*/ 299524 w 605463"/>
                  <a:gd name="connsiteY0" fmla="*/ -240 h 605463"/>
                  <a:gd name="connsiteX1" fmla="*/ 270132 w 605463"/>
                  <a:gd name="connsiteY1" fmla="*/ 29151 h 605463"/>
                  <a:gd name="connsiteX2" fmla="*/ 270132 w 605463"/>
                  <a:gd name="connsiteY2" fmla="*/ 72847 h 605463"/>
                  <a:gd name="connsiteX3" fmla="*/ 299524 w 605463"/>
                  <a:gd name="connsiteY3" fmla="*/ 102238 h 605463"/>
                  <a:gd name="connsiteX4" fmla="*/ 328915 w 605463"/>
                  <a:gd name="connsiteY4" fmla="*/ 72847 h 605463"/>
                  <a:gd name="connsiteX5" fmla="*/ 328915 w 605463"/>
                  <a:gd name="connsiteY5" fmla="*/ 29151 h 605463"/>
                  <a:gd name="connsiteX6" fmla="*/ 299524 w 605463"/>
                  <a:gd name="connsiteY6" fmla="*/ -240 h 605463"/>
                  <a:gd name="connsiteX7" fmla="*/ 299524 w 605463"/>
                  <a:gd name="connsiteY7" fmla="*/ 502745 h 605463"/>
                  <a:gd name="connsiteX8" fmla="*/ 270132 w 605463"/>
                  <a:gd name="connsiteY8" fmla="*/ 532137 h 605463"/>
                  <a:gd name="connsiteX9" fmla="*/ 270132 w 605463"/>
                  <a:gd name="connsiteY9" fmla="*/ 575832 h 605463"/>
                  <a:gd name="connsiteX10" fmla="*/ 299524 w 605463"/>
                  <a:gd name="connsiteY10" fmla="*/ 605223 h 605463"/>
                  <a:gd name="connsiteX11" fmla="*/ 328915 w 605463"/>
                  <a:gd name="connsiteY11" fmla="*/ 575832 h 605463"/>
                  <a:gd name="connsiteX12" fmla="*/ 328915 w 605463"/>
                  <a:gd name="connsiteY12" fmla="*/ 532137 h 605463"/>
                  <a:gd name="connsiteX13" fmla="*/ 299524 w 605463"/>
                  <a:gd name="connsiteY13" fmla="*/ 502745 h 605463"/>
                  <a:gd name="connsiteX14" fmla="*/ 99271 w 605463"/>
                  <a:gd name="connsiteY14" fmla="*/ 302492 h 605463"/>
                  <a:gd name="connsiteX15" fmla="*/ 69879 w 605463"/>
                  <a:gd name="connsiteY15" fmla="*/ 273100 h 605463"/>
                  <a:gd name="connsiteX16" fmla="*/ 26184 w 605463"/>
                  <a:gd name="connsiteY16" fmla="*/ 273100 h 605463"/>
                  <a:gd name="connsiteX17" fmla="*/ -3207 w 605463"/>
                  <a:gd name="connsiteY17" fmla="*/ 302492 h 605463"/>
                  <a:gd name="connsiteX18" fmla="*/ 26184 w 605463"/>
                  <a:gd name="connsiteY18" fmla="*/ 331883 h 605463"/>
                  <a:gd name="connsiteX19" fmla="*/ 69879 w 605463"/>
                  <a:gd name="connsiteY19" fmla="*/ 331883 h 605463"/>
                  <a:gd name="connsiteX20" fmla="*/ 99271 w 605463"/>
                  <a:gd name="connsiteY20" fmla="*/ 302492 h 605463"/>
                  <a:gd name="connsiteX21" fmla="*/ 572865 w 605463"/>
                  <a:gd name="connsiteY21" fmla="*/ 273100 h 605463"/>
                  <a:gd name="connsiteX22" fmla="*/ 529168 w 605463"/>
                  <a:gd name="connsiteY22" fmla="*/ 273100 h 605463"/>
                  <a:gd name="connsiteX23" fmla="*/ 499777 w 605463"/>
                  <a:gd name="connsiteY23" fmla="*/ 302492 h 605463"/>
                  <a:gd name="connsiteX24" fmla="*/ 529168 w 605463"/>
                  <a:gd name="connsiteY24" fmla="*/ 331883 h 605463"/>
                  <a:gd name="connsiteX25" fmla="*/ 572865 w 605463"/>
                  <a:gd name="connsiteY25" fmla="*/ 331883 h 605463"/>
                  <a:gd name="connsiteX26" fmla="*/ 602257 w 605463"/>
                  <a:gd name="connsiteY26" fmla="*/ 302492 h 605463"/>
                  <a:gd name="connsiteX27" fmla="*/ 572865 w 605463"/>
                  <a:gd name="connsiteY27" fmla="*/ 273100 h 605463"/>
                  <a:gd name="connsiteX28" fmla="*/ 126997 w 605463"/>
                  <a:gd name="connsiteY28" fmla="*/ 88424 h 605463"/>
                  <a:gd name="connsiteX29" fmla="*/ 85457 w 605463"/>
                  <a:gd name="connsiteY29" fmla="*/ 86955 h 605463"/>
                  <a:gd name="connsiteX30" fmla="*/ 83986 w 605463"/>
                  <a:gd name="connsiteY30" fmla="*/ 128494 h 605463"/>
                  <a:gd name="connsiteX31" fmla="*/ 85457 w 605463"/>
                  <a:gd name="connsiteY31" fmla="*/ 129964 h 605463"/>
                  <a:gd name="connsiteX32" fmla="*/ 116317 w 605463"/>
                  <a:gd name="connsiteY32" fmla="*/ 160923 h 605463"/>
                  <a:gd name="connsiteX33" fmla="*/ 157955 w 605463"/>
                  <a:gd name="connsiteY33" fmla="*/ 160923 h 605463"/>
                  <a:gd name="connsiteX34" fmla="*/ 157955 w 605463"/>
                  <a:gd name="connsiteY34" fmla="*/ 119285 h 605463"/>
                  <a:gd name="connsiteX35" fmla="*/ 482730 w 605463"/>
                  <a:gd name="connsiteY35" fmla="*/ 444061 h 605463"/>
                  <a:gd name="connsiteX36" fmla="*/ 441092 w 605463"/>
                  <a:gd name="connsiteY36" fmla="*/ 444061 h 605463"/>
                  <a:gd name="connsiteX37" fmla="*/ 441092 w 605463"/>
                  <a:gd name="connsiteY37" fmla="*/ 485698 h 605463"/>
                  <a:gd name="connsiteX38" fmla="*/ 472052 w 605463"/>
                  <a:gd name="connsiteY38" fmla="*/ 516559 h 605463"/>
                  <a:gd name="connsiteX39" fmla="*/ 513592 w 605463"/>
                  <a:gd name="connsiteY39" fmla="*/ 516559 h 605463"/>
                  <a:gd name="connsiteX40" fmla="*/ 513592 w 605463"/>
                  <a:gd name="connsiteY40" fmla="*/ 475019 h 605463"/>
                  <a:gd name="connsiteX41" fmla="*/ 116317 w 605463"/>
                  <a:gd name="connsiteY41" fmla="*/ 444061 h 605463"/>
                  <a:gd name="connsiteX42" fmla="*/ 85457 w 605463"/>
                  <a:gd name="connsiteY42" fmla="*/ 475019 h 605463"/>
                  <a:gd name="connsiteX43" fmla="*/ 85457 w 605463"/>
                  <a:gd name="connsiteY43" fmla="*/ 516589 h 605463"/>
                  <a:gd name="connsiteX44" fmla="*/ 106226 w 605463"/>
                  <a:gd name="connsiteY44" fmla="*/ 525181 h 605463"/>
                  <a:gd name="connsiteX45" fmla="*/ 126997 w 605463"/>
                  <a:gd name="connsiteY45" fmla="*/ 516559 h 605463"/>
                  <a:gd name="connsiteX46" fmla="*/ 157955 w 605463"/>
                  <a:gd name="connsiteY46" fmla="*/ 485698 h 605463"/>
                  <a:gd name="connsiteX47" fmla="*/ 157955 w 605463"/>
                  <a:gd name="connsiteY47" fmla="*/ 444061 h 605463"/>
                  <a:gd name="connsiteX48" fmla="*/ 116317 w 605463"/>
                  <a:gd name="connsiteY48" fmla="*/ 444061 h 605463"/>
                  <a:gd name="connsiteX49" fmla="*/ 461961 w 605463"/>
                  <a:gd name="connsiteY49" fmla="*/ 169740 h 605463"/>
                  <a:gd name="connsiteX50" fmla="*/ 482730 w 605463"/>
                  <a:gd name="connsiteY50" fmla="*/ 161217 h 605463"/>
                  <a:gd name="connsiteX51" fmla="*/ 513592 w 605463"/>
                  <a:gd name="connsiteY51" fmla="*/ 130258 h 605463"/>
                  <a:gd name="connsiteX52" fmla="*/ 512121 w 605463"/>
                  <a:gd name="connsiteY52" fmla="*/ 88718 h 605463"/>
                  <a:gd name="connsiteX53" fmla="*/ 472052 w 605463"/>
                  <a:gd name="connsiteY53" fmla="*/ 88718 h 605463"/>
                  <a:gd name="connsiteX54" fmla="*/ 441092 w 605463"/>
                  <a:gd name="connsiteY54" fmla="*/ 119579 h 605463"/>
                  <a:gd name="connsiteX55" fmla="*/ 441092 w 605463"/>
                  <a:gd name="connsiteY55" fmla="*/ 161148 h 605463"/>
                  <a:gd name="connsiteX56" fmla="*/ 461961 w 605463"/>
                  <a:gd name="connsiteY56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5463" h="605463">
                    <a:moveTo>
                      <a:pt x="299524" y="-240"/>
                    </a:moveTo>
                    <a:cubicBezTo>
                      <a:pt x="283261" y="-240"/>
                      <a:pt x="270132" y="12917"/>
                      <a:pt x="270132" y="29151"/>
                    </a:cubicBezTo>
                    <a:lnTo>
                      <a:pt x="270132" y="72847"/>
                    </a:lnTo>
                    <a:cubicBezTo>
                      <a:pt x="270132" y="89081"/>
                      <a:pt x="283261" y="102238"/>
                      <a:pt x="299524" y="102238"/>
                    </a:cubicBezTo>
                    <a:cubicBezTo>
                      <a:pt x="315786" y="102238"/>
                      <a:pt x="328915" y="89081"/>
                      <a:pt x="328915" y="72847"/>
                    </a:cubicBezTo>
                    <a:lnTo>
                      <a:pt x="328915" y="29151"/>
                    </a:lnTo>
                    <a:cubicBezTo>
                      <a:pt x="328915" y="12917"/>
                      <a:pt x="315786" y="-240"/>
                      <a:pt x="299524" y="-240"/>
                    </a:cubicBezTo>
                    <a:close/>
                    <a:moveTo>
                      <a:pt x="299524" y="502745"/>
                    </a:moveTo>
                    <a:cubicBezTo>
                      <a:pt x="283261" y="502745"/>
                      <a:pt x="270132" y="515903"/>
                      <a:pt x="270132" y="532137"/>
                    </a:cubicBezTo>
                    <a:lnTo>
                      <a:pt x="270132" y="575832"/>
                    </a:lnTo>
                    <a:cubicBezTo>
                      <a:pt x="270132" y="592066"/>
                      <a:pt x="283261" y="605223"/>
                      <a:pt x="299524" y="605223"/>
                    </a:cubicBezTo>
                    <a:cubicBezTo>
                      <a:pt x="315786" y="605223"/>
                      <a:pt x="328915" y="592066"/>
                      <a:pt x="328915" y="575832"/>
                    </a:cubicBezTo>
                    <a:lnTo>
                      <a:pt x="328915" y="532137"/>
                    </a:lnTo>
                    <a:cubicBezTo>
                      <a:pt x="328915" y="515903"/>
                      <a:pt x="315786" y="502745"/>
                      <a:pt x="299524" y="502745"/>
                    </a:cubicBezTo>
                    <a:close/>
                    <a:moveTo>
                      <a:pt x="99271" y="302492"/>
                    </a:moveTo>
                    <a:cubicBezTo>
                      <a:pt x="99271" y="286258"/>
                      <a:pt x="86141" y="273100"/>
                      <a:pt x="69879" y="273100"/>
                    </a:cubicBezTo>
                    <a:lnTo>
                      <a:pt x="26184" y="273100"/>
                    </a:lnTo>
                    <a:cubicBezTo>
                      <a:pt x="9919" y="273100"/>
                      <a:pt x="-3207" y="286258"/>
                      <a:pt x="-3207" y="302492"/>
                    </a:cubicBezTo>
                    <a:cubicBezTo>
                      <a:pt x="-3207" y="318726"/>
                      <a:pt x="9919" y="331883"/>
                      <a:pt x="26184" y="331883"/>
                    </a:cubicBezTo>
                    <a:lnTo>
                      <a:pt x="69879" y="331883"/>
                    </a:lnTo>
                    <a:cubicBezTo>
                      <a:pt x="86141" y="331883"/>
                      <a:pt x="99271" y="318726"/>
                      <a:pt x="99271" y="302492"/>
                    </a:cubicBezTo>
                    <a:close/>
                    <a:moveTo>
                      <a:pt x="572865" y="273100"/>
                    </a:moveTo>
                    <a:lnTo>
                      <a:pt x="529168" y="273100"/>
                    </a:lnTo>
                    <a:cubicBezTo>
                      <a:pt x="512906" y="273100"/>
                      <a:pt x="499777" y="286258"/>
                      <a:pt x="499777" y="302492"/>
                    </a:cubicBezTo>
                    <a:cubicBezTo>
                      <a:pt x="499777" y="318726"/>
                      <a:pt x="512906" y="331883"/>
                      <a:pt x="529168" y="331883"/>
                    </a:cubicBezTo>
                    <a:lnTo>
                      <a:pt x="572865" y="331883"/>
                    </a:lnTo>
                    <a:cubicBezTo>
                      <a:pt x="589128" y="331883"/>
                      <a:pt x="602257" y="318726"/>
                      <a:pt x="602257" y="302492"/>
                    </a:cubicBezTo>
                    <a:cubicBezTo>
                      <a:pt x="602257" y="286258"/>
                      <a:pt x="589128" y="273100"/>
                      <a:pt x="572865" y="273100"/>
                    </a:cubicBezTo>
                    <a:close/>
                    <a:moveTo>
                      <a:pt x="126997" y="88424"/>
                    </a:moveTo>
                    <a:cubicBezTo>
                      <a:pt x="115925" y="76550"/>
                      <a:pt x="97312" y="75894"/>
                      <a:pt x="85457" y="86955"/>
                    </a:cubicBezTo>
                    <a:cubicBezTo>
                      <a:pt x="73601" y="98025"/>
                      <a:pt x="72917" y="116620"/>
                      <a:pt x="83986" y="128494"/>
                    </a:cubicBezTo>
                    <a:cubicBezTo>
                      <a:pt x="84477" y="129004"/>
                      <a:pt x="84967" y="129494"/>
                      <a:pt x="85457" y="129964"/>
                    </a:cubicBezTo>
                    <a:lnTo>
                      <a:pt x="116317" y="160923"/>
                    </a:lnTo>
                    <a:cubicBezTo>
                      <a:pt x="127779" y="172425"/>
                      <a:pt x="146493" y="172425"/>
                      <a:pt x="157955" y="160923"/>
                    </a:cubicBezTo>
                    <a:cubicBezTo>
                      <a:pt x="169417" y="149421"/>
                      <a:pt x="169417" y="130787"/>
                      <a:pt x="157955" y="119285"/>
                    </a:cubicBezTo>
                    <a:close/>
                    <a:moveTo>
                      <a:pt x="482730" y="444061"/>
                    </a:moveTo>
                    <a:cubicBezTo>
                      <a:pt x="471268" y="432559"/>
                      <a:pt x="452556" y="432559"/>
                      <a:pt x="441092" y="444061"/>
                    </a:cubicBezTo>
                    <a:cubicBezTo>
                      <a:pt x="429630" y="455562"/>
                      <a:pt x="429630" y="474196"/>
                      <a:pt x="441092" y="485698"/>
                    </a:cubicBezTo>
                    <a:lnTo>
                      <a:pt x="472052" y="516559"/>
                    </a:lnTo>
                    <a:cubicBezTo>
                      <a:pt x="483514" y="528022"/>
                      <a:pt x="502128" y="528022"/>
                      <a:pt x="513592" y="516559"/>
                    </a:cubicBezTo>
                    <a:cubicBezTo>
                      <a:pt x="525054" y="505087"/>
                      <a:pt x="525054" y="486492"/>
                      <a:pt x="513592" y="475019"/>
                    </a:cubicBezTo>
                    <a:close/>
                    <a:moveTo>
                      <a:pt x="116317" y="444061"/>
                    </a:moveTo>
                    <a:lnTo>
                      <a:pt x="85457" y="475019"/>
                    </a:lnTo>
                    <a:cubicBezTo>
                      <a:pt x="73993" y="486502"/>
                      <a:pt x="73993" y="505116"/>
                      <a:pt x="85457" y="516589"/>
                    </a:cubicBezTo>
                    <a:cubicBezTo>
                      <a:pt x="90942" y="522085"/>
                      <a:pt x="98486" y="525171"/>
                      <a:pt x="106226" y="525181"/>
                    </a:cubicBezTo>
                    <a:cubicBezTo>
                      <a:pt x="114064" y="525171"/>
                      <a:pt x="121510" y="522075"/>
                      <a:pt x="126997" y="516559"/>
                    </a:cubicBezTo>
                    <a:lnTo>
                      <a:pt x="157955" y="485698"/>
                    </a:lnTo>
                    <a:cubicBezTo>
                      <a:pt x="169417" y="474196"/>
                      <a:pt x="169417" y="455562"/>
                      <a:pt x="157955" y="444061"/>
                    </a:cubicBezTo>
                    <a:cubicBezTo>
                      <a:pt x="146493" y="432559"/>
                      <a:pt x="127779" y="432559"/>
                      <a:pt x="116317" y="444061"/>
                    </a:cubicBezTo>
                    <a:close/>
                    <a:moveTo>
                      <a:pt x="461961" y="169740"/>
                    </a:moveTo>
                    <a:cubicBezTo>
                      <a:pt x="469701" y="169760"/>
                      <a:pt x="477245" y="166694"/>
                      <a:pt x="482730" y="161217"/>
                    </a:cubicBezTo>
                    <a:lnTo>
                      <a:pt x="513592" y="130258"/>
                    </a:lnTo>
                    <a:cubicBezTo>
                      <a:pt x="524662" y="118384"/>
                      <a:pt x="523975" y="99789"/>
                      <a:pt x="512121" y="88718"/>
                    </a:cubicBezTo>
                    <a:cubicBezTo>
                      <a:pt x="500855" y="78196"/>
                      <a:pt x="483318" y="78196"/>
                      <a:pt x="472052" y="88718"/>
                    </a:cubicBezTo>
                    <a:lnTo>
                      <a:pt x="441092" y="119579"/>
                    </a:lnTo>
                    <a:cubicBezTo>
                      <a:pt x="429630" y="131061"/>
                      <a:pt x="429630" y="149676"/>
                      <a:pt x="441092" y="161148"/>
                    </a:cubicBezTo>
                    <a:cubicBezTo>
                      <a:pt x="446677" y="166664"/>
                      <a:pt x="454123" y="169760"/>
                      <a:pt x="461961" y="1697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5" name="Полилиния: фигура 52">
              <a:extLst>
                <a:ext uri="{FF2B5EF4-FFF2-40B4-BE49-F238E27FC236}">
                  <a16:creationId xmlns:a16="http://schemas.microsoft.com/office/drawing/2014/main" id="{2BEBA008-9D8E-B612-6D74-7BA0ED06E2B4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Полилиния: фигура 53">
              <a:extLst>
                <a:ext uri="{FF2B5EF4-FFF2-40B4-BE49-F238E27FC236}">
                  <a16:creationId xmlns:a16="http://schemas.microsoft.com/office/drawing/2014/main" id="{EBFCDC05-7D2B-F87E-3430-3371007F1F4F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Полилиния: фигура 54">
              <a:extLst>
                <a:ext uri="{FF2B5EF4-FFF2-40B4-BE49-F238E27FC236}">
                  <a16:creationId xmlns:a16="http://schemas.microsoft.com/office/drawing/2014/main" id="{044E6A5C-147D-9D07-B80F-DC0BF76FAD0D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55">
              <a:extLst>
                <a:ext uri="{FF2B5EF4-FFF2-40B4-BE49-F238E27FC236}">
                  <a16:creationId xmlns:a16="http://schemas.microsoft.com/office/drawing/2014/main" id="{6A1BF84E-F638-1593-8342-EEBE750D39CF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4BF8E173-FACE-ED4C-FDD4-55EC1D155F37}"/>
              </a:ext>
            </a:extLst>
          </p:cNvPr>
          <p:cNvGrpSpPr/>
          <p:nvPr/>
        </p:nvGrpSpPr>
        <p:grpSpPr>
          <a:xfrm>
            <a:off x="6436154" y="-838"/>
            <a:ext cx="5755846" cy="6858838"/>
            <a:chOff x="6436154" y="-838"/>
            <a:chExt cx="5755846" cy="6858838"/>
          </a:xfrm>
        </p:grpSpPr>
        <p:sp>
          <p:nvSpPr>
            <p:cNvPr id="162" name="Полилиния: фигура 29">
              <a:extLst>
                <a:ext uri="{FF2B5EF4-FFF2-40B4-BE49-F238E27FC236}">
                  <a16:creationId xmlns:a16="http://schemas.microsoft.com/office/drawing/2014/main" id="{7AE37D25-279B-FAD5-AEE7-483751C79B9B}"/>
                </a:ext>
              </a:extLst>
            </p:cNvPr>
            <p:cNvSpPr/>
            <p:nvPr/>
          </p:nvSpPr>
          <p:spPr>
            <a:xfrm>
              <a:off x="9306282" y="5879124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Полилиния: фигура 30">
              <a:extLst>
                <a:ext uri="{FF2B5EF4-FFF2-40B4-BE49-F238E27FC236}">
                  <a16:creationId xmlns:a16="http://schemas.microsoft.com/office/drawing/2014/main" id="{AC1D7F98-B9D9-57B7-CC22-7DF1DAED54CF}"/>
                </a:ext>
              </a:extLst>
            </p:cNvPr>
            <p:cNvSpPr/>
            <p:nvPr/>
          </p:nvSpPr>
          <p:spPr>
            <a:xfrm>
              <a:off x="9795720" y="5879124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35">
              <a:extLst>
                <a:ext uri="{FF2B5EF4-FFF2-40B4-BE49-F238E27FC236}">
                  <a16:creationId xmlns:a16="http://schemas.microsoft.com/office/drawing/2014/main" id="{1EC629B3-F129-7CF7-A2BD-42A84E922D3C}"/>
                </a:ext>
              </a:extLst>
            </p:cNvPr>
            <p:cNvSpPr/>
            <p:nvPr/>
          </p:nvSpPr>
          <p:spPr>
            <a:xfrm rot="16200000">
              <a:off x="11213124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noFill/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Полилиния: фигура 32">
              <a:extLst>
                <a:ext uri="{FF2B5EF4-FFF2-40B4-BE49-F238E27FC236}">
                  <a16:creationId xmlns:a16="http://schemas.microsoft.com/office/drawing/2014/main" id="{9399CA00-A682-3BD2-C663-F3FEA23DE7A8}"/>
                </a:ext>
              </a:extLst>
            </p:cNvPr>
            <p:cNvSpPr/>
            <p:nvPr/>
          </p:nvSpPr>
          <p:spPr>
            <a:xfrm rot="5400000">
              <a:off x="10234009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Полилиния: фигура 37">
              <a:extLst>
                <a:ext uri="{FF2B5EF4-FFF2-40B4-BE49-F238E27FC236}">
                  <a16:creationId xmlns:a16="http://schemas.microsoft.com/office/drawing/2014/main" id="{771D2AE4-D7A7-37B7-2A9F-C9F8B9B1DF1A}"/>
                </a:ext>
              </a:extLst>
            </p:cNvPr>
            <p:cNvSpPr/>
            <p:nvPr/>
          </p:nvSpPr>
          <p:spPr>
            <a:xfrm>
              <a:off x="10478966" y="6123843"/>
              <a:ext cx="489438" cy="489438"/>
            </a:xfrm>
            <a:custGeom>
              <a:avLst/>
              <a:gdLst>
                <a:gd name="connsiteX0" fmla="*/ 489438 w 489438"/>
                <a:gd name="connsiteY0" fmla="*/ 244719 h 489438"/>
                <a:gd name="connsiteX1" fmla="*/ 244719 w 489438"/>
                <a:gd name="connsiteY1" fmla="*/ 489438 h 489438"/>
                <a:gd name="connsiteX2" fmla="*/ 0 w 489438"/>
                <a:gd name="connsiteY2" fmla="*/ 244719 h 489438"/>
                <a:gd name="connsiteX3" fmla="*/ 244719 w 489438"/>
                <a:gd name="connsiteY3" fmla="*/ 0 h 489438"/>
                <a:gd name="connsiteX4" fmla="*/ 489438 w 489438"/>
                <a:gd name="connsiteY4" fmla="*/ 244719 h 48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438" h="489438">
                  <a:moveTo>
                    <a:pt x="489438" y="244719"/>
                  </a:moveTo>
                  <a:cubicBezTo>
                    <a:pt x="489438" y="379874"/>
                    <a:pt x="379874" y="489438"/>
                    <a:pt x="244719" y="489438"/>
                  </a:cubicBezTo>
                  <a:cubicBezTo>
                    <a:pt x="109564" y="489438"/>
                    <a:pt x="0" y="379874"/>
                    <a:pt x="0" y="244719"/>
                  </a:cubicBezTo>
                  <a:cubicBezTo>
                    <a:pt x="0" y="109564"/>
                    <a:pt x="109564" y="0"/>
                    <a:pt x="244719" y="0"/>
                  </a:cubicBezTo>
                  <a:cubicBezTo>
                    <a:pt x="379874" y="0"/>
                    <a:pt x="489438" y="109564"/>
                    <a:pt x="489438" y="244719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Полилиния: фигура 36">
              <a:extLst>
                <a:ext uri="{FF2B5EF4-FFF2-40B4-BE49-F238E27FC236}">
                  <a16:creationId xmlns:a16="http://schemas.microsoft.com/office/drawing/2014/main" id="{97BFECD6-3F78-D810-D06D-4DB788A24550}"/>
                </a:ext>
              </a:extLst>
            </p:cNvPr>
            <p:cNvSpPr/>
            <p:nvPr/>
          </p:nvSpPr>
          <p:spPr>
            <a:xfrm rot="5400000">
              <a:off x="10234247" y="4900247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38">
              <a:extLst>
                <a:ext uri="{FF2B5EF4-FFF2-40B4-BE49-F238E27FC236}">
                  <a16:creationId xmlns:a16="http://schemas.microsoft.com/office/drawing/2014/main" id="{541C9ACD-568F-8637-D608-4D98DE612750}"/>
                </a:ext>
              </a:extLst>
            </p:cNvPr>
            <p:cNvSpPr/>
            <p:nvPr/>
          </p:nvSpPr>
          <p:spPr>
            <a:xfrm>
              <a:off x="10234247" y="4900247"/>
              <a:ext cx="978876" cy="978876"/>
            </a:xfrm>
            <a:custGeom>
              <a:avLst/>
              <a:gdLst>
                <a:gd name="connsiteX0" fmla="*/ 978567 w 978876"/>
                <a:gd name="connsiteY0" fmla="*/ -240 h 978876"/>
                <a:gd name="connsiteX1" fmla="*/ -310 w 978876"/>
                <a:gd name="connsiteY1" fmla="*/ 978637 h 978876"/>
                <a:gd name="connsiteX2" fmla="*/ 978567 w 978876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8876" h="978876">
                  <a:moveTo>
                    <a:pt x="978567" y="-240"/>
                  </a:moveTo>
                  <a:cubicBezTo>
                    <a:pt x="437953" y="-240"/>
                    <a:pt x="-310" y="438022"/>
                    <a:pt x="-310" y="978637"/>
                  </a:cubicBezTo>
                  <a:cubicBezTo>
                    <a:pt x="540304" y="978637"/>
                    <a:pt x="978567" y="540374"/>
                    <a:pt x="978567" y="-240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Полилиния: фигура 39">
              <a:extLst>
                <a:ext uri="{FF2B5EF4-FFF2-40B4-BE49-F238E27FC236}">
                  <a16:creationId xmlns:a16="http://schemas.microsoft.com/office/drawing/2014/main" id="{2CEFE2E8-C801-B2DF-C309-266491FD61D3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Полилиния: фигура 40">
              <a:extLst>
                <a:ext uri="{FF2B5EF4-FFF2-40B4-BE49-F238E27FC236}">
                  <a16:creationId xmlns:a16="http://schemas.microsoft.com/office/drawing/2014/main" id="{5A76BE50-F569-D366-7AB1-3FACC18FC8FD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Полилиния: фигура 41">
              <a:extLst>
                <a:ext uri="{FF2B5EF4-FFF2-40B4-BE49-F238E27FC236}">
                  <a16:creationId xmlns:a16="http://schemas.microsoft.com/office/drawing/2014/main" id="{FE22727D-1C1D-4E79-495B-FC295573D98A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Полилиния: фигура 42">
              <a:extLst>
                <a:ext uri="{FF2B5EF4-FFF2-40B4-BE49-F238E27FC236}">
                  <a16:creationId xmlns:a16="http://schemas.microsoft.com/office/drawing/2014/main" id="{77B5FFA8-6C14-166E-0498-93163BC1066B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Полилиния: фигура 43">
              <a:extLst>
                <a:ext uri="{FF2B5EF4-FFF2-40B4-BE49-F238E27FC236}">
                  <a16:creationId xmlns:a16="http://schemas.microsoft.com/office/drawing/2014/main" id="{DFC74432-806C-FE9B-3172-74E47A38D527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2"/>
                </a:solidFill>
              </a:endParaRPr>
            </a:p>
          </p:txBody>
        </p:sp>
        <p:grpSp>
          <p:nvGrpSpPr>
            <p:cNvPr id="174" name="Группа 145">
              <a:extLst>
                <a:ext uri="{FF2B5EF4-FFF2-40B4-BE49-F238E27FC236}">
                  <a16:creationId xmlns:a16="http://schemas.microsoft.com/office/drawing/2014/main" id="{BBD5BFD8-DD3E-902E-5832-1A201C6D220F}"/>
                </a:ext>
              </a:extLst>
            </p:cNvPr>
            <p:cNvGrpSpPr/>
            <p:nvPr/>
          </p:nvGrpSpPr>
          <p:grpSpPr>
            <a:xfrm>
              <a:off x="11482993" y="6055615"/>
              <a:ext cx="204201" cy="625502"/>
              <a:chOff x="11482993" y="6055615"/>
              <a:chExt cx="204201" cy="625502"/>
            </a:xfrm>
          </p:grpSpPr>
          <p:sp>
            <p:nvSpPr>
              <p:cNvPr id="244" name="Полилиния: фигура 44">
                <a:extLst>
                  <a:ext uri="{FF2B5EF4-FFF2-40B4-BE49-F238E27FC236}">
                    <a16:creationId xmlns:a16="http://schemas.microsoft.com/office/drawing/2014/main" id="{BBA50A16-7AD7-629F-F2D8-D5EC976D3A5E}"/>
                  </a:ext>
                </a:extLst>
              </p:cNvPr>
              <p:cNvSpPr/>
              <p:nvPr/>
            </p:nvSpPr>
            <p:spPr>
              <a:xfrm>
                <a:off x="11547704" y="6327156"/>
                <a:ext cx="74786" cy="353961"/>
              </a:xfrm>
              <a:custGeom>
                <a:avLst/>
                <a:gdLst>
                  <a:gd name="connsiteX0" fmla="*/ 37083 w 74786"/>
                  <a:gd name="connsiteY0" fmla="*/ 353722 h 353961"/>
                  <a:gd name="connsiteX1" fmla="*/ 37083 w 74786"/>
                  <a:gd name="connsiteY1" fmla="*/ 353722 h 353961"/>
                  <a:gd name="connsiteX2" fmla="*/ 74476 w 74786"/>
                  <a:gd name="connsiteY2" fmla="*/ 316328 h 353961"/>
                  <a:gd name="connsiteX3" fmla="*/ 74476 w 74786"/>
                  <a:gd name="connsiteY3" fmla="*/ -240 h 353961"/>
                  <a:gd name="connsiteX4" fmla="*/ -310 w 74786"/>
                  <a:gd name="connsiteY4" fmla="*/ -240 h 353961"/>
                  <a:gd name="connsiteX5" fmla="*/ -310 w 74786"/>
                  <a:gd name="connsiteY5" fmla="*/ 316328 h 353961"/>
                  <a:gd name="connsiteX6" fmla="*/ 37083 w 74786"/>
                  <a:gd name="connsiteY6" fmla="*/ 353722 h 353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353961">
                    <a:moveTo>
                      <a:pt x="37083" y="353722"/>
                    </a:moveTo>
                    <a:lnTo>
                      <a:pt x="37083" y="353722"/>
                    </a:lnTo>
                    <a:cubicBezTo>
                      <a:pt x="57737" y="353722"/>
                      <a:pt x="74476" y="336983"/>
                      <a:pt x="74476" y="316328"/>
                    </a:cubicBezTo>
                    <a:lnTo>
                      <a:pt x="74476" y="-240"/>
                    </a:lnTo>
                    <a:lnTo>
                      <a:pt x="-310" y="-240"/>
                    </a:lnTo>
                    <a:lnTo>
                      <a:pt x="-310" y="316328"/>
                    </a:lnTo>
                    <a:cubicBezTo>
                      <a:pt x="-310" y="336983"/>
                      <a:pt x="16429" y="353722"/>
                      <a:pt x="37083" y="353722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Полилиния: фигура 45">
                <a:extLst>
                  <a:ext uri="{FF2B5EF4-FFF2-40B4-BE49-F238E27FC236}">
                    <a16:creationId xmlns:a16="http://schemas.microsoft.com/office/drawing/2014/main" id="{D5720F4F-4224-CC6B-B843-E58AA10355BA}"/>
                  </a:ext>
                </a:extLst>
              </p:cNvPr>
              <p:cNvSpPr/>
              <p:nvPr/>
            </p:nvSpPr>
            <p:spPr>
              <a:xfrm>
                <a:off x="11482993" y="6055615"/>
                <a:ext cx="204201" cy="288885"/>
              </a:xfrm>
              <a:custGeom>
                <a:avLst/>
                <a:gdLst>
                  <a:gd name="connsiteX0" fmla="*/ 162974 w 204201"/>
                  <a:gd name="connsiteY0" fmla="*/ 20512 h 288885"/>
                  <a:gd name="connsiteX1" fmla="*/ 162974 w 204201"/>
                  <a:gd name="connsiteY1" fmla="*/ 165875 h 288885"/>
                  <a:gd name="connsiteX2" fmla="*/ 143984 w 204201"/>
                  <a:gd name="connsiteY2" fmla="*/ 187694 h 288885"/>
                  <a:gd name="connsiteX3" fmla="*/ 122155 w 204201"/>
                  <a:gd name="connsiteY3" fmla="*/ 168704 h 288885"/>
                  <a:gd name="connsiteX4" fmla="*/ 122155 w 204201"/>
                  <a:gd name="connsiteY4" fmla="*/ 165875 h 288885"/>
                  <a:gd name="connsiteX5" fmla="*/ 122155 w 204201"/>
                  <a:gd name="connsiteY5" fmla="*/ 20512 h 288885"/>
                  <a:gd name="connsiteX6" fmla="*/ 101794 w 204201"/>
                  <a:gd name="connsiteY6" fmla="*/ 151 h 288885"/>
                  <a:gd name="connsiteX7" fmla="*/ 101794 w 204201"/>
                  <a:gd name="connsiteY7" fmla="*/ 151 h 288885"/>
                  <a:gd name="connsiteX8" fmla="*/ 81336 w 204201"/>
                  <a:gd name="connsiteY8" fmla="*/ 20512 h 288885"/>
                  <a:gd name="connsiteX9" fmla="*/ 81336 w 204201"/>
                  <a:gd name="connsiteY9" fmla="*/ 165875 h 288885"/>
                  <a:gd name="connsiteX10" fmla="*/ 62336 w 204201"/>
                  <a:gd name="connsiteY10" fmla="*/ 187694 h 288885"/>
                  <a:gd name="connsiteX11" fmla="*/ 40517 w 204201"/>
                  <a:gd name="connsiteY11" fmla="*/ 168704 h 288885"/>
                  <a:gd name="connsiteX12" fmla="*/ 40517 w 204201"/>
                  <a:gd name="connsiteY12" fmla="*/ 165875 h 288885"/>
                  <a:gd name="connsiteX13" fmla="*/ 40517 w 204201"/>
                  <a:gd name="connsiteY13" fmla="*/ 20512 h 288885"/>
                  <a:gd name="connsiteX14" fmla="*/ 18688 w 204201"/>
                  <a:gd name="connsiteY14" fmla="*/ 1522 h 288885"/>
                  <a:gd name="connsiteX15" fmla="*/ -302 w 204201"/>
                  <a:gd name="connsiteY15" fmla="*/ 20512 h 288885"/>
                  <a:gd name="connsiteX16" fmla="*/ -302 w 204201"/>
                  <a:gd name="connsiteY16" fmla="*/ 183201 h 288885"/>
                  <a:gd name="connsiteX17" fmla="*/ 99837 w 204201"/>
                  <a:gd name="connsiteY17" fmla="*/ 288626 h 288885"/>
                  <a:gd name="connsiteX18" fmla="*/ 203871 w 204201"/>
                  <a:gd name="connsiteY18" fmla="*/ 188507 h 288885"/>
                  <a:gd name="connsiteX19" fmla="*/ 203891 w 204201"/>
                  <a:gd name="connsiteY19" fmla="*/ 186627 h 288885"/>
                  <a:gd name="connsiteX20" fmla="*/ 203891 w 204201"/>
                  <a:gd name="connsiteY20" fmla="*/ 20218 h 288885"/>
                  <a:gd name="connsiteX21" fmla="*/ 183433 w 204201"/>
                  <a:gd name="connsiteY21" fmla="*/ -240 h 288885"/>
                  <a:gd name="connsiteX22" fmla="*/ 162974 w 204201"/>
                  <a:gd name="connsiteY22" fmla="*/ 20218 h 28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201" h="288885">
                    <a:moveTo>
                      <a:pt x="162974" y="20512"/>
                    </a:moveTo>
                    <a:lnTo>
                      <a:pt x="162974" y="165875"/>
                    </a:lnTo>
                    <a:cubicBezTo>
                      <a:pt x="163757" y="177142"/>
                      <a:pt x="155251" y="186921"/>
                      <a:pt x="143984" y="187694"/>
                    </a:cubicBezTo>
                    <a:cubicBezTo>
                      <a:pt x="132708" y="188478"/>
                      <a:pt x="122938" y="179971"/>
                      <a:pt x="122155" y="168704"/>
                    </a:cubicBezTo>
                    <a:cubicBezTo>
                      <a:pt x="122087" y="167764"/>
                      <a:pt x="122087" y="166815"/>
                      <a:pt x="122155" y="165875"/>
                    </a:cubicBezTo>
                    <a:lnTo>
                      <a:pt x="122155" y="20512"/>
                    </a:lnTo>
                    <a:cubicBezTo>
                      <a:pt x="122155" y="9264"/>
                      <a:pt x="113042" y="151"/>
                      <a:pt x="101794" y="151"/>
                    </a:cubicBezTo>
                    <a:lnTo>
                      <a:pt x="101794" y="151"/>
                    </a:lnTo>
                    <a:cubicBezTo>
                      <a:pt x="90537" y="151"/>
                      <a:pt x="81395" y="9255"/>
                      <a:pt x="81336" y="20512"/>
                    </a:cubicBezTo>
                    <a:lnTo>
                      <a:pt x="81336" y="165875"/>
                    </a:lnTo>
                    <a:cubicBezTo>
                      <a:pt x="82119" y="177142"/>
                      <a:pt x="73612" y="186921"/>
                      <a:pt x="62336" y="187694"/>
                    </a:cubicBezTo>
                    <a:cubicBezTo>
                      <a:pt x="51069" y="188478"/>
                      <a:pt x="41300" y="179971"/>
                      <a:pt x="40517" y="168704"/>
                    </a:cubicBezTo>
                    <a:cubicBezTo>
                      <a:pt x="40448" y="167764"/>
                      <a:pt x="40448" y="166815"/>
                      <a:pt x="40517" y="165875"/>
                    </a:cubicBezTo>
                    <a:lnTo>
                      <a:pt x="40517" y="20512"/>
                    </a:lnTo>
                    <a:cubicBezTo>
                      <a:pt x="39733" y="9245"/>
                      <a:pt x="29964" y="739"/>
                      <a:pt x="18688" y="1522"/>
                    </a:cubicBezTo>
                    <a:cubicBezTo>
                      <a:pt x="8507" y="2226"/>
                      <a:pt x="403" y="10331"/>
                      <a:pt x="-302" y="20512"/>
                    </a:cubicBezTo>
                    <a:lnTo>
                      <a:pt x="-302" y="183201"/>
                    </a:lnTo>
                    <a:cubicBezTo>
                      <a:pt x="-978" y="239663"/>
                      <a:pt x="43414" y="286404"/>
                      <a:pt x="99837" y="288626"/>
                    </a:cubicBezTo>
                    <a:cubicBezTo>
                      <a:pt x="156210" y="289713"/>
                      <a:pt x="202795" y="244880"/>
                      <a:pt x="203871" y="188507"/>
                    </a:cubicBezTo>
                    <a:cubicBezTo>
                      <a:pt x="203882" y="187880"/>
                      <a:pt x="203891" y="187254"/>
                      <a:pt x="203891" y="186627"/>
                    </a:cubicBezTo>
                    <a:lnTo>
                      <a:pt x="203891" y="20218"/>
                    </a:lnTo>
                    <a:cubicBezTo>
                      <a:pt x="203891" y="8922"/>
                      <a:pt x="194729" y="-240"/>
                      <a:pt x="183433" y="-240"/>
                    </a:cubicBezTo>
                    <a:cubicBezTo>
                      <a:pt x="172136" y="-240"/>
                      <a:pt x="162974" y="8922"/>
                      <a:pt x="162974" y="20218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75" name="Группа 146">
              <a:extLst>
                <a:ext uri="{FF2B5EF4-FFF2-40B4-BE49-F238E27FC236}">
                  <a16:creationId xmlns:a16="http://schemas.microsoft.com/office/drawing/2014/main" id="{3EC56F36-211F-8B4D-FCF9-75345C83DEBB}"/>
                </a:ext>
              </a:extLst>
            </p:cNvPr>
            <p:cNvGrpSpPr/>
            <p:nvPr/>
          </p:nvGrpSpPr>
          <p:grpSpPr>
            <a:xfrm>
              <a:off x="11717931" y="6056007"/>
              <a:ext cx="204193" cy="625110"/>
              <a:chOff x="11717931" y="6056007"/>
              <a:chExt cx="204193" cy="625110"/>
            </a:xfrm>
          </p:grpSpPr>
          <p:sp>
            <p:nvSpPr>
              <p:cNvPr id="242" name="Полилиния: фигура 46">
                <a:extLst>
                  <a:ext uri="{FF2B5EF4-FFF2-40B4-BE49-F238E27FC236}">
                    <a16:creationId xmlns:a16="http://schemas.microsoft.com/office/drawing/2014/main" id="{EE5E528E-80B1-3D17-9DD3-FCB9DE83E1B3}"/>
                  </a:ext>
                </a:extLst>
              </p:cNvPr>
              <p:cNvSpPr/>
              <p:nvPr/>
            </p:nvSpPr>
            <p:spPr>
              <a:xfrm>
                <a:off x="11782635" y="6056007"/>
                <a:ext cx="74786" cy="425224"/>
              </a:xfrm>
              <a:custGeom>
                <a:avLst/>
                <a:gdLst>
                  <a:gd name="connsiteX0" fmla="*/ 37083 w 74786"/>
                  <a:gd name="connsiteY0" fmla="*/ -240 h 425224"/>
                  <a:gd name="connsiteX1" fmla="*/ 37083 w 74786"/>
                  <a:gd name="connsiteY1" fmla="*/ -240 h 425224"/>
                  <a:gd name="connsiteX2" fmla="*/ -310 w 74786"/>
                  <a:gd name="connsiteY2" fmla="*/ 37153 h 425224"/>
                  <a:gd name="connsiteX3" fmla="*/ -310 w 74786"/>
                  <a:gd name="connsiteY3" fmla="*/ 424984 h 425224"/>
                  <a:gd name="connsiteX4" fmla="*/ 74476 w 74786"/>
                  <a:gd name="connsiteY4" fmla="*/ 424984 h 425224"/>
                  <a:gd name="connsiteX5" fmla="*/ 74476 w 74786"/>
                  <a:gd name="connsiteY5" fmla="*/ 37153 h 425224"/>
                  <a:gd name="connsiteX6" fmla="*/ 37083 w 74786"/>
                  <a:gd name="connsiteY6" fmla="*/ -240 h 42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425224">
                    <a:moveTo>
                      <a:pt x="37083" y="-240"/>
                    </a:moveTo>
                    <a:lnTo>
                      <a:pt x="37083" y="-240"/>
                    </a:lnTo>
                    <a:cubicBezTo>
                      <a:pt x="16429" y="-240"/>
                      <a:pt x="-310" y="16499"/>
                      <a:pt x="-310" y="37153"/>
                    </a:cubicBezTo>
                    <a:lnTo>
                      <a:pt x="-310" y="424984"/>
                    </a:lnTo>
                    <a:lnTo>
                      <a:pt x="74476" y="424984"/>
                    </a:lnTo>
                    <a:lnTo>
                      <a:pt x="74476" y="37153"/>
                    </a:lnTo>
                    <a:cubicBezTo>
                      <a:pt x="74476" y="16499"/>
                      <a:pt x="57737" y="-240"/>
                      <a:pt x="37083" y="-240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Полилиния: фигура 47">
                <a:extLst>
                  <a:ext uri="{FF2B5EF4-FFF2-40B4-BE49-F238E27FC236}">
                    <a16:creationId xmlns:a16="http://schemas.microsoft.com/office/drawing/2014/main" id="{9EC87D7A-39AB-4CD3-0F1C-31B70D227BE8}"/>
                  </a:ext>
                </a:extLst>
              </p:cNvPr>
              <p:cNvSpPr/>
              <p:nvPr/>
            </p:nvSpPr>
            <p:spPr>
              <a:xfrm>
                <a:off x="11717931" y="6392545"/>
                <a:ext cx="204193" cy="288572"/>
              </a:xfrm>
              <a:custGeom>
                <a:avLst/>
                <a:gdLst>
                  <a:gd name="connsiteX0" fmla="*/ 101787 w 204193"/>
                  <a:gd name="connsiteY0" fmla="*/ 288333 h 288572"/>
                  <a:gd name="connsiteX1" fmla="*/ 203884 w 204193"/>
                  <a:gd name="connsiteY1" fmla="*/ 186236 h 288572"/>
                  <a:gd name="connsiteX2" fmla="*/ 203884 w 204193"/>
                  <a:gd name="connsiteY2" fmla="*/ 101857 h 288572"/>
                  <a:gd name="connsiteX3" fmla="*/ 101787 w 204193"/>
                  <a:gd name="connsiteY3" fmla="*/ -240 h 288572"/>
                  <a:gd name="connsiteX4" fmla="*/ -310 w 204193"/>
                  <a:gd name="connsiteY4" fmla="*/ 101857 h 288572"/>
                  <a:gd name="connsiteX5" fmla="*/ -310 w 204193"/>
                  <a:gd name="connsiteY5" fmla="*/ 186236 h 288572"/>
                  <a:gd name="connsiteX6" fmla="*/ 101787 w 204193"/>
                  <a:gd name="connsiteY6" fmla="*/ 288333 h 28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193" h="288572">
                    <a:moveTo>
                      <a:pt x="101787" y="288333"/>
                    </a:moveTo>
                    <a:cubicBezTo>
                      <a:pt x="158170" y="288333"/>
                      <a:pt x="203884" y="242619"/>
                      <a:pt x="203884" y="186236"/>
                    </a:cubicBezTo>
                    <a:lnTo>
                      <a:pt x="203884" y="101857"/>
                    </a:lnTo>
                    <a:cubicBezTo>
                      <a:pt x="203884" y="45473"/>
                      <a:pt x="158170" y="-240"/>
                      <a:pt x="101787" y="-240"/>
                    </a:cubicBezTo>
                    <a:cubicBezTo>
                      <a:pt x="45403" y="-240"/>
                      <a:pt x="-310" y="45473"/>
                      <a:pt x="-310" y="101857"/>
                    </a:cubicBezTo>
                    <a:lnTo>
                      <a:pt x="-310" y="186236"/>
                    </a:lnTo>
                    <a:cubicBezTo>
                      <a:pt x="-310" y="242619"/>
                      <a:pt x="45403" y="288333"/>
                      <a:pt x="101787" y="288333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6" name="Полилиния: фигура 56">
              <a:extLst>
                <a:ext uri="{FF2B5EF4-FFF2-40B4-BE49-F238E27FC236}">
                  <a16:creationId xmlns:a16="http://schemas.microsoft.com/office/drawing/2014/main" id="{6E6199AE-034D-751B-0B41-16843783D52E}"/>
                </a:ext>
              </a:extLst>
            </p:cNvPr>
            <p:cNvSpPr/>
            <p:nvPr/>
          </p:nvSpPr>
          <p:spPr>
            <a:xfrm>
              <a:off x="9252833" y="0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Полилиния: фигура 57">
              <a:extLst>
                <a:ext uri="{FF2B5EF4-FFF2-40B4-BE49-F238E27FC236}">
                  <a16:creationId xmlns:a16="http://schemas.microsoft.com/office/drawing/2014/main" id="{9B637539-34B8-C902-670F-61DA69B52B5E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Полилиния: фигура 59">
              <a:extLst>
                <a:ext uri="{FF2B5EF4-FFF2-40B4-BE49-F238E27FC236}">
                  <a16:creationId xmlns:a16="http://schemas.microsoft.com/office/drawing/2014/main" id="{F5129B11-D1CB-5277-B291-BC940C69B3B7}"/>
                </a:ext>
              </a:extLst>
            </p:cNvPr>
            <p:cNvSpPr/>
            <p:nvPr/>
          </p:nvSpPr>
          <p:spPr>
            <a:xfrm rot="16200000">
              <a:off x="7297491" y="4107"/>
              <a:ext cx="978852" cy="972412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Полилиния: фигура 60">
              <a:extLst>
                <a:ext uri="{FF2B5EF4-FFF2-40B4-BE49-F238E27FC236}">
                  <a16:creationId xmlns:a16="http://schemas.microsoft.com/office/drawing/2014/main" id="{974EF996-E4A2-7F1D-39E1-C0E93962FF0D}"/>
                </a:ext>
              </a:extLst>
            </p:cNvPr>
            <p:cNvSpPr/>
            <p:nvPr/>
          </p:nvSpPr>
          <p:spPr>
            <a:xfrm>
              <a:off x="7288368" y="489882"/>
              <a:ext cx="494894" cy="495482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Полилиния: фигура 61">
              <a:extLst>
                <a:ext uri="{FF2B5EF4-FFF2-40B4-BE49-F238E27FC236}">
                  <a16:creationId xmlns:a16="http://schemas.microsoft.com/office/drawing/2014/main" id="{2109B157-2DB2-D42E-0D05-727A20A19A9C}"/>
                </a:ext>
              </a:extLst>
            </p:cNvPr>
            <p:cNvSpPr/>
            <p:nvPr/>
          </p:nvSpPr>
          <p:spPr>
            <a:xfrm>
              <a:off x="7284210" y="25"/>
              <a:ext cx="499051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Полилиния: фигура 62">
              <a:extLst>
                <a:ext uri="{FF2B5EF4-FFF2-40B4-BE49-F238E27FC236}">
                  <a16:creationId xmlns:a16="http://schemas.microsoft.com/office/drawing/2014/main" id="{1DF63EB9-998D-F6DC-0EA8-B1427C621F3D}"/>
                </a:ext>
              </a:extLst>
            </p:cNvPr>
            <p:cNvSpPr/>
            <p:nvPr/>
          </p:nvSpPr>
          <p:spPr>
            <a:xfrm>
              <a:off x="7774067" y="25"/>
              <a:ext cx="499051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Полилиния: фигура 63">
              <a:extLst>
                <a:ext uri="{FF2B5EF4-FFF2-40B4-BE49-F238E27FC236}">
                  <a16:creationId xmlns:a16="http://schemas.microsoft.com/office/drawing/2014/main" id="{D859794D-6835-2E5D-0A71-C4015F66C477}"/>
                </a:ext>
              </a:extLst>
            </p:cNvPr>
            <p:cNvSpPr/>
            <p:nvPr/>
          </p:nvSpPr>
          <p:spPr>
            <a:xfrm>
              <a:off x="7778225" y="489882"/>
              <a:ext cx="494894" cy="495482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Полилиния: фигура 65">
              <a:extLst>
                <a:ext uri="{FF2B5EF4-FFF2-40B4-BE49-F238E27FC236}">
                  <a16:creationId xmlns:a16="http://schemas.microsoft.com/office/drawing/2014/main" id="{8D146B39-1CF3-38A2-02D7-8EEE1021B295}"/>
                </a:ext>
              </a:extLst>
            </p:cNvPr>
            <p:cNvSpPr/>
            <p:nvPr/>
          </p:nvSpPr>
          <p:spPr>
            <a:xfrm rot="16200000">
              <a:off x="10229303" y="2406"/>
              <a:ext cx="986202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66">
              <a:extLst>
                <a:ext uri="{FF2B5EF4-FFF2-40B4-BE49-F238E27FC236}">
                  <a16:creationId xmlns:a16="http://schemas.microsoft.com/office/drawing/2014/main" id="{808F38F4-0E60-680B-48D4-095F2B513E1F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Полилиния: фигура 67">
              <a:extLst>
                <a:ext uri="{FF2B5EF4-FFF2-40B4-BE49-F238E27FC236}">
                  <a16:creationId xmlns:a16="http://schemas.microsoft.com/office/drawing/2014/main" id="{C89429AF-71A5-1284-B6E1-D71AABE0B71D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Полилиния: фигура 68">
              <a:extLst>
                <a:ext uri="{FF2B5EF4-FFF2-40B4-BE49-F238E27FC236}">
                  <a16:creationId xmlns:a16="http://schemas.microsoft.com/office/drawing/2014/main" id="{C405CC03-1321-0681-8E46-9ED5F4699D77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Полилиния: фигура 69">
              <a:extLst>
                <a:ext uri="{FF2B5EF4-FFF2-40B4-BE49-F238E27FC236}">
                  <a16:creationId xmlns:a16="http://schemas.microsoft.com/office/drawing/2014/main" id="{47E90767-1CD4-229E-F8B8-B9F62694FD46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Полилиния: фигура 71">
              <a:extLst>
                <a:ext uri="{FF2B5EF4-FFF2-40B4-BE49-F238E27FC236}">
                  <a16:creationId xmlns:a16="http://schemas.microsoft.com/office/drawing/2014/main" id="{7577D1C3-34C5-3C69-A9A7-CC93CEC67644}"/>
                </a:ext>
              </a:extLst>
            </p:cNvPr>
            <p:cNvSpPr/>
            <p:nvPr/>
          </p:nvSpPr>
          <p:spPr>
            <a:xfrm rot="16200000">
              <a:off x="8273043" y="4107"/>
              <a:ext cx="978852" cy="972411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9" name="Группа 133">
              <a:extLst>
                <a:ext uri="{FF2B5EF4-FFF2-40B4-BE49-F238E27FC236}">
                  <a16:creationId xmlns:a16="http://schemas.microsoft.com/office/drawing/2014/main" id="{038C248A-533D-7B45-7FF8-783145FF53E9}"/>
                </a:ext>
              </a:extLst>
            </p:cNvPr>
            <p:cNvGrpSpPr/>
            <p:nvPr/>
          </p:nvGrpSpPr>
          <p:grpSpPr>
            <a:xfrm>
              <a:off x="8460243" y="187150"/>
              <a:ext cx="605463" cy="605463"/>
              <a:chOff x="8460243" y="187150"/>
              <a:chExt cx="605463" cy="605463"/>
            </a:xfrm>
          </p:grpSpPr>
          <p:sp>
            <p:nvSpPr>
              <p:cNvPr id="240" name="Полилиния: фигура 72">
                <a:extLst>
                  <a:ext uri="{FF2B5EF4-FFF2-40B4-BE49-F238E27FC236}">
                    <a16:creationId xmlns:a16="http://schemas.microsoft.com/office/drawing/2014/main" id="{94AE1B0D-F2A2-80E9-FDB9-FB89DE377F2C}"/>
                  </a:ext>
                </a:extLst>
              </p:cNvPr>
              <p:cNvSpPr/>
              <p:nvPr userDrawn="1"/>
            </p:nvSpPr>
            <p:spPr>
              <a:xfrm>
                <a:off x="8592015" y="318922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1" y="341920"/>
                      <a:pt x="0" y="265379"/>
                      <a:pt x="0" y="170960"/>
                    </a:cubicBezTo>
                    <a:cubicBezTo>
                      <a:pt x="0" y="76541"/>
                      <a:pt x="76541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Полилиния: фигура 73">
                <a:extLst>
                  <a:ext uri="{FF2B5EF4-FFF2-40B4-BE49-F238E27FC236}">
                    <a16:creationId xmlns:a16="http://schemas.microsoft.com/office/drawing/2014/main" id="{C3CE0353-B3A6-B07F-A4F3-82D85DE782BE}"/>
                  </a:ext>
                </a:extLst>
              </p:cNvPr>
              <p:cNvSpPr/>
              <p:nvPr userDrawn="1"/>
            </p:nvSpPr>
            <p:spPr>
              <a:xfrm>
                <a:off x="8460243" y="187150"/>
                <a:ext cx="605463" cy="605463"/>
              </a:xfrm>
              <a:custGeom>
                <a:avLst/>
                <a:gdLst>
                  <a:gd name="connsiteX0" fmla="*/ 302422 w 605463"/>
                  <a:gd name="connsiteY0" fmla="*/ -240 h 605463"/>
                  <a:gd name="connsiteX1" fmla="*/ 273031 w 605463"/>
                  <a:gd name="connsiteY1" fmla="*/ 29151 h 605463"/>
                  <a:gd name="connsiteX2" fmla="*/ 273031 w 605463"/>
                  <a:gd name="connsiteY2" fmla="*/ 72847 h 605463"/>
                  <a:gd name="connsiteX3" fmla="*/ 302422 w 605463"/>
                  <a:gd name="connsiteY3" fmla="*/ 102238 h 605463"/>
                  <a:gd name="connsiteX4" fmla="*/ 331813 w 605463"/>
                  <a:gd name="connsiteY4" fmla="*/ 72847 h 605463"/>
                  <a:gd name="connsiteX5" fmla="*/ 331813 w 605463"/>
                  <a:gd name="connsiteY5" fmla="*/ 29151 h 605463"/>
                  <a:gd name="connsiteX6" fmla="*/ 302422 w 605463"/>
                  <a:gd name="connsiteY6" fmla="*/ -240 h 605463"/>
                  <a:gd name="connsiteX7" fmla="*/ 302422 w 605463"/>
                  <a:gd name="connsiteY7" fmla="*/ 502745 h 605463"/>
                  <a:gd name="connsiteX8" fmla="*/ 273031 w 605463"/>
                  <a:gd name="connsiteY8" fmla="*/ 532137 h 605463"/>
                  <a:gd name="connsiteX9" fmla="*/ 273031 w 605463"/>
                  <a:gd name="connsiteY9" fmla="*/ 575832 h 605463"/>
                  <a:gd name="connsiteX10" fmla="*/ 302422 w 605463"/>
                  <a:gd name="connsiteY10" fmla="*/ 605223 h 605463"/>
                  <a:gd name="connsiteX11" fmla="*/ 331813 w 605463"/>
                  <a:gd name="connsiteY11" fmla="*/ 575832 h 605463"/>
                  <a:gd name="connsiteX12" fmla="*/ 331813 w 605463"/>
                  <a:gd name="connsiteY12" fmla="*/ 532137 h 605463"/>
                  <a:gd name="connsiteX13" fmla="*/ 302422 w 605463"/>
                  <a:gd name="connsiteY13" fmla="*/ 502745 h 605463"/>
                  <a:gd name="connsiteX14" fmla="*/ 102169 w 605463"/>
                  <a:gd name="connsiteY14" fmla="*/ 302492 h 605463"/>
                  <a:gd name="connsiteX15" fmla="*/ 72778 w 605463"/>
                  <a:gd name="connsiteY15" fmla="*/ 273100 h 605463"/>
                  <a:gd name="connsiteX16" fmla="*/ 29081 w 605463"/>
                  <a:gd name="connsiteY16" fmla="*/ 273100 h 605463"/>
                  <a:gd name="connsiteX17" fmla="*/ -310 w 605463"/>
                  <a:gd name="connsiteY17" fmla="*/ 302492 h 605463"/>
                  <a:gd name="connsiteX18" fmla="*/ 29081 w 605463"/>
                  <a:gd name="connsiteY18" fmla="*/ 331883 h 605463"/>
                  <a:gd name="connsiteX19" fmla="*/ 72778 w 605463"/>
                  <a:gd name="connsiteY19" fmla="*/ 331883 h 605463"/>
                  <a:gd name="connsiteX20" fmla="*/ 102169 w 605463"/>
                  <a:gd name="connsiteY20" fmla="*/ 302492 h 605463"/>
                  <a:gd name="connsiteX21" fmla="*/ 575763 w 605463"/>
                  <a:gd name="connsiteY21" fmla="*/ 273100 h 605463"/>
                  <a:gd name="connsiteX22" fmla="*/ 532066 w 605463"/>
                  <a:gd name="connsiteY22" fmla="*/ 273100 h 605463"/>
                  <a:gd name="connsiteX23" fmla="*/ 502675 w 605463"/>
                  <a:gd name="connsiteY23" fmla="*/ 302492 h 605463"/>
                  <a:gd name="connsiteX24" fmla="*/ 532066 w 605463"/>
                  <a:gd name="connsiteY24" fmla="*/ 331883 h 605463"/>
                  <a:gd name="connsiteX25" fmla="*/ 575763 w 605463"/>
                  <a:gd name="connsiteY25" fmla="*/ 331883 h 605463"/>
                  <a:gd name="connsiteX26" fmla="*/ 605154 w 605463"/>
                  <a:gd name="connsiteY26" fmla="*/ 302492 h 605463"/>
                  <a:gd name="connsiteX27" fmla="*/ 575763 w 605463"/>
                  <a:gd name="connsiteY27" fmla="*/ 273100 h 605463"/>
                  <a:gd name="connsiteX28" fmla="*/ 129894 w 605463"/>
                  <a:gd name="connsiteY28" fmla="*/ 88424 h 605463"/>
                  <a:gd name="connsiteX29" fmla="*/ 88355 w 605463"/>
                  <a:gd name="connsiteY29" fmla="*/ 86955 h 605463"/>
                  <a:gd name="connsiteX30" fmla="*/ 86885 w 605463"/>
                  <a:gd name="connsiteY30" fmla="*/ 128494 h 605463"/>
                  <a:gd name="connsiteX31" fmla="*/ 88355 w 605463"/>
                  <a:gd name="connsiteY31" fmla="*/ 129964 h 605463"/>
                  <a:gd name="connsiteX32" fmla="*/ 119216 w 605463"/>
                  <a:gd name="connsiteY32" fmla="*/ 160923 h 605463"/>
                  <a:gd name="connsiteX33" fmla="*/ 160854 w 605463"/>
                  <a:gd name="connsiteY33" fmla="*/ 160923 h 605463"/>
                  <a:gd name="connsiteX34" fmla="*/ 160854 w 605463"/>
                  <a:gd name="connsiteY34" fmla="*/ 119285 h 605463"/>
                  <a:gd name="connsiteX35" fmla="*/ 485628 w 605463"/>
                  <a:gd name="connsiteY35" fmla="*/ 444061 h 605463"/>
                  <a:gd name="connsiteX36" fmla="*/ 443990 w 605463"/>
                  <a:gd name="connsiteY36" fmla="*/ 444061 h 605463"/>
                  <a:gd name="connsiteX37" fmla="*/ 443990 w 605463"/>
                  <a:gd name="connsiteY37" fmla="*/ 485698 h 605463"/>
                  <a:gd name="connsiteX38" fmla="*/ 474950 w 605463"/>
                  <a:gd name="connsiteY38" fmla="*/ 516559 h 605463"/>
                  <a:gd name="connsiteX39" fmla="*/ 516489 w 605463"/>
                  <a:gd name="connsiteY39" fmla="*/ 516559 h 605463"/>
                  <a:gd name="connsiteX40" fmla="*/ 516489 w 605463"/>
                  <a:gd name="connsiteY40" fmla="*/ 475019 h 605463"/>
                  <a:gd name="connsiteX41" fmla="*/ 119216 w 605463"/>
                  <a:gd name="connsiteY41" fmla="*/ 444061 h 605463"/>
                  <a:gd name="connsiteX42" fmla="*/ 88355 w 605463"/>
                  <a:gd name="connsiteY42" fmla="*/ 475019 h 605463"/>
                  <a:gd name="connsiteX43" fmla="*/ 88355 w 605463"/>
                  <a:gd name="connsiteY43" fmla="*/ 516589 h 605463"/>
                  <a:gd name="connsiteX44" fmla="*/ 109125 w 605463"/>
                  <a:gd name="connsiteY44" fmla="*/ 525181 h 605463"/>
                  <a:gd name="connsiteX45" fmla="*/ 129894 w 605463"/>
                  <a:gd name="connsiteY45" fmla="*/ 516559 h 605463"/>
                  <a:gd name="connsiteX46" fmla="*/ 160854 w 605463"/>
                  <a:gd name="connsiteY46" fmla="*/ 485698 h 605463"/>
                  <a:gd name="connsiteX47" fmla="*/ 160854 w 605463"/>
                  <a:gd name="connsiteY47" fmla="*/ 444061 h 605463"/>
                  <a:gd name="connsiteX48" fmla="*/ 119216 w 605463"/>
                  <a:gd name="connsiteY48" fmla="*/ 444061 h 605463"/>
                  <a:gd name="connsiteX49" fmla="*/ 464858 w 605463"/>
                  <a:gd name="connsiteY49" fmla="*/ 169740 h 605463"/>
                  <a:gd name="connsiteX50" fmla="*/ 485628 w 605463"/>
                  <a:gd name="connsiteY50" fmla="*/ 161217 h 605463"/>
                  <a:gd name="connsiteX51" fmla="*/ 516489 w 605463"/>
                  <a:gd name="connsiteY51" fmla="*/ 130258 h 605463"/>
                  <a:gd name="connsiteX52" fmla="*/ 517959 w 605463"/>
                  <a:gd name="connsiteY52" fmla="*/ 88718 h 605463"/>
                  <a:gd name="connsiteX53" fmla="*/ 476419 w 605463"/>
                  <a:gd name="connsiteY53" fmla="*/ 87248 h 605463"/>
                  <a:gd name="connsiteX54" fmla="*/ 474950 w 605463"/>
                  <a:gd name="connsiteY54" fmla="*/ 88718 h 605463"/>
                  <a:gd name="connsiteX55" fmla="*/ 443990 w 605463"/>
                  <a:gd name="connsiteY55" fmla="*/ 119579 h 605463"/>
                  <a:gd name="connsiteX56" fmla="*/ 443990 w 605463"/>
                  <a:gd name="connsiteY56" fmla="*/ 161148 h 605463"/>
                  <a:gd name="connsiteX57" fmla="*/ 464858 w 605463"/>
                  <a:gd name="connsiteY57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605463" h="605463">
                    <a:moveTo>
                      <a:pt x="302422" y="-240"/>
                    </a:moveTo>
                    <a:cubicBezTo>
                      <a:pt x="286158" y="-240"/>
                      <a:pt x="273031" y="12917"/>
                      <a:pt x="273031" y="29151"/>
                    </a:cubicBezTo>
                    <a:lnTo>
                      <a:pt x="273031" y="72847"/>
                    </a:lnTo>
                    <a:cubicBezTo>
                      <a:pt x="273031" y="89081"/>
                      <a:pt x="286158" y="102238"/>
                      <a:pt x="302422" y="102238"/>
                    </a:cubicBezTo>
                    <a:cubicBezTo>
                      <a:pt x="318686" y="102238"/>
                      <a:pt x="331813" y="89081"/>
                      <a:pt x="331813" y="72847"/>
                    </a:cubicBezTo>
                    <a:lnTo>
                      <a:pt x="331813" y="29151"/>
                    </a:lnTo>
                    <a:cubicBezTo>
                      <a:pt x="331813" y="12917"/>
                      <a:pt x="318686" y="-240"/>
                      <a:pt x="302422" y="-240"/>
                    </a:cubicBezTo>
                    <a:close/>
                    <a:moveTo>
                      <a:pt x="302422" y="502745"/>
                    </a:moveTo>
                    <a:cubicBezTo>
                      <a:pt x="286158" y="502745"/>
                      <a:pt x="273031" y="515903"/>
                      <a:pt x="273031" y="532137"/>
                    </a:cubicBezTo>
                    <a:lnTo>
                      <a:pt x="273031" y="575832"/>
                    </a:lnTo>
                    <a:cubicBezTo>
                      <a:pt x="273031" y="592066"/>
                      <a:pt x="286158" y="605223"/>
                      <a:pt x="302422" y="605223"/>
                    </a:cubicBezTo>
                    <a:cubicBezTo>
                      <a:pt x="318686" y="605223"/>
                      <a:pt x="331813" y="592066"/>
                      <a:pt x="331813" y="575832"/>
                    </a:cubicBezTo>
                    <a:lnTo>
                      <a:pt x="331813" y="532137"/>
                    </a:lnTo>
                    <a:cubicBezTo>
                      <a:pt x="331813" y="515903"/>
                      <a:pt x="318686" y="502745"/>
                      <a:pt x="302422" y="502745"/>
                    </a:cubicBezTo>
                    <a:close/>
                    <a:moveTo>
                      <a:pt x="102169" y="302492"/>
                    </a:moveTo>
                    <a:cubicBezTo>
                      <a:pt x="102169" y="286258"/>
                      <a:pt x="89040" y="273100"/>
                      <a:pt x="72778" y="273100"/>
                    </a:cubicBezTo>
                    <a:lnTo>
                      <a:pt x="29081" y="273100"/>
                    </a:lnTo>
                    <a:cubicBezTo>
                      <a:pt x="12818" y="273100"/>
                      <a:pt x="-310" y="286258"/>
                      <a:pt x="-310" y="302492"/>
                    </a:cubicBezTo>
                    <a:cubicBezTo>
                      <a:pt x="-310" y="318726"/>
                      <a:pt x="12818" y="331883"/>
                      <a:pt x="29081" y="331883"/>
                    </a:cubicBezTo>
                    <a:lnTo>
                      <a:pt x="72778" y="331883"/>
                    </a:lnTo>
                    <a:cubicBezTo>
                      <a:pt x="89040" y="331883"/>
                      <a:pt x="102169" y="318726"/>
                      <a:pt x="102169" y="302492"/>
                    </a:cubicBezTo>
                    <a:close/>
                    <a:moveTo>
                      <a:pt x="575763" y="273100"/>
                    </a:moveTo>
                    <a:lnTo>
                      <a:pt x="532066" y="273100"/>
                    </a:lnTo>
                    <a:cubicBezTo>
                      <a:pt x="515804" y="273100"/>
                      <a:pt x="502675" y="286258"/>
                      <a:pt x="502675" y="302492"/>
                    </a:cubicBezTo>
                    <a:cubicBezTo>
                      <a:pt x="502675" y="318726"/>
                      <a:pt x="515804" y="331883"/>
                      <a:pt x="532066" y="331883"/>
                    </a:cubicBezTo>
                    <a:lnTo>
                      <a:pt x="575763" y="331883"/>
                    </a:lnTo>
                    <a:cubicBezTo>
                      <a:pt x="592026" y="331883"/>
                      <a:pt x="605154" y="318726"/>
                      <a:pt x="605154" y="302492"/>
                    </a:cubicBezTo>
                    <a:cubicBezTo>
                      <a:pt x="605154" y="286258"/>
                      <a:pt x="592026" y="273100"/>
                      <a:pt x="575763" y="273100"/>
                    </a:cubicBezTo>
                    <a:close/>
                    <a:moveTo>
                      <a:pt x="129894" y="88424"/>
                    </a:moveTo>
                    <a:cubicBezTo>
                      <a:pt x="118824" y="76550"/>
                      <a:pt x="100209" y="75894"/>
                      <a:pt x="88355" y="86955"/>
                    </a:cubicBezTo>
                    <a:cubicBezTo>
                      <a:pt x="76499" y="98025"/>
                      <a:pt x="75814" y="116620"/>
                      <a:pt x="86885" y="128494"/>
                    </a:cubicBezTo>
                    <a:cubicBezTo>
                      <a:pt x="87375" y="129004"/>
                      <a:pt x="87864" y="129494"/>
                      <a:pt x="88355" y="129964"/>
                    </a:cubicBezTo>
                    <a:lnTo>
                      <a:pt x="119216" y="160923"/>
                    </a:lnTo>
                    <a:cubicBezTo>
                      <a:pt x="130678" y="172425"/>
                      <a:pt x="149391" y="172425"/>
                      <a:pt x="160854" y="160923"/>
                    </a:cubicBezTo>
                    <a:cubicBezTo>
                      <a:pt x="172316" y="149421"/>
                      <a:pt x="172316" y="130787"/>
                      <a:pt x="160854" y="119285"/>
                    </a:cubicBezTo>
                    <a:close/>
                    <a:moveTo>
                      <a:pt x="485628" y="444061"/>
                    </a:moveTo>
                    <a:cubicBezTo>
                      <a:pt x="474166" y="432559"/>
                      <a:pt x="455453" y="432559"/>
                      <a:pt x="443990" y="444061"/>
                    </a:cubicBezTo>
                    <a:cubicBezTo>
                      <a:pt x="432528" y="455562"/>
                      <a:pt x="432528" y="474196"/>
                      <a:pt x="443990" y="485698"/>
                    </a:cubicBezTo>
                    <a:lnTo>
                      <a:pt x="474950" y="516559"/>
                    </a:lnTo>
                    <a:cubicBezTo>
                      <a:pt x="486413" y="528022"/>
                      <a:pt x="505027" y="528022"/>
                      <a:pt x="516489" y="516559"/>
                    </a:cubicBezTo>
                    <a:cubicBezTo>
                      <a:pt x="527952" y="505087"/>
                      <a:pt x="527952" y="486492"/>
                      <a:pt x="516489" y="475019"/>
                    </a:cubicBezTo>
                    <a:close/>
                    <a:moveTo>
                      <a:pt x="119216" y="444061"/>
                    </a:moveTo>
                    <a:lnTo>
                      <a:pt x="88355" y="475019"/>
                    </a:lnTo>
                    <a:cubicBezTo>
                      <a:pt x="76892" y="486502"/>
                      <a:pt x="76892" y="505116"/>
                      <a:pt x="88355" y="516589"/>
                    </a:cubicBezTo>
                    <a:cubicBezTo>
                      <a:pt x="93840" y="522085"/>
                      <a:pt x="101384" y="525171"/>
                      <a:pt x="109125" y="525181"/>
                    </a:cubicBezTo>
                    <a:cubicBezTo>
                      <a:pt x="116962" y="525171"/>
                      <a:pt x="124407" y="522075"/>
                      <a:pt x="129894" y="516559"/>
                    </a:cubicBezTo>
                    <a:lnTo>
                      <a:pt x="160854" y="485698"/>
                    </a:lnTo>
                    <a:cubicBezTo>
                      <a:pt x="172316" y="474196"/>
                      <a:pt x="172316" y="455562"/>
                      <a:pt x="160854" y="444061"/>
                    </a:cubicBezTo>
                    <a:cubicBezTo>
                      <a:pt x="149391" y="432559"/>
                      <a:pt x="130678" y="432559"/>
                      <a:pt x="119216" y="444061"/>
                    </a:cubicBezTo>
                    <a:close/>
                    <a:moveTo>
                      <a:pt x="464858" y="169740"/>
                    </a:moveTo>
                    <a:cubicBezTo>
                      <a:pt x="472598" y="169760"/>
                      <a:pt x="480142" y="166694"/>
                      <a:pt x="485628" y="161217"/>
                    </a:cubicBezTo>
                    <a:lnTo>
                      <a:pt x="516489" y="130258"/>
                    </a:lnTo>
                    <a:cubicBezTo>
                      <a:pt x="528345" y="119187"/>
                      <a:pt x="529030" y="100592"/>
                      <a:pt x="517959" y="88718"/>
                    </a:cubicBezTo>
                    <a:cubicBezTo>
                      <a:pt x="506888" y="76844"/>
                      <a:pt x="488273" y="76187"/>
                      <a:pt x="476419" y="87248"/>
                    </a:cubicBezTo>
                    <a:cubicBezTo>
                      <a:pt x="475929" y="87719"/>
                      <a:pt x="475440" y="88208"/>
                      <a:pt x="474950" y="88718"/>
                    </a:cubicBezTo>
                    <a:lnTo>
                      <a:pt x="443990" y="119579"/>
                    </a:lnTo>
                    <a:cubicBezTo>
                      <a:pt x="432528" y="131061"/>
                      <a:pt x="432528" y="149676"/>
                      <a:pt x="443990" y="161148"/>
                    </a:cubicBezTo>
                    <a:cubicBezTo>
                      <a:pt x="449575" y="166664"/>
                      <a:pt x="457021" y="169760"/>
                      <a:pt x="464858" y="1697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0" name="Полилиния: фигура 75">
              <a:extLst>
                <a:ext uri="{FF2B5EF4-FFF2-40B4-BE49-F238E27FC236}">
                  <a16:creationId xmlns:a16="http://schemas.microsoft.com/office/drawing/2014/main" id="{81F99469-47F3-5E7C-6CA4-6DCEB846CA29}"/>
                </a:ext>
              </a:extLst>
            </p:cNvPr>
            <p:cNvSpPr/>
            <p:nvPr/>
          </p:nvSpPr>
          <p:spPr>
            <a:xfrm>
              <a:off x="6926011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Полилиния: фигура 76">
              <a:extLst>
                <a:ext uri="{FF2B5EF4-FFF2-40B4-BE49-F238E27FC236}">
                  <a16:creationId xmlns:a16="http://schemas.microsoft.com/office/drawing/2014/main" id="{7AE61898-43E7-4DE4-6129-B22B7D9A3DC4}"/>
                </a:ext>
              </a:extLst>
            </p:cNvPr>
            <p:cNvSpPr/>
            <p:nvPr/>
          </p:nvSpPr>
          <p:spPr>
            <a:xfrm>
              <a:off x="6436154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Полилиния: фигура 77">
              <a:extLst>
                <a:ext uri="{FF2B5EF4-FFF2-40B4-BE49-F238E27FC236}">
                  <a16:creationId xmlns:a16="http://schemas.microsoft.com/office/drawing/2014/main" id="{547CF65D-CEAE-C352-5A85-FFF9189150B5}"/>
                </a:ext>
              </a:extLst>
            </p:cNvPr>
            <p:cNvSpPr/>
            <p:nvPr/>
          </p:nvSpPr>
          <p:spPr>
            <a:xfrm>
              <a:off x="6926011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Полилиния: фигура 78">
              <a:extLst>
                <a:ext uri="{FF2B5EF4-FFF2-40B4-BE49-F238E27FC236}">
                  <a16:creationId xmlns:a16="http://schemas.microsoft.com/office/drawing/2014/main" id="{23CAF896-8BE7-B71B-77DA-6D0B1FB876E5}"/>
                </a:ext>
              </a:extLst>
            </p:cNvPr>
            <p:cNvSpPr/>
            <p:nvPr/>
          </p:nvSpPr>
          <p:spPr>
            <a:xfrm>
              <a:off x="6681083" y="367417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Полилиния: фигура 79">
              <a:extLst>
                <a:ext uri="{FF2B5EF4-FFF2-40B4-BE49-F238E27FC236}">
                  <a16:creationId xmlns:a16="http://schemas.microsoft.com/office/drawing/2014/main" id="{2B37F7E8-E89D-8459-5373-131DADF7A792}"/>
                </a:ext>
              </a:extLst>
            </p:cNvPr>
            <p:cNvSpPr/>
            <p:nvPr/>
          </p:nvSpPr>
          <p:spPr>
            <a:xfrm>
              <a:off x="6436154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Полилиния: фигура 81">
              <a:extLst>
                <a:ext uri="{FF2B5EF4-FFF2-40B4-BE49-F238E27FC236}">
                  <a16:creationId xmlns:a16="http://schemas.microsoft.com/office/drawing/2014/main" id="{C1A6FAE4-111D-E1CF-5EA3-53F0E6708016}"/>
                </a:ext>
              </a:extLst>
            </p:cNvPr>
            <p:cNvSpPr/>
            <p:nvPr/>
          </p:nvSpPr>
          <p:spPr>
            <a:xfrm rot="5400000">
              <a:off x="11210613" y="-2508"/>
              <a:ext cx="978877" cy="98389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Полилиния: фигура 82">
              <a:extLst>
                <a:ext uri="{FF2B5EF4-FFF2-40B4-BE49-F238E27FC236}">
                  <a16:creationId xmlns:a16="http://schemas.microsoft.com/office/drawing/2014/main" id="{09EB9843-1497-0BF8-D6D3-8895C82F1CFF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Полилиния: фигура 83">
              <a:extLst>
                <a:ext uri="{FF2B5EF4-FFF2-40B4-BE49-F238E27FC236}">
                  <a16:creationId xmlns:a16="http://schemas.microsoft.com/office/drawing/2014/main" id="{A7960E16-D3C6-7C19-B284-9D6891D41091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Полилиния: фигура 84">
              <a:extLst>
                <a:ext uri="{FF2B5EF4-FFF2-40B4-BE49-F238E27FC236}">
                  <a16:creationId xmlns:a16="http://schemas.microsoft.com/office/drawing/2014/main" id="{7E7243CA-C318-CFBD-752B-3ECB9C85005E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Полилиния: фигура 85">
              <a:extLst>
                <a:ext uri="{FF2B5EF4-FFF2-40B4-BE49-F238E27FC236}">
                  <a16:creationId xmlns:a16="http://schemas.microsoft.com/office/drawing/2014/main" id="{C0D6D19C-8414-5B25-9FF2-68CCA3C32376}"/>
                </a:ext>
              </a:extLst>
            </p:cNvPr>
            <p:cNvSpPr/>
            <p:nvPr/>
          </p:nvSpPr>
          <p:spPr>
            <a:xfrm>
              <a:off x="10477475" y="122466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Полилиния: фигура 87">
              <a:extLst>
                <a:ext uri="{FF2B5EF4-FFF2-40B4-BE49-F238E27FC236}">
                  <a16:creationId xmlns:a16="http://schemas.microsoft.com/office/drawing/2014/main" id="{9318107F-7C68-343C-164E-A2DABF4D6B11}"/>
                </a:ext>
              </a:extLst>
            </p:cNvPr>
            <p:cNvSpPr/>
            <p:nvPr/>
          </p:nvSpPr>
          <p:spPr>
            <a:xfrm rot="5400000">
              <a:off x="1121212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Полилиния: фигура 91">
              <a:extLst>
                <a:ext uri="{FF2B5EF4-FFF2-40B4-BE49-F238E27FC236}">
                  <a16:creationId xmlns:a16="http://schemas.microsoft.com/office/drawing/2014/main" id="{8F76CF08-4CE0-BDAB-FAC1-DEA5A1118CE7}"/>
                </a:ext>
              </a:extLst>
            </p:cNvPr>
            <p:cNvSpPr/>
            <p:nvPr/>
          </p:nvSpPr>
          <p:spPr>
            <a:xfrm>
              <a:off x="1144945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2" name="Группа 136">
              <a:extLst>
                <a:ext uri="{FF2B5EF4-FFF2-40B4-BE49-F238E27FC236}">
                  <a16:creationId xmlns:a16="http://schemas.microsoft.com/office/drawing/2014/main" id="{4748D860-3CD8-49C3-3166-E2B8CE443A34}"/>
                </a:ext>
              </a:extLst>
            </p:cNvPr>
            <p:cNvGrpSpPr/>
            <p:nvPr/>
          </p:nvGrpSpPr>
          <p:grpSpPr>
            <a:xfrm>
              <a:off x="11393801" y="1597449"/>
              <a:ext cx="523658" cy="198686"/>
              <a:chOff x="11393801" y="1597449"/>
              <a:chExt cx="523658" cy="198686"/>
            </a:xfrm>
          </p:grpSpPr>
          <p:sp>
            <p:nvSpPr>
              <p:cNvPr id="238" name="Полилиния: фигура 90">
                <a:extLst>
                  <a:ext uri="{FF2B5EF4-FFF2-40B4-BE49-F238E27FC236}">
                    <a16:creationId xmlns:a16="http://schemas.microsoft.com/office/drawing/2014/main" id="{33AE071A-B5EC-184F-2257-0BE906262B02}"/>
                  </a:ext>
                </a:extLst>
              </p:cNvPr>
              <p:cNvSpPr/>
              <p:nvPr userDrawn="1"/>
            </p:nvSpPr>
            <p:spPr>
              <a:xfrm>
                <a:off x="11393801" y="1597449"/>
                <a:ext cx="300576" cy="198686"/>
              </a:xfrm>
              <a:custGeom>
                <a:avLst/>
                <a:gdLst>
                  <a:gd name="connsiteX0" fmla="*/ -310 w 300576"/>
                  <a:gd name="connsiteY0" fmla="*/ -240 h 198686"/>
                  <a:gd name="connsiteX1" fmla="*/ 300267 w 300576"/>
                  <a:gd name="connsiteY1" fmla="*/ 198446 h 198686"/>
                  <a:gd name="connsiteX2" fmla="*/ -310 w 300576"/>
                  <a:gd name="connsiteY2" fmla="*/ -240 h 19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576" h="198686">
                    <a:moveTo>
                      <a:pt x="-310" y="-240"/>
                    </a:moveTo>
                    <a:cubicBezTo>
                      <a:pt x="51028" y="120255"/>
                      <a:pt x="169279" y="198466"/>
                      <a:pt x="300267" y="198446"/>
                    </a:cubicBezTo>
                    <a:cubicBezTo>
                      <a:pt x="248930" y="77951"/>
                      <a:pt x="130678" y="-259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Полилиния: фигура 92">
                <a:extLst>
                  <a:ext uri="{FF2B5EF4-FFF2-40B4-BE49-F238E27FC236}">
                    <a16:creationId xmlns:a16="http://schemas.microsoft.com/office/drawing/2014/main" id="{7F605E93-15E8-0197-4A45-5CB6613358C5}"/>
                  </a:ext>
                </a:extLst>
              </p:cNvPr>
              <p:cNvSpPr/>
              <p:nvPr userDrawn="1"/>
            </p:nvSpPr>
            <p:spPr>
              <a:xfrm>
                <a:off x="11694378" y="1652509"/>
                <a:ext cx="223081" cy="143625"/>
              </a:xfrm>
              <a:custGeom>
                <a:avLst/>
                <a:gdLst>
                  <a:gd name="connsiteX0" fmla="*/ -310 w 223081"/>
                  <a:gd name="connsiteY0" fmla="*/ 143386 h 143625"/>
                  <a:gd name="connsiteX1" fmla="*/ 222771 w 223081"/>
                  <a:gd name="connsiteY1" fmla="*/ -240 h 143625"/>
                  <a:gd name="connsiteX2" fmla="*/ -310 w 223081"/>
                  <a:gd name="connsiteY2" fmla="*/ 143386 h 14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081" h="143625">
                    <a:moveTo>
                      <a:pt x="-310" y="143386"/>
                    </a:moveTo>
                    <a:cubicBezTo>
                      <a:pt x="95801" y="143415"/>
                      <a:pt x="182994" y="87248"/>
                      <a:pt x="222771" y="-240"/>
                    </a:cubicBezTo>
                    <a:cubicBezTo>
                      <a:pt x="126661" y="-270"/>
                      <a:pt x="39467" y="55897"/>
                      <a:pt x="-310" y="143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" name="Полилиния: фигура 89">
              <a:extLst>
                <a:ext uri="{FF2B5EF4-FFF2-40B4-BE49-F238E27FC236}">
                  <a16:creationId xmlns:a16="http://schemas.microsoft.com/office/drawing/2014/main" id="{54DC7FAB-EE34-8839-AD62-9DFA1B0EDFB3}"/>
                </a:ext>
              </a:extLst>
            </p:cNvPr>
            <p:cNvSpPr/>
            <p:nvPr/>
          </p:nvSpPr>
          <p:spPr>
            <a:xfrm>
              <a:off x="1157191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Полилиния: фигура 94">
              <a:extLst>
                <a:ext uri="{FF2B5EF4-FFF2-40B4-BE49-F238E27FC236}">
                  <a16:creationId xmlns:a16="http://schemas.microsoft.com/office/drawing/2014/main" id="{07126D8E-FA74-0C18-3599-8D18AC06DC1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Полилиния: фигура 95">
              <a:extLst>
                <a:ext uri="{FF2B5EF4-FFF2-40B4-BE49-F238E27FC236}">
                  <a16:creationId xmlns:a16="http://schemas.microsoft.com/office/drawing/2014/main" id="{9A1A78D4-29DC-474D-98E7-A92F4B0A90CD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Полилиния: фигура 96">
              <a:extLst>
                <a:ext uri="{FF2B5EF4-FFF2-40B4-BE49-F238E27FC236}">
                  <a16:creationId xmlns:a16="http://schemas.microsoft.com/office/drawing/2014/main" id="{D6A7AA67-C7B4-4520-EBCD-AF8BE1AD1198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Полилиния: фигура 97">
              <a:extLst>
                <a:ext uri="{FF2B5EF4-FFF2-40B4-BE49-F238E27FC236}">
                  <a16:creationId xmlns:a16="http://schemas.microsoft.com/office/drawing/2014/main" id="{D20415EB-ED5E-5235-0EAE-2EAF652432C0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Полилиния: фигура 99">
              <a:extLst>
                <a:ext uri="{FF2B5EF4-FFF2-40B4-BE49-F238E27FC236}">
                  <a16:creationId xmlns:a16="http://schemas.microsoft.com/office/drawing/2014/main" id="{152FC6B9-D657-0563-6A0C-099048BB738D}"/>
                </a:ext>
              </a:extLst>
            </p:cNvPr>
            <p:cNvSpPr/>
            <p:nvPr/>
          </p:nvSpPr>
          <p:spPr>
            <a:xfrm>
              <a:off x="8886079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Полилиния: фигура 100">
              <a:extLst>
                <a:ext uri="{FF2B5EF4-FFF2-40B4-BE49-F238E27FC236}">
                  <a16:creationId xmlns:a16="http://schemas.microsoft.com/office/drawing/2014/main" id="{68FA2434-9773-3100-E7E8-ABFD1A4CE02B}"/>
                </a:ext>
              </a:extLst>
            </p:cNvPr>
            <p:cNvSpPr/>
            <p:nvPr/>
          </p:nvSpPr>
          <p:spPr>
            <a:xfrm>
              <a:off x="8396222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Полилиния: фигура 101">
              <a:extLst>
                <a:ext uri="{FF2B5EF4-FFF2-40B4-BE49-F238E27FC236}">
                  <a16:creationId xmlns:a16="http://schemas.microsoft.com/office/drawing/2014/main" id="{98DB10FD-4F0D-930E-0BEB-87ED4C7A2599}"/>
                </a:ext>
              </a:extLst>
            </p:cNvPr>
            <p:cNvSpPr/>
            <p:nvPr/>
          </p:nvSpPr>
          <p:spPr>
            <a:xfrm>
              <a:off x="8886079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Полилиния: фигура 102">
              <a:extLst>
                <a:ext uri="{FF2B5EF4-FFF2-40B4-BE49-F238E27FC236}">
                  <a16:creationId xmlns:a16="http://schemas.microsoft.com/office/drawing/2014/main" id="{804A6F9D-B6D0-ABAE-F6D4-C39115C3EE49}"/>
                </a:ext>
              </a:extLst>
            </p:cNvPr>
            <p:cNvSpPr/>
            <p:nvPr/>
          </p:nvSpPr>
          <p:spPr>
            <a:xfrm>
              <a:off x="8641150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Полилиния: фигура 103">
              <a:extLst>
                <a:ext uri="{FF2B5EF4-FFF2-40B4-BE49-F238E27FC236}">
                  <a16:creationId xmlns:a16="http://schemas.microsoft.com/office/drawing/2014/main" id="{DBE9AE2F-8403-94CC-6FA2-45F66F486747}"/>
                </a:ext>
              </a:extLst>
            </p:cNvPr>
            <p:cNvSpPr/>
            <p:nvPr/>
          </p:nvSpPr>
          <p:spPr>
            <a:xfrm>
              <a:off x="8396222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Полилиния: фигура 105">
              <a:extLst>
                <a:ext uri="{FF2B5EF4-FFF2-40B4-BE49-F238E27FC236}">
                  <a16:creationId xmlns:a16="http://schemas.microsoft.com/office/drawing/2014/main" id="{221F817F-7EC3-54E3-C932-F09C8401708B}"/>
                </a:ext>
              </a:extLst>
            </p:cNvPr>
            <p:cNvSpPr/>
            <p:nvPr userDrawn="1"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Полилиния: фигура 106">
              <a:extLst>
                <a:ext uri="{FF2B5EF4-FFF2-40B4-BE49-F238E27FC236}">
                  <a16:creationId xmlns:a16="http://schemas.microsoft.com/office/drawing/2014/main" id="{CF9A9883-D805-017B-FC4D-85501BEA2102}"/>
                </a:ext>
              </a:extLst>
            </p:cNvPr>
            <p:cNvSpPr/>
            <p:nvPr userDrawn="1"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Полилиния: фигура 107">
              <a:extLst>
                <a:ext uri="{FF2B5EF4-FFF2-40B4-BE49-F238E27FC236}">
                  <a16:creationId xmlns:a16="http://schemas.microsoft.com/office/drawing/2014/main" id="{DC063878-F546-B7EE-03D8-FB173F2E2DC5}"/>
                </a:ext>
              </a:extLst>
            </p:cNvPr>
            <p:cNvSpPr/>
            <p:nvPr userDrawn="1"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Полилиния: фигура 108">
              <a:extLst>
                <a:ext uri="{FF2B5EF4-FFF2-40B4-BE49-F238E27FC236}">
                  <a16:creationId xmlns:a16="http://schemas.microsoft.com/office/drawing/2014/main" id="{B1DD7367-C17C-4447-675A-13AE0E3EAFE8}"/>
                </a:ext>
              </a:extLst>
            </p:cNvPr>
            <p:cNvSpPr/>
            <p:nvPr userDrawn="1"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Полилиния: фигура 110">
              <a:extLst>
                <a:ext uri="{FF2B5EF4-FFF2-40B4-BE49-F238E27FC236}">
                  <a16:creationId xmlns:a16="http://schemas.microsoft.com/office/drawing/2014/main" id="{11C01802-A229-F95E-4D88-5A0B0E4362C3}"/>
                </a:ext>
              </a:extLst>
            </p:cNvPr>
            <p:cNvSpPr/>
            <p:nvPr/>
          </p:nvSpPr>
          <p:spPr>
            <a:xfrm rot="16200000">
              <a:off x="10229248" y="1955232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Полилиния: фигура 111">
              <a:extLst>
                <a:ext uri="{FF2B5EF4-FFF2-40B4-BE49-F238E27FC236}">
                  <a16:creationId xmlns:a16="http://schemas.microsoft.com/office/drawing/2014/main" id="{4CF64195-5C84-6E06-EA28-632701FF62FA}"/>
                </a:ext>
              </a:extLst>
            </p:cNvPr>
            <p:cNvSpPr/>
            <p:nvPr/>
          </p:nvSpPr>
          <p:spPr>
            <a:xfrm>
              <a:off x="10218043" y="2449310"/>
              <a:ext cx="499188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Полилиния: фигура 112">
              <a:extLst>
                <a:ext uri="{FF2B5EF4-FFF2-40B4-BE49-F238E27FC236}">
                  <a16:creationId xmlns:a16="http://schemas.microsoft.com/office/drawing/2014/main" id="{A232DDF6-FFE9-4A7C-95FA-78B6B0B68787}"/>
                </a:ext>
              </a:extLst>
            </p:cNvPr>
            <p:cNvSpPr/>
            <p:nvPr/>
          </p:nvSpPr>
          <p:spPr>
            <a:xfrm>
              <a:off x="10218043" y="1956342"/>
              <a:ext cx="499188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Полилиния: фигура 113">
              <a:extLst>
                <a:ext uri="{FF2B5EF4-FFF2-40B4-BE49-F238E27FC236}">
                  <a16:creationId xmlns:a16="http://schemas.microsoft.com/office/drawing/2014/main" id="{F87E652F-7893-9F92-6C7A-03C586308241}"/>
                </a:ext>
              </a:extLst>
            </p:cNvPr>
            <p:cNvSpPr/>
            <p:nvPr/>
          </p:nvSpPr>
          <p:spPr>
            <a:xfrm>
              <a:off x="10722404" y="195634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Полилиния: фигура 114">
              <a:extLst>
                <a:ext uri="{FF2B5EF4-FFF2-40B4-BE49-F238E27FC236}">
                  <a16:creationId xmlns:a16="http://schemas.microsoft.com/office/drawing/2014/main" id="{E52A84F5-A190-3CBA-533E-1D627B7406C3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Полилиния: фигура 116">
              <a:extLst>
                <a:ext uri="{FF2B5EF4-FFF2-40B4-BE49-F238E27FC236}">
                  <a16:creationId xmlns:a16="http://schemas.microsoft.com/office/drawing/2014/main" id="{8020401A-CB1E-7102-5C24-F4A4AA6155A6}"/>
                </a:ext>
              </a:extLst>
            </p:cNvPr>
            <p:cNvSpPr/>
            <p:nvPr/>
          </p:nvSpPr>
          <p:spPr>
            <a:xfrm rot="16200000">
              <a:off x="10229248" y="2927837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3" name="Группа 142">
              <a:extLst>
                <a:ext uri="{FF2B5EF4-FFF2-40B4-BE49-F238E27FC236}">
                  <a16:creationId xmlns:a16="http://schemas.microsoft.com/office/drawing/2014/main" id="{55BFAE82-8F16-9F3B-4729-653EB69CB0F7}"/>
                </a:ext>
              </a:extLst>
            </p:cNvPr>
            <p:cNvGrpSpPr/>
            <p:nvPr/>
          </p:nvGrpSpPr>
          <p:grpSpPr>
            <a:xfrm>
              <a:off x="10562417" y="3072801"/>
              <a:ext cx="240030" cy="160281"/>
              <a:chOff x="10562417" y="3072801"/>
              <a:chExt cx="240030" cy="160281"/>
            </a:xfrm>
          </p:grpSpPr>
          <p:sp>
            <p:nvSpPr>
              <p:cNvPr id="236" name="Полилиния: фигура 117">
                <a:extLst>
                  <a:ext uri="{FF2B5EF4-FFF2-40B4-BE49-F238E27FC236}">
                    <a16:creationId xmlns:a16="http://schemas.microsoft.com/office/drawing/2014/main" id="{A881E735-97A3-0633-9C8E-4D7471867FE6}"/>
                  </a:ext>
                </a:extLst>
              </p:cNvPr>
              <p:cNvSpPr/>
              <p:nvPr userDrawn="1"/>
            </p:nvSpPr>
            <p:spPr>
              <a:xfrm>
                <a:off x="10722404" y="3152843"/>
                <a:ext cx="80043" cy="80238"/>
              </a:xfrm>
              <a:custGeom>
                <a:avLst/>
                <a:gdLst>
                  <a:gd name="connsiteX0" fmla="*/ 79733 w 80043"/>
                  <a:gd name="connsiteY0" fmla="*/ -240 h 80238"/>
                  <a:gd name="connsiteX1" fmla="*/ -310 w 80043"/>
                  <a:gd name="connsiteY1" fmla="*/ 79607 h 80238"/>
                  <a:gd name="connsiteX2" fmla="*/ -310 w 80043"/>
                  <a:gd name="connsiteY2" fmla="*/ 79999 h 80238"/>
                  <a:gd name="connsiteX3" fmla="*/ 79733 w 80043"/>
                  <a:gd name="connsiteY3" fmla="*/ 152 h 80238"/>
                  <a:gd name="connsiteX4" fmla="*/ 79733 w 80043"/>
                  <a:gd name="connsiteY4" fmla="*/ -240 h 8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43" h="80238">
                    <a:moveTo>
                      <a:pt x="79733" y="-240"/>
                    </a:moveTo>
                    <a:cubicBezTo>
                      <a:pt x="35548" y="-299"/>
                      <a:pt x="-212" y="35451"/>
                      <a:pt x="-310" y="79607"/>
                    </a:cubicBezTo>
                    <a:cubicBezTo>
                      <a:pt x="-310" y="79734"/>
                      <a:pt x="-310" y="79871"/>
                      <a:pt x="-310" y="79999"/>
                    </a:cubicBezTo>
                    <a:cubicBezTo>
                      <a:pt x="43875" y="80057"/>
                      <a:pt x="79635" y="44308"/>
                      <a:pt x="79733" y="152"/>
                    </a:cubicBezTo>
                    <a:cubicBezTo>
                      <a:pt x="79733" y="24"/>
                      <a:pt x="79733" y="-113"/>
                      <a:pt x="79733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Полилиния: фигура 118">
                <a:extLst>
                  <a:ext uri="{FF2B5EF4-FFF2-40B4-BE49-F238E27FC236}">
                    <a16:creationId xmlns:a16="http://schemas.microsoft.com/office/drawing/2014/main" id="{DB7BD1C1-1207-FF95-3C79-C6385CC944E7}"/>
                  </a:ext>
                </a:extLst>
              </p:cNvPr>
              <p:cNvSpPr/>
              <p:nvPr userDrawn="1"/>
            </p:nvSpPr>
            <p:spPr>
              <a:xfrm>
                <a:off x="10562417" y="3072801"/>
                <a:ext cx="159987" cy="160281"/>
              </a:xfrm>
              <a:custGeom>
                <a:avLst/>
                <a:gdLst>
                  <a:gd name="connsiteX0" fmla="*/ -310 w 159987"/>
                  <a:gd name="connsiteY0" fmla="*/ -240 h 160281"/>
                  <a:gd name="connsiteX1" fmla="*/ 159383 w 159987"/>
                  <a:gd name="connsiteY1" fmla="*/ 160041 h 160281"/>
                  <a:gd name="connsiteX2" fmla="*/ 159677 w 159987"/>
                  <a:gd name="connsiteY2" fmla="*/ 160041 h 160281"/>
                  <a:gd name="connsiteX3" fmla="*/ -17 w 159987"/>
                  <a:gd name="connsiteY3" fmla="*/ -240 h 160281"/>
                  <a:gd name="connsiteX4" fmla="*/ -310 w 159987"/>
                  <a:gd name="connsiteY4" fmla="*/ -240 h 1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987" h="160281">
                    <a:moveTo>
                      <a:pt x="-310" y="-240"/>
                    </a:moveTo>
                    <a:cubicBezTo>
                      <a:pt x="-506" y="88120"/>
                      <a:pt x="71013" y="159874"/>
                      <a:pt x="159383" y="160041"/>
                    </a:cubicBezTo>
                    <a:cubicBezTo>
                      <a:pt x="159481" y="160041"/>
                      <a:pt x="159579" y="160041"/>
                      <a:pt x="159677" y="160041"/>
                    </a:cubicBezTo>
                    <a:cubicBezTo>
                      <a:pt x="159873" y="71681"/>
                      <a:pt x="88354" y="-74"/>
                      <a:pt x="-17" y="-240"/>
                    </a:cubicBezTo>
                    <a:cubicBezTo>
                      <a:pt x="-115" y="-240"/>
                      <a:pt x="-212" y="-240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4" name="Полилиния: фигура 119">
              <a:extLst>
                <a:ext uri="{FF2B5EF4-FFF2-40B4-BE49-F238E27FC236}">
                  <a16:creationId xmlns:a16="http://schemas.microsoft.com/office/drawing/2014/main" id="{9AB5CFF2-BC5D-D96E-96E9-9F3FEBE273D3}"/>
                </a:ext>
              </a:extLst>
            </p:cNvPr>
            <p:cNvSpPr/>
            <p:nvPr/>
          </p:nvSpPr>
          <p:spPr>
            <a:xfrm>
              <a:off x="10579947" y="3232812"/>
              <a:ext cx="284927" cy="503156"/>
            </a:xfrm>
            <a:custGeom>
              <a:avLst/>
              <a:gdLst>
                <a:gd name="connsiteX0" fmla="*/ 142147 w 284927"/>
                <a:gd name="connsiteY0" fmla="*/ 502917 h 503156"/>
                <a:gd name="connsiteX1" fmla="*/ 284206 w 284927"/>
                <a:gd name="connsiteY1" fmla="*/ 134152 h 503156"/>
                <a:gd name="connsiteX2" fmla="*/ 89 w 284927"/>
                <a:gd name="connsiteY2" fmla="*/ 134152 h 503156"/>
                <a:gd name="connsiteX3" fmla="*/ 142147 w 284927"/>
                <a:gd name="connsiteY3" fmla="*/ 502917 h 5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27" h="503156">
                  <a:moveTo>
                    <a:pt x="142147" y="502917"/>
                  </a:moveTo>
                  <a:cubicBezTo>
                    <a:pt x="238355" y="404857"/>
                    <a:pt x="289790" y="271410"/>
                    <a:pt x="284206" y="134152"/>
                  </a:cubicBezTo>
                  <a:cubicBezTo>
                    <a:pt x="277543" y="-45037"/>
                    <a:pt x="6848" y="-45037"/>
                    <a:pt x="89" y="134152"/>
                  </a:cubicBezTo>
                  <a:cubicBezTo>
                    <a:pt x="-5398" y="271400"/>
                    <a:pt x="45940" y="404837"/>
                    <a:pt x="142147" y="502917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Полилиния: фигура 121">
              <a:extLst>
                <a:ext uri="{FF2B5EF4-FFF2-40B4-BE49-F238E27FC236}">
                  <a16:creationId xmlns:a16="http://schemas.microsoft.com/office/drawing/2014/main" id="{5724ABB9-23F9-557B-640F-4EDA08185EA2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Полилиния: фигура 122">
              <a:extLst>
                <a:ext uri="{FF2B5EF4-FFF2-40B4-BE49-F238E27FC236}">
                  <a16:creationId xmlns:a16="http://schemas.microsoft.com/office/drawing/2014/main" id="{2E6D9482-2CA0-8F16-ADC6-1839E26E999F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Полилиния: фигура 123">
              <a:extLst>
                <a:ext uri="{FF2B5EF4-FFF2-40B4-BE49-F238E27FC236}">
                  <a16:creationId xmlns:a16="http://schemas.microsoft.com/office/drawing/2014/main" id="{32880002-40DF-0E72-E8B9-259EBD329D29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Полилиния: фигура 125">
              <a:extLst>
                <a:ext uri="{FF2B5EF4-FFF2-40B4-BE49-F238E27FC236}">
                  <a16:creationId xmlns:a16="http://schemas.microsoft.com/office/drawing/2014/main" id="{7C23478D-CA78-9564-4653-E6EE3B7F9873}"/>
                </a:ext>
              </a:extLst>
            </p:cNvPr>
            <p:cNvSpPr/>
            <p:nvPr/>
          </p:nvSpPr>
          <p:spPr>
            <a:xfrm>
              <a:off x="11701548" y="440093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Полилиния: фигура 126">
              <a:extLst>
                <a:ext uri="{FF2B5EF4-FFF2-40B4-BE49-F238E27FC236}">
                  <a16:creationId xmlns:a16="http://schemas.microsoft.com/office/drawing/2014/main" id="{880455E5-D941-01B7-2E0B-428B3E1168AF}"/>
                </a:ext>
              </a:extLst>
            </p:cNvPr>
            <p:cNvSpPr/>
            <p:nvPr/>
          </p:nvSpPr>
          <p:spPr>
            <a:xfrm>
              <a:off x="11211691" y="391107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Полилиния: фигура 127">
              <a:extLst>
                <a:ext uri="{FF2B5EF4-FFF2-40B4-BE49-F238E27FC236}">
                  <a16:creationId xmlns:a16="http://schemas.microsoft.com/office/drawing/2014/main" id="{97F171CD-74ED-E86B-FCA3-2D8AB57BCA8F}"/>
                </a:ext>
              </a:extLst>
            </p:cNvPr>
            <p:cNvSpPr/>
            <p:nvPr/>
          </p:nvSpPr>
          <p:spPr>
            <a:xfrm>
              <a:off x="11701548" y="391107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Полилиния: фигура 128">
              <a:extLst>
                <a:ext uri="{FF2B5EF4-FFF2-40B4-BE49-F238E27FC236}">
                  <a16:creationId xmlns:a16="http://schemas.microsoft.com/office/drawing/2014/main" id="{6B5C7B98-9AF3-A3C5-CC56-1F8415A3BBFA}"/>
                </a:ext>
              </a:extLst>
            </p:cNvPr>
            <p:cNvSpPr/>
            <p:nvPr/>
          </p:nvSpPr>
          <p:spPr>
            <a:xfrm>
              <a:off x="11211691" y="440093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Полилиния: фигура 130">
              <a:extLst>
                <a:ext uri="{FF2B5EF4-FFF2-40B4-BE49-F238E27FC236}">
                  <a16:creationId xmlns:a16="http://schemas.microsoft.com/office/drawing/2014/main" id="{E7E3018D-75B7-25D3-F819-65B4866C5B11}"/>
                </a:ext>
              </a:extLst>
            </p:cNvPr>
            <p:cNvSpPr/>
            <p:nvPr/>
          </p:nvSpPr>
          <p:spPr>
            <a:xfrm>
              <a:off x="7564294" y="1321178"/>
              <a:ext cx="437931" cy="274907"/>
            </a:xfrm>
            <a:custGeom>
              <a:avLst/>
              <a:gdLst>
                <a:gd name="connsiteX0" fmla="*/ 297270 w 437931"/>
                <a:gd name="connsiteY0" fmla="*/ 274668 h 274907"/>
                <a:gd name="connsiteX1" fmla="*/ 134245 w 437931"/>
                <a:gd name="connsiteY1" fmla="*/ 274668 h 274907"/>
                <a:gd name="connsiteX2" fmla="*/ -3207 w 437931"/>
                <a:gd name="connsiteY2" fmla="*/ 137214 h 274907"/>
                <a:gd name="connsiteX3" fmla="*/ 134245 w 437931"/>
                <a:gd name="connsiteY3" fmla="*/ -240 h 274907"/>
                <a:gd name="connsiteX4" fmla="*/ 297270 w 437931"/>
                <a:gd name="connsiteY4" fmla="*/ -240 h 274907"/>
                <a:gd name="connsiteX5" fmla="*/ 434725 w 437931"/>
                <a:gd name="connsiteY5" fmla="*/ 137214 h 274907"/>
                <a:gd name="connsiteX6" fmla="*/ 297270 w 437931"/>
                <a:gd name="connsiteY6" fmla="*/ 274668 h 27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931" h="274907">
                  <a:moveTo>
                    <a:pt x="297270" y="274668"/>
                  </a:moveTo>
                  <a:lnTo>
                    <a:pt x="134245" y="274668"/>
                  </a:lnTo>
                  <a:cubicBezTo>
                    <a:pt x="58317" y="274668"/>
                    <a:pt x="-3207" y="213132"/>
                    <a:pt x="-3207" y="137214"/>
                  </a:cubicBezTo>
                  <a:cubicBezTo>
                    <a:pt x="-3207" y="61296"/>
                    <a:pt x="58317" y="-240"/>
                    <a:pt x="134245" y="-240"/>
                  </a:cubicBezTo>
                  <a:lnTo>
                    <a:pt x="297270" y="-240"/>
                  </a:lnTo>
                  <a:cubicBezTo>
                    <a:pt x="373198" y="-240"/>
                    <a:pt x="434725" y="61296"/>
                    <a:pt x="434725" y="137214"/>
                  </a:cubicBezTo>
                  <a:cubicBezTo>
                    <a:pt x="434725" y="213132"/>
                    <a:pt x="373198" y="274668"/>
                    <a:pt x="297270" y="274668"/>
                  </a:cubicBezTo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3" name="Группа 139">
              <a:extLst>
                <a:ext uri="{FF2B5EF4-FFF2-40B4-BE49-F238E27FC236}">
                  <a16:creationId xmlns:a16="http://schemas.microsoft.com/office/drawing/2014/main" id="{C1B504CE-0FB3-5DDF-21DE-5E26A943F780}"/>
                </a:ext>
              </a:extLst>
            </p:cNvPr>
            <p:cNvGrpSpPr/>
            <p:nvPr/>
          </p:nvGrpSpPr>
          <p:grpSpPr>
            <a:xfrm>
              <a:off x="7431641" y="1321766"/>
              <a:ext cx="703239" cy="274320"/>
              <a:chOff x="7431641" y="1321766"/>
              <a:chExt cx="703239" cy="274320"/>
            </a:xfrm>
          </p:grpSpPr>
          <p:sp>
            <p:nvSpPr>
              <p:cNvPr id="234" name="Полилиния: фигура 131">
                <a:extLst>
                  <a:ext uri="{FF2B5EF4-FFF2-40B4-BE49-F238E27FC236}">
                    <a16:creationId xmlns:a16="http://schemas.microsoft.com/office/drawing/2014/main" id="{50082B8F-F977-7DDB-6F97-4532406ECC27}"/>
                  </a:ext>
                </a:extLst>
              </p:cNvPr>
              <p:cNvSpPr/>
              <p:nvPr userDrawn="1"/>
            </p:nvSpPr>
            <p:spPr>
              <a:xfrm>
                <a:off x="7997720" y="1321766"/>
                <a:ext cx="137160" cy="274320"/>
              </a:xfrm>
              <a:custGeom>
                <a:avLst/>
                <a:gdLst>
                  <a:gd name="connsiteX0" fmla="*/ 133953 w 137160"/>
                  <a:gd name="connsiteY0" fmla="*/ -240 h 274320"/>
                  <a:gd name="connsiteX1" fmla="*/ -3207 w 137160"/>
                  <a:gd name="connsiteY1" fmla="*/ 136920 h 274320"/>
                  <a:gd name="connsiteX2" fmla="*/ 133953 w 137160"/>
                  <a:gd name="connsiteY2" fmla="*/ 27408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133953" y="-240"/>
                    </a:moveTo>
                    <a:cubicBezTo>
                      <a:pt x="58219" y="-240"/>
                      <a:pt x="-3207" y="61169"/>
                      <a:pt x="-3207" y="136920"/>
                    </a:cubicBezTo>
                    <a:cubicBezTo>
                      <a:pt x="-3207" y="212671"/>
                      <a:pt x="58219" y="274080"/>
                      <a:pt x="133953" y="27408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Полилиния: фигура 132">
                <a:extLst>
                  <a:ext uri="{FF2B5EF4-FFF2-40B4-BE49-F238E27FC236}">
                    <a16:creationId xmlns:a16="http://schemas.microsoft.com/office/drawing/2014/main" id="{3A232097-AB6A-7375-0DA6-83BC51B54CD8}"/>
                  </a:ext>
                </a:extLst>
              </p:cNvPr>
              <p:cNvSpPr/>
              <p:nvPr userDrawn="1"/>
            </p:nvSpPr>
            <p:spPr>
              <a:xfrm>
                <a:off x="7431641" y="1321766"/>
                <a:ext cx="137160" cy="274320"/>
              </a:xfrm>
              <a:custGeom>
                <a:avLst/>
                <a:gdLst>
                  <a:gd name="connsiteX0" fmla="*/ -3207 w 137160"/>
                  <a:gd name="connsiteY0" fmla="*/ 274080 h 274320"/>
                  <a:gd name="connsiteX1" fmla="*/ 133953 w 137160"/>
                  <a:gd name="connsiteY1" fmla="*/ 136920 h 274320"/>
                  <a:gd name="connsiteX2" fmla="*/ -3207 w 137160"/>
                  <a:gd name="connsiteY2" fmla="*/ -24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-3207" y="274080"/>
                    </a:moveTo>
                    <a:cubicBezTo>
                      <a:pt x="72525" y="274080"/>
                      <a:pt x="133953" y="212671"/>
                      <a:pt x="133953" y="136920"/>
                    </a:cubicBezTo>
                    <a:cubicBezTo>
                      <a:pt x="133953" y="61169"/>
                      <a:pt x="72525" y="-240"/>
                      <a:pt x="-3207" y="-2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94780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4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4B5C99-6B51-4E3B-9BD0-40676D4B9B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338554"/>
          </a:xfrm>
        </p:spPr>
        <p:txBody>
          <a:bodyPr vert="horz"/>
          <a:lstStyle/>
          <a:p>
            <a:r>
              <a:rPr lang="ru-RU" dirty="0"/>
              <a:t>Все про претензии</a:t>
            </a:r>
            <a:endParaRPr lang="ru-RU" sz="2200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11100118" y="6548344"/>
            <a:ext cx="521970" cy="215444"/>
          </a:xfrm>
        </p:spPr>
        <p:txBody>
          <a:bodyPr/>
          <a:lstStyle/>
          <a:p>
            <a:fld id="{766344E1-0F76-4023-B180-E4B0CE5660A5}" type="slidenum">
              <a:rPr lang="en-US" smtClean="0"/>
              <a:pPr/>
              <a:t>82</a:t>
            </a:fld>
            <a:endParaRPr lang="en-US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544830" y="2264716"/>
            <a:ext cx="2175124" cy="3016900"/>
            <a:chOff x="576621" y="2269714"/>
            <a:chExt cx="2095458" cy="3016900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CA3DEC8-80E1-0BAC-3A1A-1077F692F014}"/>
                </a:ext>
              </a:extLst>
            </p:cNvPr>
            <p:cNvSpPr txBox="1"/>
            <p:nvPr/>
          </p:nvSpPr>
          <p:spPr>
            <a:xfrm>
              <a:off x="763668" y="3095584"/>
              <a:ext cx="172136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200" dirty="0" smtClean="0"/>
                <a:t>Обнаружение брака</a:t>
              </a:r>
              <a:endParaRPr lang="ru-RU" sz="1200" dirty="0"/>
            </a:p>
          </p:txBody>
        </p:sp>
        <p:grpSp>
          <p:nvGrpSpPr>
            <p:cNvPr id="6" name="Группа 5"/>
            <p:cNvGrpSpPr/>
            <p:nvPr/>
          </p:nvGrpSpPr>
          <p:grpSpPr>
            <a:xfrm>
              <a:off x="576621" y="2269714"/>
              <a:ext cx="2095458" cy="3016900"/>
              <a:chOff x="576621" y="2269714"/>
              <a:chExt cx="2095458" cy="3016900"/>
            </a:xfrm>
          </p:grpSpPr>
          <p:grpSp>
            <p:nvGrpSpPr>
              <p:cNvPr id="35" name="Группа 34">
                <a:extLst>
                  <a:ext uri="{FF2B5EF4-FFF2-40B4-BE49-F238E27FC236}">
                    <a16:creationId xmlns:a16="http://schemas.microsoft.com/office/drawing/2014/main" id="{F4B25B1F-AF17-EE6C-EFAA-7F57F661E991}"/>
                  </a:ext>
                </a:extLst>
              </p:cNvPr>
              <p:cNvGrpSpPr/>
              <p:nvPr/>
            </p:nvGrpSpPr>
            <p:grpSpPr>
              <a:xfrm>
                <a:off x="576621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36" name="Прямоугольник 36">
                  <a:extLst>
                    <a:ext uri="{FF2B5EF4-FFF2-40B4-BE49-F238E27FC236}">
                      <a16:creationId xmlns:a16="http://schemas.microsoft.com/office/drawing/2014/main" id="{1DD3D5EA-E28D-BFAE-0003-6ECED0CD73D5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37" name="Прямая соединительная линия 36">
                  <a:extLst>
                    <a:ext uri="{FF2B5EF4-FFF2-40B4-BE49-F238E27FC236}">
                      <a16:creationId xmlns:a16="http://schemas.microsoft.com/office/drawing/2014/main" id="{F78E17E4-B6EC-FCD1-DE50-9C039168BD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2" name="Овал 181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1273210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184" name="Текст 2">
            <a:extLst>
              <a:ext uri="{FF2B5EF4-FFF2-40B4-BE49-F238E27FC236}">
                <a16:creationId xmlns:a16="http://schemas.microsoft.com/office/drawing/2014/main" id="{2B38C693-911D-4131-8E93-29CC5671D516}"/>
              </a:ext>
            </a:extLst>
          </p:cNvPr>
          <p:cNvSpPr txBox="1">
            <a:spLocks/>
          </p:cNvSpPr>
          <p:nvPr/>
        </p:nvSpPr>
        <p:spPr>
          <a:xfrm>
            <a:off x="571500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1</a:t>
            </a:r>
          </a:p>
        </p:txBody>
      </p:sp>
      <p:sp>
        <p:nvSpPr>
          <p:cNvPr id="76" name="Текст 2">
            <a:extLst>
              <a:ext uri="{FF2B5EF4-FFF2-40B4-BE49-F238E27FC236}">
                <a16:creationId xmlns:a16="http://schemas.microsoft.com/office/drawing/2014/main" id="{81DE2CE4-D72F-D5BC-7577-2B164F6B1F6F}"/>
              </a:ext>
            </a:extLst>
          </p:cNvPr>
          <p:cNvSpPr txBox="1">
            <a:spLocks/>
          </p:cNvSpPr>
          <p:nvPr/>
        </p:nvSpPr>
        <p:spPr>
          <a:xfrm>
            <a:off x="2628900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2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2848714" y="2275888"/>
            <a:ext cx="2095458" cy="3005728"/>
            <a:chOff x="5051625" y="2280886"/>
            <a:chExt cx="2095458" cy="3005728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FC7BDBD-AD4F-C856-7FAF-5935F32B2320}"/>
                </a:ext>
              </a:extLst>
            </p:cNvPr>
            <p:cNvSpPr txBox="1"/>
            <p:nvPr/>
          </p:nvSpPr>
          <p:spPr>
            <a:xfrm>
              <a:off x="5215436" y="3239692"/>
              <a:ext cx="172136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2FCBFF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ru-RU" sz="1200" b="0" dirty="0" smtClean="0"/>
                <a:t>Информирование отдела качества</a:t>
              </a:r>
              <a:endParaRPr lang="ru-RU" sz="1200" b="0" dirty="0"/>
            </a:p>
          </p:txBody>
        </p:sp>
        <p:grpSp>
          <p:nvGrpSpPr>
            <p:cNvPr id="13" name="Группа 12"/>
            <p:cNvGrpSpPr/>
            <p:nvPr/>
          </p:nvGrpSpPr>
          <p:grpSpPr>
            <a:xfrm>
              <a:off x="5051625" y="2280886"/>
              <a:ext cx="2095458" cy="3005728"/>
              <a:chOff x="5051625" y="2280886"/>
              <a:chExt cx="2095458" cy="3005728"/>
            </a:xfrm>
          </p:grpSpPr>
          <p:grpSp>
            <p:nvGrpSpPr>
              <p:cNvPr id="84" name="Группа 83">
                <a:extLst>
                  <a:ext uri="{FF2B5EF4-FFF2-40B4-BE49-F238E27FC236}">
                    <a16:creationId xmlns:a16="http://schemas.microsoft.com/office/drawing/2014/main" id="{9E37940C-E2B8-BEC0-BB7B-F08FEF070149}"/>
                  </a:ext>
                </a:extLst>
              </p:cNvPr>
              <p:cNvGrpSpPr/>
              <p:nvPr/>
            </p:nvGrpSpPr>
            <p:grpSpPr>
              <a:xfrm>
                <a:off x="5051625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89" name="Прямоугольник 36">
                  <a:extLst>
                    <a:ext uri="{FF2B5EF4-FFF2-40B4-BE49-F238E27FC236}">
                      <a16:creationId xmlns:a16="http://schemas.microsoft.com/office/drawing/2014/main" id="{D78938C7-119D-0C5A-3A0C-2054B3259218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90" name="Прямая соединительная линия 89">
                  <a:extLst>
                    <a:ext uri="{FF2B5EF4-FFF2-40B4-BE49-F238E27FC236}">
                      <a16:creationId xmlns:a16="http://schemas.microsoft.com/office/drawing/2014/main" id="{20BFE763-C2FB-5836-7D77-E1FDF18E30E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7" name="Овал 86">
                <a:extLst>
                  <a:ext uri="{FF2B5EF4-FFF2-40B4-BE49-F238E27FC236}">
                    <a16:creationId xmlns:a16="http://schemas.microsoft.com/office/drawing/2014/main" id="{9B68B848-1D39-3236-D4C4-C93EFAF8BBF5}"/>
                  </a:ext>
                </a:extLst>
              </p:cNvPr>
              <p:cNvSpPr/>
              <p:nvPr/>
            </p:nvSpPr>
            <p:spPr>
              <a:xfrm>
                <a:off x="5792005" y="2280886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86" name="Текст 2">
            <a:extLst>
              <a:ext uri="{FF2B5EF4-FFF2-40B4-BE49-F238E27FC236}">
                <a16:creationId xmlns:a16="http://schemas.microsoft.com/office/drawing/2014/main" id="{2EDD7165-13C6-C99D-AEBE-E23BF4F7A494}"/>
              </a:ext>
            </a:extLst>
          </p:cNvPr>
          <p:cNvSpPr txBox="1">
            <a:spLocks/>
          </p:cNvSpPr>
          <p:nvPr/>
        </p:nvSpPr>
        <p:spPr>
          <a:xfrm>
            <a:off x="4652445" y="1669903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3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5109977" y="2268703"/>
            <a:ext cx="2095458" cy="3016900"/>
            <a:chOff x="7289127" y="2269714"/>
            <a:chExt cx="2095458" cy="3016900"/>
          </a:xfrm>
        </p:grpSpPr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7923C3B7-B632-8FE3-0010-EF2BE244B07B}"/>
                </a:ext>
              </a:extLst>
            </p:cNvPr>
            <p:cNvSpPr txBox="1"/>
            <p:nvPr/>
          </p:nvSpPr>
          <p:spPr>
            <a:xfrm>
              <a:off x="7476174" y="3208533"/>
              <a:ext cx="1721362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2FCBFF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ru-RU" sz="1200" b="0" dirty="0" smtClean="0"/>
                <a:t>Передача рекламации поставщику</a:t>
              </a:r>
              <a:endParaRPr lang="ru-RU" sz="1200" b="0" dirty="0"/>
            </a:p>
          </p:txBody>
        </p:sp>
        <p:grpSp>
          <p:nvGrpSpPr>
            <p:cNvPr id="16" name="Группа 15"/>
            <p:cNvGrpSpPr/>
            <p:nvPr/>
          </p:nvGrpSpPr>
          <p:grpSpPr>
            <a:xfrm>
              <a:off x="7289127" y="2269714"/>
              <a:ext cx="2095458" cy="3016900"/>
              <a:chOff x="7289127" y="2269714"/>
              <a:chExt cx="2095458" cy="3016900"/>
            </a:xfrm>
          </p:grpSpPr>
          <p:grpSp>
            <p:nvGrpSpPr>
              <p:cNvPr id="94" name="Группа 93">
                <a:extLst>
                  <a:ext uri="{FF2B5EF4-FFF2-40B4-BE49-F238E27FC236}">
                    <a16:creationId xmlns:a16="http://schemas.microsoft.com/office/drawing/2014/main" id="{D5F3F11E-6560-0B23-130F-071931B1EEA7}"/>
                  </a:ext>
                </a:extLst>
              </p:cNvPr>
              <p:cNvGrpSpPr/>
              <p:nvPr/>
            </p:nvGrpSpPr>
            <p:grpSpPr>
              <a:xfrm>
                <a:off x="7289127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100" name="Прямоугольник 36">
                  <a:extLst>
                    <a:ext uri="{FF2B5EF4-FFF2-40B4-BE49-F238E27FC236}">
                      <a16:creationId xmlns:a16="http://schemas.microsoft.com/office/drawing/2014/main" id="{75F72633-0CC4-CCB6-98BE-05693F4F567A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01" name="Прямая соединительная линия 100">
                  <a:extLst>
                    <a:ext uri="{FF2B5EF4-FFF2-40B4-BE49-F238E27FC236}">
                      <a16:creationId xmlns:a16="http://schemas.microsoft.com/office/drawing/2014/main" id="{8C93A341-2881-87B6-C415-6E99EB68F1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8" name="Овал 97">
                <a:extLst>
                  <a:ext uri="{FF2B5EF4-FFF2-40B4-BE49-F238E27FC236}">
                    <a16:creationId xmlns:a16="http://schemas.microsoft.com/office/drawing/2014/main" id="{EC84DCAA-475C-0D99-4B11-F2F544F12306}"/>
                  </a:ext>
                </a:extLst>
              </p:cNvPr>
              <p:cNvSpPr/>
              <p:nvPr/>
            </p:nvSpPr>
            <p:spPr>
              <a:xfrm>
                <a:off x="7996995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16C9668F-CC71-ED71-64BD-0BB8E261ACA0}"/>
              </a:ext>
            </a:extLst>
          </p:cNvPr>
          <p:cNvSpPr txBox="1"/>
          <p:nvPr/>
        </p:nvSpPr>
        <p:spPr>
          <a:xfrm>
            <a:off x="7541110" y="3190097"/>
            <a:ext cx="17213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tabLst/>
              <a:defRPr/>
            </a:pPr>
            <a:r>
              <a:rPr lang="ru-RU" sz="1200" dirty="0" smtClean="0"/>
              <a:t>Согласование способа компенсации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7302815" y="2253070"/>
            <a:ext cx="2095458" cy="3016900"/>
            <a:chOff x="9526630" y="2269714"/>
            <a:chExt cx="2095458" cy="3016900"/>
          </a:xfrm>
        </p:grpSpPr>
        <p:grpSp>
          <p:nvGrpSpPr>
            <p:cNvPr id="105" name="Группа 104">
              <a:extLst>
                <a:ext uri="{FF2B5EF4-FFF2-40B4-BE49-F238E27FC236}">
                  <a16:creationId xmlns:a16="http://schemas.microsoft.com/office/drawing/2014/main" id="{1035791F-EF2B-D263-5803-1252057D8D89}"/>
                </a:ext>
              </a:extLst>
            </p:cNvPr>
            <p:cNvGrpSpPr/>
            <p:nvPr/>
          </p:nvGrpSpPr>
          <p:grpSpPr>
            <a:xfrm>
              <a:off x="9526630" y="2576357"/>
              <a:ext cx="2095458" cy="2710257"/>
              <a:chOff x="571500" y="1195342"/>
              <a:chExt cx="11058716" cy="2076165"/>
            </a:xfrm>
          </p:grpSpPr>
          <p:sp>
            <p:nvSpPr>
              <p:cNvPr id="110" name="Прямоугольник 36">
                <a:extLst>
                  <a:ext uri="{FF2B5EF4-FFF2-40B4-BE49-F238E27FC236}">
                    <a16:creationId xmlns:a16="http://schemas.microsoft.com/office/drawing/2014/main" id="{53C30048-E754-6AD2-18D0-ACF2E2BFA9FD}"/>
                  </a:ext>
                </a:extLst>
              </p:cNvPr>
              <p:cNvSpPr/>
              <p:nvPr/>
            </p:nvSpPr>
            <p:spPr>
              <a:xfrm>
                <a:off x="571500" y="1195342"/>
                <a:ext cx="11058711" cy="2076165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8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1" name="Прямая соединительная линия 110">
                <a:extLst>
                  <a:ext uri="{FF2B5EF4-FFF2-40B4-BE49-F238E27FC236}">
                    <a16:creationId xmlns:a16="http://schemas.microsoft.com/office/drawing/2014/main" id="{55D57802-867E-8CDE-74C6-746E8B80AD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500" y="1198562"/>
                <a:ext cx="11058716" cy="0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B1349C9E-117E-7E92-C7A7-1BAE3026288F}"/>
                </a:ext>
              </a:extLst>
            </p:cNvPr>
            <p:cNvSpPr/>
            <p:nvPr/>
          </p:nvSpPr>
          <p:spPr>
            <a:xfrm>
              <a:off x="10234498" y="2269714"/>
              <a:ext cx="630628" cy="632176"/>
            </a:xfrm>
            <a:prstGeom prst="ellipse">
              <a:avLst/>
            </a:prstGeom>
            <a:solidFill>
              <a:schemeClr val="bg1"/>
            </a:solidFill>
            <a:ln w="1111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107" name="Текст 2">
            <a:extLst>
              <a:ext uri="{FF2B5EF4-FFF2-40B4-BE49-F238E27FC236}">
                <a16:creationId xmlns:a16="http://schemas.microsoft.com/office/drawing/2014/main" id="{147D86EC-1F8D-036D-6B4E-1FCB14B14A8F}"/>
              </a:ext>
            </a:extLst>
          </p:cNvPr>
          <p:cNvSpPr txBox="1">
            <a:spLocks/>
          </p:cNvSpPr>
          <p:nvPr/>
        </p:nvSpPr>
        <p:spPr>
          <a:xfrm>
            <a:off x="6973285" y="1646694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 smtClean="0"/>
              <a:t>Результат</a:t>
            </a:r>
            <a:endParaRPr lang="ru-RU" sz="1800" b="1" dirty="0"/>
          </a:p>
        </p:txBody>
      </p:sp>
      <p:cxnSp>
        <p:nvCxnSpPr>
          <p:cNvPr id="125" name="Прямая со стрелкой 124">
            <a:extLst>
              <a:ext uri="{FF2B5EF4-FFF2-40B4-BE49-F238E27FC236}">
                <a16:creationId xmlns:a16="http://schemas.microsoft.com/office/drawing/2014/main" id="{B356F046-1E16-A643-D522-DF00D30F0EB7}"/>
              </a:ext>
            </a:extLst>
          </p:cNvPr>
          <p:cNvCxnSpPr>
            <a:cxnSpLocks/>
          </p:cNvCxnSpPr>
          <p:nvPr/>
        </p:nvCxnSpPr>
        <p:spPr>
          <a:xfrm>
            <a:off x="6455319" y="1796879"/>
            <a:ext cx="517966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 стрелкой 125">
            <a:extLst>
              <a:ext uri="{FF2B5EF4-FFF2-40B4-BE49-F238E27FC236}">
                <a16:creationId xmlns:a16="http://schemas.microsoft.com/office/drawing/2014/main" id="{6F94BA8C-0639-88F7-32F1-345971724B7E}"/>
              </a:ext>
            </a:extLst>
          </p:cNvPr>
          <p:cNvCxnSpPr>
            <a:cxnSpLocks/>
          </p:cNvCxnSpPr>
          <p:nvPr/>
        </p:nvCxnSpPr>
        <p:spPr>
          <a:xfrm>
            <a:off x="4586100" y="1788615"/>
            <a:ext cx="517966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>
            <a:extLst>
              <a:ext uri="{FF2B5EF4-FFF2-40B4-BE49-F238E27FC236}">
                <a16:creationId xmlns:a16="http://schemas.microsoft.com/office/drawing/2014/main" id="{C3B9DC80-458A-2CA7-D8A6-A89B68805D6A}"/>
              </a:ext>
            </a:extLst>
          </p:cNvPr>
          <p:cNvCxnSpPr>
            <a:cxnSpLocks/>
          </p:cNvCxnSpPr>
          <p:nvPr/>
        </p:nvCxnSpPr>
        <p:spPr>
          <a:xfrm>
            <a:off x="2275810" y="1788615"/>
            <a:ext cx="517966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Рисунок 62">
            <a:extLst>
              <a:ext uri="{FF2B5EF4-FFF2-40B4-BE49-F238E27FC236}">
                <a16:creationId xmlns:a16="http://schemas.microsoft.com/office/drawing/2014/main" id="{DC078C79-B715-4DC8-9FD8-AAA479D87D2B}"/>
              </a:ext>
            </a:extLst>
          </p:cNvPr>
          <p:cNvGrpSpPr/>
          <p:nvPr/>
        </p:nvGrpSpPr>
        <p:grpSpPr>
          <a:xfrm>
            <a:off x="3731853" y="2369318"/>
            <a:ext cx="341266" cy="399679"/>
            <a:chOff x="1837834" y="3389155"/>
            <a:chExt cx="440639" cy="510650"/>
          </a:xfrm>
          <a:solidFill>
            <a:schemeClr val="tx1"/>
          </a:solidFill>
        </p:grpSpPr>
        <p:sp>
          <p:nvSpPr>
            <p:cNvPr id="70" name="Полилиния: фигура 271">
              <a:extLst>
                <a:ext uri="{FF2B5EF4-FFF2-40B4-BE49-F238E27FC236}">
                  <a16:creationId xmlns:a16="http://schemas.microsoft.com/office/drawing/2014/main" id="{C02695D2-6CC9-4D2A-BF18-CDCDF42F2714}"/>
                </a:ext>
              </a:extLst>
            </p:cNvPr>
            <p:cNvSpPr/>
            <p:nvPr/>
          </p:nvSpPr>
          <p:spPr>
            <a:xfrm>
              <a:off x="1837834" y="3668187"/>
              <a:ext cx="440639" cy="231618"/>
            </a:xfrm>
            <a:custGeom>
              <a:avLst/>
              <a:gdLst>
                <a:gd name="connsiteX0" fmla="*/ 220320 w 440639"/>
                <a:gd name="connsiteY0" fmla="*/ 0 h 231618"/>
                <a:gd name="connsiteX1" fmla="*/ 0 w 440639"/>
                <a:gd name="connsiteY1" fmla="*/ 223145 h 231618"/>
                <a:gd name="connsiteX2" fmla="*/ 8474 w 440639"/>
                <a:gd name="connsiteY2" fmla="*/ 231618 h 231618"/>
                <a:gd name="connsiteX3" fmla="*/ 432166 w 440639"/>
                <a:gd name="connsiteY3" fmla="*/ 231618 h 231618"/>
                <a:gd name="connsiteX4" fmla="*/ 440640 w 440639"/>
                <a:gd name="connsiteY4" fmla="*/ 223145 h 231618"/>
                <a:gd name="connsiteX5" fmla="*/ 220320 w 440639"/>
                <a:gd name="connsiteY5" fmla="*/ 0 h 231618"/>
                <a:gd name="connsiteX6" fmla="*/ 232206 w 440639"/>
                <a:gd name="connsiteY6" fmla="*/ 90388 h 231618"/>
                <a:gd name="connsiteX7" fmla="*/ 248419 w 440639"/>
                <a:gd name="connsiteY7" fmla="*/ 214671 h 231618"/>
                <a:gd name="connsiteX8" fmla="*/ 187255 w 440639"/>
                <a:gd name="connsiteY8" fmla="*/ 214671 h 231618"/>
                <a:gd name="connsiteX9" fmla="*/ 204977 w 440639"/>
                <a:gd name="connsiteY9" fmla="*/ 90388 h 231618"/>
                <a:gd name="connsiteX10" fmla="*/ 232206 w 440639"/>
                <a:gd name="connsiteY10" fmla="*/ 90388 h 231618"/>
                <a:gd name="connsiteX11" fmla="*/ 245742 w 440639"/>
                <a:gd name="connsiteY11" fmla="*/ 18614 h 231618"/>
                <a:gd name="connsiteX12" fmla="*/ 245742 w 440639"/>
                <a:gd name="connsiteY12" fmla="*/ 73440 h 231618"/>
                <a:gd name="connsiteX13" fmla="*/ 194898 w 440639"/>
                <a:gd name="connsiteY13" fmla="*/ 73440 h 231618"/>
                <a:gd name="connsiteX14" fmla="*/ 194898 w 440639"/>
                <a:gd name="connsiteY14" fmla="*/ 18614 h 231618"/>
                <a:gd name="connsiteX15" fmla="*/ 220320 w 440639"/>
                <a:gd name="connsiteY15" fmla="*/ 16948 h 231618"/>
                <a:gd name="connsiteX16" fmla="*/ 245742 w 440639"/>
                <a:gd name="connsiteY16" fmla="*/ 18614 h 231618"/>
                <a:gd name="connsiteX17" fmla="*/ 177951 w 440639"/>
                <a:gd name="connsiteY17" fmla="*/ 21495 h 231618"/>
                <a:gd name="connsiteX18" fmla="*/ 177951 w 440639"/>
                <a:gd name="connsiteY18" fmla="*/ 81914 h 231618"/>
                <a:gd name="connsiteX19" fmla="*/ 186425 w 440639"/>
                <a:gd name="connsiteY19" fmla="*/ 90388 h 231618"/>
                <a:gd name="connsiteX20" fmla="*/ 187860 w 440639"/>
                <a:gd name="connsiteY20" fmla="*/ 90388 h 231618"/>
                <a:gd name="connsiteX21" fmla="*/ 170138 w 440639"/>
                <a:gd name="connsiteY21" fmla="*/ 214671 h 231618"/>
                <a:gd name="connsiteX22" fmla="*/ 17117 w 440639"/>
                <a:gd name="connsiteY22" fmla="*/ 214671 h 231618"/>
                <a:gd name="connsiteX23" fmla="*/ 177951 w 440639"/>
                <a:gd name="connsiteY23" fmla="*/ 21495 h 231618"/>
                <a:gd name="connsiteX24" fmla="*/ 265457 w 440639"/>
                <a:gd name="connsiteY24" fmla="*/ 214671 h 231618"/>
                <a:gd name="connsiteX25" fmla="*/ 265440 w 440639"/>
                <a:gd name="connsiteY25" fmla="*/ 214185 h 231618"/>
                <a:gd name="connsiteX26" fmla="*/ 249295 w 440639"/>
                <a:gd name="connsiteY26" fmla="*/ 90388 h 231618"/>
                <a:gd name="connsiteX27" fmla="*/ 254215 w 440639"/>
                <a:gd name="connsiteY27" fmla="*/ 90388 h 231618"/>
                <a:gd name="connsiteX28" fmla="*/ 262689 w 440639"/>
                <a:gd name="connsiteY28" fmla="*/ 81914 h 231618"/>
                <a:gd name="connsiteX29" fmla="*/ 262689 w 440639"/>
                <a:gd name="connsiteY29" fmla="*/ 21495 h 231618"/>
                <a:gd name="connsiteX30" fmla="*/ 423523 w 440639"/>
                <a:gd name="connsiteY30" fmla="*/ 214671 h 231618"/>
                <a:gd name="connsiteX31" fmla="*/ 265457 w 440639"/>
                <a:gd name="connsiteY31" fmla="*/ 214671 h 231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40639" h="231618">
                  <a:moveTo>
                    <a:pt x="220320" y="0"/>
                  </a:moveTo>
                  <a:cubicBezTo>
                    <a:pt x="98833" y="0"/>
                    <a:pt x="0" y="100104"/>
                    <a:pt x="0" y="223145"/>
                  </a:cubicBezTo>
                  <a:cubicBezTo>
                    <a:pt x="0" y="227828"/>
                    <a:pt x="3791" y="231618"/>
                    <a:pt x="8474" y="231618"/>
                  </a:cubicBezTo>
                  <a:lnTo>
                    <a:pt x="432166" y="231618"/>
                  </a:lnTo>
                  <a:cubicBezTo>
                    <a:pt x="436849" y="231618"/>
                    <a:pt x="440640" y="227828"/>
                    <a:pt x="440640" y="223145"/>
                  </a:cubicBezTo>
                  <a:cubicBezTo>
                    <a:pt x="440640" y="100104"/>
                    <a:pt x="341807" y="0"/>
                    <a:pt x="220320" y="0"/>
                  </a:cubicBezTo>
                  <a:close/>
                  <a:moveTo>
                    <a:pt x="232206" y="90388"/>
                  </a:moveTo>
                  <a:lnTo>
                    <a:pt x="248419" y="214671"/>
                  </a:lnTo>
                  <a:lnTo>
                    <a:pt x="187255" y="214671"/>
                  </a:lnTo>
                  <a:lnTo>
                    <a:pt x="204977" y="90388"/>
                  </a:lnTo>
                  <a:lnTo>
                    <a:pt x="232206" y="90388"/>
                  </a:lnTo>
                  <a:close/>
                  <a:moveTo>
                    <a:pt x="245742" y="18614"/>
                  </a:moveTo>
                  <a:lnTo>
                    <a:pt x="245742" y="73440"/>
                  </a:lnTo>
                  <a:lnTo>
                    <a:pt x="194898" y="73440"/>
                  </a:lnTo>
                  <a:lnTo>
                    <a:pt x="194898" y="18614"/>
                  </a:lnTo>
                  <a:cubicBezTo>
                    <a:pt x="203231" y="17552"/>
                    <a:pt x="211705" y="16948"/>
                    <a:pt x="220320" y="16948"/>
                  </a:cubicBezTo>
                  <a:cubicBezTo>
                    <a:pt x="228935" y="16948"/>
                    <a:pt x="237409" y="17552"/>
                    <a:pt x="245742" y="18614"/>
                  </a:cubicBezTo>
                  <a:close/>
                  <a:moveTo>
                    <a:pt x="177951" y="21495"/>
                  </a:moveTo>
                  <a:lnTo>
                    <a:pt x="177951" y="81914"/>
                  </a:lnTo>
                  <a:cubicBezTo>
                    <a:pt x="177951" y="86597"/>
                    <a:pt x="181741" y="90388"/>
                    <a:pt x="186425" y="90388"/>
                  </a:cubicBezTo>
                  <a:lnTo>
                    <a:pt x="187860" y="90388"/>
                  </a:lnTo>
                  <a:lnTo>
                    <a:pt x="170138" y="214671"/>
                  </a:lnTo>
                  <a:lnTo>
                    <a:pt x="17117" y="214671"/>
                  </a:lnTo>
                  <a:cubicBezTo>
                    <a:pt x="20930" y="119476"/>
                    <a:pt x="88721" y="40748"/>
                    <a:pt x="177951" y="21495"/>
                  </a:cubicBezTo>
                  <a:close/>
                  <a:moveTo>
                    <a:pt x="265457" y="214671"/>
                  </a:moveTo>
                  <a:cubicBezTo>
                    <a:pt x="265446" y="214507"/>
                    <a:pt x="265463" y="214349"/>
                    <a:pt x="265440" y="214185"/>
                  </a:cubicBezTo>
                  <a:lnTo>
                    <a:pt x="249295" y="90388"/>
                  </a:lnTo>
                  <a:lnTo>
                    <a:pt x="254215" y="90388"/>
                  </a:lnTo>
                  <a:cubicBezTo>
                    <a:pt x="258899" y="90388"/>
                    <a:pt x="262689" y="86597"/>
                    <a:pt x="262689" y="81914"/>
                  </a:cubicBezTo>
                  <a:lnTo>
                    <a:pt x="262689" y="21495"/>
                  </a:lnTo>
                  <a:cubicBezTo>
                    <a:pt x="351919" y="40748"/>
                    <a:pt x="419710" y="119476"/>
                    <a:pt x="423523" y="214671"/>
                  </a:cubicBezTo>
                  <a:lnTo>
                    <a:pt x="265457" y="21467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Полилиния: фигура 272">
              <a:extLst>
                <a:ext uri="{FF2B5EF4-FFF2-40B4-BE49-F238E27FC236}">
                  <a16:creationId xmlns:a16="http://schemas.microsoft.com/office/drawing/2014/main" id="{69812414-B62B-4CDD-AAD9-22BCEB876610}"/>
                </a:ext>
              </a:extLst>
            </p:cNvPr>
            <p:cNvSpPr/>
            <p:nvPr/>
          </p:nvSpPr>
          <p:spPr>
            <a:xfrm>
              <a:off x="1928222" y="3389155"/>
              <a:ext cx="248566" cy="248566"/>
            </a:xfrm>
            <a:custGeom>
              <a:avLst/>
              <a:gdLst>
                <a:gd name="connsiteX0" fmla="*/ 124255 w 248566"/>
                <a:gd name="connsiteY0" fmla="*/ 248566 h 248566"/>
                <a:gd name="connsiteX1" fmla="*/ 248566 w 248566"/>
                <a:gd name="connsiteY1" fmla="*/ 124277 h 248566"/>
                <a:gd name="connsiteX2" fmla="*/ 124255 w 248566"/>
                <a:gd name="connsiteY2" fmla="*/ 0 h 248566"/>
                <a:gd name="connsiteX3" fmla="*/ 0 w 248566"/>
                <a:gd name="connsiteY3" fmla="*/ 124277 h 248566"/>
                <a:gd name="connsiteX4" fmla="*/ 124255 w 248566"/>
                <a:gd name="connsiteY4" fmla="*/ 248566 h 248566"/>
                <a:gd name="connsiteX5" fmla="*/ 124255 w 248566"/>
                <a:gd name="connsiteY5" fmla="*/ 16948 h 248566"/>
                <a:gd name="connsiteX6" fmla="*/ 231618 w 248566"/>
                <a:gd name="connsiteY6" fmla="*/ 124277 h 248566"/>
                <a:gd name="connsiteX7" fmla="*/ 124255 w 248566"/>
                <a:gd name="connsiteY7" fmla="*/ 231618 h 248566"/>
                <a:gd name="connsiteX8" fmla="*/ 16948 w 248566"/>
                <a:gd name="connsiteY8" fmla="*/ 124277 h 248566"/>
                <a:gd name="connsiteX9" fmla="*/ 124255 w 248566"/>
                <a:gd name="connsiteY9" fmla="*/ 16948 h 248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8566" h="248566">
                  <a:moveTo>
                    <a:pt x="124255" y="248566"/>
                  </a:moveTo>
                  <a:cubicBezTo>
                    <a:pt x="192797" y="248566"/>
                    <a:pt x="248566" y="192808"/>
                    <a:pt x="248566" y="124277"/>
                  </a:cubicBezTo>
                  <a:cubicBezTo>
                    <a:pt x="248566" y="55752"/>
                    <a:pt x="192797" y="0"/>
                    <a:pt x="124255" y="0"/>
                  </a:cubicBezTo>
                  <a:cubicBezTo>
                    <a:pt x="55741" y="0"/>
                    <a:pt x="0" y="55752"/>
                    <a:pt x="0" y="124277"/>
                  </a:cubicBezTo>
                  <a:cubicBezTo>
                    <a:pt x="0" y="192814"/>
                    <a:pt x="55741" y="248566"/>
                    <a:pt x="124255" y="248566"/>
                  </a:cubicBezTo>
                  <a:close/>
                  <a:moveTo>
                    <a:pt x="124255" y="16948"/>
                  </a:moveTo>
                  <a:cubicBezTo>
                    <a:pt x="183453" y="16948"/>
                    <a:pt x="231618" y="65096"/>
                    <a:pt x="231618" y="124277"/>
                  </a:cubicBezTo>
                  <a:cubicBezTo>
                    <a:pt x="231618" y="183464"/>
                    <a:pt x="183459" y="231618"/>
                    <a:pt x="124255" y="231618"/>
                  </a:cubicBezTo>
                  <a:cubicBezTo>
                    <a:pt x="65085" y="231618"/>
                    <a:pt x="16948" y="183464"/>
                    <a:pt x="16948" y="124277"/>
                  </a:cubicBezTo>
                  <a:cubicBezTo>
                    <a:pt x="16948" y="65096"/>
                    <a:pt x="65085" y="16948"/>
                    <a:pt x="124255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1" name="Рисунок 35">
            <a:extLst>
              <a:ext uri="{FF2B5EF4-FFF2-40B4-BE49-F238E27FC236}">
                <a16:creationId xmlns:a16="http://schemas.microsoft.com/office/drawing/2014/main" id="{30974DF6-B4F2-4CD2-8272-D3B42BAD864C}"/>
              </a:ext>
            </a:extLst>
          </p:cNvPr>
          <p:cNvGrpSpPr/>
          <p:nvPr/>
        </p:nvGrpSpPr>
        <p:grpSpPr>
          <a:xfrm>
            <a:off x="5895093" y="2391814"/>
            <a:ext cx="491636" cy="413481"/>
            <a:chOff x="4121447" y="1268882"/>
            <a:chExt cx="495845" cy="429772"/>
          </a:xfrm>
          <a:solidFill>
            <a:schemeClr val="tx1"/>
          </a:solidFill>
        </p:grpSpPr>
        <p:sp>
          <p:nvSpPr>
            <p:cNvPr id="91" name="Полилиния: фигура 157">
              <a:extLst>
                <a:ext uri="{FF2B5EF4-FFF2-40B4-BE49-F238E27FC236}">
                  <a16:creationId xmlns:a16="http://schemas.microsoft.com/office/drawing/2014/main" id="{EE68F40A-DDBC-429B-AABA-B2A993E4EA23}"/>
                </a:ext>
              </a:extLst>
            </p:cNvPr>
            <p:cNvSpPr/>
            <p:nvPr/>
          </p:nvSpPr>
          <p:spPr>
            <a:xfrm>
              <a:off x="4201106" y="1268882"/>
              <a:ext cx="416186" cy="429772"/>
            </a:xfrm>
            <a:custGeom>
              <a:avLst/>
              <a:gdLst>
                <a:gd name="connsiteX0" fmla="*/ 378940 w 416186"/>
                <a:gd name="connsiteY0" fmla="*/ 0 h 429772"/>
                <a:gd name="connsiteX1" fmla="*/ 37223 w 416186"/>
                <a:gd name="connsiteY1" fmla="*/ 0 h 429772"/>
                <a:gd name="connsiteX2" fmla="*/ 0 w 416186"/>
                <a:gd name="connsiteY2" fmla="*/ 32877 h 429772"/>
                <a:gd name="connsiteX3" fmla="*/ 0 w 416186"/>
                <a:gd name="connsiteY3" fmla="*/ 104550 h 429772"/>
                <a:gd name="connsiteX4" fmla="*/ 8390 w 416186"/>
                <a:gd name="connsiteY4" fmla="*/ 112940 h 429772"/>
                <a:gd name="connsiteX5" fmla="*/ 16780 w 416186"/>
                <a:gd name="connsiteY5" fmla="*/ 104550 h 429772"/>
                <a:gd name="connsiteX6" fmla="*/ 16780 w 416186"/>
                <a:gd name="connsiteY6" fmla="*/ 33090 h 429772"/>
                <a:gd name="connsiteX7" fmla="*/ 37223 w 416186"/>
                <a:gd name="connsiteY7" fmla="*/ 16780 h 429772"/>
                <a:gd name="connsiteX8" fmla="*/ 378940 w 416186"/>
                <a:gd name="connsiteY8" fmla="*/ 16780 h 429772"/>
                <a:gd name="connsiteX9" fmla="*/ 399406 w 416186"/>
                <a:gd name="connsiteY9" fmla="*/ 33431 h 429772"/>
                <a:gd name="connsiteX10" fmla="*/ 399406 w 416186"/>
                <a:gd name="connsiteY10" fmla="*/ 307201 h 429772"/>
                <a:gd name="connsiteX11" fmla="*/ 378940 w 416186"/>
                <a:gd name="connsiteY11" fmla="*/ 323863 h 429772"/>
                <a:gd name="connsiteX12" fmla="*/ 37223 w 416186"/>
                <a:gd name="connsiteY12" fmla="*/ 323863 h 429772"/>
                <a:gd name="connsiteX13" fmla="*/ 16780 w 416186"/>
                <a:gd name="connsiteY13" fmla="*/ 307201 h 429772"/>
                <a:gd name="connsiteX14" fmla="*/ 16780 w 416186"/>
                <a:gd name="connsiteY14" fmla="*/ 268008 h 429772"/>
                <a:gd name="connsiteX15" fmla="*/ 8390 w 416186"/>
                <a:gd name="connsiteY15" fmla="*/ 259618 h 429772"/>
                <a:gd name="connsiteX16" fmla="*/ 0 w 416186"/>
                <a:gd name="connsiteY16" fmla="*/ 268008 h 429772"/>
                <a:gd name="connsiteX17" fmla="*/ 0 w 416186"/>
                <a:gd name="connsiteY17" fmla="*/ 307201 h 429772"/>
                <a:gd name="connsiteX18" fmla="*/ 37223 w 416186"/>
                <a:gd name="connsiteY18" fmla="*/ 340643 h 429772"/>
                <a:gd name="connsiteX19" fmla="*/ 198411 w 416186"/>
                <a:gd name="connsiteY19" fmla="*/ 340643 h 429772"/>
                <a:gd name="connsiteX20" fmla="*/ 198411 w 416186"/>
                <a:gd name="connsiteY20" fmla="*/ 412992 h 429772"/>
                <a:gd name="connsiteX21" fmla="*/ 91909 w 416186"/>
                <a:gd name="connsiteY21" fmla="*/ 412992 h 429772"/>
                <a:gd name="connsiteX22" fmla="*/ 83519 w 416186"/>
                <a:gd name="connsiteY22" fmla="*/ 421382 h 429772"/>
                <a:gd name="connsiteX23" fmla="*/ 91909 w 416186"/>
                <a:gd name="connsiteY23" fmla="*/ 429772 h 429772"/>
                <a:gd name="connsiteX24" fmla="*/ 320753 w 416186"/>
                <a:gd name="connsiteY24" fmla="*/ 429772 h 429772"/>
                <a:gd name="connsiteX25" fmla="*/ 329143 w 416186"/>
                <a:gd name="connsiteY25" fmla="*/ 421382 h 429772"/>
                <a:gd name="connsiteX26" fmla="*/ 320753 w 416186"/>
                <a:gd name="connsiteY26" fmla="*/ 412992 h 429772"/>
                <a:gd name="connsiteX27" fmla="*/ 215191 w 416186"/>
                <a:gd name="connsiteY27" fmla="*/ 412992 h 429772"/>
                <a:gd name="connsiteX28" fmla="*/ 215191 w 416186"/>
                <a:gd name="connsiteY28" fmla="*/ 340637 h 429772"/>
                <a:gd name="connsiteX29" fmla="*/ 378940 w 416186"/>
                <a:gd name="connsiteY29" fmla="*/ 340637 h 429772"/>
                <a:gd name="connsiteX30" fmla="*/ 416186 w 416186"/>
                <a:gd name="connsiteY30" fmla="*/ 307195 h 429772"/>
                <a:gd name="connsiteX31" fmla="*/ 416186 w 416186"/>
                <a:gd name="connsiteY31" fmla="*/ 33431 h 429772"/>
                <a:gd name="connsiteX32" fmla="*/ 378940 w 416186"/>
                <a:gd name="connsiteY32" fmla="*/ 0 h 42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16186" h="429772">
                  <a:moveTo>
                    <a:pt x="378940" y="0"/>
                  </a:moveTo>
                  <a:lnTo>
                    <a:pt x="37223" y="0"/>
                  </a:lnTo>
                  <a:cubicBezTo>
                    <a:pt x="16819" y="0"/>
                    <a:pt x="470" y="14347"/>
                    <a:pt x="0" y="32877"/>
                  </a:cubicBezTo>
                  <a:lnTo>
                    <a:pt x="0" y="104550"/>
                  </a:lnTo>
                  <a:cubicBezTo>
                    <a:pt x="0" y="109187"/>
                    <a:pt x="3753" y="112940"/>
                    <a:pt x="8390" y="112940"/>
                  </a:cubicBezTo>
                  <a:cubicBezTo>
                    <a:pt x="13027" y="112940"/>
                    <a:pt x="16780" y="109187"/>
                    <a:pt x="16780" y="104550"/>
                  </a:cubicBezTo>
                  <a:lnTo>
                    <a:pt x="16780" y="33090"/>
                  </a:lnTo>
                  <a:cubicBezTo>
                    <a:pt x="17009" y="24096"/>
                    <a:pt x="26182" y="16780"/>
                    <a:pt x="37223" y="16780"/>
                  </a:cubicBezTo>
                  <a:lnTo>
                    <a:pt x="378940" y="16780"/>
                  </a:lnTo>
                  <a:cubicBezTo>
                    <a:pt x="390228" y="16780"/>
                    <a:pt x="399406" y="24247"/>
                    <a:pt x="399406" y="33431"/>
                  </a:cubicBezTo>
                  <a:lnTo>
                    <a:pt x="399406" y="307201"/>
                  </a:lnTo>
                  <a:cubicBezTo>
                    <a:pt x="399406" y="316390"/>
                    <a:pt x="390222" y="323863"/>
                    <a:pt x="378940" y="323863"/>
                  </a:cubicBezTo>
                  <a:lnTo>
                    <a:pt x="37223" y="323863"/>
                  </a:lnTo>
                  <a:cubicBezTo>
                    <a:pt x="25953" y="323863"/>
                    <a:pt x="16780" y="316390"/>
                    <a:pt x="16780" y="307201"/>
                  </a:cubicBezTo>
                  <a:lnTo>
                    <a:pt x="16780" y="268008"/>
                  </a:lnTo>
                  <a:cubicBezTo>
                    <a:pt x="16780" y="263377"/>
                    <a:pt x="13027" y="259618"/>
                    <a:pt x="8390" y="259618"/>
                  </a:cubicBezTo>
                  <a:cubicBezTo>
                    <a:pt x="3753" y="259618"/>
                    <a:pt x="0" y="263377"/>
                    <a:pt x="0" y="268008"/>
                  </a:cubicBezTo>
                  <a:lnTo>
                    <a:pt x="0" y="307201"/>
                  </a:lnTo>
                  <a:cubicBezTo>
                    <a:pt x="0" y="325642"/>
                    <a:pt x="16696" y="340643"/>
                    <a:pt x="37223" y="340643"/>
                  </a:cubicBezTo>
                  <a:lnTo>
                    <a:pt x="198411" y="340643"/>
                  </a:lnTo>
                  <a:lnTo>
                    <a:pt x="198411" y="412992"/>
                  </a:lnTo>
                  <a:lnTo>
                    <a:pt x="91909" y="412992"/>
                  </a:lnTo>
                  <a:cubicBezTo>
                    <a:pt x="87272" y="412992"/>
                    <a:pt x="83519" y="416751"/>
                    <a:pt x="83519" y="421382"/>
                  </a:cubicBezTo>
                  <a:cubicBezTo>
                    <a:pt x="83519" y="426013"/>
                    <a:pt x="87272" y="429772"/>
                    <a:pt x="91909" y="429772"/>
                  </a:cubicBezTo>
                  <a:lnTo>
                    <a:pt x="320753" y="429772"/>
                  </a:lnTo>
                  <a:cubicBezTo>
                    <a:pt x="325384" y="429772"/>
                    <a:pt x="329143" y="426013"/>
                    <a:pt x="329143" y="421382"/>
                  </a:cubicBezTo>
                  <a:cubicBezTo>
                    <a:pt x="329143" y="416751"/>
                    <a:pt x="325384" y="412992"/>
                    <a:pt x="320753" y="412992"/>
                  </a:cubicBezTo>
                  <a:lnTo>
                    <a:pt x="215191" y="412992"/>
                  </a:lnTo>
                  <a:lnTo>
                    <a:pt x="215191" y="340637"/>
                  </a:lnTo>
                  <a:lnTo>
                    <a:pt x="378940" y="340637"/>
                  </a:lnTo>
                  <a:cubicBezTo>
                    <a:pt x="399479" y="340637"/>
                    <a:pt x="416186" y="325636"/>
                    <a:pt x="416186" y="307195"/>
                  </a:cubicBezTo>
                  <a:lnTo>
                    <a:pt x="416186" y="33431"/>
                  </a:lnTo>
                  <a:cubicBezTo>
                    <a:pt x="416186" y="14996"/>
                    <a:pt x="399479" y="0"/>
                    <a:pt x="378940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Полилиния: фигура 158">
              <a:extLst>
                <a:ext uri="{FF2B5EF4-FFF2-40B4-BE49-F238E27FC236}">
                  <a16:creationId xmlns:a16="http://schemas.microsoft.com/office/drawing/2014/main" id="{E2CB2747-F547-48E5-80D7-D11A596E1725}"/>
                </a:ext>
              </a:extLst>
            </p:cNvPr>
            <p:cNvSpPr/>
            <p:nvPr/>
          </p:nvSpPr>
          <p:spPr>
            <a:xfrm>
              <a:off x="4344921" y="1388998"/>
              <a:ext cx="196609" cy="16779"/>
            </a:xfrm>
            <a:custGeom>
              <a:avLst/>
              <a:gdLst>
                <a:gd name="connsiteX0" fmla="*/ 8390 w 196609"/>
                <a:gd name="connsiteY0" fmla="*/ 16780 h 16779"/>
                <a:gd name="connsiteX1" fmla="*/ 188220 w 196609"/>
                <a:gd name="connsiteY1" fmla="*/ 16780 h 16779"/>
                <a:gd name="connsiteX2" fmla="*/ 196610 w 196609"/>
                <a:gd name="connsiteY2" fmla="*/ 8390 h 16779"/>
                <a:gd name="connsiteX3" fmla="*/ 188220 w 196609"/>
                <a:gd name="connsiteY3" fmla="*/ 0 h 16779"/>
                <a:gd name="connsiteX4" fmla="*/ 8390 w 196609"/>
                <a:gd name="connsiteY4" fmla="*/ 0 h 16779"/>
                <a:gd name="connsiteX5" fmla="*/ 0 w 196609"/>
                <a:gd name="connsiteY5" fmla="*/ 8390 h 16779"/>
                <a:gd name="connsiteX6" fmla="*/ 8390 w 196609"/>
                <a:gd name="connsiteY6" fmla="*/ 1678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609" h="16779">
                  <a:moveTo>
                    <a:pt x="8390" y="16780"/>
                  </a:moveTo>
                  <a:lnTo>
                    <a:pt x="188220" y="16780"/>
                  </a:lnTo>
                  <a:cubicBezTo>
                    <a:pt x="192851" y="16780"/>
                    <a:pt x="196610" y="13027"/>
                    <a:pt x="196610" y="8390"/>
                  </a:cubicBezTo>
                  <a:cubicBezTo>
                    <a:pt x="196610" y="3753"/>
                    <a:pt x="192851" y="0"/>
                    <a:pt x="188220" y="0"/>
                  </a:cubicBezTo>
                  <a:lnTo>
                    <a:pt x="8390" y="0"/>
                  </a:lnTo>
                  <a:cubicBezTo>
                    <a:pt x="3753" y="0"/>
                    <a:pt x="0" y="3753"/>
                    <a:pt x="0" y="8390"/>
                  </a:cubicBezTo>
                  <a:cubicBezTo>
                    <a:pt x="0" y="13027"/>
                    <a:pt x="3753" y="16780"/>
                    <a:pt x="8390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Полилиния: фигура 159">
              <a:extLst>
                <a:ext uri="{FF2B5EF4-FFF2-40B4-BE49-F238E27FC236}">
                  <a16:creationId xmlns:a16="http://schemas.microsoft.com/office/drawing/2014/main" id="{A0E23DD1-C174-49B3-BE3D-9C736B561960}"/>
                </a:ext>
              </a:extLst>
            </p:cNvPr>
            <p:cNvSpPr/>
            <p:nvPr/>
          </p:nvSpPr>
          <p:spPr>
            <a:xfrm>
              <a:off x="4344921" y="1442129"/>
              <a:ext cx="196609" cy="16779"/>
            </a:xfrm>
            <a:custGeom>
              <a:avLst/>
              <a:gdLst>
                <a:gd name="connsiteX0" fmla="*/ 8390 w 196609"/>
                <a:gd name="connsiteY0" fmla="*/ 16780 h 16779"/>
                <a:gd name="connsiteX1" fmla="*/ 188220 w 196609"/>
                <a:gd name="connsiteY1" fmla="*/ 16780 h 16779"/>
                <a:gd name="connsiteX2" fmla="*/ 196610 w 196609"/>
                <a:gd name="connsiteY2" fmla="*/ 8390 h 16779"/>
                <a:gd name="connsiteX3" fmla="*/ 188220 w 196609"/>
                <a:gd name="connsiteY3" fmla="*/ 0 h 16779"/>
                <a:gd name="connsiteX4" fmla="*/ 8390 w 196609"/>
                <a:gd name="connsiteY4" fmla="*/ 0 h 16779"/>
                <a:gd name="connsiteX5" fmla="*/ 0 w 196609"/>
                <a:gd name="connsiteY5" fmla="*/ 8390 h 16779"/>
                <a:gd name="connsiteX6" fmla="*/ 8390 w 196609"/>
                <a:gd name="connsiteY6" fmla="*/ 1678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609" h="16779">
                  <a:moveTo>
                    <a:pt x="8390" y="16780"/>
                  </a:moveTo>
                  <a:lnTo>
                    <a:pt x="188220" y="16780"/>
                  </a:lnTo>
                  <a:cubicBezTo>
                    <a:pt x="192851" y="16780"/>
                    <a:pt x="196610" y="13027"/>
                    <a:pt x="196610" y="8390"/>
                  </a:cubicBezTo>
                  <a:cubicBezTo>
                    <a:pt x="196610" y="3753"/>
                    <a:pt x="192851" y="0"/>
                    <a:pt x="188220" y="0"/>
                  </a:cubicBezTo>
                  <a:lnTo>
                    <a:pt x="8390" y="0"/>
                  </a:lnTo>
                  <a:cubicBezTo>
                    <a:pt x="3753" y="0"/>
                    <a:pt x="0" y="3753"/>
                    <a:pt x="0" y="8390"/>
                  </a:cubicBezTo>
                  <a:cubicBezTo>
                    <a:pt x="0" y="13027"/>
                    <a:pt x="3753" y="16780"/>
                    <a:pt x="8390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Полилиния: фигура 160">
              <a:extLst>
                <a:ext uri="{FF2B5EF4-FFF2-40B4-BE49-F238E27FC236}">
                  <a16:creationId xmlns:a16="http://schemas.microsoft.com/office/drawing/2014/main" id="{15A28BDC-CB90-4067-ACBB-94B84CBE21E2}"/>
                </a:ext>
              </a:extLst>
            </p:cNvPr>
            <p:cNvSpPr/>
            <p:nvPr/>
          </p:nvSpPr>
          <p:spPr>
            <a:xfrm>
              <a:off x="4344921" y="1498196"/>
              <a:ext cx="196609" cy="16779"/>
            </a:xfrm>
            <a:custGeom>
              <a:avLst/>
              <a:gdLst>
                <a:gd name="connsiteX0" fmla="*/ 8390 w 196609"/>
                <a:gd name="connsiteY0" fmla="*/ 16780 h 16779"/>
                <a:gd name="connsiteX1" fmla="*/ 188220 w 196609"/>
                <a:gd name="connsiteY1" fmla="*/ 16780 h 16779"/>
                <a:gd name="connsiteX2" fmla="*/ 196610 w 196609"/>
                <a:gd name="connsiteY2" fmla="*/ 8390 h 16779"/>
                <a:gd name="connsiteX3" fmla="*/ 188220 w 196609"/>
                <a:gd name="connsiteY3" fmla="*/ 0 h 16779"/>
                <a:gd name="connsiteX4" fmla="*/ 8390 w 196609"/>
                <a:gd name="connsiteY4" fmla="*/ 0 h 16779"/>
                <a:gd name="connsiteX5" fmla="*/ 0 w 196609"/>
                <a:gd name="connsiteY5" fmla="*/ 8390 h 16779"/>
                <a:gd name="connsiteX6" fmla="*/ 8390 w 196609"/>
                <a:gd name="connsiteY6" fmla="*/ 1678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609" h="16779">
                  <a:moveTo>
                    <a:pt x="8390" y="16780"/>
                  </a:moveTo>
                  <a:lnTo>
                    <a:pt x="188220" y="16780"/>
                  </a:lnTo>
                  <a:cubicBezTo>
                    <a:pt x="192851" y="16780"/>
                    <a:pt x="196610" y="13021"/>
                    <a:pt x="196610" y="8390"/>
                  </a:cubicBezTo>
                  <a:cubicBezTo>
                    <a:pt x="196610" y="3759"/>
                    <a:pt x="192851" y="0"/>
                    <a:pt x="188220" y="0"/>
                  </a:cubicBezTo>
                  <a:lnTo>
                    <a:pt x="8390" y="0"/>
                  </a:lnTo>
                  <a:cubicBezTo>
                    <a:pt x="3753" y="0"/>
                    <a:pt x="0" y="3759"/>
                    <a:pt x="0" y="8390"/>
                  </a:cubicBezTo>
                  <a:cubicBezTo>
                    <a:pt x="0" y="13021"/>
                    <a:pt x="3753" y="16780"/>
                    <a:pt x="8390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Полилиния: фигура 161">
              <a:extLst>
                <a:ext uri="{FF2B5EF4-FFF2-40B4-BE49-F238E27FC236}">
                  <a16:creationId xmlns:a16="http://schemas.microsoft.com/office/drawing/2014/main" id="{500E1CED-B32B-4450-A08D-E548B77DFB60}"/>
                </a:ext>
              </a:extLst>
            </p:cNvPr>
            <p:cNvSpPr/>
            <p:nvPr/>
          </p:nvSpPr>
          <p:spPr>
            <a:xfrm>
              <a:off x="4121447" y="1338633"/>
              <a:ext cx="215948" cy="138000"/>
            </a:xfrm>
            <a:custGeom>
              <a:avLst/>
              <a:gdLst>
                <a:gd name="connsiteX0" fmla="*/ 86338 w 215948"/>
                <a:gd name="connsiteY0" fmla="*/ 138001 h 138000"/>
                <a:gd name="connsiteX1" fmla="*/ 92272 w 215948"/>
                <a:gd name="connsiteY1" fmla="*/ 135545 h 138000"/>
                <a:gd name="connsiteX2" fmla="*/ 213490 w 215948"/>
                <a:gd name="connsiteY2" fmla="*/ 14322 h 138000"/>
                <a:gd name="connsiteX3" fmla="*/ 213490 w 215948"/>
                <a:gd name="connsiteY3" fmla="*/ 2458 h 138000"/>
                <a:gd name="connsiteX4" fmla="*/ 201627 w 215948"/>
                <a:gd name="connsiteY4" fmla="*/ 2458 h 138000"/>
                <a:gd name="connsiteX5" fmla="*/ 85426 w 215948"/>
                <a:gd name="connsiteY5" fmla="*/ 118665 h 138000"/>
                <a:gd name="connsiteX6" fmla="*/ 13256 w 215948"/>
                <a:gd name="connsiteY6" fmla="*/ 67285 h 138000"/>
                <a:gd name="connsiteX7" fmla="*/ 1555 w 215948"/>
                <a:gd name="connsiteY7" fmla="*/ 69253 h 138000"/>
                <a:gd name="connsiteX8" fmla="*/ 3529 w 215948"/>
                <a:gd name="connsiteY8" fmla="*/ 80955 h 138000"/>
                <a:gd name="connsiteX9" fmla="*/ 81483 w 215948"/>
                <a:gd name="connsiteY9" fmla="*/ 136446 h 138000"/>
                <a:gd name="connsiteX10" fmla="*/ 86338 w 215948"/>
                <a:gd name="connsiteY10" fmla="*/ 138001 h 13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5948" h="138000">
                  <a:moveTo>
                    <a:pt x="86338" y="138001"/>
                  </a:moveTo>
                  <a:cubicBezTo>
                    <a:pt x="88502" y="138001"/>
                    <a:pt x="90650" y="137167"/>
                    <a:pt x="92272" y="135545"/>
                  </a:cubicBezTo>
                  <a:lnTo>
                    <a:pt x="213490" y="14322"/>
                  </a:lnTo>
                  <a:cubicBezTo>
                    <a:pt x="216768" y="11044"/>
                    <a:pt x="216768" y="5730"/>
                    <a:pt x="213490" y="2458"/>
                  </a:cubicBezTo>
                  <a:cubicBezTo>
                    <a:pt x="210213" y="-819"/>
                    <a:pt x="204904" y="-819"/>
                    <a:pt x="201627" y="2458"/>
                  </a:cubicBezTo>
                  <a:lnTo>
                    <a:pt x="85426" y="118665"/>
                  </a:lnTo>
                  <a:lnTo>
                    <a:pt x="13256" y="67285"/>
                  </a:lnTo>
                  <a:cubicBezTo>
                    <a:pt x="9475" y="64600"/>
                    <a:pt x="4245" y="65484"/>
                    <a:pt x="1555" y="69253"/>
                  </a:cubicBezTo>
                  <a:cubicBezTo>
                    <a:pt x="-1130" y="73029"/>
                    <a:pt x="-252" y="78270"/>
                    <a:pt x="3529" y="80955"/>
                  </a:cubicBezTo>
                  <a:lnTo>
                    <a:pt x="81483" y="136446"/>
                  </a:lnTo>
                  <a:cubicBezTo>
                    <a:pt x="82943" y="137492"/>
                    <a:pt x="84649" y="138001"/>
                    <a:pt x="86338" y="138001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AB4A029B-B121-4774-9D7D-254772A487BD}"/>
              </a:ext>
            </a:extLst>
          </p:cNvPr>
          <p:cNvGrpSpPr/>
          <p:nvPr/>
        </p:nvGrpSpPr>
        <p:grpSpPr>
          <a:xfrm>
            <a:off x="1381498" y="2347832"/>
            <a:ext cx="437702" cy="443659"/>
            <a:chOff x="4100985" y="1204101"/>
            <a:chExt cx="542363" cy="564924"/>
          </a:xfrm>
          <a:solidFill>
            <a:schemeClr val="tx1"/>
          </a:solidFill>
        </p:grpSpPr>
        <p:sp>
          <p:nvSpPr>
            <p:cNvPr id="115" name="Полилиния: фигура 160">
              <a:extLst>
                <a:ext uri="{FF2B5EF4-FFF2-40B4-BE49-F238E27FC236}">
                  <a16:creationId xmlns:a16="http://schemas.microsoft.com/office/drawing/2014/main" id="{ADA465FE-7CC7-45AC-B79C-F5E4C29C80D4}"/>
                </a:ext>
              </a:extLst>
            </p:cNvPr>
            <p:cNvSpPr/>
            <p:nvPr/>
          </p:nvSpPr>
          <p:spPr>
            <a:xfrm>
              <a:off x="4100985" y="1204101"/>
              <a:ext cx="542363" cy="564924"/>
            </a:xfrm>
            <a:custGeom>
              <a:avLst/>
              <a:gdLst>
                <a:gd name="connsiteX0" fmla="*/ 271181 w 542363"/>
                <a:gd name="connsiteY0" fmla="*/ 0 h 564924"/>
                <a:gd name="connsiteX1" fmla="*/ 0 w 542363"/>
                <a:gd name="connsiteY1" fmla="*/ 271183 h 564924"/>
                <a:gd name="connsiteX2" fmla="*/ 71946 w 542363"/>
                <a:gd name="connsiteY2" fmla="*/ 455141 h 564924"/>
                <a:gd name="connsiteX3" fmla="*/ 56822 w 542363"/>
                <a:gd name="connsiteY3" fmla="*/ 552615 h 564924"/>
                <a:gd name="connsiteX4" fmla="*/ 61136 w 542363"/>
                <a:gd name="connsiteY4" fmla="*/ 562916 h 564924"/>
                <a:gd name="connsiteX5" fmla="*/ 67367 w 542363"/>
                <a:gd name="connsiteY5" fmla="*/ 564924 h 564924"/>
                <a:gd name="connsiteX6" fmla="*/ 72274 w 542363"/>
                <a:gd name="connsiteY6" fmla="*/ 563729 h 564924"/>
                <a:gd name="connsiteX7" fmla="*/ 159706 w 542363"/>
                <a:gd name="connsiteY7" fmla="*/ 518451 h 564924"/>
                <a:gd name="connsiteX8" fmla="*/ 271181 w 542363"/>
                <a:gd name="connsiteY8" fmla="*/ 542367 h 564924"/>
                <a:gd name="connsiteX9" fmla="*/ 542364 w 542363"/>
                <a:gd name="connsiteY9" fmla="*/ 271184 h 564924"/>
                <a:gd name="connsiteX10" fmla="*/ 271181 w 542363"/>
                <a:gd name="connsiteY10" fmla="*/ 0 h 564924"/>
                <a:gd name="connsiteX11" fmla="*/ 271181 w 542363"/>
                <a:gd name="connsiteY11" fmla="*/ 521021 h 564924"/>
                <a:gd name="connsiteX12" fmla="*/ 164028 w 542363"/>
                <a:gd name="connsiteY12" fmla="*/ 496929 h 564924"/>
                <a:gd name="connsiteX13" fmla="*/ 154538 w 542363"/>
                <a:gd name="connsiteY13" fmla="*/ 497090 h 564924"/>
                <a:gd name="connsiteX14" fmla="*/ 81138 w 542363"/>
                <a:gd name="connsiteY14" fmla="*/ 535101 h 564924"/>
                <a:gd name="connsiteX15" fmla="*/ 93838 w 542363"/>
                <a:gd name="connsiteY15" fmla="*/ 453257 h 564924"/>
                <a:gd name="connsiteX16" fmla="*/ 90989 w 542363"/>
                <a:gd name="connsiteY16" fmla="*/ 444227 h 564924"/>
                <a:gd name="connsiteX17" fmla="*/ 21343 w 542363"/>
                <a:gd name="connsiteY17" fmla="*/ 271181 h 564924"/>
                <a:gd name="connsiteX18" fmla="*/ 271181 w 542363"/>
                <a:gd name="connsiteY18" fmla="*/ 21343 h 564924"/>
                <a:gd name="connsiteX19" fmla="*/ 521019 w 542363"/>
                <a:gd name="connsiteY19" fmla="*/ 271182 h 564924"/>
                <a:gd name="connsiteX20" fmla="*/ 271181 w 542363"/>
                <a:gd name="connsiteY20" fmla="*/ 521021 h 56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2363" h="564924">
                  <a:moveTo>
                    <a:pt x="271181" y="0"/>
                  </a:moveTo>
                  <a:cubicBezTo>
                    <a:pt x="121649" y="0"/>
                    <a:pt x="0" y="121652"/>
                    <a:pt x="0" y="271183"/>
                  </a:cubicBezTo>
                  <a:cubicBezTo>
                    <a:pt x="0" y="339780"/>
                    <a:pt x="25510" y="404895"/>
                    <a:pt x="71946" y="455141"/>
                  </a:cubicBezTo>
                  <a:lnTo>
                    <a:pt x="56822" y="552615"/>
                  </a:lnTo>
                  <a:cubicBezTo>
                    <a:pt x="56207" y="556588"/>
                    <a:pt x="57874" y="560568"/>
                    <a:pt x="61136" y="562916"/>
                  </a:cubicBezTo>
                  <a:cubicBezTo>
                    <a:pt x="62987" y="564248"/>
                    <a:pt x="65171" y="564924"/>
                    <a:pt x="67367" y="564924"/>
                  </a:cubicBezTo>
                  <a:cubicBezTo>
                    <a:pt x="69044" y="564924"/>
                    <a:pt x="70728" y="564530"/>
                    <a:pt x="72274" y="563729"/>
                  </a:cubicBezTo>
                  <a:lnTo>
                    <a:pt x="159706" y="518451"/>
                  </a:lnTo>
                  <a:cubicBezTo>
                    <a:pt x="194820" y="534325"/>
                    <a:pt x="232294" y="542367"/>
                    <a:pt x="271181" y="542367"/>
                  </a:cubicBezTo>
                  <a:cubicBezTo>
                    <a:pt x="420710" y="542367"/>
                    <a:pt x="542364" y="420715"/>
                    <a:pt x="542364" y="271184"/>
                  </a:cubicBezTo>
                  <a:cubicBezTo>
                    <a:pt x="542364" y="121652"/>
                    <a:pt x="420712" y="0"/>
                    <a:pt x="271181" y="0"/>
                  </a:cubicBezTo>
                  <a:close/>
                  <a:moveTo>
                    <a:pt x="271181" y="521021"/>
                  </a:moveTo>
                  <a:cubicBezTo>
                    <a:pt x="233696" y="521021"/>
                    <a:pt x="197646" y="512915"/>
                    <a:pt x="164028" y="496929"/>
                  </a:cubicBezTo>
                  <a:cubicBezTo>
                    <a:pt x="161015" y="495495"/>
                    <a:pt x="157503" y="495556"/>
                    <a:pt x="154538" y="497090"/>
                  </a:cubicBezTo>
                  <a:lnTo>
                    <a:pt x="81138" y="535101"/>
                  </a:lnTo>
                  <a:lnTo>
                    <a:pt x="93838" y="453257"/>
                  </a:lnTo>
                  <a:cubicBezTo>
                    <a:pt x="94349" y="449967"/>
                    <a:pt x="93294" y="446629"/>
                    <a:pt x="90989" y="444227"/>
                  </a:cubicBezTo>
                  <a:cubicBezTo>
                    <a:pt x="46078" y="397474"/>
                    <a:pt x="21343" y="336018"/>
                    <a:pt x="21343" y="271181"/>
                  </a:cubicBezTo>
                  <a:cubicBezTo>
                    <a:pt x="21343" y="133421"/>
                    <a:pt x="133420" y="21343"/>
                    <a:pt x="271181" y="21343"/>
                  </a:cubicBezTo>
                  <a:cubicBezTo>
                    <a:pt x="408941" y="21343"/>
                    <a:pt x="521019" y="133420"/>
                    <a:pt x="521019" y="271182"/>
                  </a:cubicBezTo>
                  <a:cubicBezTo>
                    <a:pt x="521019" y="408944"/>
                    <a:pt x="408942" y="521021"/>
                    <a:pt x="271181" y="521021"/>
                  </a:cubicBez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Полилиния: фигура 161">
              <a:extLst>
                <a:ext uri="{FF2B5EF4-FFF2-40B4-BE49-F238E27FC236}">
                  <a16:creationId xmlns:a16="http://schemas.microsoft.com/office/drawing/2014/main" id="{8F64117C-FB99-485B-81F9-4036DC805436}"/>
                </a:ext>
              </a:extLst>
            </p:cNvPr>
            <p:cNvSpPr/>
            <p:nvPr/>
          </p:nvSpPr>
          <p:spPr>
            <a:xfrm>
              <a:off x="4315665" y="1282117"/>
              <a:ext cx="113002" cy="113002"/>
            </a:xfrm>
            <a:custGeom>
              <a:avLst/>
              <a:gdLst>
                <a:gd name="connsiteX0" fmla="*/ 56501 w 113002"/>
                <a:gd name="connsiteY0" fmla="*/ 0 h 113002"/>
                <a:gd name="connsiteX1" fmla="*/ 0 w 113002"/>
                <a:gd name="connsiteY1" fmla="*/ 56501 h 113002"/>
                <a:gd name="connsiteX2" fmla="*/ 56501 w 113002"/>
                <a:gd name="connsiteY2" fmla="*/ 113002 h 113002"/>
                <a:gd name="connsiteX3" fmla="*/ 113002 w 113002"/>
                <a:gd name="connsiteY3" fmla="*/ 56501 h 113002"/>
                <a:gd name="connsiteX4" fmla="*/ 56501 w 113002"/>
                <a:gd name="connsiteY4" fmla="*/ 0 h 113002"/>
                <a:gd name="connsiteX5" fmla="*/ 56501 w 113002"/>
                <a:gd name="connsiteY5" fmla="*/ 91659 h 113002"/>
                <a:gd name="connsiteX6" fmla="*/ 21343 w 113002"/>
                <a:gd name="connsiteY6" fmla="*/ 56501 h 113002"/>
                <a:gd name="connsiteX7" fmla="*/ 56501 w 113002"/>
                <a:gd name="connsiteY7" fmla="*/ 21344 h 113002"/>
                <a:gd name="connsiteX8" fmla="*/ 91659 w 113002"/>
                <a:gd name="connsiteY8" fmla="*/ 56501 h 113002"/>
                <a:gd name="connsiteX9" fmla="*/ 56501 w 113002"/>
                <a:gd name="connsiteY9" fmla="*/ 91659 h 113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002" h="113002">
                  <a:moveTo>
                    <a:pt x="56501" y="0"/>
                  </a:moveTo>
                  <a:cubicBezTo>
                    <a:pt x="25347" y="0"/>
                    <a:pt x="0" y="25347"/>
                    <a:pt x="0" y="56501"/>
                  </a:cubicBezTo>
                  <a:cubicBezTo>
                    <a:pt x="0" y="87656"/>
                    <a:pt x="25347" y="113002"/>
                    <a:pt x="56501" y="113002"/>
                  </a:cubicBezTo>
                  <a:cubicBezTo>
                    <a:pt x="87658" y="113002"/>
                    <a:pt x="113002" y="87656"/>
                    <a:pt x="113002" y="56501"/>
                  </a:cubicBezTo>
                  <a:cubicBezTo>
                    <a:pt x="113002" y="25344"/>
                    <a:pt x="87656" y="0"/>
                    <a:pt x="56501" y="0"/>
                  </a:cubicBezTo>
                  <a:close/>
                  <a:moveTo>
                    <a:pt x="56501" y="91659"/>
                  </a:moveTo>
                  <a:cubicBezTo>
                    <a:pt x="37115" y="91659"/>
                    <a:pt x="21343" y="75887"/>
                    <a:pt x="21343" y="56501"/>
                  </a:cubicBezTo>
                  <a:cubicBezTo>
                    <a:pt x="21343" y="37115"/>
                    <a:pt x="37115" y="21344"/>
                    <a:pt x="56501" y="21344"/>
                  </a:cubicBezTo>
                  <a:cubicBezTo>
                    <a:pt x="75888" y="21344"/>
                    <a:pt x="91659" y="37115"/>
                    <a:pt x="91659" y="56501"/>
                  </a:cubicBezTo>
                  <a:cubicBezTo>
                    <a:pt x="91659" y="75887"/>
                    <a:pt x="75887" y="91659"/>
                    <a:pt x="56501" y="91659"/>
                  </a:cubicBez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Полилиния: фигура 162">
              <a:extLst>
                <a:ext uri="{FF2B5EF4-FFF2-40B4-BE49-F238E27FC236}">
                  <a16:creationId xmlns:a16="http://schemas.microsoft.com/office/drawing/2014/main" id="{633955A6-5F41-49DB-ACBA-9B7866EF2D37}"/>
                </a:ext>
              </a:extLst>
            </p:cNvPr>
            <p:cNvSpPr/>
            <p:nvPr/>
          </p:nvSpPr>
          <p:spPr>
            <a:xfrm>
              <a:off x="4298873" y="1413162"/>
              <a:ext cx="146590" cy="242466"/>
            </a:xfrm>
            <a:custGeom>
              <a:avLst/>
              <a:gdLst>
                <a:gd name="connsiteX0" fmla="*/ 135918 w 146590"/>
                <a:gd name="connsiteY0" fmla="*/ 185657 h 242466"/>
                <a:gd name="connsiteX1" fmla="*/ 123767 w 146590"/>
                <a:gd name="connsiteY1" fmla="*/ 185657 h 242466"/>
                <a:gd name="connsiteX2" fmla="*/ 123767 w 146590"/>
                <a:gd name="connsiteY2" fmla="*/ 10672 h 242466"/>
                <a:gd name="connsiteX3" fmla="*/ 113095 w 146590"/>
                <a:gd name="connsiteY3" fmla="*/ 0 h 242466"/>
                <a:gd name="connsiteX4" fmla="*/ 10672 w 146590"/>
                <a:gd name="connsiteY4" fmla="*/ 0 h 242466"/>
                <a:gd name="connsiteX5" fmla="*/ 0 w 146590"/>
                <a:gd name="connsiteY5" fmla="*/ 10672 h 242466"/>
                <a:gd name="connsiteX6" fmla="*/ 0 w 146590"/>
                <a:gd name="connsiteY6" fmla="*/ 46137 h 242466"/>
                <a:gd name="connsiteX7" fmla="*/ 10672 w 146590"/>
                <a:gd name="connsiteY7" fmla="*/ 56809 h 242466"/>
                <a:gd name="connsiteX8" fmla="*/ 22823 w 146590"/>
                <a:gd name="connsiteY8" fmla="*/ 56809 h 242466"/>
                <a:gd name="connsiteX9" fmla="*/ 22823 w 146590"/>
                <a:gd name="connsiteY9" fmla="*/ 185657 h 242466"/>
                <a:gd name="connsiteX10" fmla="*/ 10672 w 146590"/>
                <a:gd name="connsiteY10" fmla="*/ 185657 h 242466"/>
                <a:gd name="connsiteX11" fmla="*/ 0 w 146590"/>
                <a:gd name="connsiteY11" fmla="*/ 196328 h 242466"/>
                <a:gd name="connsiteX12" fmla="*/ 0 w 146590"/>
                <a:gd name="connsiteY12" fmla="*/ 231794 h 242466"/>
                <a:gd name="connsiteX13" fmla="*/ 10672 w 146590"/>
                <a:gd name="connsiteY13" fmla="*/ 242467 h 242466"/>
                <a:gd name="connsiteX14" fmla="*/ 135919 w 146590"/>
                <a:gd name="connsiteY14" fmla="*/ 242467 h 242466"/>
                <a:gd name="connsiteX15" fmla="*/ 146591 w 146590"/>
                <a:gd name="connsiteY15" fmla="*/ 231795 h 242466"/>
                <a:gd name="connsiteX16" fmla="*/ 146591 w 146590"/>
                <a:gd name="connsiteY16" fmla="*/ 196330 h 242466"/>
                <a:gd name="connsiteX17" fmla="*/ 135918 w 146590"/>
                <a:gd name="connsiteY17" fmla="*/ 185657 h 242466"/>
                <a:gd name="connsiteX18" fmla="*/ 125245 w 146590"/>
                <a:gd name="connsiteY18" fmla="*/ 221123 h 242466"/>
                <a:gd name="connsiteX19" fmla="*/ 21341 w 146590"/>
                <a:gd name="connsiteY19" fmla="*/ 221123 h 242466"/>
                <a:gd name="connsiteX20" fmla="*/ 21341 w 146590"/>
                <a:gd name="connsiteY20" fmla="*/ 207000 h 242466"/>
                <a:gd name="connsiteX21" fmla="*/ 33493 w 146590"/>
                <a:gd name="connsiteY21" fmla="*/ 207000 h 242466"/>
                <a:gd name="connsiteX22" fmla="*/ 44164 w 146590"/>
                <a:gd name="connsiteY22" fmla="*/ 196328 h 242466"/>
                <a:gd name="connsiteX23" fmla="*/ 44164 w 146590"/>
                <a:gd name="connsiteY23" fmla="*/ 46137 h 242466"/>
                <a:gd name="connsiteX24" fmla="*/ 33493 w 146590"/>
                <a:gd name="connsiteY24" fmla="*/ 35465 h 242466"/>
                <a:gd name="connsiteX25" fmla="*/ 21341 w 146590"/>
                <a:gd name="connsiteY25" fmla="*/ 35465 h 242466"/>
                <a:gd name="connsiteX26" fmla="*/ 21341 w 146590"/>
                <a:gd name="connsiteY26" fmla="*/ 21345 h 242466"/>
                <a:gd name="connsiteX27" fmla="*/ 102422 w 146590"/>
                <a:gd name="connsiteY27" fmla="*/ 21345 h 242466"/>
                <a:gd name="connsiteX28" fmla="*/ 102422 w 146590"/>
                <a:gd name="connsiteY28" fmla="*/ 196331 h 242466"/>
                <a:gd name="connsiteX29" fmla="*/ 113094 w 146590"/>
                <a:gd name="connsiteY29" fmla="*/ 207002 h 242466"/>
                <a:gd name="connsiteX30" fmla="*/ 125245 w 146590"/>
                <a:gd name="connsiteY30" fmla="*/ 207002 h 242466"/>
                <a:gd name="connsiteX31" fmla="*/ 125245 w 146590"/>
                <a:gd name="connsiteY31" fmla="*/ 221123 h 242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6590" h="242466">
                  <a:moveTo>
                    <a:pt x="135918" y="185657"/>
                  </a:moveTo>
                  <a:lnTo>
                    <a:pt x="123767" y="185657"/>
                  </a:lnTo>
                  <a:lnTo>
                    <a:pt x="123767" y="10672"/>
                  </a:lnTo>
                  <a:cubicBezTo>
                    <a:pt x="123767" y="4778"/>
                    <a:pt x="118988" y="0"/>
                    <a:pt x="113095" y="0"/>
                  </a:cubicBezTo>
                  <a:lnTo>
                    <a:pt x="10672" y="0"/>
                  </a:lnTo>
                  <a:cubicBezTo>
                    <a:pt x="4778" y="0"/>
                    <a:pt x="0" y="4779"/>
                    <a:pt x="0" y="10672"/>
                  </a:cubicBezTo>
                  <a:lnTo>
                    <a:pt x="0" y="46137"/>
                  </a:lnTo>
                  <a:cubicBezTo>
                    <a:pt x="0" y="52031"/>
                    <a:pt x="4779" y="56809"/>
                    <a:pt x="10672" y="56809"/>
                  </a:cubicBezTo>
                  <a:lnTo>
                    <a:pt x="22823" y="56809"/>
                  </a:lnTo>
                  <a:lnTo>
                    <a:pt x="22823" y="185657"/>
                  </a:lnTo>
                  <a:lnTo>
                    <a:pt x="10672" y="185657"/>
                  </a:lnTo>
                  <a:cubicBezTo>
                    <a:pt x="4778" y="185657"/>
                    <a:pt x="0" y="190435"/>
                    <a:pt x="0" y="196328"/>
                  </a:cubicBezTo>
                  <a:lnTo>
                    <a:pt x="0" y="231794"/>
                  </a:lnTo>
                  <a:cubicBezTo>
                    <a:pt x="0" y="237689"/>
                    <a:pt x="4779" y="242467"/>
                    <a:pt x="10672" y="242467"/>
                  </a:cubicBezTo>
                  <a:lnTo>
                    <a:pt x="135919" y="242467"/>
                  </a:lnTo>
                  <a:cubicBezTo>
                    <a:pt x="141813" y="242467"/>
                    <a:pt x="146591" y="237688"/>
                    <a:pt x="146591" y="231795"/>
                  </a:cubicBezTo>
                  <a:lnTo>
                    <a:pt x="146591" y="196330"/>
                  </a:lnTo>
                  <a:cubicBezTo>
                    <a:pt x="146590" y="190435"/>
                    <a:pt x="141811" y="185657"/>
                    <a:pt x="135918" y="185657"/>
                  </a:cubicBezTo>
                  <a:close/>
                  <a:moveTo>
                    <a:pt x="125245" y="221123"/>
                  </a:moveTo>
                  <a:lnTo>
                    <a:pt x="21341" y="221123"/>
                  </a:lnTo>
                  <a:lnTo>
                    <a:pt x="21341" y="207000"/>
                  </a:lnTo>
                  <a:lnTo>
                    <a:pt x="33493" y="207000"/>
                  </a:lnTo>
                  <a:cubicBezTo>
                    <a:pt x="39387" y="207000"/>
                    <a:pt x="44164" y="202221"/>
                    <a:pt x="44164" y="196328"/>
                  </a:cubicBezTo>
                  <a:lnTo>
                    <a:pt x="44164" y="46137"/>
                  </a:lnTo>
                  <a:cubicBezTo>
                    <a:pt x="44164" y="40243"/>
                    <a:pt x="39386" y="35465"/>
                    <a:pt x="33493" y="35465"/>
                  </a:cubicBezTo>
                  <a:lnTo>
                    <a:pt x="21341" y="35465"/>
                  </a:lnTo>
                  <a:lnTo>
                    <a:pt x="21341" y="21345"/>
                  </a:lnTo>
                  <a:lnTo>
                    <a:pt x="102422" y="21345"/>
                  </a:lnTo>
                  <a:lnTo>
                    <a:pt x="102422" y="196331"/>
                  </a:lnTo>
                  <a:cubicBezTo>
                    <a:pt x="102422" y="202225"/>
                    <a:pt x="107201" y="207002"/>
                    <a:pt x="113094" y="207002"/>
                  </a:cubicBezTo>
                  <a:lnTo>
                    <a:pt x="125245" y="207002"/>
                  </a:lnTo>
                  <a:lnTo>
                    <a:pt x="125245" y="221123"/>
                  </a:lnTo>
                  <a:close/>
                </a:path>
              </a:pathLst>
            </a:custGeom>
            <a:grpFill/>
            <a:ln w="55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5" name="Группа 54"/>
          <p:cNvGrpSpPr/>
          <p:nvPr/>
        </p:nvGrpSpPr>
        <p:grpSpPr>
          <a:xfrm>
            <a:off x="9842117" y="2264716"/>
            <a:ext cx="2175124" cy="3016900"/>
            <a:chOff x="576621" y="2269714"/>
            <a:chExt cx="2095458" cy="3016900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CA3DEC8-80E1-0BAC-3A1A-1077F692F014}"/>
                </a:ext>
              </a:extLst>
            </p:cNvPr>
            <p:cNvSpPr txBox="1"/>
            <p:nvPr/>
          </p:nvSpPr>
          <p:spPr>
            <a:xfrm>
              <a:off x="763668" y="3095584"/>
              <a:ext cx="172136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200" dirty="0" smtClean="0"/>
                <a:t>Расследование жалоб покупателей - отзывы</a:t>
              </a:r>
              <a:endParaRPr lang="ru-RU" sz="1200" dirty="0"/>
            </a:p>
          </p:txBody>
        </p:sp>
        <p:grpSp>
          <p:nvGrpSpPr>
            <p:cNvPr id="57" name="Группа 56"/>
            <p:cNvGrpSpPr/>
            <p:nvPr/>
          </p:nvGrpSpPr>
          <p:grpSpPr>
            <a:xfrm>
              <a:off x="576621" y="2269714"/>
              <a:ext cx="2095458" cy="3016900"/>
              <a:chOff x="576621" y="2269714"/>
              <a:chExt cx="2095458" cy="3016900"/>
            </a:xfrm>
          </p:grpSpPr>
          <p:grpSp>
            <p:nvGrpSpPr>
              <p:cNvPr id="58" name="Группа 57">
                <a:extLst>
                  <a:ext uri="{FF2B5EF4-FFF2-40B4-BE49-F238E27FC236}">
                    <a16:creationId xmlns:a16="http://schemas.microsoft.com/office/drawing/2014/main" id="{F4B25B1F-AF17-EE6C-EFAA-7F57F661E991}"/>
                  </a:ext>
                </a:extLst>
              </p:cNvPr>
              <p:cNvGrpSpPr/>
              <p:nvPr/>
            </p:nvGrpSpPr>
            <p:grpSpPr>
              <a:xfrm>
                <a:off x="576621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60" name="Прямоугольник 36">
                  <a:extLst>
                    <a:ext uri="{FF2B5EF4-FFF2-40B4-BE49-F238E27FC236}">
                      <a16:creationId xmlns:a16="http://schemas.microsoft.com/office/drawing/2014/main" id="{1DD3D5EA-E28D-BFAE-0003-6ECED0CD73D5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61" name="Прямая соединительная линия 60">
                  <a:extLst>
                    <a:ext uri="{FF2B5EF4-FFF2-40B4-BE49-F238E27FC236}">
                      <a16:creationId xmlns:a16="http://schemas.microsoft.com/office/drawing/2014/main" id="{F78E17E4-B6EC-FCD1-DE50-9C039168BD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9" name="Овал 58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1284489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62" name="Рисунок 12">
            <a:extLst>
              <a:ext uri="{FF2B5EF4-FFF2-40B4-BE49-F238E27FC236}">
                <a16:creationId xmlns:a16="http://schemas.microsoft.com/office/drawing/2014/main" id="{07480A93-1DDA-4496-9505-0D461DC9FC80}"/>
              </a:ext>
            </a:extLst>
          </p:cNvPr>
          <p:cNvSpPr/>
          <p:nvPr/>
        </p:nvSpPr>
        <p:spPr>
          <a:xfrm>
            <a:off x="8143930" y="2402901"/>
            <a:ext cx="356770" cy="336915"/>
          </a:xfrm>
          <a:custGeom>
            <a:avLst/>
            <a:gdLst>
              <a:gd name="connsiteX0" fmla="*/ 213670 w 340005"/>
              <a:gd name="connsiteY0" fmla="*/ 252683 h 465966"/>
              <a:gd name="connsiteX1" fmla="*/ 340005 w 340005"/>
              <a:gd name="connsiteY1" fmla="*/ 126341 h 465966"/>
              <a:gd name="connsiteX2" fmla="*/ 213670 w 340005"/>
              <a:gd name="connsiteY2" fmla="*/ 0 h 465966"/>
              <a:gd name="connsiteX3" fmla="*/ 8396 w 340005"/>
              <a:gd name="connsiteY3" fmla="*/ 0 h 465966"/>
              <a:gd name="connsiteX4" fmla="*/ 6 w 340005"/>
              <a:gd name="connsiteY4" fmla="*/ 8390 h 465966"/>
              <a:gd name="connsiteX5" fmla="*/ 8396 w 340005"/>
              <a:gd name="connsiteY5" fmla="*/ 16780 h 465966"/>
              <a:gd name="connsiteX6" fmla="*/ 49551 w 340005"/>
              <a:gd name="connsiteY6" fmla="*/ 16780 h 465966"/>
              <a:gd name="connsiteX7" fmla="*/ 49159 w 340005"/>
              <a:gd name="connsiteY7" fmla="*/ 235903 h 465966"/>
              <a:gd name="connsiteX8" fmla="*/ 8530 w 340005"/>
              <a:gd name="connsiteY8" fmla="*/ 235903 h 465966"/>
              <a:gd name="connsiteX9" fmla="*/ 140 w 340005"/>
              <a:gd name="connsiteY9" fmla="*/ 244293 h 465966"/>
              <a:gd name="connsiteX10" fmla="*/ 8530 w 340005"/>
              <a:gd name="connsiteY10" fmla="*/ 252683 h 465966"/>
              <a:gd name="connsiteX11" fmla="*/ 49132 w 340005"/>
              <a:gd name="connsiteY11" fmla="*/ 252683 h 465966"/>
              <a:gd name="connsiteX12" fmla="*/ 49020 w 340005"/>
              <a:gd name="connsiteY12" fmla="*/ 314500 h 465966"/>
              <a:gd name="connsiteX13" fmla="*/ 8390 w 340005"/>
              <a:gd name="connsiteY13" fmla="*/ 314500 h 465966"/>
              <a:gd name="connsiteX14" fmla="*/ 0 w 340005"/>
              <a:gd name="connsiteY14" fmla="*/ 322890 h 465966"/>
              <a:gd name="connsiteX15" fmla="*/ 8390 w 340005"/>
              <a:gd name="connsiteY15" fmla="*/ 331280 h 465966"/>
              <a:gd name="connsiteX16" fmla="*/ 48986 w 340005"/>
              <a:gd name="connsiteY16" fmla="*/ 331280 h 465966"/>
              <a:gd name="connsiteX17" fmla="*/ 48762 w 340005"/>
              <a:gd name="connsiteY17" fmla="*/ 457560 h 465966"/>
              <a:gd name="connsiteX18" fmla="*/ 57141 w 340005"/>
              <a:gd name="connsiteY18" fmla="*/ 465966 h 465966"/>
              <a:gd name="connsiteX19" fmla="*/ 57152 w 340005"/>
              <a:gd name="connsiteY19" fmla="*/ 465966 h 465966"/>
              <a:gd name="connsiteX20" fmla="*/ 65542 w 340005"/>
              <a:gd name="connsiteY20" fmla="*/ 457593 h 465966"/>
              <a:gd name="connsiteX21" fmla="*/ 65766 w 340005"/>
              <a:gd name="connsiteY21" fmla="*/ 331280 h 465966"/>
              <a:gd name="connsiteX22" fmla="*/ 222104 w 340005"/>
              <a:gd name="connsiteY22" fmla="*/ 331280 h 465966"/>
              <a:gd name="connsiteX23" fmla="*/ 230494 w 340005"/>
              <a:gd name="connsiteY23" fmla="*/ 322890 h 465966"/>
              <a:gd name="connsiteX24" fmla="*/ 222104 w 340005"/>
              <a:gd name="connsiteY24" fmla="*/ 314500 h 465966"/>
              <a:gd name="connsiteX25" fmla="*/ 65805 w 340005"/>
              <a:gd name="connsiteY25" fmla="*/ 314500 h 465966"/>
              <a:gd name="connsiteX26" fmla="*/ 65917 w 340005"/>
              <a:gd name="connsiteY26" fmla="*/ 252683 h 465966"/>
              <a:gd name="connsiteX27" fmla="*/ 213670 w 340005"/>
              <a:gd name="connsiteY27" fmla="*/ 252683 h 465966"/>
              <a:gd name="connsiteX28" fmla="*/ 66331 w 340005"/>
              <a:gd name="connsiteY28" fmla="*/ 16780 h 465966"/>
              <a:gd name="connsiteX29" fmla="*/ 213670 w 340005"/>
              <a:gd name="connsiteY29" fmla="*/ 16780 h 465966"/>
              <a:gd name="connsiteX30" fmla="*/ 323225 w 340005"/>
              <a:gd name="connsiteY30" fmla="*/ 126347 h 465966"/>
              <a:gd name="connsiteX31" fmla="*/ 213670 w 340005"/>
              <a:gd name="connsiteY31" fmla="*/ 235903 h 465966"/>
              <a:gd name="connsiteX32" fmla="*/ 65945 w 340005"/>
              <a:gd name="connsiteY32" fmla="*/ 235903 h 465966"/>
              <a:gd name="connsiteX33" fmla="*/ 66331 w 340005"/>
              <a:gd name="connsiteY33" fmla="*/ 16780 h 465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40005" h="465966">
                <a:moveTo>
                  <a:pt x="213670" y="252683"/>
                </a:moveTo>
                <a:cubicBezTo>
                  <a:pt x="283328" y="252683"/>
                  <a:pt x="340005" y="196006"/>
                  <a:pt x="340005" y="126341"/>
                </a:cubicBezTo>
                <a:cubicBezTo>
                  <a:pt x="340005" y="56677"/>
                  <a:pt x="283328" y="0"/>
                  <a:pt x="213670" y="0"/>
                </a:cubicBezTo>
                <a:lnTo>
                  <a:pt x="8396" y="0"/>
                </a:lnTo>
                <a:cubicBezTo>
                  <a:pt x="3759" y="0"/>
                  <a:pt x="6" y="3753"/>
                  <a:pt x="6" y="8390"/>
                </a:cubicBezTo>
                <a:cubicBezTo>
                  <a:pt x="6" y="13027"/>
                  <a:pt x="3759" y="16780"/>
                  <a:pt x="8396" y="16780"/>
                </a:cubicBezTo>
                <a:lnTo>
                  <a:pt x="49551" y="16780"/>
                </a:lnTo>
                <a:lnTo>
                  <a:pt x="49159" y="235903"/>
                </a:lnTo>
                <a:lnTo>
                  <a:pt x="8530" y="235903"/>
                </a:lnTo>
                <a:cubicBezTo>
                  <a:pt x="3893" y="235903"/>
                  <a:pt x="140" y="239662"/>
                  <a:pt x="140" y="244293"/>
                </a:cubicBezTo>
                <a:cubicBezTo>
                  <a:pt x="140" y="248924"/>
                  <a:pt x="3893" y="252683"/>
                  <a:pt x="8530" y="252683"/>
                </a:cubicBezTo>
                <a:lnTo>
                  <a:pt x="49132" y="252683"/>
                </a:lnTo>
                <a:lnTo>
                  <a:pt x="49020" y="314500"/>
                </a:lnTo>
                <a:lnTo>
                  <a:pt x="8390" y="314500"/>
                </a:lnTo>
                <a:cubicBezTo>
                  <a:pt x="3753" y="314500"/>
                  <a:pt x="0" y="318259"/>
                  <a:pt x="0" y="322890"/>
                </a:cubicBezTo>
                <a:cubicBezTo>
                  <a:pt x="0" y="327521"/>
                  <a:pt x="3753" y="331280"/>
                  <a:pt x="8390" y="331280"/>
                </a:cubicBezTo>
                <a:lnTo>
                  <a:pt x="48986" y="331280"/>
                </a:lnTo>
                <a:lnTo>
                  <a:pt x="48762" y="457560"/>
                </a:lnTo>
                <a:cubicBezTo>
                  <a:pt x="48757" y="462197"/>
                  <a:pt x="52504" y="465955"/>
                  <a:pt x="57141" y="465966"/>
                </a:cubicBezTo>
                <a:cubicBezTo>
                  <a:pt x="57141" y="465966"/>
                  <a:pt x="57147" y="465966"/>
                  <a:pt x="57152" y="465966"/>
                </a:cubicBezTo>
                <a:cubicBezTo>
                  <a:pt x="61778" y="465966"/>
                  <a:pt x="65537" y="462219"/>
                  <a:pt x="65542" y="457593"/>
                </a:cubicBezTo>
                <a:lnTo>
                  <a:pt x="65766" y="331280"/>
                </a:lnTo>
                <a:lnTo>
                  <a:pt x="222104" y="331280"/>
                </a:lnTo>
                <a:cubicBezTo>
                  <a:pt x="226735" y="331280"/>
                  <a:pt x="230494" y="327521"/>
                  <a:pt x="230494" y="322890"/>
                </a:cubicBezTo>
                <a:cubicBezTo>
                  <a:pt x="230494" y="318259"/>
                  <a:pt x="226735" y="314500"/>
                  <a:pt x="222104" y="314500"/>
                </a:cubicBezTo>
                <a:lnTo>
                  <a:pt x="65805" y="314500"/>
                </a:lnTo>
                <a:lnTo>
                  <a:pt x="65917" y="252683"/>
                </a:lnTo>
                <a:lnTo>
                  <a:pt x="213670" y="252683"/>
                </a:lnTo>
                <a:close/>
                <a:moveTo>
                  <a:pt x="66331" y="16780"/>
                </a:moveTo>
                <a:lnTo>
                  <a:pt x="213670" y="16780"/>
                </a:lnTo>
                <a:cubicBezTo>
                  <a:pt x="274077" y="16780"/>
                  <a:pt x="323225" y="65934"/>
                  <a:pt x="323225" y="126347"/>
                </a:cubicBezTo>
                <a:cubicBezTo>
                  <a:pt x="323225" y="186755"/>
                  <a:pt x="274077" y="235903"/>
                  <a:pt x="213670" y="235903"/>
                </a:cubicBezTo>
                <a:lnTo>
                  <a:pt x="65945" y="235903"/>
                </a:lnTo>
                <a:lnTo>
                  <a:pt x="66331" y="16780"/>
                </a:lnTo>
                <a:close/>
              </a:path>
            </a:pathLst>
          </a:custGeom>
          <a:solidFill>
            <a:schemeClr val="tx1"/>
          </a:solidFill>
          <a:ln w="108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3C96"/>
              </a:solidFill>
              <a:effectLst/>
              <a:uLnTx/>
              <a:uFillTx/>
            </a:endParaRPr>
          </a:p>
        </p:txBody>
      </p:sp>
      <p:grpSp>
        <p:nvGrpSpPr>
          <p:cNvPr id="63" name="Рисунок 45">
            <a:extLst>
              <a:ext uri="{FF2B5EF4-FFF2-40B4-BE49-F238E27FC236}">
                <a16:creationId xmlns:a16="http://schemas.microsoft.com/office/drawing/2014/main" id="{1A4D7F42-20DC-498A-911D-E650DA59640D}"/>
              </a:ext>
            </a:extLst>
          </p:cNvPr>
          <p:cNvGrpSpPr/>
          <p:nvPr/>
        </p:nvGrpSpPr>
        <p:grpSpPr>
          <a:xfrm>
            <a:off x="10732168" y="2347832"/>
            <a:ext cx="367950" cy="443659"/>
            <a:chOff x="1819856" y="1241126"/>
            <a:chExt cx="459942" cy="490731"/>
          </a:xfrm>
          <a:solidFill>
            <a:schemeClr val="tx1"/>
          </a:solidFill>
        </p:grpSpPr>
        <p:sp>
          <p:nvSpPr>
            <p:cNvPr id="64" name="Полилиния: фигура 191">
              <a:extLst>
                <a:ext uri="{FF2B5EF4-FFF2-40B4-BE49-F238E27FC236}">
                  <a16:creationId xmlns:a16="http://schemas.microsoft.com/office/drawing/2014/main" id="{E2B7B7EE-7AC3-4CF2-9231-51075A8D0195}"/>
                </a:ext>
              </a:extLst>
            </p:cNvPr>
            <p:cNvSpPr/>
            <p:nvPr/>
          </p:nvSpPr>
          <p:spPr>
            <a:xfrm>
              <a:off x="1965401" y="1287244"/>
              <a:ext cx="267754" cy="267814"/>
            </a:xfrm>
            <a:custGeom>
              <a:avLst/>
              <a:gdLst>
                <a:gd name="connsiteX0" fmla="*/ 223194 w 267754"/>
                <a:gd name="connsiteY0" fmla="*/ 34140 h 267814"/>
                <a:gd name="connsiteX1" fmla="*/ 126456 w 267754"/>
                <a:gd name="connsiteY1" fmla="*/ 211 h 267814"/>
                <a:gd name="connsiteX2" fmla="*/ 34069 w 267754"/>
                <a:gd name="connsiteY2" fmla="*/ 44620 h 267814"/>
                <a:gd name="connsiteX3" fmla="*/ 44560 w 267754"/>
                <a:gd name="connsiteY3" fmla="*/ 233750 h 267814"/>
                <a:gd name="connsiteX4" fmla="*/ 133812 w 267754"/>
                <a:gd name="connsiteY4" fmla="*/ 267815 h 267814"/>
                <a:gd name="connsiteX5" fmla="*/ 233690 w 267754"/>
                <a:gd name="connsiteY5" fmla="*/ 223259 h 267814"/>
                <a:gd name="connsiteX6" fmla="*/ 223194 w 267754"/>
                <a:gd name="connsiteY6" fmla="*/ 34140 h 267814"/>
                <a:gd name="connsiteX7" fmla="*/ 221053 w 267754"/>
                <a:gd name="connsiteY7" fmla="*/ 211967 h 267814"/>
                <a:gd name="connsiteX8" fmla="*/ 55858 w 267754"/>
                <a:gd name="connsiteY8" fmla="*/ 221118 h 267814"/>
                <a:gd name="connsiteX9" fmla="*/ 46689 w 267754"/>
                <a:gd name="connsiteY9" fmla="*/ 55924 h 267814"/>
                <a:gd name="connsiteX10" fmla="*/ 127389 w 267754"/>
                <a:gd name="connsiteY10" fmla="*/ 17130 h 267814"/>
                <a:gd name="connsiteX11" fmla="*/ 134015 w 267754"/>
                <a:gd name="connsiteY11" fmla="*/ 16950 h 267814"/>
                <a:gd name="connsiteX12" fmla="*/ 211890 w 267754"/>
                <a:gd name="connsiteY12" fmla="*/ 46766 h 267814"/>
                <a:gd name="connsiteX13" fmla="*/ 221053 w 267754"/>
                <a:gd name="connsiteY13" fmla="*/ 211967 h 26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7754" h="267814">
                  <a:moveTo>
                    <a:pt x="223194" y="34140"/>
                  </a:moveTo>
                  <a:cubicBezTo>
                    <a:pt x="196524" y="10278"/>
                    <a:pt x="162114" y="-1772"/>
                    <a:pt x="126456" y="211"/>
                  </a:cubicBezTo>
                  <a:cubicBezTo>
                    <a:pt x="90736" y="2194"/>
                    <a:pt x="57926" y="17966"/>
                    <a:pt x="34069" y="44620"/>
                  </a:cubicBezTo>
                  <a:cubicBezTo>
                    <a:pt x="-15181" y="99654"/>
                    <a:pt x="-10475" y="184500"/>
                    <a:pt x="44560" y="233750"/>
                  </a:cubicBezTo>
                  <a:cubicBezTo>
                    <a:pt x="70083" y="256584"/>
                    <a:pt x="101995" y="267815"/>
                    <a:pt x="133812" y="267815"/>
                  </a:cubicBezTo>
                  <a:cubicBezTo>
                    <a:pt x="170616" y="267815"/>
                    <a:pt x="207274" y="252777"/>
                    <a:pt x="233690" y="223259"/>
                  </a:cubicBezTo>
                  <a:cubicBezTo>
                    <a:pt x="282934" y="168236"/>
                    <a:pt x="278229" y="83390"/>
                    <a:pt x="223194" y="34140"/>
                  </a:cubicBezTo>
                  <a:close/>
                  <a:moveTo>
                    <a:pt x="221053" y="211967"/>
                  </a:moveTo>
                  <a:cubicBezTo>
                    <a:pt x="178045" y="260036"/>
                    <a:pt x="103933" y="264149"/>
                    <a:pt x="55858" y="221118"/>
                  </a:cubicBezTo>
                  <a:cubicBezTo>
                    <a:pt x="7783" y="178100"/>
                    <a:pt x="3676" y="103993"/>
                    <a:pt x="46689" y="55924"/>
                  </a:cubicBezTo>
                  <a:cubicBezTo>
                    <a:pt x="67529" y="32638"/>
                    <a:pt x="96194" y="18859"/>
                    <a:pt x="127389" y="17130"/>
                  </a:cubicBezTo>
                  <a:cubicBezTo>
                    <a:pt x="129609" y="17012"/>
                    <a:pt x="131812" y="16950"/>
                    <a:pt x="134015" y="16950"/>
                  </a:cubicBezTo>
                  <a:cubicBezTo>
                    <a:pt x="162821" y="16950"/>
                    <a:pt x="190253" y="27406"/>
                    <a:pt x="211890" y="46766"/>
                  </a:cubicBezTo>
                  <a:cubicBezTo>
                    <a:pt x="259965" y="89791"/>
                    <a:pt x="264072" y="163897"/>
                    <a:pt x="221053" y="21196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Полилиния: фигура 192">
              <a:extLst>
                <a:ext uri="{FF2B5EF4-FFF2-40B4-BE49-F238E27FC236}">
                  <a16:creationId xmlns:a16="http://schemas.microsoft.com/office/drawing/2014/main" id="{9EF791DC-D7D1-4C41-A3B5-26F4970329D4}"/>
                </a:ext>
              </a:extLst>
            </p:cNvPr>
            <p:cNvSpPr/>
            <p:nvPr/>
          </p:nvSpPr>
          <p:spPr>
            <a:xfrm>
              <a:off x="2024984" y="1324054"/>
              <a:ext cx="142215" cy="46456"/>
            </a:xfrm>
            <a:custGeom>
              <a:avLst/>
              <a:gdLst>
                <a:gd name="connsiteX0" fmla="*/ 2161 w 142215"/>
                <a:gd name="connsiteY0" fmla="*/ 32333 h 46456"/>
                <a:gd name="connsiteX1" fmla="*/ 2822 w 142215"/>
                <a:gd name="connsiteY1" fmla="*/ 44298 h 46456"/>
                <a:gd name="connsiteX2" fmla="*/ 8471 w 142215"/>
                <a:gd name="connsiteY2" fmla="*/ 46456 h 46456"/>
                <a:gd name="connsiteX3" fmla="*/ 14787 w 142215"/>
                <a:gd name="connsiteY3" fmla="*/ 43632 h 46456"/>
                <a:gd name="connsiteX4" fmla="*/ 128094 w 142215"/>
                <a:gd name="connsiteY4" fmla="*/ 37344 h 46456"/>
                <a:gd name="connsiteX5" fmla="*/ 140059 w 142215"/>
                <a:gd name="connsiteY5" fmla="*/ 36683 h 46456"/>
                <a:gd name="connsiteX6" fmla="*/ 139392 w 142215"/>
                <a:gd name="connsiteY6" fmla="*/ 24718 h 46456"/>
                <a:gd name="connsiteX7" fmla="*/ 2161 w 142215"/>
                <a:gd name="connsiteY7" fmla="*/ 32333 h 46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215" h="46456">
                  <a:moveTo>
                    <a:pt x="2161" y="32333"/>
                  </a:moveTo>
                  <a:cubicBezTo>
                    <a:pt x="-963" y="35824"/>
                    <a:pt x="-663" y="41180"/>
                    <a:pt x="2822" y="44298"/>
                  </a:cubicBezTo>
                  <a:cubicBezTo>
                    <a:pt x="4443" y="45744"/>
                    <a:pt x="6460" y="46456"/>
                    <a:pt x="8471" y="46456"/>
                  </a:cubicBezTo>
                  <a:cubicBezTo>
                    <a:pt x="10799" y="46456"/>
                    <a:pt x="13115" y="45507"/>
                    <a:pt x="14787" y="43632"/>
                  </a:cubicBezTo>
                  <a:cubicBezTo>
                    <a:pt x="44299" y="10657"/>
                    <a:pt x="95119" y="7844"/>
                    <a:pt x="128094" y="37344"/>
                  </a:cubicBezTo>
                  <a:cubicBezTo>
                    <a:pt x="131579" y="40468"/>
                    <a:pt x="136929" y="40169"/>
                    <a:pt x="140059" y="36683"/>
                  </a:cubicBezTo>
                  <a:cubicBezTo>
                    <a:pt x="143177" y="33192"/>
                    <a:pt x="142878" y="27836"/>
                    <a:pt x="139392" y="24718"/>
                  </a:cubicBezTo>
                  <a:cubicBezTo>
                    <a:pt x="99452" y="-11019"/>
                    <a:pt x="37893" y="-7596"/>
                    <a:pt x="2161" y="3233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Полилиния: фигура 193">
              <a:extLst>
                <a:ext uri="{FF2B5EF4-FFF2-40B4-BE49-F238E27FC236}">
                  <a16:creationId xmlns:a16="http://schemas.microsoft.com/office/drawing/2014/main" id="{B226478B-E696-46DE-A263-BAF7710C491C}"/>
                </a:ext>
              </a:extLst>
            </p:cNvPr>
            <p:cNvSpPr/>
            <p:nvPr/>
          </p:nvSpPr>
          <p:spPr>
            <a:xfrm>
              <a:off x="1819856" y="1241126"/>
              <a:ext cx="459942" cy="490731"/>
            </a:xfrm>
            <a:custGeom>
              <a:avLst/>
              <a:gdLst>
                <a:gd name="connsiteX0" fmla="*/ 459612 w 459942"/>
                <a:gd name="connsiteY0" fmla="*/ 169149 h 490731"/>
                <a:gd name="connsiteX1" fmla="*/ 399402 w 459942"/>
                <a:gd name="connsiteY1" fmla="*/ 45312 h 490731"/>
                <a:gd name="connsiteX2" fmla="*/ 269255 w 459942"/>
                <a:gd name="connsiteY2" fmla="*/ 321 h 490731"/>
                <a:gd name="connsiteX3" fmla="*/ 145424 w 459942"/>
                <a:gd name="connsiteY3" fmla="*/ 60531 h 490731"/>
                <a:gd name="connsiteX4" fmla="*/ 154378 w 459942"/>
                <a:gd name="connsiteY4" fmla="*/ 308662 h 490731"/>
                <a:gd name="connsiteX5" fmla="*/ 125155 w 459942"/>
                <a:gd name="connsiteY5" fmla="*/ 342004 h 490731"/>
                <a:gd name="connsiteX6" fmla="*/ 115783 w 459942"/>
                <a:gd name="connsiteY6" fmla="*/ 333694 h 490731"/>
                <a:gd name="connsiteX7" fmla="*/ 103846 w 459942"/>
                <a:gd name="connsiteY7" fmla="*/ 334383 h 490731"/>
                <a:gd name="connsiteX8" fmla="*/ 2160 w 459942"/>
                <a:gd name="connsiteY8" fmla="*/ 448017 h 490731"/>
                <a:gd name="connsiteX9" fmla="*/ 13 w 459942"/>
                <a:gd name="connsiteY9" fmla="*/ 454135 h 490731"/>
                <a:gd name="connsiteX10" fmla="*/ 2821 w 459942"/>
                <a:gd name="connsiteY10" fmla="*/ 459982 h 490731"/>
                <a:gd name="connsiteX11" fmla="*/ 34767 w 459942"/>
                <a:gd name="connsiteY11" fmla="*/ 488573 h 490731"/>
                <a:gd name="connsiteX12" fmla="*/ 40416 w 459942"/>
                <a:gd name="connsiteY12" fmla="*/ 490731 h 490731"/>
                <a:gd name="connsiteX13" fmla="*/ 46732 w 459942"/>
                <a:gd name="connsiteY13" fmla="*/ 487906 h 490731"/>
                <a:gd name="connsiteX14" fmla="*/ 148554 w 459942"/>
                <a:gd name="connsiteY14" fmla="*/ 374125 h 490731"/>
                <a:gd name="connsiteX15" fmla="*/ 150701 w 459942"/>
                <a:gd name="connsiteY15" fmla="*/ 367985 h 490731"/>
                <a:gd name="connsiteX16" fmla="*/ 147865 w 459942"/>
                <a:gd name="connsiteY16" fmla="*/ 362138 h 490731"/>
                <a:gd name="connsiteX17" fmla="*/ 137837 w 459942"/>
                <a:gd name="connsiteY17" fmla="*/ 353246 h 490731"/>
                <a:gd name="connsiteX18" fmla="*/ 167044 w 459942"/>
                <a:gd name="connsiteY18" fmla="*/ 319927 h 490731"/>
                <a:gd name="connsiteX19" fmla="*/ 279780 w 459942"/>
                <a:gd name="connsiteY19" fmla="*/ 359833 h 490731"/>
                <a:gd name="connsiteX20" fmla="*/ 290790 w 459942"/>
                <a:gd name="connsiteY20" fmla="*/ 359500 h 490731"/>
                <a:gd name="connsiteX21" fmla="*/ 414627 w 459942"/>
                <a:gd name="connsiteY21" fmla="*/ 299284 h 490731"/>
                <a:gd name="connsiteX22" fmla="*/ 459612 w 459942"/>
                <a:gd name="connsiteY22" fmla="*/ 169149 h 490731"/>
                <a:gd name="connsiteX23" fmla="*/ 39755 w 459942"/>
                <a:gd name="connsiteY23" fmla="*/ 470292 h 490731"/>
                <a:gd name="connsiteX24" fmla="*/ 20441 w 459942"/>
                <a:gd name="connsiteY24" fmla="*/ 453006 h 490731"/>
                <a:gd name="connsiteX25" fmla="*/ 110851 w 459942"/>
                <a:gd name="connsiteY25" fmla="*/ 351975 h 490731"/>
                <a:gd name="connsiteX26" fmla="*/ 130250 w 459942"/>
                <a:gd name="connsiteY26" fmla="*/ 369177 h 490731"/>
                <a:gd name="connsiteX27" fmla="*/ 39755 w 459942"/>
                <a:gd name="connsiteY27" fmla="*/ 470292 h 490731"/>
                <a:gd name="connsiteX28" fmla="*/ 401944 w 459942"/>
                <a:gd name="connsiteY28" fmla="*/ 288042 h 490731"/>
                <a:gd name="connsiteX29" fmla="*/ 289773 w 459942"/>
                <a:gd name="connsiteY29" fmla="*/ 342580 h 490731"/>
                <a:gd name="connsiteX30" fmla="*/ 171891 w 459942"/>
                <a:gd name="connsiteY30" fmla="*/ 301832 h 490731"/>
                <a:gd name="connsiteX31" fmla="*/ 158107 w 459942"/>
                <a:gd name="connsiteY31" fmla="*/ 71773 h 490731"/>
                <a:gd name="connsiteX32" fmla="*/ 270278 w 459942"/>
                <a:gd name="connsiteY32" fmla="*/ 17235 h 490731"/>
                <a:gd name="connsiteX33" fmla="*/ 280249 w 459942"/>
                <a:gd name="connsiteY33" fmla="*/ 16936 h 490731"/>
                <a:gd name="connsiteX34" fmla="*/ 388166 w 459942"/>
                <a:gd name="connsiteY34" fmla="*/ 57989 h 490731"/>
                <a:gd name="connsiteX35" fmla="*/ 442704 w 459942"/>
                <a:gd name="connsiteY35" fmla="*/ 170160 h 490731"/>
                <a:gd name="connsiteX36" fmla="*/ 401944 w 459942"/>
                <a:gd name="connsiteY36" fmla="*/ 288042 h 490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59942" h="490731">
                  <a:moveTo>
                    <a:pt x="459612" y="169149"/>
                  </a:moveTo>
                  <a:cubicBezTo>
                    <a:pt x="456736" y="121175"/>
                    <a:pt x="435354" y="77202"/>
                    <a:pt x="399402" y="45312"/>
                  </a:cubicBezTo>
                  <a:cubicBezTo>
                    <a:pt x="363451" y="13422"/>
                    <a:pt x="317274" y="-2509"/>
                    <a:pt x="269255" y="321"/>
                  </a:cubicBezTo>
                  <a:cubicBezTo>
                    <a:pt x="221288" y="3197"/>
                    <a:pt x="177308" y="24579"/>
                    <a:pt x="145424" y="60531"/>
                  </a:cubicBezTo>
                  <a:cubicBezTo>
                    <a:pt x="81503" y="132598"/>
                    <a:pt x="86102" y="242108"/>
                    <a:pt x="154378" y="308662"/>
                  </a:cubicBezTo>
                  <a:lnTo>
                    <a:pt x="125155" y="342004"/>
                  </a:lnTo>
                  <a:lnTo>
                    <a:pt x="115783" y="333694"/>
                  </a:lnTo>
                  <a:cubicBezTo>
                    <a:pt x="112286" y="330587"/>
                    <a:pt x="106953" y="330903"/>
                    <a:pt x="103846" y="334383"/>
                  </a:cubicBezTo>
                  <a:lnTo>
                    <a:pt x="2160" y="448017"/>
                  </a:lnTo>
                  <a:cubicBezTo>
                    <a:pt x="657" y="449689"/>
                    <a:pt x="-111" y="451893"/>
                    <a:pt x="13" y="454135"/>
                  </a:cubicBezTo>
                  <a:cubicBezTo>
                    <a:pt x="137" y="456378"/>
                    <a:pt x="1149" y="458485"/>
                    <a:pt x="2821" y="459982"/>
                  </a:cubicBezTo>
                  <a:lnTo>
                    <a:pt x="34767" y="488573"/>
                  </a:lnTo>
                  <a:cubicBezTo>
                    <a:pt x="36388" y="490019"/>
                    <a:pt x="38405" y="490731"/>
                    <a:pt x="40416" y="490731"/>
                  </a:cubicBezTo>
                  <a:cubicBezTo>
                    <a:pt x="42744" y="490731"/>
                    <a:pt x="45060" y="489776"/>
                    <a:pt x="46732" y="487906"/>
                  </a:cubicBezTo>
                  <a:lnTo>
                    <a:pt x="148554" y="374125"/>
                  </a:lnTo>
                  <a:cubicBezTo>
                    <a:pt x="150057" y="372448"/>
                    <a:pt x="150831" y="370239"/>
                    <a:pt x="150701" y="367985"/>
                  </a:cubicBezTo>
                  <a:cubicBezTo>
                    <a:pt x="150571" y="365742"/>
                    <a:pt x="149548" y="363629"/>
                    <a:pt x="147865" y="362138"/>
                  </a:cubicBezTo>
                  <a:lnTo>
                    <a:pt x="137837" y="353246"/>
                  </a:lnTo>
                  <a:lnTo>
                    <a:pt x="167044" y="319927"/>
                  </a:lnTo>
                  <a:cubicBezTo>
                    <a:pt x="199148" y="345896"/>
                    <a:pt x="238563" y="359833"/>
                    <a:pt x="279780" y="359833"/>
                  </a:cubicBezTo>
                  <a:cubicBezTo>
                    <a:pt x="283435" y="359833"/>
                    <a:pt x="287113" y="359720"/>
                    <a:pt x="290790" y="359500"/>
                  </a:cubicBezTo>
                  <a:cubicBezTo>
                    <a:pt x="338758" y="356618"/>
                    <a:pt x="382737" y="335236"/>
                    <a:pt x="414627" y="299284"/>
                  </a:cubicBezTo>
                  <a:cubicBezTo>
                    <a:pt x="446517" y="263333"/>
                    <a:pt x="462487" y="217122"/>
                    <a:pt x="459612" y="169149"/>
                  </a:cubicBezTo>
                  <a:close/>
                  <a:moveTo>
                    <a:pt x="39755" y="470292"/>
                  </a:moveTo>
                  <a:lnTo>
                    <a:pt x="20441" y="453006"/>
                  </a:lnTo>
                  <a:lnTo>
                    <a:pt x="110851" y="351975"/>
                  </a:lnTo>
                  <a:lnTo>
                    <a:pt x="130250" y="369177"/>
                  </a:lnTo>
                  <a:lnTo>
                    <a:pt x="39755" y="470292"/>
                  </a:lnTo>
                  <a:close/>
                  <a:moveTo>
                    <a:pt x="401944" y="288042"/>
                  </a:moveTo>
                  <a:cubicBezTo>
                    <a:pt x="373060" y="320610"/>
                    <a:pt x="333222" y="339976"/>
                    <a:pt x="289773" y="342580"/>
                  </a:cubicBezTo>
                  <a:cubicBezTo>
                    <a:pt x="246331" y="345258"/>
                    <a:pt x="204459" y="330711"/>
                    <a:pt x="171891" y="301832"/>
                  </a:cubicBezTo>
                  <a:cubicBezTo>
                    <a:pt x="104665" y="242205"/>
                    <a:pt x="98479" y="138999"/>
                    <a:pt x="158107" y="71773"/>
                  </a:cubicBezTo>
                  <a:cubicBezTo>
                    <a:pt x="186991" y="39205"/>
                    <a:pt x="226830" y="19840"/>
                    <a:pt x="270278" y="17235"/>
                  </a:cubicBezTo>
                  <a:cubicBezTo>
                    <a:pt x="273611" y="17032"/>
                    <a:pt x="276933" y="16936"/>
                    <a:pt x="280249" y="16936"/>
                  </a:cubicBezTo>
                  <a:cubicBezTo>
                    <a:pt x="320098" y="16936"/>
                    <a:pt x="358095" y="31319"/>
                    <a:pt x="388166" y="57989"/>
                  </a:cubicBezTo>
                  <a:cubicBezTo>
                    <a:pt x="420734" y="86873"/>
                    <a:pt x="440099" y="126712"/>
                    <a:pt x="442704" y="170160"/>
                  </a:cubicBezTo>
                  <a:cubicBezTo>
                    <a:pt x="445302" y="213614"/>
                    <a:pt x="430823" y="255480"/>
                    <a:pt x="401944" y="28804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4907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563477" y="377501"/>
            <a:ext cx="10002539" cy="338554"/>
          </a:xfrm>
        </p:spPr>
        <p:txBody>
          <a:bodyPr/>
          <a:lstStyle/>
          <a:p>
            <a:pPr algn="ctr"/>
            <a:r>
              <a:rPr lang="ru-RU" dirty="0" smtClean="0"/>
              <a:t>Шаг 1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669713" y="6548438"/>
            <a:ext cx="522287" cy="215900"/>
          </a:xfrm>
        </p:spPr>
        <p:txBody>
          <a:bodyPr/>
          <a:lstStyle/>
          <a:p>
            <a:fld id="{766344E1-0F76-4023-B180-E4B0CE5660A5}" type="slidenum">
              <a:rPr lang="en-US" smtClean="0"/>
              <a:pPr/>
              <a:t>83</a:t>
            </a:fld>
            <a:endParaRPr lang="en-US" dirty="0"/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4082715" y="1331495"/>
            <a:ext cx="6876583" cy="42519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Char char="—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Теперь о самом главном – о том, как мы выявляем и фиксируем брак.</a:t>
            </a:r>
          </a:p>
          <a:p>
            <a: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/>
            </a:r>
            <a:b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</a:br>
            <a: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Приемка товара на грузовой зоне -доверительная, поэтому брак мы выявляем:</a:t>
            </a:r>
            <a:b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</a:br>
            <a: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1. На стойке информации от покупателей;</a:t>
            </a:r>
            <a:b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</a:br>
            <a: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2. При выкладке товара на полку</a:t>
            </a:r>
            <a:b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</a:br>
            <a: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/>
            </a:r>
            <a:b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</a:br>
            <a:endParaRPr lang="ru-RU" dirty="0" smtClean="0">
              <a:solidFill>
                <a:schemeClr val="accent6">
                  <a:lumMod val="75000"/>
                  <a:lumOff val="25000"/>
                </a:schemeClr>
              </a:solidFill>
            </a:endParaRPr>
          </a:p>
          <a:p>
            <a: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/>
            </a:r>
            <a:b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</a:br>
            <a: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/>
            </a:r>
            <a:b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</a:br>
            <a: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/>
            </a:r>
            <a:b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</a:br>
            <a: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/>
            </a:r>
            <a:b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</a:br>
            <a: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/>
            </a:r>
            <a:br>
              <a:rPr lang="ru-RU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</a:br>
            <a:endParaRPr lang="ru-RU" dirty="0">
              <a:solidFill>
                <a:schemeClr val="accent6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Рисунок 10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17" r="2811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11812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66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50EC52-B7B4-47B3-9551-ABD2BC12D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338554"/>
          </a:xfrm>
        </p:spPr>
        <p:txBody>
          <a:bodyPr vert="horz"/>
          <a:lstStyle/>
          <a:p>
            <a:r>
              <a:rPr lang="ru-RU" dirty="0" smtClean="0"/>
              <a:t>Шаг 1</a:t>
            </a:r>
            <a:endParaRPr lang="ru-RU" dirty="0"/>
          </a:p>
        </p:txBody>
      </p:sp>
      <p:sp>
        <p:nvSpPr>
          <p:cNvPr id="26" name="Нижний колонтитул 2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84</a:t>
            </a:fld>
            <a:endParaRPr lang="en-US" dirty="0"/>
          </a:p>
        </p:txBody>
      </p:sp>
      <p:sp>
        <p:nvSpPr>
          <p:cNvPr id="6" name="Прямоугольник 76">
            <a:extLst>
              <a:ext uri="{FF2B5EF4-FFF2-40B4-BE49-F238E27FC236}">
                <a16:creationId xmlns:a16="http://schemas.microsoft.com/office/drawing/2014/main" id="{A43B2C6E-C7E8-4F3B-96AC-834A864563D8}"/>
              </a:ext>
            </a:extLst>
          </p:cNvPr>
          <p:cNvSpPr/>
          <p:nvPr/>
        </p:nvSpPr>
        <p:spPr>
          <a:xfrm>
            <a:off x="701230" y="4075206"/>
            <a:ext cx="1980115" cy="430887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Предпродажный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брак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4215B2DE-B630-45DD-97D3-3ACE32B0B08B}"/>
              </a:ext>
            </a:extLst>
          </p:cNvPr>
          <p:cNvGrpSpPr/>
          <p:nvPr/>
        </p:nvGrpSpPr>
        <p:grpSpPr>
          <a:xfrm>
            <a:off x="566080" y="1853472"/>
            <a:ext cx="2336955" cy="1412177"/>
            <a:chOff x="566080" y="1853472"/>
            <a:chExt cx="2336955" cy="1412177"/>
          </a:xfrm>
        </p:grpSpPr>
        <p:sp>
          <p:nvSpPr>
            <p:cNvPr id="13" name="Прямоугольник 36">
              <a:extLst>
                <a:ext uri="{FF2B5EF4-FFF2-40B4-BE49-F238E27FC236}">
                  <a16:creationId xmlns:a16="http://schemas.microsoft.com/office/drawing/2014/main" id="{919A5363-DBBA-4A44-A12D-BEF2F1791933}"/>
                </a:ext>
              </a:extLst>
            </p:cNvPr>
            <p:cNvSpPr/>
            <p:nvPr/>
          </p:nvSpPr>
          <p:spPr>
            <a:xfrm>
              <a:off x="571160" y="1853472"/>
              <a:ext cx="2330346" cy="1412177"/>
            </a:xfrm>
            <a:prstGeom prst="rect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</a:ln>
            <a:effectLst/>
          </p:spPr>
          <p:txBody>
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6E1662CA-54E5-4D50-BD07-62AD5F80F62B}"/>
                </a:ext>
              </a:extLst>
            </p:cNvPr>
            <p:cNvCxnSpPr>
              <a:cxnSpLocks/>
            </p:cNvCxnSpPr>
            <p:nvPr/>
          </p:nvCxnSpPr>
          <p:spPr>
            <a:xfrm>
              <a:off x="566080" y="1863821"/>
              <a:ext cx="2336955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Прямоугольник 76">
            <a:extLst>
              <a:ext uri="{FF2B5EF4-FFF2-40B4-BE49-F238E27FC236}">
                <a16:creationId xmlns:a16="http://schemas.microsoft.com/office/drawing/2014/main" id="{98CD9C60-8D30-4388-BE7A-18E49ABA22D0}"/>
              </a:ext>
            </a:extLst>
          </p:cNvPr>
          <p:cNvSpPr/>
          <p:nvPr/>
        </p:nvSpPr>
        <p:spPr>
          <a:xfrm>
            <a:off x="701230" y="2521521"/>
            <a:ext cx="1980115" cy="430887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Возврат покупател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4F5983CD-89F9-43AB-BCD6-78D956DBECA6}"/>
              </a:ext>
            </a:extLst>
          </p:cNvPr>
          <p:cNvGrpSpPr/>
          <p:nvPr/>
        </p:nvGrpSpPr>
        <p:grpSpPr>
          <a:xfrm>
            <a:off x="566415" y="3353729"/>
            <a:ext cx="2335019" cy="1412177"/>
            <a:chOff x="566080" y="3353729"/>
            <a:chExt cx="2335019" cy="1412177"/>
          </a:xfrm>
        </p:grpSpPr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6E722A90-CB09-4D89-9A1C-65FE056FEA4B}"/>
                </a:ext>
              </a:extLst>
            </p:cNvPr>
            <p:cNvSpPr/>
            <p:nvPr/>
          </p:nvSpPr>
          <p:spPr>
            <a:xfrm>
              <a:off x="571160" y="3353729"/>
              <a:ext cx="2329939" cy="1412177"/>
            </a:xfrm>
            <a:prstGeom prst="rect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</a:ln>
            <a:effectLst/>
          </p:spPr>
          <p:txBody>
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C338B686-B59C-48F0-BCF2-544B4E700419}"/>
                </a:ext>
              </a:extLst>
            </p:cNvPr>
            <p:cNvCxnSpPr>
              <a:cxnSpLocks/>
            </p:cNvCxnSpPr>
            <p:nvPr/>
          </p:nvCxnSpPr>
          <p:spPr>
            <a:xfrm>
              <a:off x="566080" y="3363889"/>
              <a:ext cx="2330011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Прямоугольник 36">
            <a:extLst>
              <a:ext uri="{FF2B5EF4-FFF2-40B4-BE49-F238E27FC236}">
                <a16:creationId xmlns:a16="http://schemas.microsoft.com/office/drawing/2014/main" id="{6D38F18C-E444-4641-9CC3-496AB25EB53D}"/>
              </a:ext>
            </a:extLst>
          </p:cNvPr>
          <p:cNvSpPr/>
          <p:nvPr/>
        </p:nvSpPr>
        <p:spPr>
          <a:xfrm>
            <a:off x="3049299" y="1856201"/>
            <a:ext cx="4210050" cy="1412177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  <a:effectLst/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Прямоугольник 36">
            <a:extLst>
              <a:ext uri="{FF2B5EF4-FFF2-40B4-BE49-F238E27FC236}">
                <a16:creationId xmlns:a16="http://schemas.microsoft.com/office/drawing/2014/main" id="{14E550C3-47C4-40D2-84BF-453D7EAC6362}"/>
              </a:ext>
            </a:extLst>
          </p:cNvPr>
          <p:cNvSpPr/>
          <p:nvPr/>
        </p:nvSpPr>
        <p:spPr>
          <a:xfrm>
            <a:off x="3049299" y="3353729"/>
            <a:ext cx="4210050" cy="1412177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  <a:effectLst/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84125FD-9845-9824-CF1F-24E9F78DD52E}"/>
              </a:ext>
            </a:extLst>
          </p:cNvPr>
          <p:cNvSpPr txBox="1"/>
          <p:nvPr/>
        </p:nvSpPr>
        <p:spPr>
          <a:xfrm>
            <a:off x="3168571" y="3659616"/>
            <a:ext cx="385921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Его могут обнаружить сотрудники на складе или прямо в торговом зале до того, как товар купили.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A0B624F-2C9D-F5F0-B7F3-BD647361DE76}"/>
              </a:ext>
            </a:extLst>
          </p:cNvPr>
          <p:cNvSpPr txBox="1"/>
          <p:nvPr/>
        </p:nvSpPr>
        <p:spPr>
          <a:xfrm>
            <a:off x="3168571" y="2152189"/>
            <a:ext cx="38592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Возврат покупателя: Это наиболее частый случай. </a:t>
            </a:r>
          </a:p>
        </p:txBody>
      </p:sp>
      <p:sp>
        <p:nvSpPr>
          <p:cNvPr id="53" name="Прямоугольник 36">
            <a:extLst>
              <a:ext uri="{FF2B5EF4-FFF2-40B4-BE49-F238E27FC236}">
                <a16:creationId xmlns:a16="http://schemas.microsoft.com/office/drawing/2014/main" id="{B308B3C8-44A2-A6D8-D91B-C820D7CE7FCD}"/>
              </a:ext>
            </a:extLst>
          </p:cNvPr>
          <p:cNvSpPr/>
          <p:nvPr/>
        </p:nvSpPr>
        <p:spPr>
          <a:xfrm>
            <a:off x="7496080" y="1863821"/>
            <a:ext cx="4210050" cy="1412177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  <a:effectLst/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AD8CDD1-AFCC-3030-1809-FC4D3F88AA7B}"/>
              </a:ext>
            </a:extLst>
          </p:cNvPr>
          <p:cNvSpPr txBox="1"/>
          <p:nvPr/>
        </p:nvSpPr>
        <p:spPr>
          <a:xfrm>
            <a:off x="7671499" y="2073880"/>
            <a:ext cx="3859212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Возврат без акта </a:t>
            </a:r>
            <a:r>
              <a:rPr lang="ru-RU" sz="1200" dirty="0" smtClean="0"/>
              <a:t>СЦ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/>
              <a:t>Акт СЦ, товар в ТК</a:t>
            </a:r>
            <a:endParaRPr lang="ru-RU" sz="1200" dirty="0"/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/>
              <a:t>Акт СЦ, товар СЦ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66080" y="1017791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По товарам «Мультимедиа» </a:t>
            </a:r>
            <a:r>
              <a:rPr lang="ru-RU" dirty="0" smtClean="0"/>
              <a:t>существует два </a:t>
            </a:r>
            <a:r>
              <a:rPr lang="ru-RU" dirty="0"/>
              <a:t>вида брака: 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C5DFD868-2B84-43F0-AF34-FE20EB871A35}"/>
              </a:ext>
            </a:extLst>
          </p:cNvPr>
          <p:cNvGrpSpPr/>
          <p:nvPr/>
        </p:nvGrpSpPr>
        <p:grpSpPr>
          <a:xfrm>
            <a:off x="701230" y="1971438"/>
            <a:ext cx="393463" cy="389554"/>
            <a:chOff x="5282583" y="5577098"/>
            <a:chExt cx="503911" cy="503911"/>
          </a:xfrm>
          <a:solidFill>
            <a:schemeClr val="tx1"/>
          </a:solidFill>
        </p:grpSpPr>
        <p:sp>
          <p:nvSpPr>
            <p:cNvPr id="24" name="Полилиния: фигура 297">
              <a:extLst>
                <a:ext uri="{FF2B5EF4-FFF2-40B4-BE49-F238E27FC236}">
                  <a16:creationId xmlns:a16="http://schemas.microsoft.com/office/drawing/2014/main" id="{F479CDEB-5F4C-4385-B4C3-1490C7C0D7DE}"/>
                </a:ext>
              </a:extLst>
            </p:cNvPr>
            <p:cNvSpPr/>
            <p:nvPr/>
          </p:nvSpPr>
          <p:spPr>
            <a:xfrm>
              <a:off x="5282583" y="5577098"/>
              <a:ext cx="503911" cy="503911"/>
            </a:xfrm>
            <a:custGeom>
              <a:avLst/>
              <a:gdLst>
                <a:gd name="connsiteX0" fmla="*/ 251956 w 503911"/>
                <a:gd name="connsiteY0" fmla="*/ 0 h 503911"/>
                <a:gd name="connsiteX1" fmla="*/ 0 w 503911"/>
                <a:gd name="connsiteY1" fmla="*/ 251956 h 503911"/>
                <a:gd name="connsiteX2" fmla="*/ 251956 w 503911"/>
                <a:gd name="connsiteY2" fmla="*/ 503911 h 503911"/>
                <a:gd name="connsiteX3" fmla="*/ 503911 w 503911"/>
                <a:gd name="connsiteY3" fmla="*/ 251956 h 503911"/>
                <a:gd name="connsiteX4" fmla="*/ 251956 w 503911"/>
                <a:gd name="connsiteY4" fmla="*/ 0 h 503911"/>
                <a:gd name="connsiteX5" fmla="*/ 251956 w 503911"/>
                <a:gd name="connsiteY5" fmla="*/ 486964 h 503911"/>
                <a:gd name="connsiteX6" fmla="*/ 16948 w 503911"/>
                <a:gd name="connsiteY6" fmla="*/ 251956 h 503911"/>
                <a:gd name="connsiteX7" fmla="*/ 251956 w 503911"/>
                <a:gd name="connsiteY7" fmla="*/ 16948 h 503911"/>
                <a:gd name="connsiteX8" fmla="*/ 486964 w 503911"/>
                <a:gd name="connsiteY8" fmla="*/ 251956 h 503911"/>
                <a:gd name="connsiteX9" fmla="*/ 251956 w 503911"/>
                <a:gd name="connsiteY9" fmla="*/ 486964 h 50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3911" h="503911">
                  <a:moveTo>
                    <a:pt x="251956" y="0"/>
                  </a:moveTo>
                  <a:cubicBezTo>
                    <a:pt x="112985" y="0"/>
                    <a:pt x="0" y="112985"/>
                    <a:pt x="0" y="251956"/>
                  </a:cubicBezTo>
                  <a:cubicBezTo>
                    <a:pt x="0" y="390927"/>
                    <a:pt x="112985" y="503911"/>
                    <a:pt x="251956" y="503911"/>
                  </a:cubicBezTo>
                  <a:cubicBezTo>
                    <a:pt x="390927" y="503911"/>
                    <a:pt x="503911" y="390927"/>
                    <a:pt x="503911" y="251956"/>
                  </a:cubicBezTo>
                  <a:cubicBezTo>
                    <a:pt x="503911" y="112985"/>
                    <a:pt x="390927" y="0"/>
                    <a:pt x="251956" y="0"/>
                  </a:cubicBezTo>
                  <a:close/>
                  <a:moveTo>
                    <a:pt x="251956" y="486964"/>
                  </a:moveTo>
                  <a:cubicBezTo>
                    <a:pt x="122588" y="486964"/>
                    <a:pt x="16948" y="381323"/>
                    <a:pt x="16948" y="251956"/>
                  </a:cubicBezTo>
                  <a:cubicBezTo>
                    <a:pt x="16948" y="122588"/>
                    <a:pt x="122588" y="16948"/>
                    <a:pt x="251956" y="16948"/>
                  </a:cubicBezTo>
                  <a:cubicBezTo>
                    <a:pt x="381323" y="16948"/>
                    <a:pt x="486964" y="122588"/>
                    <a:pt x="486964" y="251956"/>
                  </a:cubicBezTo>
                  <a:cubicBezTo>
                    <a:pt x="486964" y="381323"/>
                    <a:pt x="381323" y="486964"/>
                    <a:pt x="251956" y="486964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Полилиния: фигура 298">
              <a:extLst>
                <a:ext uri="{FF2B5EF4-FFF2-40B4-BE49-F238E27FC236}">
                  <a16:creationId xmlns:a16="http://schemas.microsoft.com/office/drawing/2014/main" id="{3D6EDD4A-00C1-438B-835E-A1C03AE8BA48}"/>
                </a:ext>
              </a:extLst>
            </p:cNvPr>
            <p:cNvSpPr/>
            <p:nvPr/>
          </p:nvSpPr>
          <p:spPr>
            <a:xfrm>
              <a:off x="5391048" y="5712115"/>
              <a:ext cx="82478" cy="82491"/>
            </a:xfrm>
            <a:custGeom>
              <a:avLst/>
              <a:gdLst>
                <a:gd name="connsiteX0" fmla="*/ 82479 w 82478"/>
                <a:gd name="connsiteY0" fmla="*/ 41239 h 82491"/>
                <a:gd name="connsiteX1" fmla="*/ 41239 w 82478"/>
                <a:gd name="connsiteY1" fmla="*/ 0 h 82491"/>
                <a:gd name="connsiteX2" fmla="*/ 0 w 82478"/>
                <a:gd name="connsiteY2" fmla="*/ 41239 h 82491"/>
                <a:gd name="connsiteX3" fmla="*/ 41239 w 82478"/>
                <a:gd name="connsiteY3" fmla="*/ 82479 h 82491"/>
                <a:gd name="connsiteX4" fmla="*/ 82479 w 82478"/>
                <a:gd name="connsiteY4" fmla="*/ 41239 h 82491"/>
                <a:gd name="connsiteX5" fmla="*/ 16383 w 82478"/>
                <a:gd name="connsiteY5" fmla="*/ 41239 h 82491"/>
                <a:gd name="connsiteX6" fmla="*/ 40674 w 82478"/>
                <a:gd name="connsiteY6" fmla="*/ 16948 h 82491"/>
                <a:gd name="connsiteX7" fmla="*/ 64966 w 82478"/>
                <a:gd name="connsiteY7" fmla="*/ 41239 h 82491"/>
                <a:gd name="connsiteX8" fmla="*/ 40674 w 82478"/>
                <a:gd name="connsiteY8" fmla="*/ 65531 h 82491"/>
                <a:gd name="connsiteX9" fmla="*/ 16383 w 82478"/>
                <a:gd name="connsiteY9" fmla="*/ 41239 h 82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478" h="82491">
                  <a:moveTo>
                    <a:pt x="82479" y="41239"/>
                  </a:moveTo>
                  <a:cubicBezTo>
                    <a:pt x="82479" y="18642"/>
                    <a:pt x="63836" y="0"/>
                    <a:pt x="41239" y="0"/>
                  </a:cubicBezTo>
                  <a:cubicBezTo>
                    <a:pt x="18642" y="0"/>
                    <a:pt x="0" y="18642"/>
                    <a:pt x="0" y="41239"/>
                  </a:cubicBezTo>
                  <a:cubicBezTo>
                    <a:pt x="0" y="63836"/>
                    <a:pt x="18642" y="82479"/>
                    <a:pt x="41239" y="82479"/>
                  </a:cubicBezTo>
                  <a:cubicBezTo>
                    <a:pt x="63836" y="83044"/>
                    <a:pt x="82479" y="64401"/>
                    <a:pt x="82479" y="41239"/>
                  </a:cubicBezTo>
                  <a:close/>
                  <a:moveTo>
                    <a:pt x="16383" y="41239"/>
                  </a:moveTo>
                  <a:cubicBezTo>
                    <a:pt x="16383" y="27681"/>
                    <a:pt x="27116" y="16948"/>
                    <a:pt x="40674" y="16948"/>
                  </a:cubicBezTo>
                  <a:cubicBezTo>
                    <a:pt x="54233" y="16948"/>
                    <a:pt x="64966" y="27681"/>
                    <a:pt x="64966" y="41239"/>
                  </a:cubicBezTo>
                  <a:cubicBezTo>
                    <a:pt x="64966" y="54798"/>
                    <a:pt x="54233" y="65531"/>
                    <a:pt x="40674" y="65531"/>
                  </a:cubicBezTo>
                  <a:cubicBezTo>
                    <a:pt x="27116" y="65531"/>
                    <a:pt x="16383" y="54798"/>
                    <a:pt x="16383" y="4123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Полилиния: фигура 299">
              <a:extLst>
                <a:ext uri="{FF2B5EF4-FFF2-40B4-BE49-F238E27FC236}">
                  <a16:creationId xmlns:a16="http://schemas.microsoft.com/office/drawing/2014/main" id="{F7151D42-6EF6-4CF7-BB16-5E8003D9D6C9}"/>
                </a:ext>
              </a:extLst>
            </p:cNvPr>
            <p:cNvSpPr/>
            <p:nvPr/>
          </p:nvSpPr>
          <p:spPr>
            <a:xfrm>
              <a:off x="5591031" y="5712115"/>
              <a:ext cx="82478" cy="82478"/>
            </a:xfrm>
            <a:custGeom>
              <a:avLst/>
              <a:gdLst>
                <a:gd name="connsiteX0" fmla="*/ 41239 w 82478"/>
                <a:gd name="connsiteY0" fmla="*/ 0 h 82478"/>
                <a:gd name="connsiteX1" fmla="*/ 0 w 82478"/>
                <a:gd name="connsiteY1" fmla="*/ 41239 h 82478"/>
                <a:gd name="connsiteX2" fmla="*/ 41239 w 82478"/>
                <a:gd name="connsiteY2" fmla="*/ 82479 h 82478"/>
                <a:gd name="connsiteX3" fmla="*/ 82479 w 82478"/>
                <a:gd name="connsiteY3" fmla="*/ 41239 h 82478"/>
                <a:gd name="connsiteX4" fmla="*/ 41239 w 82478"/>
                <a:gd name="connsiteY4" fmla="*/ 0 h 82478"/>
                <a:gd name="connsiteX5" fmla="*/ 41239 w 82478"/>
                <a:gd name="connsiteY5" fmla="*/ 66096 h 82478"/>
                <a:gd name="connsiteX6" fmla="*/ 16948 w 82478"/>
                <a:gd name="connsiteY6" fmla="*/ 41804 h 82478"/>
                <a:gd name="connsiteX7" fmla="*/ 41239 w 82478"/>
                <a:gd name="connsiteY7" fmla="*/ 17513 h 82478"/>
                <a:gd name="connsiteX8" fmla="*/ 65531 w 82478"/>
                <a:gd name="connsiteY8" fmla="*/ 41804 h 82478"/>
                <a:gd name="connsiteX9" fmla="*/ 41239 w 82478"/>
                <a:gd name="connsiteY9" fmla="*/ 66096 h 8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478" h="82478">
                  <a:moveTo>
                    <a:pt x="41239" y="0"/>
                  </a:moveTo>
                  <a:cubicBezTo>
                    <a:pt x="18642" y="0"/>
                    <a:pt x="0" y="18642"/>
                    <a:pt x="0" y="41239"/>
                  </a:cubicBezTo>
                  <a:cubicBezTo>
                    <a:pt x="0" y="63836"/>
                    <a:pt x="18642" y="82479"/>
                    <a:pt x="41239" y="82479"/>
                  </a:cubicBezTo>
                  <a:cubicBezTo>
                    <a:pt x="63836" y="82479"/>
                    <a:pt x="82479" y="63836"/>
                    <a:pt x="82479" y="41239"/>
                  </a:cubicBezTo>
                  <a:cubicBezTo>
                    <a:pt x="82479" y="18642"/>
                    <a:pt x="64401" y="0"/>
                    <a:pt x="41239" y="0"/>
                  </a:cubicBezTo>
                  <a:close/>
                  <a:moveTo>
                    <a:pt x="41239" y="66096"/>
                  </a:moveTo>
                  <a:cubicBezTo>
                    <a:pt x="27681" y="66096"/>
                    <a:pt x="16948" y="55362"/>
                    <a:pt x="16948" y="41804"/>
                  </a:cubicBezTo>
                  <a:cubicBezTo>
                    <a:pt x="16948" y="28246"/>
                    <a:pt x="27681" y="17513"/>
                    <a:pt x="41239" y="17513"/>
                  </a:cubicBezTo>
                  <a:cubicBezTo>
                    <a:pt x="54798" y="17513"/>
                    <a:pt x="65531" y="28246"/>
                    <a:pt x="65531" y="41804"/>
                  </a:cubicBezTo>
                  <a:cubicBezTo>
                    <a:pt x="65531" y="55362"/>
                    <a:pt x="54798" y="66096"/>
                    <a:pt x="41239" y="66096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Полилиния: фигура 300">
              <a:extLst>
                <a:ext uri="{FF2B5EF4-FFF2-40B4-BE49-F238E27FC236}">
                  <a16:creationId xmlns:a16="http://schemas.microsoft.com/office/drawing/2014/main" id="{9FC07660-B6DF-4E0C-A1AD-33C80993C271}"/>
                </a:ext>
              </a:extLst>
            </p:cNvPr>
            <p:cNvSpPr/>
            <p:nvPr/>
          </p:nvSpPr>
          <p:spPr>
            <a:xfrm>
              <a:off x="5425511" y="5886676"/>
              <a:ext cx="214605" cy="87563"/>
            </a:xfrm>
            <a:custGeom>
              <a:avLst/>
              <a:gdLst>
                <a:gd name="connsiteX0" fmla="*/ 205065 w 214605"/>
                <a:gd name="connsiteY0" fmla="*/ 87563 h 87563"/>
                <a:gd name="connsiteX1" fmla="*/ 197156 w 214605"/>
                <a:gd name="connsiteY1" fmla="*/ 81914 h 87563"/>
                <a:gd name="connsiteX2" fmla="*/ 106768 w 214605"/>
                <a:gd name="connsiteY2" fmla="*/ 16948 h 87563"/>
                <a:gd name="connsiteX3" fmla="*/ 16381 w 214605"/>
                <a:gd name="connsiteY3" fmla="*/ 81914 h 87563"/>
                <a:gd name="connsiteX4" fmla="*/ 5647 w 214605"/>
                <a:gd name="connsiteY4" fmla="*/ 86998 h 87563"/>
                <a:gd name="connsiteX5" fmla="*/ 563 w 214605"/>
                <a:gd name="connsiteY5" fmla="*/ 76265 h 87563"/>
                <a:gd name="connsiteX6" fmla="*/ 107333 w 214605"/>
                <a:gd name="connsiteY6" fmla="*/ 0 h 87563"/>
                <a:gd name="connsiteX7" fmla="*/ 214104 w 214605"/>
                <a:gd name="connsiteY7" fmla="*/ 76265 h 87563"/>
                <a:gd name="connsiteX8" fmla="*/ 209019 w 214605"/>
                <a:gd name="connsiteY8" fmla="*/ 86998 h 87563"/>
                <a:gd name="connsiteX9" fmla="*/ 205065 w 214605"/>
                <a:gd name="connsiteY9" fmla="*/ 87563 h 8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4605" h="87563">
                  <a:moveTo>
                    <a:pt x="205065" y="87563"/>
                  </a:moveTo>
                  <a:cubicBezTo>
                    <a:pt x="201675" y="87563"/>
                    <a:pt x="198286" y="85303"/>
                    <a:pt x="197156" y="81914"/>
                  </a:cubicBezTo>
                  <a:cubicBezTo>
                    <a:pt x="184163" y="42934"/>
                    <a:pt x="147443" y="16948"/>
                    <a:pt x="106768" y="16948"/>
                  </a:cubicBezTo>
                  <a:cubicBezTo>
                    <a:pt x="65529" y="16948"/>
                    <a:pt x="29374" y="42934"/>
                    <a:pt x="16381" y="81914"/>
                  </a:cubicBezTo>
                  <a:cubicBezTo>
                    <a:pt x="14686" y="86433"/>
                    <a:pt x="10166" y="88693"/>
                    <a:pt x="5647" y="86998"/>
                  </a:cubicBezTo>
                  <a:cubicBezTo>
                    <a:pt x="1128" y="85303"/>
                    <a:pt x="-1132" y="80784"/>
                    <a:pt x="563" y="76265"/>
                  </a:cubicBezTo>
                  <a:cubicBezTo>
                    <a:pt x="16381" y="30506"/>
                    <a:pt x="58750" y="0"/>
                    <a:pt x="107333" y="0"/>
                  </a:cubicBezTo>
                  <a:cubicBezTo>
                    <a:pt x="155352" y="0"/>
                    <a:pt x="198286" y="30506"/>
                    <a:pt x="214104" y="76265"/>
                  </a:cubicBezTo>
                  <a:cubicBezTo>
                    <a:pt x="215798" y="80784"/>
                    <a:pt x="212974" y="85303"/>
                    <a:pt x="209019" y="86998"/>
                  </a:cubicBezTo>
                  <a:cubicBezTo>
                    <a:pt x="207325" y="86998"/>
                    <a:pt x="206195" y="87563"/>
                    <a:pt x="205065" y="8756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0" name="Рисунок 21">
            <a:extLst>
              <a:ext uri="{FF2B5EF4-FFF2-40B4-BE49-F238E27FC236}">
                <a16:creationId xmlns:a16="http://schemas.microsoft.com/office/drawing/2014/main" id="{C0905855-AA4C-4163-BFD8-D5B183D8737F}"/>
              </a:ext>
            </a:extLst>
          </p:cNvPr>
          <p:cNvGrpSpPr/>
          <p:nvPr/>
        </p:nvGrpSpPr>
        <p:grpSpPr>
          <a:xfrm>
            <a:off x="753118" y="3494094"/>
            <a:ext cx="518669" cy="393751"/>
            <a:chOff x="11081386" y="5631896"/>
            <a:chExt cx="518669" cy="393751"/>
          </a:xfrm>
          <a:solidFill>
            <a:schemeClr val="tx1"/>
          </a:solidFill>
        </p:grpSpPr>
        <p:sp>
          <p:nvSpPr>
            <p:cNvPr id="31" name="Полилиния: фигура 121">
              <a:extLst>
                <a:ext uri="{FF2B5EF4-FFF2-40B4-BE49-F238E27FC236}">
                  <a16:creationId xmlns:a16="http://schemas.microsoft.com/office/drawing/2014/main" id="{69163310-DDA9-43CD-A913-F160078E6F71}"/>
                </a:ext>
              </a:extLst>
            </p:cNvPr>
            <p:cNvSpPr/>
            <p:nvPr/>
          </p:nvSpPr>
          <p:spPr>
            <a:xfrm>
              <a:off x="11124955" y="5972544"/>
              <a:ext cx="18077" cy="53102"/>
            </a:xfrm>
            <a:custGeom>
              <a:avLst/>
              <a:gdLst>
                <a:gd name="connsiteX0" fmla="*/ 9039 w 18077"/>
                <a:gd name="connsiteY0" fmla="*/ 53103 h 53102"/>
                <a:gd name="connsiteX1" fmla="*/ 0 w 18077"/>
                <a:gd name="connsiteY1" fmla="*/ 44064 h 53102"/>
                <a:gd name="connsiteX2" fmla="*/ 0 w 18077"/>
                <a:gd name="connsiteY2" fmla="*/ 9039 h 53102"/>
                <a:gd name="connsiteX3" fmla="*/ 9039 w 18077"/>
                <a:gd name="connsiteY3" fmla="*/ 0 h 53102"/>
                <a:gd name="connsiteX4" fmla="*/ 18078 w 18077"/>
                <a:gd name="connsiteY4" fmla="*/ 9039 h 53102"/>
                <a:gd name="connsiteX5" fmla="*/ 18078 w 18077"/>
                <a:gd name="connsiteY5" fmla="*/ 44064 h 53102"/>
                <a:gd name="connsiteX6" fmla="*/ 9039 w 18077"/>
                <a:gd name="connsiteY6" fmla="*/ 53103 h 5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77" h="53102">
                  <a:moveTo>
                    <a:pt x="9039" y="53103"/>
                  </a:moveTo>
                  <a:cubicBezTo>
                    <a:pt x="3954" y="53103"/>
                    <a:pt x="0" y="49148"/>
                    <a:pt x="0" y="44064"/>
                  </a:cubicBezTo>
                  <a:lnTo>
                    <a:pt x="0" y="9039"/>
                  </a:lnTo>
                  <a:cubicBezTo>
                    <a:pt x="0" y="3954"/>
                    <a:pt x="3954" y="0"/>
                    <a:pt x="9039" y="0"/>
                  </a:cubicBezTo>
                  <a:cubicBezTo>
                    <a:pt x="14123" y="0"/>
                    <a:pt x="18078" y="3954"/>
                    <a:pt x="18078" y="9039"/>
                  </a:cubicBezTo>
                  <a:lnTo>
                    <a:pt x="18078" y="44064"/>
                  </a:lnTo>
                  <a:cubicBezTo>
                    <a:pt x="18078" y="49148"/>
                    <a:pt x="14123" y="53103"/>
                    <a:pt x="9039" y="5310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grpSp>
          <p:nvGrpSpPr>
            <p:cNvPr id="32" name="Рисунок 21">
              <a:extLst>
                <a:ext uri="{FF2B5EF4-FFF2-40B4-BE49-F238E27FC236}">
                  <a16:creationId xmlns:a16="http://schemas.microsoft.com/office/drawing/2014/main" id="{99483A91-51E1-4E5B-BBB6-643641DD59AC}"/>
                </a:ext>
              </a:extLst>
            </p:cNvPr>
            <p:cNvGrpSpPr/>
            <p:nvPr/>
          </p:nvGrpSpPr>
          <p:grpSpPr>
            <a:xfrm>
              <a:off x="11297822" y="5972544"/>
              <a:ext cx="254215" cy="53102"/>
              <a:chOff x="11297822" y="5972544"/>
              <a:chExt cx="254215" cy="53102"/>
            </a:xfrm>
            <a:grpFill/>
          </p:grpSpPr>
          <p:sp>
            <p:nvSpPr>
              <p:cNvPr id="43" name="Полилиния: фигура 123">
                <a:extLst>
                  <a:ext uri="{FF2B5EF4-FFF2-40B4-BE49-F238E27FC236}">
                    <a16:creationId xmlns:a16="http://schemas.microsoft.com/office/drawing/2014/main" id="{1BAC9F06-5D82-4578-BA4D-CEBA2BB13AC0}"/>
                  </a:ext>
                </a:extLst>
              </p:cNvPr>
              <p:cNvSpPr/>
              <p:nvPr/>
            </p:nvSpPr>
            <p:spPr>
              <a:xfrm>
                <a:off x="11297822" y="5972544"/>
                <a:ext cx="18077" cy="53102"/>
              </a:xfrm>
              <a:custGeom>
                <a:avLst/>
                <a:gdLst>
                  <a:gd name="connsiteX0" fmla="*/ 9039 w 18077"/>
                  <a:gd name="connsiteY0" fmla="*/ 53103 h 53102"/>
                  <a:gd name="connsiteX1" fmla="*/ 0 w 18077"/>
                  <a:gd name="connsiteY1" fmla="*/ 44064 h 53102"/>
                  <a:gd name="connsiteX2" fmla="*/ 0 w 18077"/>
                  <a:gd name="connsiteY2" fmla="*/ 9039 h 53102"/>
                  <a:gd name="connsiteX3" fmla="*/ 9039 w 18077"/>
                  <a:gd name="connsiteY3" fmla="*/ 0 h 53102"/>
                  <a:gd name="connsiteX4" fmla="*/ 18078 w 18077"/>
                  <a:gd name="connsiteY4" fmla="*/ 9039 h 53102"/>
                  <a:gd name="connsiteX5" fmla="*/ 18078 w 18077"/>
                  <a:gd name="connsiteY5" fmla="*/ 44064 h 53102"/>
                  <a:gd name="connsiteX6" fmla="*/ 9039 w 18077"/>
                  <a:gd name="connsiteY6" fmla="*/ 53103 h 53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7" h="53102">
                    <a:moveTo>
                      <a:pt x="9039" y="53103"/>
                    </a:moveTo>
                    <a:cubicBezTo>
                      <a:pt x="3954" y="53103"/>
                      <a:pt x="0" y="49148"/>
                      <a:pt x="0" y="44064"/>
                    </a:cubicBezTo>
                    <a:lnTo>
                      <a:pt x="0" y="9039"/>
                    </a:lnTo>
                    <a:cubicBezTo>
                      <a:pt x="0" y="3954"/>
                      <a:pt x="3954" y="0"/>
                      <a:pt x="9039" y="0"/>
                    </a:cubicBezTo>
                    <a:cubicBezTo>
                      <a:pt x="14123" y="0"/>
                      <a:pt x="18078" y="3954"/>
                      <a:pt x="18078" y="9039"/>
                    </a:cubicBezTo>
                    <a:lnTo>
                      <a:pt x="18078" y="44064"/>
                    </a:lnTo>
                    <a:cubicBezTo>
                      <a:pt x="18078" y="49148"/>
                      <a:pt x="14123" y="53103"/>
                      <a:pt x="9039" y="53103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Полилиния: фигура 124">
                <a:extLst>
                  <a:ext uri="{FF2B5EF4-FFF2-40B4-BE49-F238E27FC236}">
                    <a16:creationId xmlns:a16="http://schemas.microsoft.com/office/drawing/2014/main" id="{25991F3C-00CC-428F-B29E-05B273CF32A2}"/>
                  </a:ext>
                </a:extLst>
              </p:cNvPr>
              <p:cNvSpPr/>
              <p:nvPr/>
            </p:nvSpPr>
            <p:spPr>
              <a:xfrm>
                <a:off x="11533960" y="5972544"/>
                <a:ext cx="18077" cy="53102"/>
              </a:xfrm>
              <a:custGeom>
                <a:avLst/>
                <a:gdLst>
                  <a:gd name="connsiteX0" fmla="*/ 9039 w 18077"/>
                  <a:gd name="connsiteY0" fmla="*/ 53103 h 53102"/>
                  <a:gd name="connsiteX1" fmla="*/ 0 w 18077"/>
                  <a:gd name="connsiteY1" fmla="*/ 44064 h 53102"/>
                  <a:gd name="connsiteX2" fmla="*/ 0 w 18077"/>
                  <a:gd name="connsiteY2" fmla="*/ 9039 h 53102"/>
                  <a:gd name="connsiteX3" fmla="*/ 9039 w 18077"/>
                  <a:gd name="connsiteY3" fmla="*/ 0 h 53102"/>
                  <a:gd name="connsiteX4" fmla="*/ 18078 w 18077"/>
                  <a:gd name="connsiteY4" fmla="*/ 9039 h 53102"/>
                  <a:gd name="connsiteX5" fmla="*/ 18078 w 18077"/>
                  <a:gd name="connsiteY5" fmla="*/ 44064 h 53102"/>
                  <a:gd name="connsiteX6" fmla="*/ 9039 w 18077"/>
                  <a:gd name="connsiteY6" fmla="*/ 53103 h 53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7" h="53102">
                    <a:moveTo>
                      <a:pt x="9039" y="53103"/>
                    </a:moveTo>
                    <a:cubicBezTo>
                      <a:pt x="3954" y="53103"/>
                      <a:pt x="0" y="49148"/>
                      <a:pt x="0" y="44064"/>
                    </a:cubicBezTo>
                    <a:lnTo>
                      <a:pt x="0" y="9039"/>
                    </a:lnTo>
                    <a:cubicBezTo>
                      <a:pt x="0" y="3954"/>
                      <a:pt x="3954" y="0"/>
                      <a:pt x="9039" y="0"/>
                    </a:cubicBezTo>
                    <a:cubicBezTo>
                      <a:pt x="14123" y="0"/>
                      <a:pt x="18078" y="3954"/>
                      <a:pt x="18078" y="9039"/>
                    </a:cubicBezTo>
                    <a:lnTo>
                      <a:pt x="18078" y="44064"/>
                    </a:lnTo>
                    <a:cubicBezTo>
                      <a:pt x="18078" y="49148"/>
                      <a:pt x="14123" y="53103"/>
                      <a:pt x="9039" y="53103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3" name="Рисунок 21">
              <a:extLst>
                <a:ext uri="{FF2B5EF4-FFF2-40B4-BE49-F238E27FC236}">
                  <a16:creationId xmlns:a16="http://schemas.microsoft.com/office/drawing/2014/main" id="{E6472C3E-20F2-4127-9E58-B2FB502F7C91}"/>
                </a:ext>
              </a:extLst>
            </p:cNvPr>
            <p:cNvGrpSpPr/>
            <p:nvPr/>
          </p:nvGrpSpPr>
          <p:grpSpPr>
            <a:xfrm>
              <a:off x="11081386" y="5631896"/>
              <a:ext cx="518669" cy="358726"/>
              <a:chOff x="11081386" y="5631896"/>
              <a:chExt cx="518669" cy="358726"/>
            </a:xfrm>
            <a:grpFill/>
          </p:grpSpPr>
          <p:sp>
            <p:nvSpPr>
              <p:cNvPr id="34" name="Полилиния: фигура 126">
                <a:extLst>
                  <a:ext uri="{FF2B5EF4-FFF2-40B4-BE49-F238E27FC236}">
                    <a16:creationId xmlns:a16="http://schemas.microsoft.com/office/drawing/2014/main" id="{134D1BE5-112C-48D1-BED4-AA998DA4267B}"/>
                  </a:ext>
                </a:extLst>
              </p:cNvPr>
              <p:cNvSpPr/>
              <p:nvPr/>
            </p:nvSpPr>
            <p:spPr>
              <a:xfrm>
                <a:off x="11108572" y="5705901"/>
                <a:ext cx="176868" cy="18077"/>
              </a:xfrm>
              <a:custGeom>
                <a:avLst/>
                <a:gdLst>
                  <a:gd name="connsiteX0" fmla="*/ 168347 w 176868"/>
                  <a:gd name="connsiteY0" fmla="*/ 18078 h 18077"/>
                  <a:gd name="connsiteX1" fmla="*/ 9039 w 176868"/>
                  <a:gd name="connsiteY1" fmla="*/ 18078 h 18077"/>
                  <a:gd name="connsiteX2" fmla="*/ 0 w 176868"/>
                  <a:gd name="connsiteY2" fmla="*/ 9039 h 18077"/>
                  <a:gd name="connsiteX3" fmla="*/ 9039 w 176868"/>
                  <a:gd name="connsiteY3" fmla="*/ 0 h 18077"/>
                  <a:gd name="connsiteX4" fmla="*/ 167782 w 176868"/>
                  <a:gd name="connsiteY4" fmla="*/ 0 h 18077"/>
                  <a:gd name="connsiteX5" fmla="*/ 176821 w 176868"/>
                  <a:gd name="connsiteY5" fmla="*/ 9039 h 18077"/>
                  <a:gd name="connsiteX6" fmla="*/ 168347 w 176868"/>
                  <a:gd name="connsiteY6" fmla="*/ 18078 h 18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868" h="18077">
                    <a:moveTo>
                      <a:pt x="168347" y="18078"/>
                    </a:moveTo>
                    <a:lnTo>
                      <a:pt x="9039" y="18078"/>
                    </a:lnTo>
                    <a:cubicBezTo>
                      <a:pt x="3954" y="18078"/>
                      <a:pt x="0" y="14123"/>
                      <a:pt x="0" y="9039"/>
                    </a:cubicBezTo>
                    <a:cubicBezTo>
                      <a:pt x="0" y="3954"/>
                      <a:pt x="3954" y="0"/>
                      <a:pt x="9039" y="0"/>
                    </a:cubicBezTo>
                    <a:lnTo>
                      <a:pt x="167782" y="0"/>
                    </a:lnTo>
                    <a:cubicBezTo>
                      <a:pt x="172866" y="0"/>
                      <a:pt x="176821" y="3954"/>
                      <a:pt x="176821" y="9039"/>
                    </a:cubicBezTo>
                    <a:cubicBezTo>
                      <a:pt x="177386" y="14123"/>
                      <a:pt x="172866" y="18078"/>
                      <a:pt x="168347" y="18078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Полилиния: фигура 127">
                <a:extLst>
                  <a:ext uri="{FF2B5EF4-FFF2-40B4-BE49-F238E27FC236}">
                    <a16:creationId xmlns:a16="http://schemas.microsoft.com/office/drawing/2014/main" id="{789BF545-B23E-4505-B55B-D43FDFE24B94}"/>
                  </a:ext>
                </a:extLst>
              </p:cNvPr>
              <p:cNvSpPr/>
              <p:nvPr/>
            </p:nvSpPr>
            <p:spPr>
              <a:xfrm>
                <a:off x="11249803" y="5756744"/>
                <a:ext cx="350252" cy="233878"/>
              </a:xfrm>
              <a:custGeom>
                <a:avLst/>
                <a:gdLst>
                  <a:gd name="connsiteX0" fmla="*/ 341214 w 350252"/>
                  <a:gd name="connsiteY0" fmla="*/ 233878 h 233878"/>
                  <a:gd name="connsiteX1" fmla="*/ 9039 w 350252"/>
                  <a:gd name="connsiteY1" fmla="*/ 233878 h 233878"/>
                  <a:gd name="connsiteX2" fmla="*/ 0 w 350252"/>
                  <a:gd name="connsiteY2" fmla="*/ 224839 h 233878"/>
                  <a:gd name="connsiteX3" fmla="*/ 0 w 350252"/>
                  <a:gd name="connsiteY3" fmla="*/ 9039 h 233878"/>
                  <a:gd name="connsiteX4" fmla="*/ 9039 w 350252"/>
                  <a:gd name="connsiteY4" fmla="*/ 0 h 233878"/>
                  <a:gd name="connsiteX5" fmla="*/ 341214 w 350252"/>
                  <a:gd name="connsiteY5" fmla="*/ 0 h 233878"/>
                  <a:gd name="connsiteX6" fmla="*/ 350252 w 350252"/>
                  <a:gd name="connsiteY6" fmla="*/ 9039 h 233878"/>
                  <a:gd name="connsiteX7" fmla="*/ 350252 w 350252"/>
                  <a:gd name="connsiteY7" fmla="*/ 224839 h 233878"/>
                  <a:gd name="connsiteX8" fmla="*/ 341214 w 350252"/>
                  <a:gd name="connsiteY8" fmla="*/ 233878 h 233878"/>
                  <a:gd name="connsiteX9" fmla="*/ 18078 w 350252"/>
                  <a:gd name="connsiteY9" fmla="*/ 215801 h 233878"/>
                  <a:gd name="connsiteX10" fmla="*/ 332175 w 350252"/>
                  <a:gd name="connsiteY10" fmla="*/ 215801 h 233878"/>
                  <a:gd name="connsiteX11" fmla="*/ 332175 w 350252"/>
                  <a:gd name="connsiteY11" fmla="*/ 18078 h 233878"/>
                  <a:gd name="connsiteX12" fmla="*/ 18078 w 350252"/>
                  <a:gd name="connsiteY12" fmla="*/ 18078 h 233878"/>
                  <a:gd name="connsiteX13" fmla="*/ 18078 w 350252"/>
                  <a:gd name="connsiteY13" fmla="*/ 215801 h 233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50252" h="233878">
                    <a:moveTo>
                      <a:pt x="341214" y="233878"/>
                    </a:moveTo>
                    <a:lnTo>
                      <a:pt x="9039" y="233878"/>
                    </a:lnTo>
                    <a:cubicBezTo>
                      <a:pt x="3954" y="233878"/>
                      <a:pt x="0" y="229924"/>
                      <a:pt x="0" y="224839"/>
                    </a:cubicBezTo>
                    <a:lnTo>
                      <a:pt x="0" y="9039"/>
                    </a:lnTo>
                    <a:cubicBezTo>
                      <a:pt x="0" y="3954"/>
                      <a:pt x="3954" y="0"/>
                      <a:pt x="9039" y="0"/>
                    </a:cubicBezTo>
                    <a:lnTo>
                      <a:pt x="341214" y="0"/>
                    </a:lnTo>
                    <a:cubicBezTo>
                      <a:pt x="346298" y="0"/>
                      <a:pt x="350252" y="3954"/>
                      <a:pt x="350252" y="9039"/>
                    </a:cubicBezTo>
                    <a:lnTo>
                      <a:pt x="350252" y="224839"/>
                    </a:lnTo>
                    <a:cubicBezTo>
                      <a:pt x="350252" y="229924"/>
                      <a:pt x="346298" y="233878"/>
                      <a:pt x="341214" y="233878"/>
                    </a:cubicBezTo>
                    <a:close/>
                    <a:moveTo>
                      <a:pt x="18078" y="215801"/>
                    </a:moveTo>
                    <a:lnTo>
                      <a:pt x="332175" y="215801"/>
                    </a:lnTo>
                    <a:lnTo>
                      <a:pt x="332175" y="18078"/>
                    </a:lnTo>
                    <a:lnTo>
                      <a:pt x="18078" y="18078"/>
                    </a:lnTo>
                    <a:lnTo>
                      <a:pt x="18078" y="215801"/>
                    </a:ln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Полилиния: фигура 128">
                <a:extLst>
                  <a:ext uri="{FF2B5EF4-FFF2-40B4-BE49-F238E27FC236}">
                    <a16:creationId xmlns:a16="http://schemas.microsoft.com/office/drawing/2014/main" id="{BCE00287-301A-457F-82FF-D7081D69DCAF}"/>
                  </a:ext>
                </a:extLst>
              </p:cNvPr>
              <p:cNvSpPr/>
              <p:nvPr/>
            </p:nvSpPr>
            <p:spPr>
              <a:xfrm>
                <a:off x="11297822" y="5797418"/>
                <a:ext cx="217495" cy="152529"/>
              </a:xfrm>
              <a:custGeom>
                <a:avLst/>
                <a:gdLst>
                  <a:gd name="connsiteX0" fmla="*/ 208457 w 217495"/>
                  <a:gd name="connsiteY0" fmla="*/ 152529 h 152529"/>
                  <a:gd name="connsiteX1" fmla="*/ 9039 w 217495"/>
                  <a:gd name="connsiteY1" fmla="*/ 152529 h 152529"/>
                  <a:gd name="connsiteX2" fmla="*/ 0 w 217495"/>
                  <a:gd name="connsiteY2" fmla="*/ 143490 h 152529"/>
                  <a:gd name="connsiteX3" fmla="*/ 0 w 217495"/>
                  <a:gd name="connsiteY3" fmla="*/ 9039 h 152529"/>
                  <a:gd name="connsiteX4" fmla="*/ 9039 w 217495"/>
                  <a:gd name="connsiteY4" fmla="*/ 0 h 152529"/>
                  <a:gd name="connsiteX5" fmla="*/ 208457 w 217495"/>
                  <a:gd name="connsiteY5" fmla="*/ 0 h 152529"/>
                  <a:gd name="connsiteX6" fmla="*/ 217495 w 217495"/>
                  <a:gd name="connsiteY6" fmla="*/ 9039 h 152529"/>
                  <a:gd name="connsiteX7" fmla="*/ 217495 w 217495"/>
                  <a:gd name="connsiteY7" fmla="*/ 143490 h 152529"/>
                  <a:gd name="connsiteX8" fmla="*/ 208457 w 217495"/>
                  <a:gd name="connsiteY8" fmla="*/ 152529 h 152529"/>
                  <a:gd name="connsiteX9" fmla="*/ 18078 w 217495"/>
                  <a:gd name="connsiteY9" fmla="*/ 134452 h 152529"/>
                  <a:gd name="connsiteX10" fmla="*/ 199418 w 217495"/>
                  <a:gd name="connsiteY10" fmla="*/ 134452 h 152529"/>
                  <a:gd name="connsiteX11" fmla="*/ 199418 w 217495"/>
                  <a:gd name="connsiteY11" fmla="*/ 18078 h 152529"/>
                  <a:gd name="connsiteX12" fmla="*/ 18078 w 217495"/>
                  <a:gd name="connsiteY12" fmla="*/ 18078 h 152529"/>
                  <a:gd name="connsiteX13" fmla="*/ 18078 w 217495"/>
                  <a:gd name="connsiteY13" fmla="*/ 134452 h 152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7495" h="152529">
                    <a:moveTo>
                      <a:pt x="208457" y="152529"/>
                    </a:moveTo>
                    <a:lnTo>
                      <a:pt x="9039" y="152529"/>
                    </a:lnTo>
                    <a:cubicBezTo>
                      <a:pt x="3954" y="152529"/>
                      <a:pt x="0" y="148575"/>
                      <a:pt x="0" y="143490"/>
                    </a:cubicBezTo>
                    <a:lnTo>
                      <a:pt x="0" y="9039"/>
                    </a:lnTo>
                    <a:cubicBezTo>
                      <a:pt x="0" y="3954"/>
                      <a:pt x="3954" y="0"/>
                      <a:pt x="9039" y="0"/>
                    </a:cubicBezTo>
                    <a:lnTo>
                      <a:pt x="208457" y="0"/>
                    </a:lnTo>
                    <a:cubicBezTo>
                      <a:pt x="213541" y="0"/>
                      <a:pt x="217495" y="3954"/>
                      <a:pt x="217495" y="9039"/>
                    </a:cubicBezTo>
                    <a:lnTo>
                      <a:pt x="217495" y="143490"/>
                    </a:lnTo>
                    <a:cubicBezTo>
                      <a:pt x="217495" y="148575"/>
                      <a:pt x="213541" y="152529"/>
                      <a:pt x="208457" y="152529"/>
                    </a:cubicBezTo>
                    <a:close/>
                    <a:moveTo>
                      <a:pt x="18078" y="134452"/>
                    </a:moveTo>
                    <a:lnTo>
                      <a:pt x="199418" y="134452"/>
                    </a:lnTo>
                    <a:lnTo>
                      <a:pt x="199418" y="18078"/>
                    </a:lnTo>
                    <a:lnTo>
                      <a:pt x="18078" y="18078"/>
                    </a:lnTo>
                    <a:lnTo>
                      <a:pt x="18078" y="134452"/>
                    </a:ln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37" name="Рисунок 21">
                <a:extLst>
                  <a:ext uri="{FF2B5EF4-FFF2-40B4-BE49-F238E27FC236}">
                    <a16:creationId xmlns:a16="http://schemas.microsoft.com/office/drawing/2014/main" id="{8E922D97-27E4-4BE8-BF9B-2D15CBD3E4E2}"/>
                  </a:ext>
                </a:extLst>
              </p:cNvPr>
              <p:cNvGrpSpPr/>
              <p:nvPr/>
            </p:nvGrpSpPr>
            <p:grpSpPr>
              <a:xfrm>
                <a:off x="11081386" y="5631896"/>
                <a:ext cx="219825" cy="220884"/>
                <a:chOff x="11081386" y="5631896"/>
                <a:chExt cx="219825" cy="220884"/>
              </a:xfrm>
              <a:grpFill/>
            </p:grpSpPr>
            <p:sp>
              <p:nvSpPr>
                <p:cNvPr id="41" name="Полилиния: фигура 130">
                  <a:extLst>
                    <a:ext uri="{FF2B5EF4-FFF2-40B4-BE49-F238E27FC236}">
                      <a16:creationId xmlns:a16="http://schemas.microsoft.com/office/drawing/2014/main" id="{B58A97F2-4CB1-4ABE-B038-505A5C0534A5}"/>
                    </a:ext>
                  </a:extLst>
                </p:cNvPr>
                <p:cNvSpPr/>
                <p:nvPr/>
              </p:nvSpPr>
              <p:spPr>
                <a:xfrm>
                  <a:off x="11081456" y="5631896"/>
                  <a:ext cx="219755" cy="111854"/>
                </a:xfrm>
                <a:custGeom>
                  <a:avLst/>
                  <a:gdLst>
                    <a:gd name="connsiteX0" fmla="*/ 196593 w 219755"/>
                    <a:gd name="connsiteY0" fmla="*/ 111855 h 111854"/>
                    <a:gd name="connsiteX1" fmla="*/ 195463 w 219755"/>
                    <a:gd name="connsiteY1" fmla="*/ 111855 h 111854"/>
                    <a:gd name="connsiteX2" fmla="*/ 188119 w 219755"/>
                    <a:gd name="connsiteY2" fmla="*/ 101686 h 111854"/>
                    <a:gd name="connsiteX3" fmla="*/ 200548 w 219755"/>
                    <a:gd name="connsiteY3" fmla="*/ 18078 h 111854"/>
                    <a:gd name="connsiteX4" fmla="*/ 9039 w 219755"/>
                    <a:gd name="connsiteY4" fmla="*/ 18078 h 111854"/>
                    <a:gd name="connsiteX5" fmla="*/ 0 w 219755"/>
                    <a:gd name="connsiteY5" fmla="*/ 9039 h 111854"/>
                    <a:gd name="connsiteX6" fmla="*/ 9039 w 219755"/>
                    <a:gd name="connsiteY6" fmla="*/ 0 h 111854"/>
                    <a:gd name="connsiteX7" fmla="*/ 210716 w 219755"/>
                    <a:gd name="connsiteY7" fmla="*/ 0 h 111854"/>
                    <a:gd name="connsiteX8" fmla="*/ 217495 w 219755"/>
                    <a:gd name="connsiteY8" fmla="*/ 3390 h 111854"/>
                    <a:gd name="connsiteX9" fmla="*/ 219755 w 219755"/>
                    <a:gd name="connsiteY9" fmla="*/ 10734 h 111854"/>
                    <a:gd name="connsiteX10" fmla="*/ 205632 w 219755"/>
                    <a:gd name="connsiteY10" fmla="*/ 104511 h 111854"/>
                    <a:gd name="connsiteX11" fmla="*/ 196593 w 219755"/>
                    <a:gd name="connsiteY11" fmla="*/ 111855 h 1118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19755" h="111854">
                      <a:moveTo>
                        <a:pt x="196593" y="111855"/>
                      </a:moveTo>
                      <a:cubicBezTo>
                        <a:pt x="196028" y="111855"/>
                        <a:pt x="195463" y="111855"/>
                        <a:pt x="195463" y="111855"/>
                      </a:cubicBezTo>
                      <a:cubicBezTo>
                        <a:pt x="190379" y="111290"/>
                        <a:pt x="186990" y="106770"/>
                        <a:pt x="188119" y="101686"/>
                      </a:cubicBezTo>
                      <a:lnTo>
                        <a:pt x="200548" y="18078"/>
                      </a:lnTo>
                      <a:lnTo>
                        <a:pt x="9039" y="18078"/>
                      </a:lnTo>
                      <a:cubicBezTo>
                        <a:pt x="3954" y="18078"/>
                        <a:pt x="0" y="14123"/>
                        <a:pt x="0" y="9039"/>
                      </a:cubicBezTo>
                      <a:cubicBezTo>
                        <a:pt x="0" y="3954"/>
                        <a:pt x="3954" y="0"/>
                        <a:pt x="9039" y="0"/>
                      </a:cubicBezTo>
                      <a:lnTo>
                        <a:pt x="210716" y="0"/>
                      </a:lnTo>
                      <a:cubicBezTo>
                        <a:pt x="213541" y="0"/>
                        <a:pt x="215801" y="1130"/>
                        <a:pt x="217495" y="3390"/>
                      </a:cubicBezTo>
                      <a:cubicBezTo>
                        <a:pt x="219190" y="5649"/>
                        <a:pt x="219755" y="7909"/>
                        <a:pt x="219755" y="10734"/>
                      </a:cubicBezTo>
                      <a:lnTo>
                        <a:pt x="205632" y="104511"/>
                      </a:lnTo>
                      <a:cubicBezTo>
                        <a:pt x="205067" y="109030"/>
                        <a:pt x="201113" y="111855"/>
                        <a:pt x="196593" y="111855"/>
                      </a:cubicBezTo>
                      <a:close/>
                    </a:path>
                  </a:pathLst>
                </a:custGeom>
                <a:grpFill/>
                <a:ln w="108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C96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" name="Полилиния: фигура 131">
                  <a:extLst>
                    <a:ext uri="{FF2B5EF4-FFF2-40B4-BE49-F238E27FC236}">
                      <a16:creationId xmlns:a16="http://schemas.microsoft.com/office/drawing/2014/main" id="{01BC3D4F-0A19-43DC-BEE4-1F54FC51A74D}"/>
                    </a:ext>
                  </a:extLst>
                </p:cNvPr>
                <p:cNvSpPr/>
                <p:nvPr/>
              </p:nvSpPr>
              <p:spPr>
                <a:xfrm>
                  <a:off x="11081386" y="5632955"/>
                  <a:ext cx="61143" cy="219825"/>
                </a:xfrm>
                <a:custGeom>
                  <a:avLst/>
                  <a:gdLst>
                    <a:gd name="connsiteX0" fmla="*/ 52608 w 61143"/>
                    <a:gd name="connsiteY0" fmla="*/ 218696 h 219825"/>
                    <a:gd name="connsiteX1" fmla="*/ 43570 w 61143"/>
                    <a:gd name="connsiteY1" fmla="*/ 210787 h 219825"/>
                    <a:gd name="connsiteX2" fmla="*/ 23232 w 61143"/>
                    <a:gd name="connsiteY2" fmla="*/ 50349 h 219825"/>
                    <a:gd name="connsiteX3" fmla="*/ 23232 w 61143"/>
                    <a:gd name="connsiteY3" fmla="*/ 50349 h 219825"/>
                    <a:gd name="connsiteX4" fmla="*/ 3460 w 61143"/>
                    <a:gd name="connsiteY4" fmla="*/ 15888 h 219825"/>
                    <a:gd name="connsiteX5" fmla="*/ 1765 w 61143"/>
                    <a:gd name="connsiteY5" fmla="*/ 3460 h 219825"/>
                    <a:gd name="connsiteX6" fmla="*/ 14194 w 61143"/>
                    <a:gd name="connsiteY6" fmla="*/ 1765 h 219825"/>
                    <a:gd name="connsiteX7" fmla="*/ 40745 w 61143"/>
                    <a:gd name="connsiteY7" fmla="*/ 48089 h 219825"/>
                    <a:gd name="connsiteX8" fmla="*/ 61082 w 61143"/>
                    <a:gd name="connsiteY8" fmla="*/ 209657 h 219825"/>
                    <a:gd name="connsiteX9" fmla="*/ 53173 w 61143"/>
                    <a:gd name="connsiteY9" fmla="*/ 219826 h 219825"/>
                    <a:gd name="connsiteX10" fmla="*/ 52608 w 61143"/>
                    <a:gd name="connsiteY10" fmla="*/ 218696 h 219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143" h="219825">
                      <a:moveTo>
                        <a:pt x="52608" y="218696"/>
                      </a:moveTo>
                      <a:cubicBezTo>
                        <a:pt x="48089" y="218696"/>
                        <a:pt x="44135" y="215306"/>
                        <a:pt x="43570" y="210787"/>
                      </a:cubicBezTo>
                      <a:lnTo>
                        <a:pt x="23232" y="50349"/>
                      </a:lnTo>
                      <a:lnTo>
                        <a:pt x="23232" y="50349"/>
                      </a:lnTo>
                      <a:cubicBezTo>
                        <a:pt x="23232" y="50349"/>
                        <a:pt x="19278" y="27752"/>
                        <a:pt x="3460" y="15888"/>
                      </a:cubicBezTo>
                      <a:cubicBezTo>
                        <a:pt x="-494" y="13064"/>
                        <a:pt x="-1059" y="7415"/>
                        <a:pt x="1765" y="3460"/>
                      </a:cubicBezTo>
                      <a:cubicBezTo>
                        <a:pt x="4590" y="-494"/>
                        <a:pt x="10239" y="-1059"/>
                        <a:pt x="14194" y="1765"/>
                      </a:cubicBezTo>
                      <a:cubicBezTo>
                        <a:pt x="35661" y="18713"/>
                        <a:pt x="40745" y="46959"/>
                        <a:pt x="40745" y="48089"/>
                      </a:cubicBezTo>
                      <a:lnTo>
                        <a:pt x="61082" y="209657"/>
                      </a:lnTo>
                      <a:cubicBezTo>
                        <a:pt x="61647" y="214741"/>
                        <a:pt x="58258" y="219261"/>
                        <a:pt x="53173" y="219826"/>
                      </a:cubicBezTo>
                      <a:cubicBezTo>
                        <a:pt x="53738" y="218696"/>
                        <a:pt x="53173" y="218696"/>
                        <a:pt x="52608" y="218696"/>
                      </a:cubicBezTo>
                      <a:close/>
                    </a:path>
                  </a:pathLst>
                </a:custGeom>
                <a:grpFill/>
                <a:ln w="108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C96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9" name="Полилиния: фигура 132">
                <a:extLst>
                  <a:ext uri="{FF2B5EF4-FFF2-40B4-BE49-F238E27FC236}">
                    <a16:creationId xmlns:a16="http://schemas.microsoft.com/office/drawing/2014/main" id="{5CFD63DF-66D6-4FBB-9404-707F529C380C}"/>
                  </a:ext>
                </a:extLst>
              </p:cNvPr>
              <p:cNvSpPr/>
              <p:nvPr/>
            </p:nvSpPr>
            <p:spPr>
              <a:xfrm>
                <a:off x="11081433" y="5833573"/>
                <a:ext cx="154300" cy="157048"/>
              </a:xfrm>
              <a:custGeom>
                <a:avLst/>
                <a:gdLst>
                  <a:gd name="connsiteX0" fmla="*/ 145773 w 154300"/>
                  <a:gd name="connsiteY0" fmla="*/ 157049 h 157048"/>
                  <a:gd name="connsiteX1" fmla="*/ 9062 w 154300"/>
                  <a:gd name="connsiteY1" fmla="*/ 157049 h 157048"/>
                  <a:gd name="connsiteX2" fmla="*/ 1718 w 154300"/>
                  <a:gd name="connsiteY2" fmla="*/ 153094 h 157048"/>
                  <a:gd name="connsiteX3" fmla="*/ 588 w 154300"/>
                  <a:gd name="connsiteY3" fmla="*/ 145185 h 157048"/>
                  <a:gd name="connsiteX4" fmla="*/ 44087 w 154300"/>
                  <a:gd name="connsiteY4" fmla="*/ 6214 h 157048"/>
                  <a:gd name="connsiteX5" fmla="*/ 52561 w 154300"/>
                  <a:gd name="connsiteY5" fmla="*/ 0 h 157048"/>
                  <a:gd name="connsiteX6" fmla="*/ 142948 w 154300"/>
                  <a:gd name="connsiteY6" fmla="*/ 0 h 157048"/>
                  <a:gd name="connsiteX7" fmla="*/ 151987 w 154300"/>
                  <a:gd name="connsiteY7" fmla="*/ 9039 h 157048"/>
                  <a:gd name="connsiteX8" fmla="*/ 142948 w 154300"/>
                  <a:gd name="connsiteY8" fmla="*/ 18078 h 157048"/>
                  <a:gd name="connsiteX9" fmla="*/ 59340 w 154300"/>
                  <a:gd name="connsiteY9" fmla="*/ 18078 h 157048"/>
                  <a:gd name="connsiteX10" fmla="*/ 20925 w 154300"/>
                  <a:gd name="connsiteY10" fmla="*/ 138971 h 157048"/>
                  <a:gd name="connsiteX11" fmla="*/ 145208 w 154300"/>
                  <a:gd name="connsiteY11" fmla="*/ 138971 h 157048"/>
                  <a:gd name="connsiteX12" fmla="*/ 154247 w 154300"/>
                  <a:gd name="connsiteY12" fmla="*/ 148010 h 157048"/>
                  <a:gd name="connsiteX13" fmla="*/ 145773 w 154300"/>
                  <a:gd name="connsiteY13" fmla="*/ 157049 h 157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4300" h="157048">
                    <a:moveTo>
                      <a:pt x="145773" y="157049"/>
                    </a:moveTo>
                    <a:lnTo>
                      <a:pt x="9062" y="157049"/>
                    </a:lnTo>
                    <a:cubicBezTo>
                      <a:pt x="6237" y="157049"/>
                      <a:pt x="3412" y="155919"/>
                      <a:pt x="1718" y="153094"/>
                    </a:cubicBezTo>
                    <a:cubicBezTo>
                      <a:pt x="23" y="150834"/>
                      <a:pt x="-542" y="148010"/>
                      <a:pt x="588" y="145185"/>
                    </a:cubicBezTo>
                    <a:lnTo>
                      <a:pt x="44087" y="6214"/>
                    </a:lnTo>
                    <a:cubicBezTo>
                      <a:pt x="45217" y="2260"/>
                      <a:pt x="48606" y="0"/>
                      <a:pt x="52561" y="0"/>
                    </a:cubicBezTo>
                    <a:lnTo>
                      <a:pt x="142948" y="0"/>
                    </a:lnTo>
                    <a:cubicBezTo>
                      <a:pt x="148033" y="0"/>
                      <a:pt x="151987" y="3954"/>
                      <a:pt x="151987" y="9039"/>
                    </a:cubicBezTo>
                    <a:cubicBezTo>
                      <a:pt x="151987" y="14123"/>
                      <a:pt x="148033" y="18078"/>
                      <a:pt x="142948" y="18078"/>
                    </a:cubicBezTo>
                    <a:lnTo>
                      <a:pt x="59340" y="18078"/>
                    </a:lnTo>
                    <a:lnTo>
                      <a:pt x="20925" y="138971"/>
                    </a:lnTo>
                    <a:lnTo>
                      <a:pt x="145208" y="138971"/>
                    </a:lnTo>
                    <a:cubicBezTo>
                      <a:pt x="150292" y="138971"/>
                      <a:pt x="154247" y="142926"/>
                      <a:pt x="154247" y="148010"/>
                    </a:cubicBezTo>
                    <a:cubicBezTo>
                      <a:pt x="154812" y="153094"/>
                      <a:pt x="150857" y="157049"/>
                      <a:pt x="145773" y="157049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" name="Полилиния: фигура 133">
                <a:extLst>
                  <a:ext uri="{FF2B5EF4-FFF2-40B4-BE49-F238E27FC236}">
                    <a16:creationId xmlns:a16="http://schemas.microsoft.com/office/drawing/2014/main" id="{0EEBFF70-05AE-45E2-A64E-47CC6A8D7442}"/>
                  </a:ext>
                </a:extLst>
              </p:cNvPr>
              <p:cNvSpPr/>
              <p:nvPr/>
            </p:nvSpPr>
            <p:spPr>
              <a:xfrm>
                <a:off x="11275790" y="5683869"/>
                <a:ext cx="51972" cy="62141"/>
              </a:xfrm>
              <a:custGeom>
                <a:avLst/>
                <a:gdLst>
                  <a:gd name="connsiteX0" fmla="*/ 42934 w 51972"/>
                  <a:gd name="connsiteY0" fmla="*/ 62142 h 62141"/>
                  <a:gd name="connsiteX1" fmla="*/ 33895 w 51972"/>
                  <a:gd name="connsiteY1" fmla="*/ 53103 h 62141"/>
                  <a:gd name="connsiteX2" fmla="*/ 33895 w 51972"/>
                  <a:gd name="connsiteY2" fmla="*/ 18078 h 62141"/>
                  <a:gd name="connsiteX3" fmla="*/ 9039 w 51972"/>
                  <a:gd name="connsiteY3" fmla="*/ 18078 h 62141"/>
                  <a:gd name="connsiteX4" fmla="*/ 0 w 51972"/>
                  <a:gd name="connsiteY4" fmla="*/ 9039 h 62141"/>
                  <a:gd name="connsiteX5" fmla="*/ 9039 w 51972"/>
                  <a:gd name="connsiteY5" fmla="*/ 0 h 62141"/>
                  <a:gd name="connsiteX6" fmla="*/ 42934 w 51972"/>
                  <a:gd name="connsiteY6" fmla="*/ 0 h 62141"/>
                  <a:gd name="connsiteX7" fmla="*/ 51973 w 51972"/>
                  <a:gd name="connsiteY7" fmla="*/ 9039 h 62141"/>
                  <a:gd name="connsiteX8" fmla="*/ 51973 w 51972"/>
                  <a:gd name="connsiteY8" fmla="*/ 53103 h 62141"/>
                  <a:gd name="connsiteX9" fmla="*/ 42934 w 51972"/>
                  <a:gd name="connsiteY9" fmla="*/ 62142 h 62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972" h="62141">
                    <a:moveTo>
                      <a:pt x="42934" y="62142"/>
                    </a:moveTo>
                    <a:cubicBezTo>
                      <a:pt x="37850" y="62142"/>
                      <a:pt x="33895" y="58187"/>
                      <a:pt x="33895" y="53103"/>
                    </a:cubicBezTo>
                    <a:lnTo>
                      <a:pt x="33895" y="18078"/>
                    </a:lnTo>
                    <a:lnTo>
                      <a:pt x="9039" y="18078"/>
                    </a:lnTo>
                    <a:cubicBezTo>
                      <a:pt x="3954" y="18078"/>
                      <a:pt x="0" y="14123"/>
                      <a:pt x="0" y="9039"/>
                    </a:cubicBezTo>
                    <a:cubicBezTo>
                      <a:pt x="0" y="3954"/>
                      <a:pt x="3954" y="0"/>
                      <a:pt x="9039" y="0"/>
                    </a:cubicBezTo>
                    <a:lnTo>
                      <a:pt x="42934" y="0"/>
                    </a:lnTo>
                    <a:cubicBezTo>
                      <a:pt x="48018" y="0"/>
                      <a:pt x="51973" y="3954"/>
                      <a:pt x="51973" y="9039"/>
                    </a:cubicBezTo>
                    <a:lnTo>
                      <a:pt x="51973" y="53103"/>
                    </a:lnTo>
                    <a:cubicBezTo>
                      <a:pt x="51973" y="58187"/>
                      <a:pt x="47454" y="62142"/>
                      <a:pt x="42934" y="62142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39728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9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2264B0-4980-4D78-9E65-92E1A1354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690" y="387863"/>
            <a:ext cx="10002539" cy="360227"/>
          </a:xfrm>
        </p:spPr>
        <p:txBody>
          <a:bodyPr vert="horz"/>
          <a:lstStyle/>
          <a:p>
            <a:pPr lvl="0">
              <a:lnSpc>
                <a:spcPct val="107000"/>
              </a:lnSpc>
            </a:pPr>
            <a:r>
              <a:rPr lang="ru-RU" sz="2400" dirty="0"/>
              <a:t>Процедуры работы с СЦ в «Ленте»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85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D450BE-8AEF-416C-9E58-BA980120668D}"/>
              </a:ext>
            </a:extLst>
          </p:cNvPr>
          <p:cNvSpPr txBox="1"/>
          <p:nvPr/>
        </p:nvSpPr>
        <p:spPr>
          <a:xfrm>
            <a:off x="1759372" y="1642080"/>
            <a:ext cx="9862716" cy="86177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1400" dirty="0"/>
              <a:t> </a:t>
            </a:r>
            <a:r>
              <a:rPr lang="ru-RU" sz="1400" b="1" dirty="0"/>
              <a:t>Для объективной оценки причины рекламации</a:t>
            </a:r>
            <a:r>
              <a:rPr lang="ru-RU" sz="1400" dirty="0"/>
              <a:t>, особенно в технически сложных товарах, ключевым этапом является экспертиза в Авторизованном Сервисном Центре (АСЦ</a:t>
            </a:r>
            <a:r>
              <a:rPr lang="ru-RU" sz="1400" dirty="0" smtClean="0"/>
              <a:t>).</a:t>
            </a:r>
            <a:br>
              <a:rPr lang="ru-RU" sz="1400" dirty="0" smtClean="0"/>
            </a:br>
            <a:r>
              <a:rPr lang="ru-RU" sz="1400" dirty="0" smtClean="0"/>
              <a:t/>
            </a:r>
            <a:br>
              <a:rPr lang="ru-RU" sz="1400" dirty="0" smtClean="0"/>
            </a:br>
            <a:endParaRPr lang="ru-RU" sz="1400" dirty="0">
              <a:latin typeface="+mj-lt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92F02FC5-A218-465F-894E-52EB0D0FC73F}"/>
              </a:ext>
            </a:extLst>
          </p:cNvPr>
          <p:cNvSpPr/>
          <p:nvPr/>
        </p:nvSpPr>
        <p:spPr>
          <a:xfrm>
            <a:off x="764693" y="2661385"/>
            <a:ext cx="790114" cy="784800"/>
          </a:xfrm>
          <a:prstGeom prst="ellipse">
            <a:avLst/>
          </a:prstGeom>
          <a:noFill/>
          <a:ln w="152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92F02FC5-A218-465F-894E-52EB0D0FC73F}"/>
              </a:ext>
            </a:extLst>
          </p:cNvPr>
          <p:cNvSpPr/>
          <p:nvPr/>
        </p:nvSpPr>
        <p:spPr>
          <a:xfrm>
            <a:off x="786397" y="1402080"/>
            <a:ext cx="790114" cy="784800"/>
          </a:xfrm>
          <a:prstGeom prst="ellipse">
            <a:avLst/>
          </a:prstGeom>
          <a:noFill/>
          <a:ln w="152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2D450BE-8AEF-416C-9E58-BA980120668D}"/>
              </a:ext>
            </a:extLst>
          </p:cNvPr>
          <p:cNvSpPr txBox="1"/>
          <p:nvPr/>
        </p:nvSpPr>
        <p:spPr>
          <a:xfrm>
            <a:off x="1821952" y="2838341"/>
            <a:ext cx="9862716" cy="4308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1400" b="1" dirty="0" smtClean="0"/>
              <a:t>Это </a:t>
            </a:r>
            <a:r>
              <a:rPr lang="ru-RU" sz="1400" b="1" dirty="0"/>
              <a:t>заключение является </a:t>
            </a:r>
            <a:r>
              <a:rPr lang="ru-RU" sz="1400" b="1" dirty="0" smtClean="0"/>
              <a:t>доказательством </a:t>
            </a:r>
            <a:r>
              <a:rPr lang="ru-RU" sz="1400" dirty="0"/>
              <a:t>характера дефекта (производственный брак, неправильная эксплуатация, повреждение при транспортировке/хранении и т.д.)</a:t>
            </a:r>
            <a:endParaRPr lang="ru-RU" sz="1400" dirty="0">
              <a:latin typeface="+mj-lt"/>
            </a:endParaRPr>
          </a:p>
        </p:txBody>
      </p:sp>
      <p:grpSp>
        <p:nvGrpSpPr>
          <p:cNvPr id="36" name="Рисунок 54">
            <a:extLst>
              <a:ext uri="{FF2B5EF4-FFF2-40B4-BE49-F238E27FC236}">
                <a16:creationId xmlns:a16="http://schemas.microsoft.com/office/drawing/2014/main" id="{C89BF5D7-2AC1-455A-89FE-C11A2150360A}"/>
              </a:ext>
            </a:extLst>
          </p:cNvPr>
          <p:cNvGrpSpPr/>
          <p:nvPr/>
        </p:nvGrpSpPr>
        <p:grpSpPr>
          <a:xfrm>
            <a:off x="921595" y="1534615"/>
            <a:ext cx="519717" cy="519729"/>
            <a:chOff x="6437618" y="1223873"/>
            <a:chExt cx="519717" cy="519729"/>
          </a:xfrm>
          <a:solidFill>
            <a:schemeClr val="tx1"/>
          </a:solidFill>
        </p:grpSpPr>
        <p:sp>
          <p:nvSpPr>
            <p:cNvPr id="39" name="Полилиния: фигура 172">
              <a:extLst>
                <a:ext uri="{FF2B5EF4-FFF2-40B4-BE49-F238E27FC236}">
                  <a16:creationId xmlns:a16="http://schemas.microsoft.com/office/drawing/2014/main" id="{3DAD10DE-C1C1-4BC2-9BEB-C10A27940BE1}"/>
                </a:ext>
              </a:extLst>
            </p:cNvPr>
            <p:cNvSpPr/>
            <p:nvPr/>
          </p:nvSpPr>
          <p:spPr>
            <a:xfrm>
              <a:off x="6590141" y="1376402"/>
              <a:ext cx="209021" cy="209021"/>
            </a:xfrm>
            <a:custGeom>
              <a:avLst/>
              <a:gdLst>
                <a:gd name="connsiteX0" fmla="*/ 104511 w 209021"/>
                <a:gd name="connsiteY0" fmla="*/ 0 h 209021"/>
                <a:gd name="connsiteX1" fmla="*/ 0 w 209021"/>
                <a:gd name="connsiteY1" fmla="*/ 104511 h 209021"/>
                <a:gd name="connsiteX2" fmla="*/ 104511 w 209021"/>
                <a:gd name="connsiteY2" fmla="*/ 209022 h 209021"/>
                <a:gd name="connsiteX3" fmla="*/ 209022 w 209021"/>
                <a:gd name="connsiteY3" fmla="*/ 104511 h 209021"/>
                <a:gd name="connsiteX4" fmla="*/ 104511 w 209021"/>
                <a:gd name="connsiteY4" fmla="*/ 0 h 209021"/>
                <a:gd name="connsiteX5" fmla="*/ 104511 w 209021"/>
                <a:gd name="connsiteY5" fmla="*/ 192074 h 209021"/>
                <a:gd name="connsiteX6" fmla="*/ 16948 w 209021"/>
                <a:gd name="connsiteY6" fmla="*/ 104511 h 209021"/>
                <a:gd name="connsiteX7" fmla="*/ 104511 w 209021"/>
                <a:gd name="connsiteY7" fmla="*/ 16948 h 209021"/>
                <a:gd name="connsiteX8" fmla="*/ 192074 w 209021"/>
                <a:gd name="connsiteY8" fmla="*/ 104511 h 209021"/>
                <a:gd name="connsiteX9" fmla="*/ 104511 w 209021"/>
                <a:gd name="connsiteY9" fmla="*/ 192074 h 209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021" h="209021">
                  <a:moveTo>
                    <a:pt x="104511" y="0"/>
                  </a:moveTo>
                  <a:cubicBezTo>
                    <a:pt x="46883" y="0"/>
                    <a:pt x="0" y="46883"/>
                    <a:pt x="0" y="104511"/>
                  </a:cubicBezTo>
                  <a:cubicBezTo>
                    <a:pt x="0" y="162139"/>
                    <a:pt x="46883" y="209022"/>
                    <a:pt x="104511" y="209022"/>
                  </a:cubicBezTo>
                  <a:cubicBezTo>
                    <a:pt x="162139" y="209022"/>
                    <a:pt x="209022" y="162139"/>
                    <a:pt x="209022" y="104511"/>
                  </a:cubicBezTo>
                  <a:cubicBezTo>
                    <a:pt x="209022" y="46883"/>
                    <a:pt x="162139" y="0"/>
                    <a:pt x="104511" y="0"/>
                  </a:cubicBezTo>
                  <a:close/>
                  <a:moveTo>
                    <a:pt x="104511" y="192074"/>
                  </a:moveTo>
                  <a:cubicBezTo>
                    <a:pt x="56227" y="192074"/>
                    <a:pt x="16948" y="152795"/>
                    <a:pt x="16948" y="104511"/>
                  </a:cubicBezTo>
                  <a:cubicBezTo>
                    <a:pt x="16948" y="56227"/>
                    <a:pt x="56227" y="16948"/>
                    <a:pt x="104511" y="16948"/>
                  </a:cubicBezTo>
                  <a:cubicBezTo>
                    <a:pt x="152795" y="16948"/>
                    <a:pt x="192074" y="56227"/>
                    <a:pt x="192074" y="104511"/>
                  </a:cubicBezTo>
                  <a:cubicBezTo>
                    <a:pt x="192074" y="152795"/>
                    <a:pt x="152795" y="192074"/>
                    <a:pt x="104511" y="192074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Полилиния: фигура 173">
              <a:extLst>
                <a:ext uri="{FF2B5EF4-FFF2-40B4-BE49-F238E27FC236}">
                  <a16:creationId xmlns:a16="http://schemas.microsoft.com/office/drawing/2014/main" id="{8AE92611-E137-4620-BF63-B8D060FE7552}"/>
                </a:ext>
              </a:extLst>
            </p:cNvPr>
            <p:cNvSpPr/>
            <p:nvPr/>
          </p:nvSpPr>
          <p:spPr>
            <a:xfrm>
              <a:off x="6437618" y="1223873"/>
              <a:ext cx="519717" cy="519729"/>
            </a:xfrm>
            <a:custGeom>
              <a:avLst/>
              <a:gdLst>
                <a:gd name="connsiteX0" fmla="*/ 512521 w 519717"/>
                <a:gd name="connsiteY0" fmla="*/ 214676 h 519729"/>
                <a:gd name="connsiteX1" fmla="*/ 444911 w 519717"/>
                <a:gd name="connsiteY1" fmla="*/ 204446 h 519729"/>
                <a:gd name="connsiteX2" fmla="*/ 429935 w 519717"/>
                <a:gd name="connsiteY2" fmla="*/ 168149 h 519729"/>
                <a:gd name="connsiteX3" fmla="*/ 470474 w 519717"/>
                <a:gd name="connsiteY3" fmla="*/ 113165 h 519729"/>
                <a:gd name="connsiteX4" fmla="*/ 469649 w 519717"/>
                <a:gd name="connsiteY4" fmla="*/ 102144 h 519729"/>
                <a:gd name="connsiteX5" fmla="*/ 417585 w 519717"/>
                <a:gd name="connsiteY5" fmla="*/ 50086 h 519729"/>
                <a:gd name="connsiteX6" fmla="*/ 406564 w 519717"/>
                <a:gd name="connsiteY6" fmla="*/ 49256 h 519729"/>
                <a:gd name="connsiteX7" fmla="*/ 351755 w 519717"/>
                <a:gd name="connsiteY7" fmla="*/ 89659 h 519729"/>
                <a:gd name="connsiteX8" fmla="*/ 315227 w 519717"/>
                <a:gd name="connsiteY8" fmla="*/ 74457 h 519729"/>
                <a:gd name="connsiteX9" fmla="*/ 305053 w 519717"/>
                <a:gd name="connsiteY9" fmla="*/ 7208 h 519729"/>
                <a:gd name="connsiteX10" fmla="*/ 296675 w 519717"/>
                <a:gd name="connsiteY10" fmla="*/ 0 h 519729"/>
                <a:gd name="connsiteX11" fmla="*/ 223054 w 519717"/>
                <a:gd name="connsiteY11" fmla="*/ 0 h 519729"/>
                <a:gd name="connsiteX12" fmla="*/ 214676 w 519717"/>
                <a:gd name="connsiteY12" fmla="*/ 7208 h 519729"/>
                <a:gd name="connsiteX13" fmla="*/ 204502 w 519717"/>
                <a:gd name="connsiteY13" fmla="*/ 74457 h 519729"/>
                <a:gd name="connsiteX14" fmla="*/ 167974 w 519717"/>
                <a:gd name="connsiteY14" fmla="*/ 89659 h 519729"/>
                <a:gd name="connsiteX15" fmla="*/ 113165 w 519717"/>
                <a:gd name="connsiteY15" fmla="*/ 49256 h 519729"/>
                <a:gd name="connsiteX16" fmla="*/ 102144 w 519717"/>
                <a:gd name="connsiteY16" fmla="*/ 50086 h 519729"/>
                <a:gd name="connsiteX17" fmla="*/ 50086 w 519717"/>
                <a:gd name="connsiteY17" fmla="*/ 102144 h 519729"/>
                <a:gd name="connsiteX18" fmla="*/ 49256 w 519717"/>
                <a:gd name="connsiteY18" fmla="*/ 113165 h 519729"/>
                <a:gd name="connsiteX19" fmla="*/ 89795 w 519717"/>
                <a:gd name="connsiteY19" fmla="*/ 168149 h 519729"/>
                <a:gd name="connsiteX20" fmla="*/ 74818 w 519717"/>
                <a:gd name="connsiteY20" fmla="*/ 204446 h 519729"/>
                <a:gd name="connsiteX21" fmla="*/ 7208 w 519717"/>
                <a:gd name="connsiteY21" fmla="*/ 214676 h 519729"/>
                <a:gd name="connsiteX22" fmla="*/ 0 w 519717"/>
                <a:gd name="connsiteY22" fmla="*/ 223054 h 519729"/>
                <a:gd name="connsiteX23" fmla="*/ 0 w 519717"/>
                <a:gd name="connsiteY23" fmla="*/ 296675 h 519729"/>
                <a:gd name="connsiteX24" fmla="*/ 7203 w 519717"/>
                <a:gd name="connsiteY24" fmla="*/ 305053 h 519729"/>
                <a:gd name="connsiteX25" fmla="*/ 75146 w 519717"/>
                <a:gd name="connsiteY25" fmla="*/ 315334 h 519729"/>
                <a:gd name="connsiteX26" fmla="*/ 90100 w 519717"/>
                <a:gd name="connsiteY26" fmla="*/ 351156 h 519729"/>
                <a:gd name="connsiteX27" fmla="*/ 49250 w 519717"/>
                <a:gd name="connsiteY27" fmla="*/ 406564 h 519729"/>
                <a:gd name="connsiteX28" fmla="*/ 50080 w 519717"/>
                <a:gd name="connsiteY28" fmla="*/ 417585 h 519729"/>
                <a:gd name="connsiteX29" fmla="*/ 102138 w 519717"/>
                <a:gd name="connsiteY29" fmla="*/ 469643 h 519729"/>
                <a:gd name="connsiteX30" fmla="*/ 113160 w 519717"/>
                <a:gd name="connsiteY30" fmla="*/ 470474 h 519729"/>
                <a:gd name="connsiteX31" fmla="*/ 168748 w 519717"/>
                <a:gd name="connsiteY31" fmla="*/ 429494 h 519729"/>
                <a:gd name="connsiteX32" fmla="*/ 204338 w 519717"/>
                <a:gd name="connsiteY32" fmla="*/ 444222 h 519729"/>
                <a:gd name="connsiteX33" fmla="*/ 214671 w 519717"/>
                <a:gd name="connsiteY33" fmla="*/ 512521 h 519729"/>
                <a:gd name="connsiteX34" fmla="*/ 223049 w 519717"/>
                <a:gd name="connsiteY34" fmla="*/ 519729 h 519729"/>
                <a:gd name="connsiteX35" fmla="*/ 296669 w 519717"/>
                <a:gd name="connsiteY35" fmla="*/ 519729 h 519729"/>
                <a:gd name="connsiteX36" fmla="*/ 305047 w 519717"/>
                <a:gd name="connsiteY36" fmla="*/ 512521 h 519729"/>
                <a:gd name="connsiteX37" fmla="*/ 315380 w 519717"/>
                <a:gd name="connsiteY37" fmla="*/ 444222 h 519729"/>
                <a:gd name="connsiteX38" fmla="*/ 350970 w 519717"/>
                <a:gd name="connsiteY38" fmla="*/ 429494 h 519729"/>
                <a:gd name="connsiteX39" fmla="*/ 406558 w 519717"/>
                <a:gd name="connsiteY39" fmla="*/ 470474 h 519729"/>
                <a:gd name="connsiteX40" fmla="*/ 417580 w 519717"/>
                <a:gd name="connsiteY40" fmla="*/ 469643 h 519729"/>
                <a:gd name="connsiteX41" fmla="*/ 469643 w 519717"/>
                <a:gd name="connsiteY41" fmla="*/ 417585 h 519729"/>
                <a:gd name="connsiteX42" fmla="*/ 470468 w 519717"/>
                <a:gd name="connsiteY42" fmla="*/ 406564 h 519729"/>
                <a:gd name="connsiteX43" fmla="*/ 429618 w 519717"/>
                <a:gd name="connsiteY43" fmla="*/ 351156 h 519729"/>
                <a:gd name="connsiteX44" fmla="*/ 444572 w 519717"/>
                <a:gd name="connsiteY44" fmla="*/ 315334 h 519729"/>
                <a:gd name="connsiteX45" fmla="*/ 512515 w 519717"/>
                <a:gd name="connsiteY45" fmla="*/ 305053 h 519729"/>
                <a:gd name="connsiteX46" fmla="*/ 519718 w 519717"/>
                <a:gd name="connsiteY46" fmla="*/ 296675 h 519729"/>
                <a:gd name="connsiteX47" fmla="*/ 519718 w 519717"/>
                <a:gd name="connsiteY47" fmla="*/ 223054 h 519729"/>
                <a:gd name="connsiteX48" fmla="*/ 512521 w 519717"/>
                <a:gd name="connsiteY48" fmla="*/ 214676 h 519729"/>
                <a:gd name="connsiteX49" fmla="*/ 502776 w 519717"/>
                <a:gd name="connsiteY49" fmla="*/ 289387 h 519729"/>
                <a:gd name="connsiteX50" fmla="*/ 436663 w 519717"/>
                <a:gd name="connsiteY50" fmla="*/ 299392 h 519729"/>
                <a:gd name="connsiteX51" fmla="*/ 429748 w 519717"/>
                <a:gd name="connsiteY51" fmla="*/ 305550 h 519729"/>
                <a:gd name="connsiteX52" fmla="*/ 412219 w 519717"/>
                <a:gd name="connsiteY52" fmla="*/ 347535 h 519729"/>
                <a:gd name="connsiteX53" fmla="*/ 412727 w 519717"/>
                <a:gd name="connsiteY53" fmla="*/ 356817 h 519729"/>
                <a:gd name="connsiteX54" fmla="*/ 452498 w 519717"/>
                <a:gd name="connsiteY54" fmla="*/ 410761 h 519729"/>
                <a:gd name="connsiteX55" fmla="*/ 410744 w 519717"/>
                <a:gd name="connsiteY55" fmla="*/ 452515 h 519729"/>
                <a:gd name="connsiteX56" fmla="*/ 356636 w 519717"/>
                <a:gd name="connsiteY56" fmla="*/ 412625 h 519729"/>
                <a:gd name="connsiteX57" fmla="*/ 347388 w 519717"/>
                <a:gd name="connsiteY57" fmla="*/ 412100 h 519729"/>
                <a:gd name="connsiteX58" fmla="*/ 305612 w 519717"/>
                <a:gd name="connsiteY58" fmla="*/ 429387 h 519729"/>
                <a:gd name="connsiteX59" fmla="*/ 299432 w 519717"/>
                <a:gd name="connsiteY59" fmla="*/ 436307 h 519729"/>
                <a:gd name="connsiteX60" fmla="*/ 289376 w 519717"/>
                <a:gd name="connsiteY60" fmla="*/ 502793 h 519729"/>
                <a:gd name="connsiteX61" fmla="*/ 230330 w 519717"/>
                <a:gd name="connsiteY61" fmla="*/ 502793 h 519729"/>
                <a:gd name="connsiteX62" fmla="*/ 220275 w 519717"/>
                <a:gd name="connsiteY62" fmla="*/ 436307 h 519729"/>
                <a:gd name="connsiteX63" fmla="*/ 214095 w 519717"/>
                <a:gd name="connsiteY63" fmla="*/ 429387 h 519729"/>
                <a:gd name="connsiteX64" fmla="*/ 172318 w 519717"/>
                <a:gd name="connsiteY64" fmla="*/ 412100 h 519729"/>
                <a:gd name="connsiteX65" fmla="*/ 163071 w 519717"/>
                <a:gd name="connsiteY65" fmla="*/ 412625 h 519729"/>
                <a:gd name="connsiteX66" fmla="*/ 108962 w 519717"/>
                <a:gd name="connsiteY66" fmla="*/ 452515 h 519729"/>
                <a:gd name="connsiteX67" fmla="*/ 67209 w 519717"/>
                <a:gd name="connsiteY67" fmla="*/ 410761 h 519729"/>
                <a:gd name="connsiteX68" fmla="*/ 106979 w 519717"/>
                <a:gd name="connsiteY68" fmla="*/ 356817 h 519729"/>
                <a:gd name="connsiteX69" fmla="*/ 107488 w 519717"/>
                <a:gd name="connsiteY69" fmla="*/ 347535 h 519729"/>
                <a:gd name="connsiteX70" fmla="*/ 89958 w 519717"/>
                <a:gd name="connsiteY70" fmla="*/ 305550 h 519729"/>
                <a:gd name="connsiteX71" fmla="*/ 83044 w 519717"/>
                <a:gd name="connsiteY71" fmla="*/ 299392 h 519729"/>
                <a:gd name="connsiteX72" fmla="*/ 16931 w 519717"/>
                <a:gd name="connsiteY72" fmla="*/ 289387 h 519729"/>
                <a:gd name="connsiteX73" fmla="*/ 16931 w 519717"/>
                <a:gd name="connsiteY73" fmla="*/ 230342 h 519729"/>
                <a:gd name="connsiteX74" fmla="*/ 82744 w 519717"/>
                <a:gd name="connsiteY74" fmla="*/ 220388 h 519729"/>
                <a:gd name="connsiteX75" fmla="*/ 89670 w 519717"/>
                <a:gd name="connsiteY75" fmla="*/ 214179 h 519729"/>
                <a:gd name="connsiteX76" fmla="*/ 107177 w 519717"/>
                <a:gd name="connsiteY76" fmla="*/ 171731 h 519729"/>
                <a:gd name="connsiteX77" fmla="*/ 106652 w 519717"/>
                <a:gd name="connsiteY77" fmla="*/ 162478 h 519729"/>
                <a:gd name="connsiteX78" fmla="*/ 67209 w 519717"/>
                <a:gd name="connsiteY78" fmla="*/ 108974 h 519729"/>
                <a:gd name="connsiteX79" fmla="*/ 108962 w 519717"/>
                <a:gd name="connsiteY79" fmla="*/ 67220 h 519729"/>
                <a:gd name="connsiteX80" fmla="*/ 162308 w 519717"/>
                <a:gd name="connsiteY80" fmla="*/ 106544 h 519729"/>
                <a:gd name="connsiteX81" fmla="*/ 171595 w 519717"/>
                <a:gd name="connsiteY81" fmla="*/ 107047 h 519729"/>
                <a:gd name="connsiteX82" fmla="*/ 214247 w 519717"/>
                <a:gd name="connsiteY82" fmla="*/ 89297 h 519729"/>
                <a:gd name="connsiteX83" fmla="*/ 220433 w 519717"/>
                <a:gd name="connsiteY83" fmla="*/ 82377 h 519729"/>
                <a:gd name="connsiteX84" fmla="*/ 230330 w 519717"/>
                <a:gd name="connsiteY84" fmla="*/ 16942 h 519729"/>
                <a:gd name="connsiteX85" fmla="*/ 289376 w 519717"/>
                <a:gd name="connsiteY85" fmla="*/ 16942 h 519729"/>
                <a:gd name="connsiteX86" fmla="*/ 299274 w 519717"/>
                <a:gd name="connsiteY86" fmla="*/ 82377 h 519729"/>
                <a:gd name="connsiteX87" fmla="*/ 305460 w 519717"/>
                <a:gd name="connsiteY87" fmla="*/ 89297 h 519729"/>
                <a:gd name="connsiteX88" fmla="*/ 348111 w 519717"/>
                <a:gd name="connsiteY88" fmla="*/ 107047 h 519729"/>
                <a:gd name="connsiteX89" fmla="*/ 357399 w 519717"/>
                <a:gd name="connsiteY89" fmla="*/ 106544 h 519729"/>
                <a:gd name="connsiteX90" fmla="*/ 410744 w 519717"/>
                <a:gd name="connsiteY90" fmla="*/ 67220 h 519729"/>
                <a:gd name="connsiteX91" fmla="*/ 452498 w 519717"/>
                <a:gd name="connsiteY91" fmla="*/ 108974 h 519729"/>
                <a:gd name="connsiteX92" fmla="*/ 413055 w 519717"/>
                <a:gd name="connsiteY92" fmla="*/ 162478 h 519729"/>
                <a:gd name="connsiteX93" fmla="*/ 412529 w 519717"/>
                <a:gd name="connsiteY93" fmla="*/ 171731 h 519729"/>
                <a:gd name="connsiteX94" fmla="*/ 430036 w 519717"/>
                <a:gd name="connsiteY94" fmla="*/ 214179 h 519729"/>
                <a:gd name="connsiteX95" fmla="*/ 436962 w 519717"/>
                <a:gd name="connsiteY95" fmla="*/ 220388 h 519729"/>
                <a:gd name="connsiteX96" fmla="*/ 502776 w 519717"/>
                <a:gd name="connsiteY96" fmla="*/ 230342 h 519729"/>
                <a:gd name="connsiteX97" fmla="*/ 502776 w 519717"/>
                <a:gd name="connsiteY97" fmla="*/ 289387 h 519729"/>
                <a:gd name="connsiteX98" fmla="*/ 502776 w 519717"/>
                <a:gd name="connsiteY98" fmla="*/ 289387 h 519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519717" h="519729">
                  <a:moveTo>
                    <a:pt x="512521" y="214676"/>
                  </a:moveTo>
                  <a:lnTo>
                    <a:pt x="444911" y="204446"/>
                  </a:lnTo>
                  <a:cubicBezTo>
                    <a:pt x="441194" y="191916"/>
                    <a:pt x="436171" y="179747"/>
                    <a:pt x="429935" y="168149"/>
                  </a:cubicBezTo>
                  <a:lnTo>
                    <a:pt x="470474" y="113165"/>
                  </a:lnTo>
                  <a:cubicBezTo>
                    <a:pt x="472959" y="109793"/>
                    <a:pt x="472609" y="105110"/>
                    <a:pt x="469649" y="102144"/>
                  </a:cubicBezTo>
                  <a:lnTo>
                    <a:pt x="417585" y="50086"/>
                  </a:lnTo>
                  <a:cubicBezTo>
                    <a:pt x="414620" y="47126"/>
                    <a:pt x="409936" y="46770"/>
                    <a:pt x="406564" y="49256"/>
                  </a:cubicBezTo>
                  <a:lnTo>
                    <a:pt x="351755" y="89659"/>
                  </a:lnTo>
                  <a:cubicBezTo>
                    <a:pt x="340106" y="83332"/>
                    <a:pt x="327859" y="78236"/>
                    <a:pt x="315227" y="74457"/>
                  </a:cubicBezTo>
                  <a:lnTo>
                    <a:pt x="305053" y="7208"/>
                  </a:lnTo>
                  <a:cubicBezTo>
                    <a:pt x="304426" y="3062"/>
                    <a:pt x="300867" y="0"/>
                    <a:pt x="296675" y="0"/>
                  </a:cubicBezTo>
                  <a:lnTo>
                    <a:pt x="223054" y="0"/>
                  </a:lnTo>
                  <a:cubicBezTo>
                    <a:pt x="218862" y="0"/>
                    <a:pt x="215303" y="3062"/>
                    <a:pt x="214676" y="7208"/>
                  </a:cubicBezTo>
                  <a:lnTo>
                    <a:pt x="204502" y="74457"/>
                  </a:lnTo>
                  <a:cubicBezTo>
                    <a:pt x="191870" y="78236"/>
                    <a:pt x="179623" y="83337"/>
                    <a:pt x="167974" y="89659"/>
                  </a:cubicBezTo>
                  <a:lnTo>
                    <a:pt x="113165" y="49256"/>
                  </a:lnTo>
                  <a:cubicBezTo>
                    <a:pt x="109793" y="46770"/>
                    <a:pt x="105110" y="47120"/>
                    <a:pt x="102144" y="50086"/>
                  </a:cubicBezTo>
                  <a:lnTo>
                    <a:pt x="50086" y="102144"/>
                  </a:lnTo>
                  <a:cubicBezTo>
                    <a:pt x="47126" y="105104"/>
                    <a:pt x="46770" y="109793"/>
                    <a:pt x="49256" y="113165"/>
                  </a:cubicBezTo>
                  <a:lnTo>
                    <a:pt x="89795" y="168149"/>
                  </a:lnTo>
                  <a:cubicBezTo>
                    <a:pt x="83558" y="179747"/>
                    <a:pt x="78536" y="191916"/>
                    <a:pt x="74818" y="204446"/>
                  </a:cubicBezTo>
                  <a:lnTo>
                    <a:pt x="7208" y="214676"/>
                  </a:lnTo>
                  <a:cubicBezTo>
                    <a:pt x="3062" y="215303"/>
                    <a:pt x="0" y="218862"/>
                    <a:pt x="0" y="223054"/>
                  </a:cubicBezTo>
                  <a:lnTo>
                    <a:pt x="0" y="296675"/>
                  </a:lnTo>
                  <a:cubicBezTo>
                    <a:pt x="0" y="300867"/>
                    <a:pt x="3062" y="304426"/>
                    <a:pt x="7203" y="305053"/>
                  </a:cubicBezTo>
                  <a:lnTo>
                    <a:pt x="75146" y="315334"/>
                  </a:lnTo>
                  <a:cubicBezTo>
                    <a:pt x="78903" y="327729"/>
                    <a:pt x="83914" y="339733"/>
                    <a:pt x="90100" y="351156"/>
                  </a:cubicBezTo>
                  <a:lnTo>
                    <a:pt x="49250" y="406564"/>
                  </a:lnTo>
                  <a:cubicBezTo>
                    <a:pt x="46764" y="409936"/>
                    <a:pt x="47120" y="414620"/>
                    <a:pt x="50080" y="417585"/>
                  </a:cubicBezTo>
                  <a:lnTo>
                    <a:pt x="102138" y="469643"/>
                  </a:lnTo>
                  <a:cubicBezTo>
                    <a:pt x="105098" y="472609"/>
                    <a:pt x="109787" y="472959"/>
                    <a:pt x="113160" y="470474"/>
                  </a:cubicBezTo>
                  <a:lnTo>
                    <a:pt x="168748" y="429494"/>
                  </a:lnTo>
                  <a:cubicBezTo>
                    <a:pt x="180114" y="435595"/>
                    <a:pt x="192046" y="440533"/>
                    <a:pt x="204338" y="444222"/>
                  </a:cubicBezTo>
                  <a:lnTo>
                    <a:pt x="214671" y="512521"/>
                  </a:lnTo>
                  <a:cubicBezTo>
                    <a:pt x="215298" y="516667"/>
                    <a:pt x="218857" y="519729"/>
                    <a:pt x="223049" y="519729"/>
                  </a:cubicBezTo>
                  <a:lnTo>
                    <a:pt x="296669" y="519729"/>
                  </a:lnTo>
                  <a:cubicBezTo>
                    <a:pt x="300861" y="519729"/>
                    <a:pt x="304420" y="516667"/>
                    <a:pt x="305047" y="512521"/>
                  </a:cubicBezTo>
                  <a:lnTo>
                    <a:pt x="315380" y="444222"/>
                  </a:lnTo>
                  <a:cubicBezTo>
                    <a:pt x="327672" y="440533"/>
                    <a:pt x="339603" y="435595"/>
                    <a:pt x="350970" y="429494"/>
                  </a:cubicBezTo>
                  <a:lnTo>
                    <a:pt x="406558" y="470474"/>
                  </a:lnTo>
                  <a:cubicBezTo>
                    <a:pt x="409931" y="472959"/>
                    <a:pt x="414614" y="472603"/>
                    <a:pt x="417580" y="469643"/>
                  </a:cubicBezTo>
                  <a:lnTo>
                    <a:pt x="469643" y="417585"/>
                  </a:lnTo>
                  <a:cubicBezTo>
                    <a:pt x="472603" y="414625"/>
                    <a:pt x="472959" y="409936"/>
                    <a:pt x="470468" y="406564"/>
                  </a:cubicBezTo>
                  <a:lnTo>
                    <a:pt x="429618" y="351156"/>
                  </a:lnTo>
                  <a:cubicBezTo>
                    <a:pt x="435810" y="339733"/>
                    <a:pt x="440821" y="327729"/>
                    <a:pt x="444572" y="315334"/>
                  </a:cubicBezTo>
                  <a:lnTo>
                    <a:pt x="512515" y="305053"/>
                  </a:lnTo>
                  <a:cubicBezTo>
                    <a:pt x="516656" y="304426"/>
                    <a:pt x="519718" y="300867"/>
                    <a:pt x="519718" y="296675"/>
                  </a:cubicBezTo>
                  <a:lnTo>
                    <a:pt x="519718" y="223054"/>
                  </a:lnTo>
                  <a:cubicBezTo>
                    <a:pt x="519724" y="218868"/>
                    <a:pt x="516662" y="215303"/>
                    <a:pt x="512521" y="214676"/>
                  </a:cubicBezTo>
                  <a:close/>
                  <a:moveTo>
                    <a:pt x="502776" y="289387"/>
                  </a:moveTo>
                  <a:lnTo>
                    <a:pt x="436663" y="299392"/>
                  </a:lnTo>
                  <a:cubicBezTo>
                    <a:pt x="433341" y="299895"/>
                    <a:pt x="430629" y="302313"/>
                    <a:pt x="429748" y="305550"/>
                  </a:cubicBezTo>
                  <a:cubicBezTo>
                    <a:pt x="425771" y="320210"/>
                    <a:pt x="419873" y="334333"/>
                    <a:pt x="412219" y="347535"/>
                  </a:cubicBezTo>
                  <a:cubicBezTo>
                    <a:pt x="410524" y="350456"/>
                    <a:pt x="410722" y="354099"/>
                    <a:pt x="412727" y="356817"/>
                  </a:cubicBezTo>
                  <a:lnTo>
                    <a:pt x="452498" y="410761"/>
                  </a:lnTo>
                  <a:lnTo>
                    <a:pt x="410744" y="452515"/>
                  </a:lnTo>
                  <a:lnTo>
                    <a:pt x="356636" y="412625"/>
                  </a:lnTo>
                  <a:cubicBezTo>
                    <a:pt x="353924" y="410631"/>
                    <a:pt x="350297" y="410422"/>
                    <a:pt x="347388" y="412100"/>
                  </a:cubicBezTo>
                  <a:cubicBezTo>
                    <a:pt x="334220" y="419664"/>
                    <a:pt x="320170" y="425483"/>
                    <a:pt x="305612" y="429387"/>
                  </a:cubicBezTo>
                  <a:cubicBezTo>
                    <a:pt x="302364" y="430262"/>
                    <a:pt x="299935" y="432974"/>
                    <a:pt x="299432" y="436307"/>
                  </a:cubicBezTo>
                  <a:lnTo>
                    <a:pt x="289376" y="502793"/>
                  </a:lnTo>
                  <a:lnTo>
                    <a:pt x="230330" y="502793"/>
                  </a:lnTo>
                  <a:lnTo>
                    <a:pt x="220275" y="436307"/>
                  </a:lnTo>
                  <a:cubicBezTo>
                    <a:pt x="219772" y="432980"/>
                    <a:pt x="217343" y="430262"/>
                    <a:pt x="214095" y="429387"/>
                  </a:cubicBezTo>
                  <a:cubicBezTo>
                    <a:pt x="199536" y="425483"/>
                    <a:pt x="185487" y="419664"/>
                    <a:pt x="172318" y="412100"/>
                  </a:cubicBezTo>
                  <a:cubicBezTo>
                    <a:pt x="169409" y="410428"/>
                    <a:pt x="165777" y="410637"/>
                    <a:pt x="163071" y="412625"/>
                  </a:cubicBezTo>
                  <a:lnTo>
                    <a:pt x="108962" y="452515"/>
                  </a:lnTo>
                  <a:lnTo>
                    <a:pt x="67209" y="410761"/>
                  </a:lnTo>
                  <a:lnTo>
                    <a:pt x="106979" y="356817"/>
                  </a:lnTo>
                  <a:cubicBezTo>
                    <a:pt x="108979" y="354099"/>
                    <a:pt x="109183" y="350456"/>
                    <a:pt x="107488" y="347535"/>
                  </a:cubicBezTo>
                  <a:cubicBezTo>
                    <a:pt x="99833" y="334338"/>
                    <a:pt x="93935" y="320210"/>
                    <a:pt x="89958" y="305550"/>
                  </a:cubicBezTo>
                  <a:cubicBezTo>
                    <a:pt x="89077" y="302307"/>
                    <a:pt x="86365" y="299895"/>
                    <a:pt x="83044" y="299392"/>
                  </a:cubicBezTo>
                  <a:lnTo>
                    <a:pt x="16931" y="289387"/>
                  </a:lnTo>
                  <a:lnTo>
                    <a:pt x="16931" y="230342"/>
                  </a:lnTo>
                  <a:lnTo>
                    <a:pt x="82744" y="220388"/>
                  </a:lnTo>
                  <a:cubicBezTo>
                    <a:pt x="86083" y="219885"/>
                    <a:pt x="88806" y="217445"/>
                    <a:pt x="89670" y="214179"/>
                  </a:cubicBezTo>
                  <a:cubicBezTo>
                    <a:pt x="93585" y="199401"/>
                    <a:pt x="99472" y="185120"/>
                    <a:pt x="107177" y="171731"/>
                  </a:cubicBezTo>
                  <a:cubicBezTo>
                    <a:pt x="108855" y="168816"/>
                    <a:pt x="108646" y="165184"/>
                    <a:pt x="106652" y="162478"/>
                  </a:cubicBezTo>
                  <a:lnTo>
                    <a:pt x="67209" y="108974"/>
                  </a:lnTo>
                  <a:lnTo>
                    <a:pt x="108962" y="67220"/>
                  </a:lnTo>
                  <a:lnTo>
                    <a:pt x="162308" y="106544"/>
                  </a:lnTo>
                  <a:cubicBezTo>
                    <a:pt x="165025" y="108544"/>
                    <a:pt x="168669" y="108748"/>
                    <a:pt x="171595" y="107047"/>
                  </a:cubicBezTo>
                  <a:cubicBezTo>
                    <a:pt x="185012" y="99251"/>
                    <a:pt x="199367" y="93280"/>
                    <a:pt x="214247" y="89297"/>
                  </a:cubicBezTo>
                  <a:cubicBezTo>
                    <a:pt x="217501" y="88427"/>
                    <a:pt x="219930" y="85710"/>
                    <a:pt x="220433" y="82377"/>
                  </a:cubicBezTo>
                  <a:lnTo>
                    <a:pt x="230330" y="16942"/>
                  </a:lnTo>
                  <a:lnTo>
                    <a:pt x="289376" y="16942"/>
                  </a:lnTo>
                  <a:lnTo>
                    <a:pt x="299274" y="82377"/>
                  </a:lnTo>
                  <a:cubicBezTo>
                    <a:pt x="299776" y="85710"/>
                    <a:pt x="302206" y="88427"/>
                    <a:pt x="305460" y="89297"/>
                  </a:cubicBezTo>
                  <a:cubicBezTo>
                    <a:pt x="320340" y="93280"/>
                    <a:pt x="334689" y="99251"/>
                    <a:pt x="348111" y="107047"/>
                  </a:cubicBezTo>
                  <a:cubicBezTo>
                    <a:pt x="351032" y="108753"/>
                    <a:pt x="354676" y="108544"/>
                    <a:pt x="357399" y="106544"/>
                  </a:cubicBezTo>
                  <a:lnTo>
                    <a:pt x="410744" y="67220"/>
                  </a:lnTo>
                  <a:lnTo>
                    <a:pt x="452498" y="108974"/>
                  </a:lnTo>
                  <a:lnTo>
                    <a:pt x="413055" y="162478"/>
                  </a:lnTo>
                  <a:cubicBezTo>
                    <a:pt x="411061" y="165184"/>
                    <a:pt x="410852" y="168816"/>
                    <a:pt x="412529" y="171731"/>
                  </a:cubicBezTo>
                  <a:cubicBezTo>
                    <a:pt x="420229" y="185120"/>
                    <a:pt x="426121" y="199401"/>
                    <a:pt x="430036" y="214179"/>
                  </a:cubicBezTo>
                  <a:cubicBezTo>
                    <a:pt x="430901" y="217445"/>
                    <a:pt x="433624" y="219879"/>
                    <a:pt x="436962" y="220388"/>
                  </a:cubicBezTo>
                  <a:lnTo>
                    <a:pt x="502776" y="230342"/>
                  </a:lnTo>
                  <a:lnTo>
                    <a:pt x="502776" y="289387"/>
                  </a:lnTo>
                  <a:lnTo>
                    <a:pt x="502776" y="289387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1" name="Рисунок 54">
            <a:extLst>
              <a:ext uri="{FF2B5EF4-FFF2-40B4-BE49-F238E27FC236}">
                <a16:creationId xmlns:a16="http://schemas.microsoft.com/office/drawing/2014/main" id="{C89BF5D7-2AC1-455A-89FE-C11A2150360A}"/>
              </a:ext>
            </a:extLst>
          </p:cNvPr>
          <p:cNvGrpSpPr/>
          <p:nvPr/>
        </p:nvGrpSpPr>
        <p:grpSpPr>
          <a:xfrm>
            <a:off x="899891" y="2825830"/>
            <a:ext cx="519717" cy="519729"/>
            <a:chOff x="6437618" y="1223873"/>
            <a:chExt cx="519717" cy="519729"/>
          </a:xfrm>
          <a:solidFill>
            <a:schemeClr val="tx1"/>
          </a:solidFill>
        </p:grpSpPr>
        <p:sp>
          <p:nvSpPr>
            <p:cNvPr id="42" name="Полилиния: фигура 172">
              <a:extLst>
                <a:ext uri="{FF2B5EF4-FFF2-40B4-BE49-F238E27FC236}">
                  <a16:creationId xmlns:a16="http://schemas.microsoft.com/office/drawing/2014/main" id="{3DAD10DE-C1C1-4BC2-9BEB-C10A27940BE1}"/>
                </a:ext>
              </a:extLst>
            </p:cNvPr>
            <p:cNvSpPr/>
            <p:nvPr/>
          </p:nvSpPr>
          <p:spPr>
            <a:xfrm>
              <a:off x="6590141" y="1376402"/>
              <a:ext cx="209021" cy="209021"/>
            </a:xfrm>
            <a:custGeom>
              <a:avLst/>
              <a:gdLst>
                <a:gd name="connsiteX0" fmla="*/ 104511 w 209021"/>
                <a:gd name="connsiteY0" fmla="*/ 0 h 209021"/>
                <a:gd name="connsiteX1" fmla="*/ 0 w 209021"/>
                <a:gd name="connsiteY1" fmla="*/ 104511 h 209021"/>
                <a:gd name="connsiteX2" fmla="*/ 104511 w 209021"/>
                <a:gd name="connsiteY2" fmla="*/ 209022 h 209021"/>
                <a:gd name="connsiteX3" fmla="*/ 209022 w 209021"/>
                <a:gd name="connsiteY3" fmla="*/ 104511 h 209021"/>
                <a:gd name="connsiteX4" fmla="*/ 104511 w 209021"/>
                <a:gd name="connsiteY4" fmla="*/ 0 h 209021"/>
                <a:gd name="connsiteX5" fmla="*/ 104511 w 209021"/>
                <a:gd name="connsiteY5" fmla="*/ 192074 h 209021"/>
                <a:gd name="connsiteX6" fmla="*/ 16948 w 209021"/>
                <a:gd name="connsiteY6" fmla="*/ 104511 h 209021"/>
                <a:gd name="connsiteX7" fmla="*/ 104511 w 209021"/>
                <a:gd name="connsiteY7" fmla="*/ 16948 h 209021"/>
                <a:gd name="connsiteX8" fmla="*/ 192074 w 209021"/>
                <a:gd name="connsiteY8" fmla="*/ 104511 h 209021"/>
                <a:gd name="connsiteX9" fmla="*/ 104511 w 209021"/>
                <a:gd name="connsiteY9" fmla="*/ 192074 h 209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021" h="209021">
                  <a:moveTo>
                    <a:pt x="104511" y="0"/>
                  </a:moveTo>
                  <a:cubicBezTo>
                    <a:pt x="46883" y="0"/>
                    <a:pt x="0" y="46883"/>
                    <a:pt x="0" y="104511"/>
                  </a:cubicBezTo>
                  <a:cubicBezTo>
                    <a:pt x="0" y="162139"/>
                    <a:pt x="46883" y="209022"/>
                    <a:pt x="104511" y="209022"/>
                  </a:cubicBezTo>
                  <a:cubicBezTo>
                    <a:pt x="162139" y="209022"/>
                    <a:pt x="209022" y="162139"/>
                    <a:pt x="209022" y="104511"/>
                  </a:cubicBezTo>
                  <a:cubicBezTo>
                    <a:pt x="209022" y="46883"/>
                    <a:pt x="162139" y="0"/>
                    <a:pt x="104511" y="0"/>
                  </a:cubicBezTo>
                  <a:close/>
                  <a:moveTo>
                    <a:pt x="104511" y="192074"/>
                  </a:moveTo>
                  <a:cubicBezTo>
                    <a:pt x="56227" y="192074"/>
                    <a:pt x="16948" y="152795"/>
                    <a:pt x="16948" y="104511"/>
                  </a:cubicBezTo>
                  <a:cubicBezTo>
                    <a:pt x="16948" y="56227"/>
                    <a:pt x="56227" y="16948"/>
                    <a:pt x="104511" y="16948"/>
                  </a:cubicBezTo>
                  <a:cubicBezTo>
                    <a:pt x="152795" y="16948"/>
                    <a:pt x="192074" y="56227"/>
                    <a:pt x="192074" y="104511"/>
                  </a:cubicBezTo>
                  <a:cubicBezTo>
                    <a:pt x="192074" y="152795"/>
                    <a:pt x="152795" y="192074"/>
                    <a:pt x="104511" y="192074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Полилиния: фигура 173">
              <a:extLst>
                <a:ext uri="{FF2B5EF4-FFF2-40B4-BE49-F238E27FC236}">
                  <a16:creationId xmlns:a16="http://schemas.microsoft.com/office/drawing/2014/main" id="{8AE92611-E137-4620-BF63-B8D060FE7552}"/>
                </a:ext>
              </a:extLst>
            </p:cNvPr>
            <p:cNvSpPr/>
            <p:nvPr/>
          </p:nvSpPr>
          <p:spPr>
            <a:xfrm>
              <a:off x="6437618" y="1223873"/>
              <a:ext cx="519717" cy="519729"/>
            </a:xfrm>
            <a:custGeom>
              <a:avLst/>
              <a:gdLst>
                <a:gd name="connsiteX0" fmla="*/ 512521 w 519717"/>
                <a:gd name="connsiteY0" fmla="*/ 214676 h 519729"/>
                <a:gd name="connsiteX1" fmla="*/ 444911 w 519717"/>
                <a:gd name="connsiteY1" fmla="*/ 204446 h 519729"/>
                <a:gd name="connsiteX2" fmla="*/ 429935 w 519717"/>
                <a:gd name="connsiteY2" fmla="*/ 168149 h 519729"/>
                <a:gd name="connsiteX3" fmla="*/ 470474 w 519717"/>
                <a:gd name="connsiteY3" fmla="*/ 113165 h 519729"/>
                <a:gd name="connsiteX4" fmla="*/ 469649 w 519717"/>
                <a:gd name="connsiteY4" fmla="*/ 102144 h 519729"/>
                <a:gd name="connsiteX5" fmla="*/ 417585 w 519717"/>
                <a:gd name="connsiteY5" fmla="*/ 50086 h 519729"/>
                <a:gd name="connsiteX6" fmla="*/ 406564 w 519717"/>
                <a:gd name="connsiteY6" fmla="*/ 49256 h 519729"/>
                <a:gd name="connsiteX7" fmla="*/ 351755 w 519717"/>
                <a:gd name="connsiteY7" fmla="*/ 89659 h 519729"/>
                <a:gd name="connsiteX8" fmla="*/ 315227 w 519717"/>
                <a:gd name="connsiteY8" fmla="*/ 74457 h 519729"/>
                <a:gd name="connsiteX9" fmla="*/ 305053 w 519717"/>
                <a:gd name="connsiteY9" fmla="*/ 7208 h 519729"/>
                <a:gd name="connsiteX10" fmla="*/ 296675 w 519717"/>
                <a:gd name="connsiteY10" fmla="*/ 0 h 519729"/>
                <a:gd name="connsiteX11" fmla="*/ 223054 w 519717"/>
                <a:gd name="connsiteY11" fmla="*/ 0 h 519729"/>
                <a:gd name="connsiteX12" fmla="*/ 214676 w 519717"/>
                <a:gd name="connsiteY12" fmla="*/ 7208 h 519729"/>
                <a:gd name="connsiteX13" fmla="*/ 204502 w 519717"/>
                <a:gd name="connsiteY13" fmla="*/ 74457 h 519729"/>
                <a:gd name="connsiteX14" fmla="*/ 167974 w 519717"/>
                <a:gd name="connsiteY14" fmla="*/ 89659 h 519729"/>
                <a:gd name="connsiteX15" fmla="*/ 113165 w 519717"/>
                <a:gd name="connsiteY15" fmla="*/ 49256 h 519729"/>
                <a:gd name="connsiteX16" fmla="*/ 102144 w 519717"/>
                <a:gd name="connsiteY16" fmla="*/ 50086 h 519729"/>
                <a:gd name="connsiteX17" fmla="*/ 50086 w 519717"/>
                <a:gd name="connsiteY17" fmla="*/ 102144 h 519729"/>
                <a:gd name="connsiteX18" fmla="*/ 49256 w 519717"/>
                <a:gd name="connsiteY18" fmla="*/ 113165 h 519729"/>
                <a:gd name="connsiteX19" fmla="*/ 89795 w 519717"/>
                <a:gd name="connsiteY19" fmla="*/ 168149 h 519729"/>
                <a:gd name="connsiteX20" fmla="*/ 74818 w 519717"/>
                <a:gd name="connsiteY20" fmla="*/ 204446 h 519729"/>
                <a:gd name="connsiteX21" fmla="*/ 7208 w 519717"/>
                <a:gd name="connsiteY21" fmla="*/ 214676 h 519729"/>
                <a:gd name="connsiteX22" fmla="*/ 0 w 519717"/>
                <a:gd name="connsiteY22" fmla="*/ 223054 h 519729"/>
                <a:gd name="connsiteX23" fmla="*/ 0 w 519717"/>
                <a:gd name="connsiteY23" fmla="*/ 296675 h 519729"/>
                <a:gd name="connsiteX24" fmla="*/ 7203 w 519717"/>
                <a:gd name="connsiteY24" fmla="*/ 305053 h 519729"/>
                <a:gd name="connsiteX25" fmla="*/ 75146 w 519717"/>
                <a:gd name="connsiteY25" fmla="*/ 315334 h 519729"/>
                <a:gd name="connsiteX26" fmla="*/ 90100 w 519717"/>
                <a:gd name="connsiteY26" fmla="*/ 351156 h 519729"/>
                <a:gd name="connsiteX27" fmla="*/ 49250 w 519717"/>
                <a:gd name="connsiteY27" fmla="*/ 406564 h 519729"/>
                <a:gd name="connsiteX28" fmla="*/ 50080 w 519717"/>
                <a:gd name="connsiteY28" fmla="*/ 417585 h 519729"/>
                <a:gd name="connsiteX29" fmla="*/ 102138 w 519717"/>
                <a:gd name="connsiteY29" fmla="*/ 469643 h 519729"/>
                <a:gd name="connsiteX30" fmla="*/ 113160 w 519717"/>
                <a:gd name="connsiteY30" fmla="*/ 470474 h 519729"/>
                <a:gd name="connsiteX31" fmla="*/ 168748 w 519717"/>
                <a:gd name="connsiteY31" fmla="*/ 429494 h 519729"/>
                <a:gd name="connsiteX32" fmla="*/ 204338 w 519717"/>
                <a:gd name="connsiteY32" fmla="*/ 444222 h 519729"/>
                <a:gd name="connsiteX33" fmla="*/ 214671 w 519717"/>
                <a:gd name="connsiteY33" fmla="*/ 512521 h 519729"/>
                <a:gd name="connsiteX34" fmla="*/ 223049 w 519717"/>
                <a:gd name="connsiteY34" fmla="*/ 519729 h 519729"/>
                <a:gd name="connsiteX35" fmla="*/ 296669 w 519717"/>
                <a:gd name="connsiteY35" fmla="*/ 519729 h 519729"/>
                <a:gd name="connsiteX36" fmla="*/ 305047 w 519717"/>
                <a:gd name="connsiteY36" fmla="*/ 512521 h 519729"/>
                <a:gd name="connsiteX37" fmla="*/ 315380 w 519717"/>
                <a:gd name="connsiteY37" fmla="*/ 444222 h 519729"/>
                <a:gd name="connsiteX38" fmla="*/ 350970 w 519717"/>
                <a:gd name="connsiteY38" fmla="*/ 429494 h 519729"/>
                <a:gd name="connsiteX39" fmla="*/ 406558 w 519717"/>
                <a:gd name="connsiteY39" fmla="*/ 470474 h 519729"/>
                <a:gd name="connsiteX40" fmla="*/ 417580 w 519717"/>
                <a:gd name="connsiteY40" fmla="*/ 469643 h 519729"/>
                <a:gd name="connsiteX41" fmla="*/ 469643 w 519717"/>
                <a:gd name="connsiteY41" fmla="*/ 417585 h 519729"/>
                <a:gd name="connsiteX42" fmla="*/ 470468 w 519717"/>
                <a:gd name="connsiteY42" fmla="*/ 406564 h 519729"/>
                <a:gd name="connsiteX43" fmla="*/ 429618 w 519717"/>
                <a:gd name="connsiteY43" fmla="*/ 351156 h 519729"/>
                <a:gd name="connsiteX44" fmla="*/ 444572 w 519717"/>
                <a:gd name="connsiteY44" fmla="*/ 315334 h 519729"/>
                <a:gd name="connsiteX45" fmla="*/ 512515 w 519717"/>
                <a:gd name="connsiteY45" fmla="*/ 305053 h 519729"/>
                <a:gd name="connsiteX46" fmla="*/ 519718 w 519717"/>
                <a:gd name="connsiteY46" fmla="*/ 296675 h 519729"/>
                <a:gd name="connsiteX47" fmla="*/ 519718 w 519717"/>
                <a:gd name="connsiteY47" fmla="*/ 223054 h 519729"/>
                <a:gd name="connsiteX48" fmla="*/ 512521 w 519717"/>
                <a:gd name="connsiteY48" fmla="*/ 214676 h 519729"/>
                <a:gd name="connsiteX49" fmla="*/ 502776 w 519717"/>
                <a:gd name="connsiteY49" fmla="*/ 289387 h 519729"/>
                <a:gd name="connsiteX50" fmla="*/ 436663 w 519717"/>
                <a:gd name="connsiteY50" fmla="*/ 299392 h 519729"/>
                <a:gd name="connsiteX51" fmla="*/ 429748 w 519717"/>
                <a:gd name="connsiteY51" fmla="*/ 305550 h 519729"/>
                <a:gd name="connsiteX52" fmla="*/ 412219 w 519717"/>
                <a:gd name="connsiteY52" fmla="*/ 347535 h 519729"/>
                <a:gd name="connsiteX53" fmla="*/ 412727 w 519717"/>
                <a:gd name="connsiteY53" fmla="*/ 356817 h 519729"/>
                <a:gd name="connsiteX54" fmla="*/ 452498 w 519717"/>
                <a:gd name="connsiteY54" fmla="*/ 410761 h 519729"/>
                <a:gd name="connsiteX55" fmla="*/ 410744 w 519717"/>
                <a:gd name="connsiteY55" fmla="*/ 452515 h 519729"/>
                <a:gd name="connsiteX56" fmla="*/ 356636 w 519717"/>
                <a:gd name="connsiteY56" fmla="*/ 412625 h 519729"/>
                <a:gd name="connsiteX57" fmla="*/ 347388 w 519717"/>
                <a:gd name="connsiteY57" fmla="*/ 412100 h 519729"/>
                <a:gd name="connsiteX58" fmla="*/ 305612 w 519717"/>
                <a:gd name="connsiteY58" fmla="*/ 429387 h 519729"/>
                <a:gd name="connsiteX59" fmla="*/ 299432 w 519717"/>
                <a:gd name="connsiteY59" fmla="*/ 436307 h 519729"/>
                <a:gd name="connsiteX60" fmla="*/ 289376 w 519717"/>
                <a:gd name="connsiteY60" fmla="*/ 502793 h 519729"/>
                <a:gd name="connsiteX61" fmla="*/ 230330 w 519717"/>
                <a:gd name="connsiteY61" fmla="*/ 502793 h 519729"/>
                <a:gd name="connsiteX62" fmla="*/ 220275 w 519717"/>
                <a:gd name="connsiteY62" fmla="*/ 436307 h 519729"/>
                <a:gd name="connsiteX63" fmla="*/ 214095 w 519717"/>
                <a:gd name="connsiteY63" fmla="*/ 429387 h 519729"/>
                <a:gd name="connsiteX64" fmla="*/ 172318 w 519717"/>
                <a:gd name="connsiteY64" fmla="*/ 412100 h 519729"/>
                <a:gd name="connsiteX65" fmla="*/ 163071 w 519717"/>
                <a:gd name="connsiteY65" fmla="*/ 412625 h 519729"/>
                <a:gd name="connsiteX66" fmla="*/ 108962 w 519717"/>
                <a:gd name="connsiteY66" fmla="*/ 452515 h 519729"/>
                <a:gd name="connsiteX67" fmla="*/ 67209 w 519717"/>
                <a:gd name="connsiteY67" fmla="*/ 410761 h 519729"/>
                <a:gd name="connsiteX68" fmla="*/ 106979 w 519717"/>
                <a:gd name="connsiteY68" fmla="*/ 356817 h 519729"/>
                <a:gd name="connsiteX69" fmla="*/ 107488 w 519717"/>
                <a:gd name="connsiteY69" fmla="*/ 347535 h 519729"/>
                <a:gd name="connsiteX70" fmla="*/ 89958 w 519717"/>
                <a:gd name="connsiteY70" fmla="*/ 305550 h 519729"/>
                <a:gd name="connsiteX71" fmla="*/ 83044 w 519717"/>
                <a:gd name="connsiteY71" fmla="*/ 299392 h 519729"/>
                <a:gd name="connsiteX72" fmla="*/ 16931 w 519717"/>
                <a:gd name="connsiteY72" fmla="*/ 289387 h 519729"/>
                <a:gd name="connsiteX73" fmla="*/ 16931 w 519717"/>
                <a:gd name="connsiteY73" fmla="*/ 230342 h 519729"/>
                <a:gd name="connsiteX74" fmla="*/ 82744 w 519717"/>
                <a:gd name="connsiteY74" fmla="*/ 220388 h 519729"/>
                <a:gd name="connsiteX75" fmla="*/ 89670 w 519717"/>
                <a:gd name="connsiteY75" fmla="*/ 214179 h 519729"/>
                <a:gd name="connsiteX76" fmla="*/ 107177 w 519717"/>
                <a:gd name="connsiteY76" fmla="*/ 171731 h 519729"/>
                <a:gd name="connsiteX77" fmla="*/ 106652 w 519717"/>
                <a:gd name="connsiteY77" fmla="*/ 162478 h 519729"/>
                <a:gd name="connsiteX78" fmla="*/ 67209 w 519717"/>
                <a:gd name="connsiteY78" fmla="*/ 108974 h 519729"/>
                <a:gd name="connsiteX79" fmla="*/ 108962 w 519717"/>
                <a:gd name="connsiteY79" fmla="*/ 67220 h 519729"/>
                <a:gd name="connsiteX80" fmla="*/ 162308 w 519717"/>
                <a:gd name="connsiteY80" fmla="*/ 106544 h 519729"/>
                <a:gd name="connsiteX81" fmla="*/ 171595 w 519717"/>
                <a:gd name="connsiteY81" fmla="*/ 107047 h 519729"/>
                <a:gd name="connsiteX82" fmla="*/ 214247 w 519717"/>
                <a:gd name="connsiteY82" fmla="*/ 89297 h 519729"/>
                <a:gd name="connsiteX83" fmla="*/ 220433 w 519717"/>
                <a:gd name="connsiteY83" fmla="*/ 82377 h 519729"/>
                <a:gd name="connsiteX84" fmla="*/ 230330 w 519717"/>
                <a:gd name="connsiteY84" fmla="*/ 16942 h 519729"/>
                <a:gd name="connsiteX85" fmla="*/ 289376 w 519717"/>
                <a:gd name="connsiteY85" fmla="*/ 16942 h 519729"/>
                <a:gd name="connsiteX86" fmla="*/ 299274 w 519717"/>
                <a:gd name="connsiteY86" fmla="*/ 82377 h 519729"/>
                <a:gd name="connsiteX87" fmla="*/ 305460 w 519717"/>
                <a:gd name="connsiteY87" fmla="*/ 89297 h 519729"/>
                <a:gd name="connsiteX88" fmla="*/ 348111 w 519717"/>
                <a:gd name="connsiteY88" fmla="*/ 107047 h 519729"/>
                <a:gd name="connsiteX89" fmla="*/ 357399 w 519717"/>
                <a:gd name="connsiteY89" fmla="*/ 106544 h 519729"/>
                <a:gd name="connsiteX90" fmla="*/ 410744 w 519717"/>
                <a:gd name="connsiteY90" fmla="*/ 67220 h 519729"/>
                <a:gd name="connsiteX91" fmla="*/ 452498 w 519717"/>
                <a:gd name="connsiteY91" fmla="*/ 108974 h 519729"/>
                <a:gd name="connsiteX92" fmla="*/ 413055 w 519717"/>
                <a:gd name="connsiteY92" fmla="*/ 162478 h 519729"/>
                <a:gd name="connsiteX93" fmla="*/ 412529 w 519717"/>
                <a:gd name="connsiteY93" fmla="*/ 171731 h 519729"/>
                <a:gd name="connsiteX94" fmla="*/ 430036 w 519717"/>
                <a:gd name="connsiteY94" fmla="*/ 214179 h 519729"/>
                <a:gd name="connsiteX95" fmla="*/ 436962 w 519717"/>
                <a:gd name="connsiteY95" fmla="*/ 220388 h 519729"/>
                <a:gd name="connsiteX96" fmla="*/ 502776 w 519717"/>
                <a:gd name="connsiteY96" fmla="*/ 230342 h 519729"/>
                <a:gd name="connsiteX97" fmla="*/ 502776 w 519717"/>
                <a:gd name="connsiteY97" fmla="*/ 289387 h 519729"/>
                <a:gd name="connsiteX98" fmla="*/ 502776 w 519717"/>
                <a:gd name="connsiteY98" fmla="*/ 289387 h 519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519717" h="519729">
                  <a:moveTo>
                    <a:pt x="512521" y="214676"/>
                  </a:moveTo>
                  <a:lnTo>
                    <a:pt x="444911" y="204446"/>
                  </a:lnTo>
                  <a:cubicBezTo>
                    <a:pt x="441194" y="191916"/>
                    <a:pt x="436171" y="179747"/>
                    <a:pt x="429935" y="168149"/>
                  </a:cubicBezTo>
                  <a:lnTo>
                    <a:pt x="470474" y="113165"/>
                  </a:lnTo>
                  <a:cubicBezTo>
                    <a:pt x="472959" y="109793"/>
                    <a:pt x="472609" y="105110"/>
                    <a:pt x="469649" y="102144"/>
                  </a:cubicBezTo>
                  <a:lnTo>
                    <a:pt x="417585" y="50086"/>
                  </a:lnTo>
                  <a:cubicBezTo>
                    <a:pt x="414620" y="47126"/>
                    <a:pt x="409936" y="46770"/>
                    <a:pt x="406564" y="49256"/>
                  </a:cubicBezTo>
                  <a:lnTo>
                    <a:pt x="351755" y="89659"/>
                  </a:lnTo>
                  <a:cubicBezTo>
                    <a:pt x="340106" y="83332"/>
                    <a:pt x="327859" y="78236"/>
                    <a:pt x="315227" y="74457"/>
                  </a:cubicBezTo>
                  <a:lnTo>
                    <a:pt x="305053" y="7208"/>
                  </a:lnTo>
                  <a:cubicBezTo>
                    <a:pt x="304426" y="3062"/>
                    <a:pt x="300867" y="0"/>
                    <a:pt x="296675" y="0"/>
                  </a:cubicBezTo>
                  <a:lnTo>
                    <a:pt x="223054" y="0"/>
                  </a:lnTo>
                  <a:cubicBezTo>
                    <a:pt x="218862" y="0"/>
                    <a:pt x="215303" y="3062"/>
                    <a:pt x="214676" y="7208"/>
                  </a:cubicBezTo>
                  <a:lnTo>
                    <a:pt x="204502" y="74457"/>
                  </a:lnTo>
                  <a:cubicBezTo>
                    <a:pt x="191870" y="78236"/>
                    <a:pt x="179623" y="83337"/>
                    <a:pt x="167974" y="89659"/>
                  </a:cubicBezTo>
                  <a:lnTo>
                    <a:pt x="113165" y="49256"/>
                  </a:lnTo>
                  <a:cubicBezTo>
                    <a:pt x="109793" y="46770"/>
                    <a:pt x="105110" y="47120"/>
                    <a:pt x="102144" y="50086"/>
                  </a:cubicBezTo>
                  <a:lnTo>
                    <a:pt x="50086" y="102144"/>
                  </a:lnTo>
                  <a:cubicBezTo>
                    <a:pt x="47126" y="105104"/>
                    <a:pt x="46770" y="109793"/>
                    <a:pt x="49256" y="113165"/>
                  </a:cubicBezTo>
                  <a:lnTo>
                    <a:pt x="89795" y="168149"/>
                  </a:lnTo>
                  <a:cubicBezTo>
                    <a:pt x="83558" y="179747"/>
                    <a:pt x="78536" y="191916"/>
                    <a:pt x="74818" y="204446"/>
                  </a:cubicBezTo>
                  <a:lnTo>
                    <a:pt x="7208" y="214676"/>
                  </a:lnTo>
                  <a:cubicBezTo>
                    <a:pt x="3062" y="215303"/>
                    <a:pt x="0" y="218862"/>
                    <a:pt x="0" y="223054"/>
                  </a:cubicBezTo>
                  <a:lnTo>
                    <a:pt x="0" y="296675"/>
                  </a:lnTo>
                  <a:cubicBezTo>
                    <a:pt x="0" y="300867"/>
                    <a:pt x="3062" y="304426"/>
                    <a:pt x="7203" y="305053"/>
                  </a:cubicBezTo>
                  <a:lnTo>
                    <a:pt x="75146" y="315334"/>
                  </a:lnTo>
                  <a:cubicBezTo>
                    <a:pt x="78903" y="327729"/>
                    <a:pt x="83914" y="339733"/>
                    <a:pt x="90100" y="351156"/>
                  </a:cubicBezTo>
                  <a:lnTo>
                    <a:pt x="49250" y="406564"/>
                  </a:lnTo>
                  <a:cubicBezTo>
                    <a:pt x="46764" y="409936"/>
                    <a:pt x="47120" y="414620"/>
                    <a:pt x="50080" y="417585"/>
                  </a:cubicBezTo>
                  <a:lnTo>
                    <a:pt x="102138" y="469643"/>
                  </a:lnTo>
                  <a:cubicBezTo>
                    <a:pt x="105098" y="472609"/>
                    <a:pt x="109787" y="472959"/>
                    <a:pt x="113160" y="470474"/>
                  </a:cubicBezTo>
                  <a:lnTo>
                    <a:pt x="168748" y="429494"/>
                  </a:lnTo>
                  <a:cubicBezTo>
                    <a:pt x="180114" y="435595"/>
                    <a:pt x="192046" y="440533"/>
                    <a:pt x="204338" y="444222"/>
                  </a:cubicBezTo>
                  <a:lnTo>
                    <a:pt x="214671" y="512521"/>
                  </a:lnTo>
                  <a:cubicBezTo>
                    <a:pt x="215298" y="516667"/>
                    <a:pt x="218857" y="519729"/>
                    <a:pt x="223049" y="519729"/>
                  </a:cubicBezTo>
                  <a:lnTo>
                    <a:pt x="296669" y="519729"/>
                  </a:lnTo>
                  <a:cubicBezTo>
                    <a:pt x="300861" y="519729"/>
                    <a:pt x="304420" y="516667"/>
                    <a:pt x="305047" y="512521"/>
                  </a:cubicBezTo>
                  <a:lnTo>
                    <a:pt x="315380" y="444222"/>
                  </a:lnTo>
                  <a:cubicBezTo>
                    <a:pt x="327672" y="440533"/>
                    <a:pt x="339603" y="435595"/>
                    <a:pt x="350970" y="429494"/>
                  </a:cubicBezTo>
                  <a:lnTo>
                    <a:pt x="406558" y="470474"/>
                  </a:lnTo>
                  <a:cubicBezTo>
                    <a:pt x="409931" y="472959"/>
                    <a:pt x="414614" y="472603"/>
                    <a:pt x="417580" y="469643"/>
                  </a:cubicBezTo>
                  <a:lnTo>
                    <a:pt x="469643" y="417585"/>
                  </a:lnTo>
                  <a:cubicBezTo>
                    <a:pt x="472603" y="414625"/>
                    <a:pt x="472959" y="409936"/>
                    <a:pt x="470468" y="406564"/>
                  </a:cubicBezTo>
                  <a:lnTo>
                    <a:pt x="429618" y="351156"/>
                  </a:lnTo>
                  <a:cubicBezTo>
                    <a:pt x="435810" y="339733"/>
                    <a:pt x="440821" y="327729"/>
                    <a:pt x="444572" y="315334"/>
                  </a:cubicBezTo>
                  <a:lnTo>
                    <a:pt x="512515" y="305053"/>
                  </a:lnTo>
                  <a:cubicBezTo>
                    <a:pt x="516656" y="304426"/>
                    <a:pt x="519718" y="300867"/>
                    <a:pt x="519718" y="296675"/>
                  </a:cubicBezTo>
                  <a:lnTo>
                    <a:pt x="519718" y="223054"/>
                  </a:lnTo>
                  <a:cubicBezTo>
                    <a:pt x="519724" y="218868"/>
                    <a:pt x="516662" y="215303"/>
                    <a:pt x="512521" y="214676"/>
                  </a:cubicBezTo>
                  <a:close/>
                  <a:moveTo>
                    <a:pt x="502776" y="289387"/>
                  </a:moveTo>
                  <a:lnTo>
                    <a:pt x="436663" y="299392"/>
                  </a:lnTo>
                  <a:cubicBezTo>
                    <a:pt x="433341" y="299895"/>
                    <a:pt x="430629" y="302313"/>
                    <a:pt x="429748" y="305550"/>
                  </a:cubicBezTo>
                  <a:cubicBezTo>
                    <a:pt x="425771" y="320210"/>
                    <a:pt x="419873" y="334333"/>
                    <a:pt x="412219" y="347535"/>
                  </a:cubicBezTo>
                  <a:cubicBezTo>
                    <a:pt x="410524" y="350456"/>
                    <a:pt x="410722" y="354099"/>
                    <a:pt x="412727" y="356817"/>
                  </a:cubicBezTo>
                  <a:lnTo>
                    <a:pt x="452498" y="410761"/>
                  </a:lnTo>
                  <a:lnTo>
                    <a:pt x="410744" y="452515"/>
                  </a:lnTo>
                  <a:lnTo>
                    <a:pt x="356636" y="412625"/>
                  </a:lnTo>
                  <a:cubicBezTo>
                    <a:pt x="353924" y="410631"/>
                    <a:pt x="350297" y="410422"/>
                    <a:pt x="347388" y="412100"/>
                  </a:cubicBezTo>
                  <a:cubicBezTo>
                    <a:pt x="334220" y="419664"/>
                    <a:pt x="320170" y="425483"/>
                    <a:pt x="305612" y="429387"/>
                  </a:cubicBezTo>
                  <a:cubicBezTo>
                    <a:pt x="302364" y="430262"/>
                    <a:pt x="299935" y="432974"/>
                    <a:pt x="299432" y="436307"/>
                  </a:cubicBezTo>
                  <a:lnTo>
                    <a:pt x="289376" y="502793"/>
                  </a:lnTo>
                  <a:lnTo>
                    <a:pt x="230330" y="502793"/>
                  </a:lnTo>
                  <a:lnTo>
                    <a:pt x="220275" y="436307"/>
                  </a:lnTo>
                  <a:cubicBezTo>
                    <a:pt x="219772" y="432980"/>
                    <a:pt x="217343" y="430262"/>
                    <a:pt x="214095" y="429387"/>
                  </a:cubicBezTo>
                  <a:cubicBezTo>
                    <a:pt x="199536" y="425483"/>
                    <a:pt x="185487" y="419664"/>
                    <a:pt x="172318" y="412100"/>
                  </a:cubicBezTo>
                  <a:cubicBezTo>
                    <a:pt x="169409" y="410428"/>
                    <a:pt x="165777" y="410637"/>
                    <a:pt x="163071" y="412625"/>
                  </a:cubicBezTo>
                  <a:lnTo>
                    <a:pt x="108962" y="452515"/>
                  </a:lnTo>
                  <a:lnTo>
                    <a:pt x="67209" y="410761"/>
                  </a:lnTo>
                  <a:lnTo>
                    <a:pt x="106979" y="356817"/>
                  </a:lnTo>
                  <a:cubicBezTo>
                    <a:pt x="108979" y="354099"/>
                    <a:pt x="109183" y="350456"/>
                    <a:pt x="107488" y="347535"/>
                  </a:cubicBezTo>
                  <a:cubicBezTo>
                    <a:pt x="99833" y="334338"/>
                    <a:pt x="93935" y="320210"/>
                    <a:pt x="89958" y="305550"/>
                  </a:cubicBezTo>
                  <a:cubicBezTo>
                    <a:pt x="89077" y="302307"/>
                    <a:pt x="86365" y="299895"/>
                    <a:pt x="83044" y="299392"/>
                  </a:cubicBezTo>
                  <a:lnTo>
                    <a:pt x="16931" y="289387"/>
                  </a:lnTo>
                  <a:lnTo>
                    <a:pt x="16931" y="230342"/>
                  </a:lnTo>
                  <a:lnTo>
                    <a:pt x="82744" y="220388"/>
                  </a:lnTo>
                  <a:cubicBezTo>
                    <a:pt x="86083" y="219885"/>
                    <a:pt x="88806" y="217445"/>
                    <a:pt x="89670" y="214179"/>
                  </a:cubicBezTo>
                  <a:cubicBezTo>
                    <a:pt x="93585" y="199401"/>
                    <a:pt x="99472" y="185120"/>
                    <a:pt x="107177" y="171731"/>
                  </a:cubicBezTo>
                  <a:cubicBezTo>
                    <a:pt x="108855" y="168816"/>
                    <a:pt x="108646" y="165184"/>
                    <a:pt x="106652" y="162478"/>
                  </a:cubicBezTo>
                  <a:lnTo>
                    <a:pt x="67209" y="108974"/>
                  </a:lnTo>
                  <a:lnTo>
                    <a:pt x="108962" y="67220"/>
                  </a:lnTo>
                  <a:lnTo>
                    <a:pt x="162308" y="106544"/>
                  </a:lnTo>
                  <a:cubicBezTo>
                    <a:pt x="165025" y="108544"/>
                    <a:pt x="168669" y="108748"/>
                    <a:pt x="171595" y="107047"/>
                  </a:cubicBezTo>
                  <a:cubicBezTo>
                    <a:pt x="185012" y="99251"/>
                    <a:pt x="199367" y="93280"/>
                    <a:pt x="214247" y="89297"/>
                  </a:cubicBezTo>
                  <a:cubicBezTo>
                    <a:pt x="217501" y="88427"/>
                    <a:pt x="219930" y="85710"/>
                    <a:pt x="220433" y="82377"/>
                  </a:cubicBezTo>
                  <a:lnTo>
                    <a:pt x="230330" y="16942"/>
                  </a:lnTo>
                  <a:lnTo>
                    <a:pt x="289376" y="16942"/>
                  </a:lnTo>
                  <a:lnTo>
                    <a:pt x="299274" y="82377"/>
                  </a:lnTo>
                  <a:cubicBezTo>
                    <a:pt x="299776" y="85710"/>
                    <a:pt x="302206" y="88427"/>
                    <a:pt x="305460" y="89297"/>
                  </a:cubicBezTo>
                  <a:cubicBezTo>
                    <a:pt x="320340" y="93280"/>
                    <a:pt x="334689" y="99251"/>
                    <a:pt x="348111" y="107047"/>
                  </a:cubicBezTo>
                  <a:cubicBezTo>
                    <a:pt x="351032" y="108753"/>
                    <a:pt x="354676" y="108544"/>
                    <a:pt x="357399" y="106544"/>
                  </a:cubicBezTo>
                  <a:lnTo>
                    <a:pt x="410744" y="67220"/>
                  </a:lnTo>
                  <a:lnTo>
                    <a:pt x="452498" y="108974"/>
                  </a:lnTo>
                  <a:lnTo>
                    <a:pt x="413055" y="162478"/>
                  </a:lnTo>
                  <a:cubicBezTo>
                    <a:pt x="411061" y="165184"/>
                    <a:pt x="410852" y="168816"/>
                    <a:pt x="412529" y="171731"/>
                  </a:cubicBezTo>
                  <a:cubicBezTo>
                    <a:pt x="420229" y="185120"/>
                    <a:pt x="426121" y="199401"/>
                    <a:pt x="430036" y="214179"/>
                  </a:cubicBezTo>
                  <a:cubicBezTo>
                    <a:pt x="430901" y="217445"/>
                    <a:pt x="433624" y="219879"/>
                    <a:pt x="436962" y="220388"/>
                  </a:cubicBezTo>
                  <a:lnTo>
                    <a:pt x="502776" y="230342"/>
                  </a:lnTo>
                  <a:lnTo>
                    <a:pt x="502776" y="289387"/>
                  </a:lnTo>
                  <a:lnTo>
                    <a:pt x="502776" y="289387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4027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1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2264B0-4980-4D78-9E65-92E1A1354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369332"/>
          </a:xfrm>
        </p:spPr>
        <p:txBody>
          <a:bodyPr vert="horz"/>
          <a:lstStyle/>
          <a:p>
            <a:r>
              <a:rPr lang="ru-RU" sz="2400" dirty="0" smtClean="0"/>
              <a:t>Шаг 1</a:t>
            </a:r>
            <a:endParaRPr lang="ru-RU" sz="2400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86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D450BE-8AEF-416C-9E58-BA980120668D}"/>
              </a:ext>
            </a:extLst>
          </p:cNvPr>
          <p:cNvSpPr txBox="1"/>
          <p:nvPr/>
        </p:nvSpPr>
        <p:spPr>
          <a:xfrm>
            <a:off x="1757784" y="1396299"/>
            <a:ext cx="9862716" cy="4308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ru-RU" sz="1400" dirty="0"/>
              <a:t>Вся наша работа строится в строгом соответствии с </a:t>
            </a:r>
            <a:r>
              <a:rPr lang="ru-RU" sz="1400" b="1" dirty="0"/>
              <a:t>Законом о защите прав потребителей</a:t>
            </a:r>
            <a:r>
              <a:rPr lang="ru-RU" sz="1400" dirty="0"/>
              <a:t>. </a:t>
            </a:r>
            <a:endParaRPr lang="ru-RU" sz="1400" dirty="0" smtClean="0"/>
          </a:p>
          <a:p>
            <a:r>
              <a:rPr lang="ru-RU" sz="1400" b="1" dirty="0" smtClean="0"/>
              <a:t>Как </a:t>
            </a:r>
            <a:r>
              <a:rPr lang="ru-RU" sz="1400" b="1" dirty="0"/>
              <a:t>это выглядит на практике:</a:t>
            </a:r>
            <a:endParaRPr lang="ru-RU" sz="1400" dirty="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92F02FC5-A218-465F-894E-52EB0D0FC73F}"/>
              </a:ext>
            </a:extLst>
          </p:cNvPr>
          <p:cNvSpPr/>
          <p:nvPr/>
        </p:nvSpPr>
        <p:spPr>
          <a:xfrm>
            <a:off x="633997" y="1249680"/>
            <a:ext cx="790114" cy="784800"/>
          </a:xfrm>
          <a:prstGeom prst="ellipse">
            <a:avLst/>
          </a:prstGeom>
          <a:noFill/>
          <a:ln w="152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CF8864B9-8042-4DAF-3687-9A046BCDD6CD}"/>
              </a:ext>
            </a:extLst>
          </p:cNvPr>
          <p:cNvGrpSpPr/>
          <p:nvPr/>
        </p:nvGrpSpPr>
        <p:grpSpPr>
          <a:xfrm>
            <a:off x="557885" y="2355725"/>
            <a:ext cx="3532636" cy="2990996"/>
            <a:chOff x="567690" y="1198563"/>
            <a:chExt cx="3532636" cy="3338710"/>
          </a:xfrm>
        </p:grpSpPr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57331B3B-A777-8363-988A-DBC8011D0B73}"/>
                </a:ext>
              </a:extLst>
            </p:cNvPr>
            <p:cNvSpPr/>
            <p:nvPr/>
          </p:nvSpPr>
          <p:spPr>
            <a:xfrm>
              <a:off x="571501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E8D3AE56-35FC-3A5F-7692-9D6B9A3316B1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>
              <a:extLst>
                <a:ext uri="{FF2B5EF4-FFF2-40B4-BE49-F238E27FC236}">
                  <a16:creationId xmlns:a16="http://schemas.microsoft.com/office/drawing/2014/main" id="{D33F16A8-8752-1158-60D5-E9A22D0C6C06}"/>
                </a:ext>
              </a:extLst>
            </p:cNvPr>
            <p:cNvCxnSpPr>
              <a:cxnSpLocks/>
            </p:cNvCxnSpPr>
            <p:nvPr/>
          </p:nvCxnSpPr>
          <p:spPr>
            <a:xfrm>
              <a:off x="581304" y="2075828"/>
              <a:ext cx="351902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2B3E1DDA-533D-7FE9-E212-24D944009AB7}"/>
              </a:ext>
            </a:extLst>
          </p:cNvPr>
          <p:cNvSpPr txBox="1"/>
          <p:nvPr/>
        </p:nvSpPr>
        <p:spPr>
          <a:xfrm>
            <a:off x="792362" y="3623267"/>
            <a:ext cx="308812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Когда покупатель приходит с претензией, сотрудник Стойки информации сначала оценивает ситуацию: действует ли гарантия, есть ли видимые повреждения.</a:t>
            </a:r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AE97626D-8301-A9FE-28E5-0B3FCC59E9F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/>
        </p:blipFill>
        <p:spPr>
          <a:xfrm>
            <a:off x="8232479" y="2605557"/>
            <a:ext cx="493838" cy="493838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13715AD8-07EB-348C-F39B-82F56ED2BCDE}"/>
              </a:ext>
            </a:extLst>
          </p:cNvPr>
          <p:cNvSpPr txBox="1"/>
          <p:nvPr/>
        </p:nvSpPr>
        <p:spPr>
          <a:xfrm>
            <a:off x="8311696" y="3568425"/>
            <a:ext cx="308812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Если покупатель отказывается ехать сам или ситуация спорная, мы принимаем товар.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0FB3EB2-62A4-C1E3-3DFA-697F5F68857B}"/>
              </a:ext>
            </a:extLst>
          </p:cNvPr>
          <p:cNvSpPr txBox="1"/>
          <p:nvPr/>
        </p:nvSpPr>
        <p:spPr>
          <a:xfrm>
            <a:off x="4569464" y="3611208"/>
            <a:ext cx="308812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Если гарантия действует, мы предлагаем покупателю обратиться в авторизованный сервисный центр (АСЦ). Если в городе он есть, мы сообщаем его контакты.</a:t>
            </a:r>
          </a:p>
        </p:txBody>
      </p: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A5895401-32D1-6843-E8DF-97BCAEC9873E}"/>
              </a:ext>
            </a:extLst>
          </p:cNvPr>
          <p:cNvGrpSpPr/>
          <p:nvPr/>
        </p:nvGrpSpPr>
        <p:grpSpPr>
          <a:xfrm>
            <a:off x="8096250" y="2388813"/>
            <a:ext cx="3524250" cy="2957907"/>
            <a:chOff x="567690" y="1198563"/>
            <a:chExt cx="3524250" cy="3338710"/>
          </a:xfrm>
        </p:grpSpPr>
        <p:sp>
          <p:nvSpPr>
            <p:cNvPr id="86" name="Прямоугольник 85">
              <a:extLst>
                <a:ext uri="{FF2B5EF4-FFF2-40B4-BE49-F238E27FC236}">
                  <a16:creationId xmlns:a16="http://schemas.microsoft.com/office/drawing/2014/main" id="{083F26E6-AA75-1231-69D1-D670DA891EF2}"/>
                </a:ext>
              </a:extLst>
            </p:cNvPr>
            <p:cNvSpPr/>
            <p:nvPr/>
          </p:nvSpPr>
          <p:spPr>
            <a:xfrm>
              <a:off x="571501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87" name="Прямая соединительная линия 86">
              <a:extLst>
                <a:ext uri="{FF2B5EF4-FFF2-40B4-BE49-F238E27FC236}">
                  <a16:creationId xmlns:a16="http://schemas.microsoft.com/office/drawing/2014/main" id="{A9463B42-C186-D1C7-AED3-04B6231361E8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Прямая соединительная линия 87">
              <a:extLst>
                <a:ext uri="{FF2B5EF4-FFF2-40B4-BE49-F238E27FC236}">
                  <a16:creationId xmlns:a16="http://schemas.microsoft.com/office/drawing/2014/main" id="{07401C8D-EDA4-4470-DC72-FDF0BF87C0D0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2000625"/>
              <a:ext cx="351902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9" name="Группа 88">
            <a:extLst>
              <a:ext uri="{FF2B5EF4-FFF2-40B4-BE49-F238E27FC236}">
                <a16:creationId xmlns:a16="http://schemas.microsoft.com/office/drawing/2014/main" id="{E516BE6C-4A94-1B18-7B87-8FF136DBE20C}"/>
              </a:ext>
            </a:extLst>
          </p:cNvPr>
          <p:cNvGrpSpPr/>
          <p:nvPr/>
        </p:nvGrpSpPr>
        <p:grpSpPr>
          <a:xfrm>
            <a:off x="4331970" y="2388814"/>
            <a:ext cx="3524250" cy="2958862"/>
            <a:chOff x="567690" y="1198563"/>
            <a:chExt cx="3524250" cy="3338710"/>
          </a:xfrm>
        </p:grpSpPr>
        <p:sp>
          <p:nvSpPr>
            <p:cNvPr id="90" name="Прямоугольник 89">
              <a:extLst>
                <a:ext uri="{FF2B5EF4-FFF2-40B4-BE49-F238E27FC236}">
                  <a16:creationId xmlns:a16="http://schemas.microsoft.com/office/drawing/2014/main" id="{EFB81770-A20F-91A7-AB41-5751BBD96EBC}"/>
                </a:ext>
              </a:extLst>
            </p:cNvPr>
            <p:cNvSpPr/>
            <p:nvPr/>
          </p:nvSpPr>
          <p:spPr>
            <a:xfrm>
              <a:off x="571501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91" name="Прямая соединительная линия 90">
              <a:extLst>
                <a:ext uri="{FF2B5EF4-FFF2-40B4-BE49-F238E27FC236}">
                  <a16:creationId xmlns:a16="http://schemas.microsoft.com/office/drawing/2014/main" id="{86DC4BBE-A175-E229-D770-8D76E78C6881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Прямая соединительная линия 91">
              <a:extLst>
                <a:ext uri="{FF2B5EF4-FFF2-40B4-BE49-F238E27FC236}">
                  <a16:creationId xmlns:a16="http://schemas.microsoft.com/office/drawing/2014/main" id="{74C43204-F3CB-F697-EBC8-8E166BA2CE89}"/>
                </a:ext>
              </a:extLst>
            </p:cNvPr>
            <p:cNvCxnSpPr>
              <a:cxnSpLocks/>
            </p:cNvCxnSpPr>
            <p:nvPr/>
          </p:nvCxnSpPr>
          <p:spPr>
            <a:xfrm>
              <a:off x="568791" y="2000365"/>
              <a:ext cx="351902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Рисунок 54">
            <a:extLst>
              <a:ext uri="{FF2B5EF4-FFF2-40B4-BE49-F238E27FC236}">
                <a16:creationId xmlns:a16="http://schemas.microsoft.com/office/drawing/2014/main" id="{C89BF5D7-2AC1-455A-89FE-C11A2150360A}"/>
              </a:ext>
            </a:extLst>
          </p:cNvPr>
          <p:cNvGrpSpPr/>
          <p:nvPr/>
        </p:nvGrpSpPr>
        <p:grpSpPr>
          <a:xfrm>
            <a:off x="792362" y="1407547"/>
            <a:ext cx="519717" cy="519729"/>
            <a:chOff x="6437618" y="1223873"/>
            <a:chExt cx="519717" cy="519729"/>
          </a:xfrm>
          <a:solidFill>
            <a:schemeClr val="tx1"/>
          </a:solidFill>
        </p:grpSpPr>
        <p:sp>
          <p:nvSpPr>
            <p:cNvPr id="35" name="Полилиния: фигура 172">
              <a:extLst>
                <a:ext uri="{FF2B5EF4-FFF2-40B4-BE49-F238E27FC236}">
                  <a16:creationId xmlns:a16="http://schemas.microsoft.com/office/drawing/2014/main" id="{3DAD10DE-C1C1-4BC2-9BEB-C10A27940BE1}"/>
                </a:ext>
              </a:extLst>
            </p:cNvPr>
            <p:cNvSpPr/>
            <p:nvPr/>
          </p:nvSpPr>
          <p:spPr>
            <a:xfrm>
              <a:off x="6590141" y="1376402"/>
              <a:ext cx="209021" cy="209021"/>
            </a:xfrm>
            <a:custGeom>
              <a:avLst/>
              <a:gdLst>
                <a:gd name="connsiteX0" fmla="*/ 104511 w 209021"/>
                <a:gd name="connsiteY0" fmla="*/ 0 h 209021"/>
                <a:gd name="connsiteX1" fmla="*/ 0 w 209021"/>
                <a:gd name="connsiteY1" fmla="*/ 104511 h 209021"/>
                <a:gd name="connsiteX2" fmla="*/ 104511 w 209021"/>
                <a:gd name="connsiteY2" fmla="*/ 209022 h 209021"/>
                <a:gd name="connsiteX3" fmla="*/ 209022 w 209021"/>
                <a:gd name="connsiteY3" fmla="*/ 104511 h 209021"/>
                <a:gd name="connsiteX4" fmla="*/ 104511 w 209021"/>
                <a:gd name="connsiteY4" fmla="*/ 0 h 209021"/>
                <a:gd name="connsiteX5" fmla="*/ 104511 w 209021"/>
                <a:gd name="connsiteY5" fmla="*/ 192074 h 209021"/>
                <a:gd name="connsiteX6" fmla="*/ 16948 w 209021"/>
                <a:gd name="connsiteY6" fmla="*/ 104511 h 209021"/>
                <a:gd name="connsiteX7" fmla="*/ 104511 w 209021"/>
                <a:gd name="connsiteY7" fmla="*/ 16948 h 209021"/>
                <a:gd name="connsiteX8" fmla="*/ 192074 w 209021"/>
                <a:gd name="connsiteY8" fmla="*/ 104511 h 209021"/>
                <a:gd name="connsiteX9" fmla="*/ 104511 w 209021"/>
                <a:gd name="connsiteY9" fmla="*/ 192074 h 209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021" h="209021">
                  <a:moveTo>
                    <a:pt x="104511" y="0"/>
                  </a:moveTo>
                  <a:cubicBezTo>
                    <a:pt x="46883" y="0"/>
                    <a:pt x="0" y="46883"/>
                    <a:pt x="0" y="104511"/>
                  </a:cubicBezTo>
                  <a:cubicBezTo>
                    <a:pt x="0" y="162139"/>
                    <a:pt x="46883" y="209022"/>
                    <a:pt x="104511" y="209022"/>
                  </a:cubicBezTo>
                  <a:cubicBezTo>
                    <a:pt x="162139" y="209022"/>
                    <a:pt x="209022" y="162139"/>
                    <a:pt x="209022" y="104511"/>
                  </a:cubicBezTo>
                  <a:cubicBezTo>
                    <a:pt x="209022" y="46883"/>
                    <a:pt x="162139" y="0"/>
                    <a:pt x="104511" y="0"/>
                  </a:cubicBezTo>
                  <a:close/>
                  <a:moveTo>
                    <a:pt x="104511" y="192074"/>
                  </a:moveTo>
                  <a:cubicBezTo>
                    <a:pt x="56227" y="192074"/>
                    <a:pt x="16948" y="152795"/>
                    <a:pt x="16948" y="104511"/>
                  </a:cubicBezTo>
                  <a:cubicBezTo>
                    <a:pt x="16948" y="56227"/>
                    <a:pt x="56227" y="16948"/>
                    <a:pt x="104511" y="16948"/>
                  </a:cubicBezTo>
                  <a:cubicBezTo>
                    <a:pt x="152795" y="16948"/>
                    <a:pt x="192074" y="56227"/>
                    <a:pt x="192074" y="104511"/>
                  </a:cubicBezTo>
                  <a:cubicBezTo>
                    <a:pt x="192074" y="152795"/>
                    <a:pt x="152795" y="192074"/>
                    <a:pt x="104511" y="192074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Полилиния: фигура 173">
              <a:extLst>
                <a:ext uri="{FF2B5EF4-FFF2-40B4-BE49-F238E27FC236}">
                  <a16:creationId xmlns:a16="http://schemas.microsoft.com/office/drawing/2014/main" id="{8AE92611-E137-4620-BF63-B8D060FE7552}"/>
                </a:ext>
              </a:extLst>
            </p:cNvPr>
            <p:cNvSpPr/>
            <p:nvPr/>
          </p:nvSpPr>
          <p:spPr>
            <a:xfrm>
              <a:off x="6437618" y="1223873"/>
              <a:ext cx="519717" cy="519729"/>
            </a:xfrm>
            <a:custGeom>
              <a:avLst/>
              <a:gdLst>
                <a:gd name="connsiteX0" fmla="*/ 512521 w 519717"/>
                <a:gd name="connsiteY0" fmla="*/ 214676 h 519729"/>
                <a:gd name="connsiteX1" fmla="*/ 444911 w 519717"/>
                <a:gd name="connsiteY1" fmla="*/ 204446 h 519729"/>
                <a:gd name="connsiteX2" fmla="*/ 429935 w 519717"/>
                <a:gd name="connsiteY2" fmla="*/ 168149 h 519729"/>
                <a:gd name="connsiteX3" fmla="*/ 470474 w 519717"/>
                <a:gd name="connsiteY3" fmla="*/ 113165 h 519729"/>
                <a:gd name="connsiteX4" fmla="*/ 469649 w 519717"/>
                <a:gd name="connsiteY4" fmla="*/ 102144 h 519729"/>
                <a:gd name="connsiteX5" fmla="*/ 417585 w 519717"/>
                <a:gd name="connsiteY5" fmla="*/ 50086 h 519729"/>
                <a:gd name="connsiteX6" fmla="*/ 406564 w 519717"/>
                <a:gd name="connsiteY6" fmla="*/ 49256 h 519729"/>
                <a:gd name="connsiteX7" fmla="*/ 351755 w 519717"/>
                <a:gd name="connsiteY7" fmla="*/ 89659 h 519729"/>
                <a:gd name="connsiteX8" fmla="*/ 315227 w 519717"/>
                <a:gd name="connsiteY8" fmla="*/ 74457 h 519729"/>
                <a:gd name="connsiteX9" fmla="*/ 305053 w 519717"/>
                <a:gd name="connsiteY9" fmla="*/ 7208 h 519729"/>
                <a:gd name="connsiteX10" fmla="*/ 296675 w 519717"/>
                <a:gd name="connsiteY10" fmla="*/ 0 h 519729"/>
                <a:gd name="connsiteX11" fmla="*/ 223054 w 519717"/>
                <a:gd name="connsiteY11" fmla="*/ 0 h 519729"/>
                <a:gd name="connsiteX12" fmla="*/ 214676 w 519717"/>
                <a:gd name="connsiteY12" fmla="*/ 7208 h 519729"/>
                <a:gd name="connsiteX13" fmla="*/ 204502 w 519717"/>
                <a:gd name="connsiteY13" fmla="*/ 74457 h 519729"/>
                <a:gd name="connsiteX14" fmla="*/ 167974 w 519717"/>
                <a:gd name="connsiteY14" fmla="*/ 89659 h 519729"/>
                <a:gd name="connsiteX15" fmla="*/ 113165 w 519717"/>
                <a:gd name="connsiteY15" fmla="*/ 49256 h 519729"/>
                <a:gd name="connsiteX16" fmla="*/ 102144 w 519717"/>
                <a:gd name="connsiteY16" fmla="*/ 50086 h 519729"/>
                <a:gd name="connsiteX17" fmla="*/ 50086 w 519717"/>
                <a:gd name="connsiteY17" fmla="*/ 102144 h 519729"/>
                <a:gd name="connsiteX18" fmla="*/ 49256 w 519717"/>
                <a:gd name="connsiteY18" fmla="*/ 113165 h 519729"/>
                <a:gd name="connsiteX19" fmla="*/ 89795 w 519717"/>
                <a:gd name="connsiteY19" fmla="*/ 168149 h 519729"/>
                <a:gd name="connsiteX20" fmla="*/ 74818 w 519717"/>
                <a:gd name="connsiteY20" fmla="*/ 204446 h 519729"/>
                <a:gd name="connsiteX21" fmla="*/ 7208 w 519717"/>
                <a:gd name="connsiteY21" fmla="*/ 214676 h 519729"/>
                <a:gd name="connsiteX22" fmla="*/ 0 w 519717"/>
                <a:gd name="connsiteY22" fmla="*/ 223054 h 519729"/>
                <a:gd name="connsiteX23" fmla="*/ 0 w 519717"/>
                <a:gd name="connsiteY23" fmla="*/ 296675 h 519729"/>
                <a:gd name="connsiteX24" fmla="*/ 7203 w 519717"/>
                <a:gd name="connsiteY24" fmla="*/ 305053 h 519729"/>
                <a:gd name="connsiteX25" fmla="*/ 75146 w 519717"/>
                <a:gd name="connsiteY25" fmla="*/ 315334 h 519729"/>
                <a:gd name="connsiteX26" fmla="*/ 90100 w 519717"/>
                <a:gd name="connsiteY26" fmla="*/ 351156 h 519729"/>
                <a:gd name="connsiteX27" fmla="*/ 49250 w 519717"/>
                <a:gd name="connsiteY27" fmla="*/ 406564 h 519729"/>
                <a:gd name="connsiteX28" fmla="*/ 50080 w 519717"/>
                <a:gd name="connsiteY28" fmla="*/ 417585 h 519729"/>
                <a:gd name="connsiteX29" fmla="*/ 102138 w 519717"/>
                <a:gd name="connsiteY29" fmla="*/ 469643 h 519729"/>
                <a:gd name="connsiteX30" fmla="*/ 113160 w 519717"/>
                <a:gd name="connsiteY30" fmla="*/ 470474 h 519729"/>
                <a:gd name="connsiteX31" fmla="*/ 168748 w 519717"/>
                <a:gd name="connsiteY31" fmla="*/ 429494 h 519729"/>
                <a:gd name="connsiteX32" fmla="*/ 204338 w 519717"/>
                <a:gd name="connsiteY32" fmla="*/ 444222 h 519729"/>
                <a:gd name="connsiteX33" fmla="*/ 214671 w 519717"/>
                <a:gd name="connsiteY33" fmla="*/ 512521 h 519729"/>
                <a:gd name="connsiteX34" fmla="*/ 223049 w 519717"/>
                <a:gd name="connsiteY34" fmla="*/ 519729 h 519729"/>
                <a:gd name="connsiteX35" fmla="*/ 296669 w 519717"/>
                <a:gd name="connsiteY35" fmla="*/ 519729 h 519729"/>
                <a:gd name="connsiteX36" fmla="*/ 305047 w 519717"/>
                <a:gd name="connsiteY36" fmla="*/ 512521 h 519729"/>
                <a:gd name="connsiteX37" fmla="*/ 315380 w 519717"/>
                <a:gd name="connsiteY37" fmla="*/ 444222 h 519729"/>
                <a:gd name="connsiteX38" fmla="*/ 350970 w 519717"/>
                <a:gd name="connsiteY38" fmla="*/ 429494 h 519729"/>
                <a:gd name="connsiteX39" fmla="*/ 406558 w 519717"/>
                <a:gd name="connsiteY39" fmla="*/ 470474 h 519729"/>
                <a:gd name="connsiteX40" fmla="*/ 417580 w 519717"/>
                <a:gd name="connsiteY40" fmla="*/ 469643 h 519729"/>
                <a:gd name="connsiteX41" fmla="*/ 469643 w 519717"/>
                <a:gd name="connsiteY41" fmla="*/ 417585 h 519729"/>
                <a:gd name="connsiteX42" fmla="*/ 470468 w 519717"/>
                <a:gd name="connsiteY42" fmla="*/ 406564 h 519729"/>
                <a:gd name="connsiteX43" fmla="*/ 429618 w 519717"/>
                <a:gd name="connsiteY43" fmla="*/ 351156 h 519729"/>
                <a:gd name="connsiteX44" fmla="*/ 444572 w 519717"/>
                <a:gd name="connsiteY44" fmla="*/ 315334 h 519729"/>
                <a:gd name="connsiteX45" fmla="*/ 512515 w 519717"/>
                <a:gd name="connsiteY45" fmla="*/ 305053 h 519729"/>
                <a:gd name="connsiteX46" fmla="*/ 519718 w 519717"/>
                <a:gd name="connsiteY46" fmla="*/ 296675 h 519729"/>
                <a:gd name="connsiteX47" fmla="*/ 519718 w 519717"/>
                <a:gd name="connsiteY47" fmla="*/ 223054 h 519729"/>
                <a:gd name="connsiteX48" fmla="*/ 512521 w 519717"/>
                <a:gd name="connsiteY48" fmla="*/ 214676 h 519729"/>
                <a:gd name="connsiteX49" fmla="*/ 502776 w 519717"/>
                <a:gd name="connsiteY49" fmla="*/ 289387 h 519729"/>
                <a:gd name="connsiteX50" fmla="*/ 436663 w 519717"/>
                <a:gd name="connsiteY50" fmla="*/ 299392 h 519729"/>
                <a:gd name="connsiteX51" fmla="*/ 429748 w 519717"/>
                <a:gd name="connsiteY51" fmla="*/ 305550 h 519729"/>
                <a:gd name="connsiteX52" fmla="*/ 412219 w 519717"/>
                <a:gd name="connsiteY52" fmla="*/ 347535 h 519729"/>
                <a:gd name="connsiteX53" fmla="*/ 412727 w 519717"/>
                <a:gd name="connsiteY53" fmla="*/ 356817 h 519729"/>
                <a:gd name="connsiteX54" fmla="*/ 452498 w 519717"/>
                <a:gd name="connsiteY54" fmla="*/ 410761 h 519729"/>
                <a:gd name="connsiteX55" fmla="*/ 410744 w 519717"/>
                <a:gd name="connsiteY55" fmla="*/ 452515 h 519729"/>
                <a:gd name="connsiteX56" fmla="*/ 356636 w 519717"/>
                <a:gd name="connsiteY56" fmla="*/ 412625 h 519729"/>
                <a:gd name="connsiteX57" fmla="*/ 347388 w 519717"/>
                <a:gd name="connsiteY57" fmla="*/ 412100 h 519729"/>
                <a:gd name="connsiteX58" fmla="*/ 305612 w 519717"/>
                <a:gd name="connsiteY58" fmla="*/ 429387 h 519729"/>
                <a:gd name="connsiteX59" fmla="*/ 299432 w 519717"/>
                <a:gd name="connsiteY59" fmla="*/ 436307 h 519729"/>
                <a:gd name="connsiteX60" fmla="*/ 289376 w 519717"/>
                <a:gd name="connsiteY60" fmla="*/ 502793 h 519729"/>
                <a:gd name="connsiteX61" fmla="*/ 230330 w 519717"/>
                <a:gd name="connsiteY61" fmla="*/ 502793 h 519729"/>
                <a:gd name="connsiteX62" fmla="*/ 220275 w 519717"/>
                <a:gd name="connsiteY62" fmla="*/ 436307 h 519729"/>
                <a:gd name="connsiteX63" fmla="*/ 214095 w 519717"/>
                <a:gd name="connsiteY63" fmla="*/ 429387 h 519729"/>
                <a:gd name="connsiteX64" fmla="*/ 172318 w 519717"/>
                <a:gd name="connsiteY64" fmla="*/ 412100 h 519729"/>
                <a:gd name="connsiteX65" fmla="*/ 163071 w 519717"/>
                <a:gd name="connsiteY65" fmla="*/ 412625 h 519729"/>
                <a:gd name="connsiteX66" fmla="*/ 108962 w 519717"/>
                <a:gd name="connsiteY66" fmla="*/ 452515 h 519729"/>
                <a:gd name="connsiteX67" fmla="*/ 67209 w 519717"/>
                <a:gd name="connsiteY67" fmla="*/ 410761 h 519729"/>
                <a:gd name="connsiteX68" fmla="*/ 106979 w 519717"/>
                <a:gd name="connsiteY68" fmla="*/ 356817 h 519729"/>
                <a:gd name="connsiteX69" fmla="*/ 107488 w 519717"/>
                <a:gd name="connsiteY69" fmla="*/ 347535 h 519729"/>
                <a:gd name="connsiteX70" fmla="*/ 89958 w 519717"/>
                <a:gd name="connsiteY70" fmla="*/ 305550 h 519729"/>
                <a:gd name="connsiteX71" fmla="*/ 83044 w 519717"/>
                <a:gd name="connsiteY71" fmla="*/ 299392 h 519729"/>
                <a:gd name="connsiteX72" fmla="*/ 16931 w 519717"/>
                <a:gd name="connsiteY72" fmla="*/ 289387 h 519729"/>
                <a:gd name="connsiteX73" fmla="*/ 16931 w 519717"/>
                <a:gd name="connsiteY73" fmla="*/ 230342 h 519729"/>
                <a:gd name="connsiteX74" fmla="*/ 82744 w 519717"/>
                <a:gd name="connsiteY74" fmla="*/ 220388 h 519729"/>
                <a:gd name="connsiteX75" fmla="*/ 89670 w 519717"/>
                <a:gd name="connsiteY75" fmla="*/ 214179 h 519729"/>
                <a:gd name="connsiteX76" fmla="*/ 107177 w 519717"/>
                <a:gd name="connsiteY76" fmla="*/ 171731 h 519729"/>
                <a:gd name="connsiteX77" fmla="*/ 106652 w 519717"/>
                <a:gd name="connsiteY77" fmla="*/ 162478 h 519729"/>
                <a:gd name="connsiteX78" fmla="*/ 67209 w 519717"/>
                <a:gd name="connsiteY78" fmla="*/ 108974 h 519729"/>
                <a:gd name="connsiteX79" fmla="*/ 108962 w 519717"/>
                <a:gd name="connsiteY79" fmla="*/ 67220 h 519729"/>
                <a:gd name="connsiteX80" fmla="*/ 162308 w 519717"/>
                <a:gd name="connsiteY80" fmla="*/ 106544 h 519729"/>
                <a:gd name="connsiteX81" fmla="*/ 171595 w 519717"/>
                <a:gd name="connsiteY81" fmla="*/ 107047 h 519729"/>
                <a:gd name="connsiteX82" fmla="*/ 214247 w 519717"/>
                <a:gd name="connsiteY82" fmla="*/ 89297 h 519729"/>
                <a:gd name="connsiteX83" fmla="*/ 220433 w 519717"/>
                <a:gd name="connsiteY83" fmla="*/ 82377 h 519729"/>
                <a:gd name="connsiteX84" fmla="*/ 230330 w 519717"/>
                <a:gd name="connsiteY84" fmla="*/ 16942 h 519729"/>
                <a:gd name="connsiteX85" fmla="*/ 289376 w 519717"/>
                <a:gd name="connsiteY85" fmla="*/ 16942 h 519729"/>
                <a:gd name="connsiteX86" fmla="*/ 299274 w 519717"/>
                <a:gd name="connsiteY86" fmla="*/ 82377 h 519729"/>
                <a:gd name="connsiteX87" fmla="*/ 305460 w 519717"/>
                <a:gd name="connsiteY87" fmla="*/ 89297 h 519729"/>
                <a:gd name="connsiteX88" fmla="*/ 348111 w 519717"/>
                <a:gd name="connsiteY88" fmla="*/ 107047 h 519729"/>
                <a:gd name="connsiteX89" fmla="*/ 357399 w 519717"/>
                <a:gd name="connsiteY89" fmla="*/ 106544 h 519729"/>
                <a:gd name="connsiteX90" fmla="*/ 410744 w 519717"/>
                <a:gd name="connsiteY90" fmla="*/ 67220 h 519729"/>
                <a:gd name="connsiteX91" fmla="*/ 452498 w 519717"/>
                <a:gd name="connsiteY91" fmla="*/ 108974 h 519729"/>
                <a:gd name="connsiteX92" fmla="*/ 413055 w 519717"/>
                <a:gd name="connsiteY92" fmla="*/ 162478 h 519729"/>
                <a:gd name="connsiteX93" fmla="*/ 412529 w 519717"/>
                <a:gd name="connsiteY93" fmla="*/ 171731 h 519729"/>
                <a:gd name="connsiteX94" fmla="*/ 430036 w 519717"/>
                <a:gd name="connsiteY94" fmla="*/ 214179 h 519729"/>
                <a:gd name="connsiteX95" fmla="*/ 436962 w 519717"/>
                <a:gd name="connsiteY95" fmla="*/ 220388 h 519729"/>
                <a:gd name="connsiteX96" fmla="*/ 502776 w 519717"/>
                <a:gd name="connsiteY96" fmla="*/ 230342 h 519729"/>
                <a:gd name="connsiteX97" fmla="*/ 502776 w 519717"/>
                <a:gd name="connsiteY97" fmla="*/ 289387 h 519729"/>
                <a:gd name="connsiteX98" fmla="*/ 502776 w 519717"/>
                <a:gd name="connsiteY98" fmla="*/ 289387 h 519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519717" h="519729">
                  <a:moveTo>
                    <a:pt x="512521" y="214676"/>
                  </a:moveTo>
                  <a:lnTo>
                    <a:pt x="444911" y="204446"/>
                  </a:lnTo>
                  <a:cubicBezTo>
                    <a:pt x="441194" y="191916"/>
                    <a:pt x="436171" y="179747"/>
                    <a:pt x="429935" y="168149"/>
                  </a:cubicBezTo>
                  <a:lnTo>
                    <a:pt x="470474" y="113165"/>
                  </a:lnTo>
                  <a:cubicBezTo>
                    <a:pt x="472959" y="109793"/>
                    <a:pt x="472609" y="105110"/>
                    <a:pt x="469649" y="102144"/>
                  </a:cubicBezTo>
                  <a:lnTo>
                    <a:pt x="417585" y="50086"/>
                  </a:lnTo>
                  <a:cubicBezTo>
                    <a:pt x="414620" y="47126"/>
                    <a:pt x="409936" y="46770"/>
                    <a:pt x="406564" y="49256"/>
                  </a:cubicBezTo>
                  <a:lnTo>
                    <a:pt x="351755" y="89659"/>
                  </a:lnTo>
                  <a:cubicBezTo>
                    <a:pt x="340106" y="83332"/>
                    <a:pt x="327859" y="78236"/>
                    <a:pt x="315227" y="74457"/>
                  </a:cubicBezTo>
                  <a:lnTo>
                    <a:pt x="305053" y="7208"/>
                  </a:lnTo>
                  <a:cubicBezTo>
                    <a:pt x="304426" y="3062"/>
                    <a:pt x="300867" y="0"/>
                    <a:pt x="296675" y="0"/>
                  </a:cubicBezTo>
                  <a:lnTo>
                    <a:pt x="223054" y="0"/>
                  </a:lnTo>
                  <a:cubicBezTo>
                    <a:pt x="218862" y="0"/>
                    <a:pt x="215303" y="3062"/>
                    <a:pt x="214676" y="7208"/>
                  </a:cubicBezTo>
                  <a:lnTo>
                    <a:pt x="204502" y="74457"/>
                  </a:lnTo>
                  <a:cubicBezTo>
                    <a:pt x="191870" y="78236"/>
                    <a:pt x="179623" y="83337"/>
                    <a:pt x="167974" y="89659"/>
                  </a:cubicBezTo>
                  <a:lnTo>
                    <a:pt x="113165" y="49256"/>
                  </a:lnTo>
                  <a:cubicBezTo>
                    <a:pt x="109793" y="46770"/>
                    <a:pt x="105110" y="47120"/>
                    <a:pt x="102144" y="50086"/>
                  </a:cubicBezTo>
                  <a:lnTo>
                    <a:pt x="50086" y="102144"/>
                  </a:lnTo>
                  <a:cubicBezTo>
                    <a:pt x="47126" y="105104"/>
                    <a:pt x="46770" y="109793"/>
                    <a:pt x="49256" y="113165"/>
                  </a:cubicBezTo>
                  <a:lnTo>
                    <a:pt x="89795" y="168149"/>
                  </a:lnTo>
                  <a:cubicBezTo>
                    <a:pt x="83558" y="179747"/>
                    <a:pt x="78536" y="191916"/>
                    <a:pt x="74818" y="204446"/>
                  </a:cubicBezTo>
                  <a:lnTo>
                    <a:pt x="7208" y="214676"/>
                  </a:lnTo>
                  <a:cubicBezTo>
                    <a:pt x="3062" y="215303"/>
                    <a:pt x="0" y="218862"/>
                    <a:pt x="0" y="223054"/>
                  </a:cubicBezTo>
                  <a:lnTo>
                    <a:pt x="0" y="296675"/>
                  </a:lnTo>
                  <a:cubicBezTo>
                    <a:pt x="0" y="300867"/>
                    <a:pt x="3062" y="304426"/>
                    <a:pt x="7203" y="305053"/>
                  </a:cubicBezTo>
                  <a:lnTo>
                    <a:pt x="75146" y="315334"/>
                  </a:lnTo>
                  <a:cubicBezTo>
                    <a:pt x="78903" y="327729"/>
                    <a:pt x="83914" y="339733"/>
                    <a:pt x="90100" y="351156"/>
                  </a:cubicBezTo>
                  <a:lnTo>
                    <a:pt x="49250" y="406564"/>
                  </a:lnTo>
                  <a:cubicBezTo>
                    <a:pt x="46764" y="409936"/>
                    <a:pt x="47120" y="414620"/>
                    <a:pt x="50080" y="417585"/>
                  </a:cubicBezTo>
                  <a:lnTo>
                    <a:pt x="102138" y="469643"/>
                  </a:lnTo>
                  <a:cubicBezTo>
                    <a:pt x="105098" y="472609"/>
                    <a:pt x="109787" y="472959"/>
                    <a:pt x="113160" y="470474"/>
                  </a:cubicBezTo>
                  <a:lnTo>
                    <a:pt x="168748" y="429494"/>
                  </a:lnTo>
                  <a:cubicBezTo>
                    <a:pt x="180114" y="435595"/>
                    <a:pt x="192046" y="440533"/>
                    <a:pt x="204338" y="444222"/>
                  </a:cubicBezTo>
                  <a:lnTo>
                    <a:pt x="214671" y="512521"/>
                  </a:lnTo>
                  <a:cubicBezTo>
                    <a:pt x="215298" y="516667"/>
                    <a:pt x="218857" y="519729"/>
                    <a:pt x="223049" y="519729"/>
                  </a:cubicBezTo>
                  <a:lnTo>
                    <a:pt x="296669" y="519729"/>
                  </a:lnTo>
                  <a:cubicBezTo>
                    <a:pt x="300861" y="519729"/>
                    <a:pt x="304420" y="516667"/>
                    <a:pt x="305047" y="512521"/>
                  </a:cubicBezTo>
                  <a:lnTo>
                    <a:pt x="315380" y="444222"/>
                  </a:lnTo>
                  <a:cubicBezTo>
                    <a:pt x="327672" y="440533"/>
                    <a:pt x="339603" y="435595"/>
                    <a:pt x="350970" y="429494"/>
                  </a:cubicBezTo>
                  <a:lnTo>
                    <a:pt x="406558" y="470474"/>
                  </a:lnTo>
                  <a:cubicBezTo>
                    <a:pt x="409931" y="472959"/>
                    <a:pt x="414614" y="472603"/>
                    <a:pt x="417580" y="469643"/>
                  </a:cubicBezTo>
                  <a:lnTo>
                    <a:pt x="469643" y="417585"/>
                  </a:lnTo>
                  <a:cubicBezTo>
                    <a:pt x="472603" y="414625"/>
                    <a:pt x="472959" y="409936"/>
                    <a:pt x="470468" y="406564"/>
                  </a:cubicBezTo>
                  <a:lnTo>
                    <a:pt x="429618" y="351156"/>
                  </a:lnTo>
                  <a:cubicBezTo>
                    <a:pt x="435810" y="339733"/>
                    <a:pt x="440821" y="327729"/>
                    <a:pt x="444572" y="315334"/>
                  </a:cubicBezTo>
                  <a:lnTo>
                    <a:pt x="512515" y="305053"/>
                  </a:lnTo>
                  <a:cubicBezTo>
                    <a:pt x="516656" y="304426"/>
                    <a:pt x="519718" y="300867"/>
                    <a:pt x="519718" y="296675"/>
                  </a:cubicBezTo>
                  <a:lnTo>
                    <a:pt x="519718" y="223054"/>
                  </a:lnTo>
                  <a:cubicBezTo>
                    <a:pt x="519724" y="218868"/>
                    <a:pt x="516662" y="215303"/>
                    <a:pt x="512521" y="214676"/>
                  </a:cubicBezTo>
                  <a:close/>
                  <a:moveTo>
                    <a:pt x="502776" y="289387"/>
                  </a:moveTo>
                  <a:lnTo>
                    <a:pt x="436663" y="299392"/>
                  </a:lnTo>
                  <a:cubicBezTo>
                    <a:pt x="433341" y="299895"/>
                    <a:pt x="430629" y="302313"/>
                    <a:pt x="429748" y="305550"/>
                  </a:cubicBezTo>
                  <a:cubicBezTo>
                    <a:pt x="425771" y="320210"/>
                    <a:pt x="419873" y="334333"/>
                    <a:pt x="412219" y="347535"/>
                  </a:cubicBezTo>
                  <a:cubicBezTo>
                    <a:pt x="410524" y="350456"/>
                    <a:pt x="410722" y="354099"/>
                    <a:pt x="412727" y="356817"/>
                  </a:cubicBezTo>
                  <a:lnTo>
                    <a:pt x="452498" y="410761"/>
                  </a:lnTo>
                  <a:lnTo>
                    <a:pt x="410744" y="452515"/>
                  </a:lnTo>
                  <a:lnTo>
                    <a:pt x="356636" y="412625"/>
                  </a:lnTo>
                  <a:cubicBezTo>
                    <a:pt x="353924" y="410631"/>
                    <a:pt x="350297" y="410422"/>
                    <a:pt x="347388" y="412100"/>
                  </a:cubicBezTo>
                  <a:cubicBezTo>
                    <a:pt x="334220" y="419664"/>
                    <a:pt x="320170" y="425483"/>
                    <a:pt x="305612" y="429387"/>
                  </a:cubicBezTo>
                  <a:cubicBezTo>
                    <a:pt x="302364" y="430262"/>
                    <a:pt x="299935" y="432974"/>
                    <a:pt x="299432" y="436307"/>
                  </a:cubicBezTo>
                  <a:lnTo>
                    <a:pt x="289376" y="502793"/>
                  </a:lnTo>
                  <a:lnTo>
                    <a:pt x="230330" y="502793"/>
                  </a:lnTo>
                  <a:lnTo>
                    <a:pt x="220275" y="436307"/>
                  </a:lnTo>
                  <a:cubicBezTo>
                    <a:pt x="219772" y="432980"/>
                    <a:pt x="217343" y="430262"/>
                    <a:pt x="214095" y="429387"/>
                  </a:cubicBezTo>
                  <a:cubicBezTo>
                    <a:pt x="199536" y="425483"/>
                    <a:pt x="185487" y="419664"/>
                    <a:pt x="172318" y="412100"/>
                  </a:cubicBezTo>
                  <a:cubicBezTo>
                    <a:pt x="169409" y="410428"/>
                    <a:pt x="165777" y="410637"/>
                    <a:pt x="163071" y="412625"/>
                  </a:cubicBezTo>
                  <a:lnTo>
                    <a:pt x="108962" y="452515"/>
                  </a:lnTo>
                  <a:lnTo>
                    <a:pt x="67209" y="410761"/>
                  </a:lnTo>
                  <a:lnTo>
                    <a:pt x="106979" y="356817"/>
                  </a:lnTo>
                  <a:cubicBezTo>
                    <a:pt x="108979" y="354099"/>
                    <a:pt x="109183" y="350456"/>
                    <a:pt x="107488" y="347535"/>
                  </a:cubicBezTo>
                  <a:cubicBezTo>
                    <a:pt x="99833" y="334338"/>
                    <a:pt x="93935" y="320210"/>
                    <a:pt x="89958" y="305550"/>
                  </a:cubicBezTo>
                  <a:cubicBezTo>
                    <a:pt x="89077" y="302307"/>
                    <a:pt x="86365" y="299895"/>
                    <a:pt x="83044" y="299392"/>
                  </a:cubicBezTo>
                  <a:lnTo>
                    <a:pt x="16931" y="289387"/>
                  </a:lnTo>
                  <a:lnTo>
                    <a:pt x="16931" y="230342"/>
                  </a:lnTo>
                  <a:lnTo>
                    <a:pt x="82744" y="220388"/>
                  </a:lnTo>
                  <a:cubicBezTo>
                    <a:pt x="86083" y="219885"/>
                    <a:pt x="88806" y="217445"/>
                    <a:pt x="89670" y="214179"/>
                  </a:cubicBezTo>
                  <a:cubicBezTo>
                    <a:pt x="93585" y="199401"/>
                    <a:pt x="99472" y="185120"/>
                    <a:pt x="107177" y="171731"/>
                  </a:cubicBezTo>
                  <a:cubicBezTo>
                    <a:pt x="108855" y="168816"/>
                    <a:pt x="108646" y="165184"/>
                    <a:pt x="106652" y="162478"/>
                  </a:cubicBezTo>
                  <a:lnTo>
                    <a:pt x="67209" y="108974"/>
                  </a:lnTo>
                  <a:lnTo>
                    <a:pt x="108962" y="67220"/>
                  </a:lnTo>
                  <a:lnTo>
                    <a:pt x="162308" y="106544"/>
                  </a:lnTo>
                  <a:cubicBezTo>
                    <a:pt x="165025" y="108544"/>
                    <a:pt x="168669" y="108748"/>
                    <a:pt x="171595" y="107047"/>
                  </a:cubicBezTo>
                  <a:cubicBezTo>
                    <a:pt x="185012" y="99251"/>
                    <a:pt x="199367" y="93280"/>
                    <a:pt x="214247" y="89297"/>
                  </a:cubicBezTo>
                  <a:cubicBezTo>
                    <a:pt x="217501" y="88427"/>
                    <a:pt x="219930" y="85710"/>
                    <a:pt x="220433" y="82377"/>
                  </a:cubicBezTo>
                  <a:lnTo>
                    <a:pt x="230330" y="16942"/>
                  </a:lnTo>
                  <a:lnTo>
                    <a:pt x="289376" y="16942"/>
                  </a:lnTo>
                  <a:lnTo>
                    <a:pt x="299274" y="82377"/>
                  </a:lnTo>
                  <a:cubicBezTo>
                    <a:pt x="299776" y="85710"/>
                    <a:pt x="302206" y="88427"/>
                    <a:pt x="305460" y="89297"/>
                  </a:cubicBezTo>
                  <a:cubicBezTo>
                    <a:pt x="320340" y="93280"/>
                    <a:pt x="334689" y="99251"/>
                    <a:pt x="348111" y="107047"/>
                  </a:cubicBezTo>
                  <a:cubicBezTo>
                    <a:pt x="351032" y="108753"/>
                    <a:pt x="354676" y="108544"/>
                    <a:pt x="357399" y="106544"/>
                  </a:cubicBezTo>
                  <a:lnTo>
                    <a:pt x="410744" y="67220"/>
                  </a:lnTo>
                  <a:lnTo>
                    <a:pt x="452498" y="108974"/>
                  </a:lnTo>
                  <a:lnTo>
                    <a:pt x="413055" y="162478"/>
                  </a:lnTo>
                  <a:cubicBezTo>
                    <a:pt x="411061" y="165184"/>
                    <a:pt x="410852" y="168816"/>
                    <a:pt x="412529" y="171731"/>
                  </a:cubicBezTo>
                  <a:cubicBezTo>
                    <a:pt x="420229" y="185120"/>
                    <a:pt x="426121" y="199401"/>
                    <a:pt x="430036" y="214179"/>
                  </a:cubicBezTo>
                  <a:cubicBezTo>
                    <a:pt x="430901" y="217445"/>
                    <a:pt x="433624" y="219879"/>
                    <a:pt x="436962" y="220388"/>
                  </a:cubicBezTo>
                  <a:lnTo>
                    <a:pt x="502776" y="230342"/>
                  </a:lnTo>
                  <a:lnTo>
                    <a:pt x="502776" y="289387"/>
                  </a:lnTo>
                  <a:lnTo>
                    <a:pt x="502776" y="289387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9" name="Рисунок 12">
            <a:extLst>
              <a:ext uri="{FF2B5EF4-FFF2-40B4-BE49-F238E27FC236}">
                <a16:creationId xmlns:a16="http://schemas.microsoft.com/office/drawing/2014/main" id="{E03E7DEA-0099-478D-8F94-79F44E9656EF}"/>
              </a:ext>
            </a:extLst>
          </p:cNvPr>
          <p:cNvGrpSpPr/>
          <p:nvPr/>
        </p:nvGrpSpPr>
        <p:grpSpPr>
          <a:xfrm>
            <a:off x="726280" y="2554997"/>
            <a:ext cx="437210" cy="514085"/>
            <a:chOff x="670936" y="3389149"/>
            <a:chExt cx="437210" cy="514085"/>
          </a:xfrm>
          <a:solidFill>
            <a:schemeClr val="tx1"/>
          </a:solidFill>
        </p:grpSpPr>
        <p:sp>
          <p:nvSpPr>
            <p:cNvPr id="40" name="Полилиния: фигура 29">
              <a:extLst>
                <a:ext uri="{FF2B5EF4-FFF2-40B4-BE49-F238E27FC236}">
                  <a16:creationId xmlns:a16="http://schemas.microsoft.com/office/drawing/2014/main" id="{39EBBB09-2BD4-4A21-B888-5F12AEE9A20B}"/>
                </a:ext>
              </a:extLst>
            </p:cNvPr>
            <p:cNvSpPr/>
            <p:nvPr/>
          </p:nvSpPr>
          <p:spPr>
            <a:xfrm>
              <a:off x="686528" y="3691468"/>
              <a:ext cx="406546" cy="211767"/>
            </a:xfrm>
            <a:custGeom>
              <a:avLst/>
              <a:gdLst>
                <a:gd name="connsiteX0" fmla="*/ 203259 w 406546"/>
                <a:gd name="connsiteY0" fmla="*/ 0 h 211767"/>
                <a:gd name="connsiteX1" fmla="*/ 0 w 406546"/>
                <a:gd name="connsiteY1" fmla="*/ 203293 h 211767"/>
                <a:gd name="connsiteX2" fmla="*/ 8474 w 406546"/>
                <a:gd name="connsiteY2" fmla="*/ 211767 h 211767"/>
                <a:gd name="connsiteX3" fmla="*/ 398073 w 406546"/>
                <a:gd name="connsiteY3" fmla="*/ 211767 h 211767"/>
                <a:gd name="connsiteX4" fmla="*/ 406547 w 406546"/>
                <a:gd name="connsiteY4" fmla="*/ 203293 h 211767"/>
                <a:gd name="connsiteX5" fmla="*/ 203259 w 406546"/>
                <a:gd name="connsiteY5" fmla="*/ 0 h 211767"/>
                <a:gd name="connsiteX6" fmla="*/ 17134 w 406546"/>
                <a:gd name="connsiteY6" fmla="*/ 194819 h 211767"/>
                <a:gd name="connsiteX7" fmla="*/ 203259 w 406546"/>
                <a:gd name="connsiteY7" fmla="*/ 16948 h 211767"/>
                <a:gd name="connsiteX8" fmla="*/ 389407 w 406546"/>
                <a:gd name="connsiteY8" fmla="*/ 194819 h 211767"/>
                <a:gd name="connsiteX9" fmla="*/ 17134 w 406546"/>
                <a:gd name="connsiteY9" fmla="*/ 194819 h 211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6546" h="211767">
                  <a:moveTo>
                    <a:pt x="203259" y="0"/>
                  </a:moveTo>
                  <a:cubicBezTo>
                    <a:pt x="91179" y="0"/>
                    <a:pt x="0" y="91201"/>
                    <a:pt x="0" y="203293"/>
                  </a:cubicBezTo>
                  <a:cubicBezTo>
                    <a:pt x="0" y="207971"/>
                    <a:pt x="3791" y="211767"/>
                    <a:pt x="8474" y="211767"/>
                  </a:cubicBezTo>
                  <a:lnTo>
                    <a:pt x="398073" y="211767"/>
                  </a:lnTo>
                  <a:cubicBezTo>
                    <a:pt x="402756" y="211767"/>
                    <a:pt x="406547" y="207971"/>
                    <a:pt x="406547" y="203293"/>
                  </a:cubicBezTo>
                  <a:cubicBezTo>
                    <a:pt x="406547" y="91201"/>
                    <a:pt x="315351" y="0"/>
                    <a:pt x="203259" y="0"/>
                  </a:cubicBezTo>
                  <a:close/>
                  <a:moveTo>
                    <a:pt x="17134" y="194819"/>
                  </a:moveTo>
                  <a:cubicBezTo>
                    <a:pt x="21580" y="95986"/>
                    <a:pt x="103364" y="16948"/>
                    <a:pt x="203259" y="16948"/>
                  </a:cubicBezTo>
                  <a:cubicBezTo>
                    <a:pt x="303166" y="16948"/>
                    <a:pt x="384961" y="95986"/>
                    <a:pt x="389407" y="194819"/>
                  </a:cubicBezTo>
                  <a:lnTo>
                    <a:pt x="17134" y="194819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Полилиния: фигура 35">
              <a:extLst>
                <a:ext uri="{FF2B5EF4-FFF2-40B4-BE49-F238E27FC236}">
                  <a16:creationId xmlns:a16="http://schemas.microsoft.com/office/drawing/2014/main" id="{DB8D9857-FC09-40A5-91D5-5DCF74C9986E}"/>
                </a:ext>
              </a:extLst>
            </p:cNvPr>
            <p:cNvSpPr/>
            <p:nvPr/>
          </p:nvSpPr>
          <p:spPr>
            <a:xfrm>
              <a:off x="769430" y="3435100"/>
              <a:ext cx="233945" cy="233940"/>
            </a:xfrm>
            <a:custGeom>
              <a:avLst/>
              <a:gdLst>
                <a:gd name="connsiteX0" fmla="*/ 116984 w 233945"/>
                <a:gd name="connsiteY0" fmla="*/ 0 h 233940"/>
                <a:gd name="connsiteX1" fmla="*/ 0 w 233945"/>
                <a:gd name="connsiteY1" fmla="*/ 116962 h 233940"/>
                <a:gd name="connsiteX2" fmla="*/ 116984 w 233945"/>
                <a:gd name="connsiteY2" fmla="*/ 233940 h 233940"/>
                <a:gd name="connsiteX3" fmla="*/ 233946 w 233945"/>
                <a:gd name="connsiteY3" fmla="*/ 116962 h 233940"/>
                <a:gd name="connsiteX4" fmla="*/ 116984 w 233945"/>
                <a:gd name="connsiteY4" fmla="*/ 0 h 233940"/>
                <a:gd name="connsiteX5" fmla="*/ 116984 w 233945"/>
                <a:gd name="connsiteY5" fmla="*/ 216993 h 233940"/>
                <a:gd name="connsiteX6" fmla="*/ 16948 w 233945"/>
                <a:gd name="connsiteY6" fmla="*/ 116962 h 233940"/>
                <a:gd name="connsiteX7" fmla="*/ 116984 w 233945"/>
                <a:gd name="connsiteY7" fmla="*/ 16948 h 233940"/>
                <a:gd name="connsiteX8" fmla="*/ 216998 w 233945"/>
                <a:gd name="connsiteY8" fmla="*/ 116962 h 233940"/>
                <a:gd name="connsiteX9" fmla="*/ 116984 w 233945"/>
                <a:gd name="connsiteY9" fmla="*/ 216993 h 23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945" h="233940">
                  <a:moveTo>
                    <a:pt x="116984" y="0"/>
                  </a:moveTo>
                  <a:cubicBezTo>
                    <a:pt x="52481" y="0"/>
                    <a:pt x="0" y="52470"/>
                    <a:pt x="0" y="116962"/>
                  </a:cubicBezTo>
                  <a:cubicBezTo>
                    <a:pt x="0" y="181465"/>
                    <a:pt x="52481" y="233940"/>
                    <a:pt x="116984" y="233940"/>
                  </a:cubicBezTo>
                  <a:cubicBezTo>
                    <a:pt x="181476" y="233940"/>
                    <a:pt x="233946" y="181465"/>
                    <a:pt x="233946" y="116962"/>
                  </a:cubicBezTo>
                  <a:cubicBezTo>
                    <a:pt x="233946" y="52470"/>
                    <a:pt x="181476" y="0"/>
                    <a:pt x="116984" y="0"/>
                  </a:cubicBezTo>
                  <a:close/>
                  <a:moveTo>
                    <a:pt x="116984" y="216993"/>
                  </a:moveTo>
                  <a:cubicBezTo>
                    <a:pt x="61825" y="216993"/>
                    <a:pt x="16948" y="172121"/>
                    <a:pt x="16948" y="116962"/>
                  </a:cubicBezTo>
                  <a:cubicBezTo>
                    <a:pt x="16948" y="61814"/>
                    <a:pt x="61825" y="16948"/>
                    <a:pt x="116984" y="16948"/>
                  </a:cubicBezTo>
                  <a:cubicBezTo>
                    <a:pt x="172132" y="16948"/>
                    <a:pt x="216998" y="61814"/>
                    <a:pt x="216998" y="116962"/>
                  </a:cubicBezTo>
                  <a:cubicBezTo>
                    <a:pt x="216998" y="172121"/>
                    <a:pt x="172132" y="216993"/>
                    <a:pt x="116984" y="21699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04BB4B4D-95EC-48D6-B2BC-C0D21155C2D6}"/>
                </a:ext>
              </a:extLst>
            </p:cNvPr>
            <p:cNvSpPr/>
            <p:nvPr/>
          </p:nvSpPr>
          <p:spPr>
            <a:xfrm>
              <a:off x="670936" y="3389149"/>
              <a:ext cx="437210" cy="279913"/>
            </a:xfrm>
            <a:custGeom>
              <a:avLst/>
              <a:gdLst>
                <a:gd name="connsiteX0" fmla="*/ 64966 w 437210"/>
                <a:gd name="connsiteY0" fmla="*/ 231624 h 279913"/>
                <a:gd name="connsiteX1" fmla="*/ 77389 w 437210"/>
                <a:gd name="connsiteY1" fmla="*/ 231624 h 279913"/>
                <a:gd name="connsiteX2" fmla="*/ 85863 w 437210"/>
                <a:gd name="connsiteY2" fmla="*/ 223150 h 279913"/>
                <a:gd name="connsiteX3" fmla="*/ 85863 w 437210"/>
                <a:gd name="connsiteY3" fmla="*/ 110166 h 279913"/>
                <a:gd name="connsiteX4" fmla="*/ 85914 w 437210"/>
                <a:gd name="connsiteY4" fmla="*/ 104539 h 279913"/>
                <a:gd name="connsiteX5" fmla="*/ 215479 w 437210"/>
                <a:gd name="connsiteY5" fmla="*/ 16953 h 279913"/>
                <a:gd name="connsiteX6" fmla="*/ 351303 w 437210"/>
                <a:gd name="connsiteY6" fmla="*/ 109380 h 279913"/>
                <a:gd name="connsiteX7" fmla="*/ 351427 w 437210"/>
                <a:gd name="connsiteY7" fmla="*/ 109618 h 279913"/>
                <a:gd name="connsiteX8" fmla="*/ 351371 w 437210"/>
                <a:gd name="connsiteY8" fmla="*/ 110160 h 279913"/>
                <a:gd name="connsiteX9" fmla="*/ 351371 w 437210"/>
                <a:gd name="connsiteY9" fmla="*/ 216207 h 279913"/>
                <a:gd name="connsiteX10" fmla="*/ 319323 w 437210"/>
                <a:gd name="connsiteY10" fmla="*/ 265486 h 279913"/>
                <a:gd name="connsiteX11" fmla="*/ 319402 w 437210"/>
                <a:gd name="connsiteY11" fmla="*/ 277468 h 279913"/>
                <a:gd name="connsiteX12" fmla="*/ 325356 w 437210"/>
                <a:gd name="connsiteY12" fmla="*/ 279914 h 279913"/>
                <a:gd name="connsiteX13" fmla="*/ 331384 w 437210"/>
                <a:gd name="connsiteY13" fmla="*/ 277394 h 279913"/>
                <a:gd name="connsiteX14" fmla="*/ 363166 w 437210"/>
                <a:gd name="connsiteY14" fmla="*/ 231618 h 279913"/>
                <a:gd name="connsiteX15" fmla="*/ 372245 w 437210"/>
                <a:gd name="connsiteY15" fmla="*/ 231618 h 279913"/>
                <a:gd name="connsiteX16" fmla="*/ 437211 w 437210"/>
                <a:gd name="connsiteY16" fmla="*/ 166658 h 279913"/>
                <a:gd name="connsiteX17" fmla="*/ 372245 w 437210"/>
                <a:gd name="connsiteY17" fmla="*/ 101686 h 279913"/>
                <a:gd name="connsiteX18" fmla="*/ 366420 w 437210"/>
                <a:gd name="connsiteY18" fmla="*/ 101686 h 279913"/>
                <a:gd name="connsiteX19" fmla="*/ 215473 w 437210"/>
                <a:gd name="connsiteY19" fmla="*/ 0 h 279913"/>
                <a:gd name="connsiteX20" fmla="*/ 68028 w 437210"/>
                <a:gd name="connsiteY20" fmla="*/ 101777 h 279913"/>
                <a:gd name="connsiteX21" fmla="*/ 64480 w 437210"/>
                <a:gd name="connsiteY21" fmla="*/ 101709 h 279913"/>
                <a:gd name="connsiteX22" fmla="*/ 0 w 437210"/>
                <a:gd name="connsiteY22" fmla="*/ 166658 h 279913"/>
                <a:gd name="connsiteX23" fmla="*/ 64966 w 437210"/>
                <a:gd name="connsiteY23" fmla="*/ 231624 h 279913"/>
                <a:gd name="connsiteX24" fmla="*/ 368324 w 437210"/>
                <a:gd name="connsiteY24" fmla="*/ 118639 h 279913"/>
                <a:gd name="connsiteX25" fmla="*/ 372250 w 437210"/>
                <a:gd name="connsiteY25" fmla="*/ 118639 h 279913"/>
                <a:gd name="connsiteX26" fmla="*/ 420269 w 437210"/>
                <a:gd name="connsiteY26" fmla="*/ 166664 h 279913"/>
                <a:gd name="connsiteX27" fmla="*/ 372250 w 437210"/>
                <a:gd name="connsiteY27" fmla="*/ 214676 h 279913"/>
                <a:gd name="connsiteX28" fmla="*/ 368324 w 437210"/>
                <a:gd name="connsiteY28" fmla="*/ 214676 h 279913"/>
                <a:gd name="connsiteX29" fmla="*/ 368324 w 437210"/>
                <a:gd name="connsiteY29" fmla="*/ 118639 h 279913"/>
                <a:gd name="connsiteX30" fmla="*/ 64966 w 437210"/>
                <a:gd name="connsiteY30" fmla="*/ 118639 h 279913"/>
                <a:gd name="connsiteX31" fmla="*/ 68915 w 437210"/>
                <a:gd name="connsiteY31" fmla="*/ 118639 h 279913"/>
                <a:gd name="connsiteX32" fmla="*/ 68915 w 437210"/>
                <a:gd name="connsiteY32" fmla="*/ 214676 h 279913"/>
                <a:gd name="connsiteX33" fmla="*/ 64966 w 437210"/>
                <a:gd name="connsiteY33" fmla="*/ 214676 h 279913"/>
                <a:gd name="connsiteX34" fmla="*/ 16953 w 437210"/>
                <a:gd name="connsiteY34" fmla="*/ 166664 h 279913"/>
                <a:gd name="connsiteX35" fmla="*/ 64966 w 437210"/>
                <a:gd name="connsiteY35" fmla="*/ 118639 h 27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37210" h="279913">
                  <a:moveTo>
                    <a:pt x="64966" y="231624"/>
                  </a:moveTo>
                  <a:lnTo>
                    <a:pt x="77389" y="231624"/>
                  </a:lnTo>
                  <a:cubicBezTo>
                    <a:pt x="82072" y="231624"/>
                    <a:pt x="85863" y="227828"/>
                    <a:pt x="85863" y="223150"/>
                  </a:cubicBezTo>
                  <a:lnTo>
                    <a:pt x="85863" y="110166"/>
                  </a:lnTo>
                  <a:cubicBezTo>
                    <a:pt x="85863" y="107318"/>
                    <a:pt x="85914" y="106674"/>
                    <a:pt x="85914" y="104539"/>
                  </a:cubicBezTo>
                  <a:cubicBezTo>
                    <a:pt x="109431" y="51911"/>
                    <a:pt x="157325" y="16953"/>
                    <a:pt x="215479" y="16953"/>
                  </a:cubicBezTo>
                  <a:cubicBezTo>
                    <a:pt x="275852" y="16953"/>
                    <a:pt x="329164" y="53238"/>
                    <a:pt x="351303" y="109380"/>
                  </a:cubicBezTo>
                  <a:cubicBezTo>
                    <a:pt x="351337" y="109465"/>
                    <a:pt x="351393" y="109539"/>
                    <a:pt x="351427" y="109618"/>
                  </a:cubicBezTo>
                  <a:cubicBezTo>
                    <a:pt x="351416" y="109798"/>
                    <a:pt x="351371" y="109974"/>
                    <a:pt x="351371" y="110160"/>
                  </a:cubicBezTo>
                  <a:lnTo>
                    <a:pt x="351371" y="216207"/>
                  </a:lnTo>
                  <a:cubicBezTo>
                    <a:pt x="344095" y="234714"/>
                    <a:pt x="333327" y="251300"/>
                    <a:pt x="319323" y="265486"/>
                  </a:cubicBezTo>
                  <a:cubicBezTo>
                    <a:pt x="316035" y="268819"/>
                    <a:pt x="316069" y="274180"/>
                    <a:pt x="319402" y="277468"/>
                  </a:cubicBezTo>
                  <a:cubicBezTo>
                    <a:pt x="321051" y="279100"/>
                    <a:pt x="323204" y="279914"/>
                    <a:pt x="325356" y="279914"/>
                  </a:cubicBezTo>
                  <a:cubicBezTo>
                    <a:pt x="327542" y="279914"/>
                    <a:pt x="329729" y="279072"/>
                    <a:pt x="331384" y="277394"/>
                  </a:cubicBezTo>
                  <a:cubicBezTo>
                    <a:pt x="344643" y="263960"/>
                    <a:pt x="355280" y="248589"/>
                    <a:pt x="363166" y="231618"/>
                  </a:cubicBezTo>
                  <a:lnTo>
                    <a:pt x="372245" y="231618"/>
                  </a:lnTo>
                  <a:cubicBezTo>
                    <a:pt x="408067" y="231618"/>
                    <a:pt x="437211" y="202480"/>
                    <a:pt x="437211" y="166658"/>
                  </a:cubicBezTo>
                  <a:cubicBezTo>
                    <a:pt x="437211" y="130831"/>
                    <a:pt x="408067" y="101686"/>
                    <a:pt x="372245" y="101686"/>
                  </a:cubicBezTo>
                  <a:lnTo>
                    <a:pt x="366420" y="101686"/>
                  </a:lnTo>
                  <a:cubicBezTo>
                    <a:pt x="341355" y="39872"/>
                    <a:pt x="282309" y="0"/>
                    <a:pt x="215473" y="0"/>
                  </a:cubicBezTo>
                  <a:cubicBezTo>
                    <a:pt x="148936" y="0"/>
                    <a:pt x="93297" y="40471"/>
                    <a:pt x="68028" y="101777"/>
                  </a:cubicBezTo>
                  <a:cubicBezTo>
                    <a:pt x="68028" y="101777"/>
                    <a:pt x="65068" y="101743"/>
                    <a:pt x="64480" y="101709"/>
                  </a:cubicBezTo>
                  <a:cubicBezTo>
                    <a:pt x="28885" y="101969"/>
                    <a:pt x="0" y="130994"/>
                    <a:pt x="0" y="166658"/>
                  </a:cubicBezTo>
                  <a:cubicBezTo>
                    <a:pt x="6" y="202485"/>
                    <a:pt x="29144" y="231624"/>
                    <a:pt x="64966" y="231624"/>
                  </a:cubicBezTo>
                  <a:close/>
                  <a:moveTo>
                    <a:pt x="368324" y="118639"/>
                  </a:moveTo>
                  <a:lnTo>
                    <a:pt x="372250" y="118639"/>
                  </a:lnTo>
                  <a:cubicBezTo>
                    <a:pt x="398728" y="118639"/>
                    <a:pt x="420269" y="140180"/>
                    <a:pt x="420269" y="166664"/>
                  </a:cubicBezTo>
                  <a:cubicBezTo>
                    <a:pt x="420269" y="193142"/>
                    <a:pt x="398728" y="214676"/>
                    <a:pt x="372250" y="214676"/>
                  </a:cubicBezTo>
                  <a:lnTo>
                    <a:pt x="368324" y="214676"/>
                  </a:lnTo>
                  <a:lnTo>
                    <a:pt x="368324" y="118639"/>
                  </a:lnTo>
                  <a:close/>
                  <a:moveTo>
                    <a:pt x="64966" y="118639"/>
                  </a:moveTo>
                  <a:lnTo>
                    <a:pt x="68915" y="118639"/>
                  </a:lnTo>
                  <a:lnTo>
                    <a:pt x="68915" y="214676"/>
                  </a:lnTo>
                  <a:lnTo>
                    <a:pt x="64966" y="214676"/>
                  </a:lnTo>
                  <a:cubicBezTo>
                    <a:pt x="38488" y="214676"/>
                    <a:pt x="16953" y="193142"/>
                    <a:pt x="16953" y="166664"/>
                  </a:cubicBezTo>
                  <a:cubicBezTo>
                    <a:pt x="16953" y="140186"/>
                    <a:pt x="38494" y="118639"/>
                    <a:pt x="64966" y="11863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3" name="Рисунок 11">
            <a:extLst>
              <a:ext uri="{FF2B5EF4-FFF2-40B4-BE49-F238E27FC236}">
                <a16:creationId xmlns:a16="http://schemas.microsoft.com/office/drawing/2014/main" id="{8BF33B96-A617-48D1-9FE1-D5380A9B8B6C}"/>
              </a:ext>
            </a:extLst>
          </p:cNvPr>
          <p:cNvGrpSpPr/>
          <p:nvPr/>
        </p:nvGrpSpPr>
        <p:grpSpPr>
          <a:xfrm>
            <a:off x="4569464" y="2537765"/>
            <a:ext cx="438299" cy="514079"/>
            <a:chOff x="673766" y="2320385"/>
            <a:chExt cx="423692" cy="514079"/>
          </a:xfrm>
          <a:solidFill>
            <a:schemeClr val="tx1"/>
          </a:solidFill>
        </p:grpSpPr>
        <p:sp>
          <p:nvSpPr>
            <p:cNvPr id="44" name="Полилиния: фигура 14">
              <a:extLst>
                <a:ext uri="{FF2B5EF4-FFF2-40B4-BE49-F238E27FC236}">
                  <a16:creationId xmlns:a16="http://schemas.microsoft.com/office/drawing/2014/main" id="{05346999-D2F7-4D0D-A4FC-3832329767C2}"/>
                </a:ext>
              </a:extLst>
            </p:cNvPr>
            <p:cNvSpPr/>
            <p:nvPr/>
          </p:nvSpPr>
          <p:spPr>
            <a:xfrm>
              <a:off x="673766" y="2388176"/>
              <a:ext cx="355901" cy="446289"/>
            </a:xfrm>
            <a:custGeom>
              <a:avLst/>
              <a:gdLst>
                <a:gd name="connsiteX0" fmla="*/ 347428 w 355901"/>
                <a:gd name="connsiteY0" fmla="*/ 0 h 446289"/>
                <a:gd name="connsiteX1" fmla="*/ 8474 w 355901"/>
                <a:gd name="connsiteY1" fmla="*/ 0 h 446289"/>
                <a:gd name="connsiteX2" fmla="*/ 0 w 355901"/>
                <a:gd name="connsiteY2" fmla="*/ 8474 h 446289"/>
                <a:gd name="connsiteX3" fmla="*/ 0 w 355901"/>
                <a:gd name="connsiteY3" fmla="*/ 437815 h 446289"/>
                <a:gd name="connsiteX4" fmla="*/ 8474 w 355901"/>
                <a:gd name="connsiteY4" fmla="*/ 446289 h 446289"/>
                <a:gd name="connsiteX5" fmla="*/ 347428 w 355901"/>
                <a:gd name="connsiteY5" fmla="*/ 446289 h 446289"/>
                <a:gd name="connsiteX6" fmla="*/ 355902 w 355901"/>
                <a:gd name="connsiteY6" fmla="*/ 437815 h 446289"/>
                <a:gd name="connsiteX7" fmla="*/ 355902 w 355901"/>
                <a:gd name="connsiteY7" fmla="*/ 8474 h 446289"/>
                <a:gd name="connsiteX8" fmla="*/ 347428 w 355901"/>
                <a:gd name="connsiteY8" fmla="*/ 0 h 446289"/>
                <a:gd name="connsiteX9" fmla="*/ 338954 w 355901"/>
                <a:gd name="connsiteY9" fmla="*/ 429341 h 446289"/>
                <a:gd name="connsiteX10" fmla="*/ 16948 w 355901"/>
                <a:gd name="connsiteY10" fmla="*/ 429341 h 446289"/>
                <a:gd name="connsiteX11" fmla="*/ 16948 w 355901"/>
                <a:gd name="connsiteY11" fmla="*/ 16948 h 446289"/>
                <a:gd name="connsiteX12" fmla="*/ 338954 w 355901"/>
                <a:gd name="connsiteY12" fmla="*/ 16948 h 446289"/>
                <a:gd name="connsiteX13" fmla="*/ 338954 w 355901"/>
                <a:gd name="connsiteY13" fmla="*/ 429341 h 44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5901" h="446289">
                  <a:moveTo>
                    <a:pt x="347428" y="0"/>
                  </a:moveTo>
                  <a:lnTo>
                    <a:pt x="8474" y="0"/>
                  </a:lnTo>
                  <a:cubicBezTo>
                    <a:pt x="3791" y="0"/>
                    <a:pt x="0" y="3791"/>
                    <a:pt x="0" y="8474"/>
                  </a:cubicBezTo>
                  <a:lnTo>
                    <a:pt x="0" y="437815"/>
                  </a:lnTo>
                  <a:cubicBezTo>
                    <a:pt x="0" y="442493"/>
                    <a:pt x="3791" y="446289"/>
                    <a:pt x="8474" y="446289"/>
                  </a:cubicBezTo>
                  <a:lnTo>
                    <a:pt x="347428" y="446289"/>
                  </a:lnTo>
                  <a:cubicBezTo>
                    <a:pt x="352105" y="446289"/>
                    <a:pt x="355902" y="442493"/>
                    <a:pt x="355902" y="437815"/>
                  </a:cubicBezTo>
                  <a:lnTo>
                    <a:pt x="355902" y="8474"/>
                  </a:lnTo>
                  <a:cubicBezTo>
                    <a:pt x="355902" y="3791"/>
                    <a:pt x="352105" y="0"/>
                    <a:pt x="347428" y="0"/>
                  </a:cubicBezTo>
                  <a:close/>
                  <a:moveTo>
                    <a:pt x="338954" y="429341"/>
                  </a:moveTo>
                  <a:lnTo>
                    <a:pt x="16948" y="429341"/>
                  </a:lnTo>
                  <a:lnTo>
                    <a:pt x="16948" y="16948"/>
                  </a:lnTo>
                  <a:lnTo>
                    <a:pt x="338954" y="16948"/>
                  </a:lnTo>
                  <a:lnTo>
                    <a:pt x="338954" y="42934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Полилиния: фигура 18">
              <a:extLst>
                <a:ext uri="{FF2B5EF4-FFF2-40B4-BE49-F238E27FC236}">
                  <a16:creationId xmlns:a16="http://schemas.microsoft.com/office/drawing/2014/main" id="{E481111D-301E-4233-8B80-709B6D751285}"/>
                </a:ext>
              </a:extLst>
            </p:cNvPr>
            <p:cNvSpPr/>
            <p:nvPr/>
          </p:nvSpPr>
          <p:spPr>
            <a:xfrm>
              <a:off x="730259" y="2489975"/>
              <a:ext cx="231618" cy="214557"/>
            </a:xfrm>
            <a:custGeom>
              <a:avLst/>
              <a:gdLst>
                <a:gd name="connsiteX0" fmla="*/ 8474 w 231618"/>
                <a:gd name="connsiteY0" fmla="*/ 214558 h 214557"/>
                <a:gd name="connsiteX1" fmla="*/ 223145 w 231618"/>
                <a:gd name="connsiteY1" fmla="*/ 214558 h 214557"/>
                <a:gd name="connsiteX2" fmla="*/ 231618 w 231618"/>
                <a:gd name="connsiteY2" fmla="*/ 206084 h 214557"/>
                <a:gd name="connsiteX3" fmla="*/ 223145 w 231618"/>
                <a:gd name="connsiteY3" fmla="*/ 197610 h 214557"/>
                <a:gd name="connsiteX4" fmla="*/ 146880 w 231618"/>
                <a:gd name="connsiteY4" fmla="*/ 197610 h 214557"/>
                <a:gd name="connsiteX5" fmla="*/ 146880 w 231618"/>
                <a:gd name="connsiteY5" fmla="*/ 131378 h 214557"/>
                <a:gd name="connsiteX6" fmla="*/ 195610 w 231618"/>
                <a:gd name="connsiteY6" fmla="*/ 65096 h 214557"/>
                <a:gd name="connsiteX7" fmla="*/ 153540 w 231618"/>
                <a:gd name="connsiteY7" fmla="*/ 921 h 214557"/>
                <a:gd name="connsiteX8" fmla="*/ 145270 w 231618"/>
                <a:gd name="connsiteY8" fmla="*/ 1254 h 214557"/>
                <a:gd name="connsiteX9" fmla="*/ 141231 w 231618"/>
                <a:gd name="connsiteY9" fmla="*/ 8474 h 214557"/>
                <a:gd name="connsiteX10" fmla="*/ 141231 w 231618"/>
                <a:gd name="connsiteY10" fmla="*/ 50730 h 214557"/>
                <a:gd name="connsiteX11" fmla="*/ 90388 w 231618"/>
                <a:gd name="connsiteY11" fmla="*/ 50730 h 214557"/>
                <a:gd name="connsiteX12" fmla="*/ 90388 w 231618"/>
                <a:gd name="connsiteY12" fmla="*/ 10310 h 214557"/>
                <a:gd name="connsiteX13" fmla="*/ 86151 w 231618"/>
                <a:gd name="connsiteY13" fmla="*/ 2971 h 214557"/>
                <a:gd name="connsiteX14" fmla="*/ 77677 w 231618"/>
                <a:gd name="connsiteY14" fmla="*/ 2971 h 214557"/>
                <a:gd name="connsiteX15" fmla="*/ 39505 w 231618"/>
                <a:gd name="connsiteY15" fmla="*/ 65096 h 214557"/>
                <a:gd name="connsiteX16" fmla="*/ 84738 w 231618"/>
                <a:gd name="connsiteY16" fmla="*/ 130090 h 214557"/>
                <a:gd name="connsiteX17" fmla="*/ 84738 w 231618"/>
                <a:gd name="connsiteY17" fmla="*/ 197610 h 214557"/>
                <a:gd name="connsiteX18" fmla="*/ 8474 w 231618"/>
                <a:gd name="connsiteY18" fmla="*/ 197610 h 214557"/>
                <a:gd name="connsiteX19" fmla="*/ 0 w 231618"/>
                <a:gd name="connsiteY19" fmla="*/ 206084 h 214557"/>
                <a:gd name="connsiteX20" fmla="*/ 8474 w 231618"/>
                <a:gd name="connsiteY20" fmla="*/ 214558 h 214557"/>
                <a:gd name="connsiteX21" fmla="*/ 98201 w 231618"/>
                <a:gd name="connsiteY21" fmla="*/ 119024 h 214557"/>
                <a:gd name="connsiteX22" fmla="*/ 56453 w 231618"/>
                <a:gd name="connsiteY22" fmla="*/ 65096 h 214557"/>
                <a:gd name="connsiteX23" fmla="*/ 73440 w 231618"/>
                <a:gd name="connsiteY23" fmla="*/ 27133 h 214557"/>
                <a:gd name="connsiteX24" fmla="*/ 73440 w 231618"/>
                <a:gd name="connsiteY24" fmla="*/ 59204 h 214557"/>
                <a:gd name="connsiteX25" fmla="*/ 81914 w 231618"/>
                <a:gd name="connsiteY25" fmla="*/ 67678 h 214557"/>
                <a:gd name="connsiteX26" fmla="*/ 149705 w 231618"/>
                <a:gd name="connsiteY26" fmla="*/ 67678 h 214557"/>
                <a:gd name="connsiteX27" fmla="*/ 158178 w 231618"/>
                <a:gd name="connsiteY27" fmla="*/ 59204 h 214557"/>
                <a:gd name="connsiteX28" fmla="*/ 158178 w 231618"/>
                <a:gd name="connsiteY28" fmla="*/ 24071 h 214557"/>
                <a:gd name="connsiteX29" fmla="*/ 178663 w 231618"/>
                <a:gd name="connsiteY29" fmla="*/ 65096 h 214557"/>
                <a:gd name="connsiteX30" fmla="*/ 133666 w 231618"/>
                <a:gd name="connsiteY30" fmla="*/ 119956 h 214557"/>
                <a:gd name="connsiteX31" fmla="*/ 129932 w 231618"/>
                <a:gd name="connsiteY31" fmla="*/ 126978 h 214557"/>
                <a:gd name="connsiteX32" fmla="*/ 129932 w 231618"/>
                <a:gd name="connsiteY32" fmla="*/ 197610 h 214557"/>
                <a:gd name="connsiteX33" fmla="*/ 101686 w 231618"/>
                <a:gd name="connsiteY33" fmla="*/ 197610 h 214557"/>
                <a:gd name="connsiteX34" fmla="*/ 101686 w 231618"/>
                <a:gd name="connsiteY34" fmla="*/ 125876 h 214557"/>
                <a:gd name="connsiteX35" fmla="*/ 98201 w 231618"/>
                <a:gd name="connsiteY35" fmla="*/ 119024 h 21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31618" h="214557">
                  <a:moveTo>
                    <a:pt x="8474" y="214558"/>
                  </a:moveTo>
                  <a:lnTo>
                    <a:pt x="223145" y="214558"/>
                  </a:lnTo>
                  <a:cubicBezTo>
                    <a:pt x="227822" y="214558"/>
                    <a:pt x="231618" y="210761"/>
                    <a:pt x="231618" y="206084"/>
                  </a:cubicBezTo>
                  <a:cubicBezTo>
                    <a:pt x="231618" y="201406"/>
                    <a:pt x="227822" y="197610"/>
                    <a:pt x="223145" y="197610"/>
                  </a:cubicBezTo>
                  <a:lnTo>
                    <a:pt x="146880" y="197610"/>
                  </a:lnTo>
                  <a:lnTo>
                    <a:pt x="146880" y="131378"/>
                  </a:lnTo>
                  <a:cubicBezTo>
                    <a:pt x="159438" y="122294"/>
                    <a:pt x="195610" y="93636"/>
                    <a:pt x="195610" y="65096"/>
                  </a:cubicBezTo>
                  <a:cubicBezTo>
                    <a:pt x="195610" y="38686"/>
                    <a:pt x="179487" y="14095"/>
                    <a:pt x="153540" y="921"/>
                  </a:cubicBezTo>
                  <a:cubicBezTo>
                    <a:pt x="150914" y="-418"/>
                    <a:pt x="147778" y="-288"/>
                    <a:pt x="145270" y="1254"/>
                  </a:cubicBezTo>
                  <a:cubicBezTo>
                    <a:pt x="142762" y="2796"/>
                    <a:pt x="141231" y="5531"/>
                    <a:pt x="141231" y="8474"/>
                  </a:cubicBezTo>
                  <a:lnTo>
                    <a:pt x="141231" y="50730"/>
                  </a:lnTo>
                  <a:lnTo>
                    <a:pt x="90388" y="50730"/>
                  </a:lnTo>
                  <a:lnTo>
                    <a:pt x="90388" y="10310"/>
                  </a:lnTo>
                  <a:cubicBezTo>
                    <a:pt x="90388" y="7282"/>
                    <a:pt x="88772" y="4485"/>
                    <a:pt x="86151" y="2971"/>
                  </a:cubicBezTo>
                  <a:cubicBezTo>
                    <a:pt x="83530" y="1452"/>
                    <a:pt x="80298" y="1457"/>
                    <a:pt x="77677" y="2971"/>
                  </a:cubicBezTo>
                  <a:cubicBezTo>
                    <a:pt x="53775" y="16761"/>
                    <a:pt x="39505" y="39985"/>
                    <a:pt x="39505" y="65096"/>
                  </a:cubicBezTo>
                  <a:cubicBezTo>
                    <a:pt x="39505" y="92506"/>
                    <a:pt x="73056" y="121001"/>
                    <a:pt x="84738" y="130090"/>
                  </a:cubicBezTo>
                  <a:lnTo>
                    <a:pt x="84738" y="197610"/>
                  </a:lnTo>
                  <a:lnTo>
                    <a:pt x="8474" y="197610"/>
                  </a:lnTo>
                  <a:cubicBezTo>
                    <a:pt x="3791" y="197610"/>
                    <a:pt x="0" y="201406"/>
                    <a:pt x="0" y="206084"/>
                  </a:cubicBezTo>
                  <a:cubicBezTo>
                    <a:pt x="0" y="210761"/>
                    <a:pt x="3791" y="214558"/>
                    <a:pt x="8474" y="214558"/>
                  </a:cubicBezTo>
                  <a:close/>
                  <a:moveTo>
                    <a:pt x="98201" y="119024"/>
                  </a:moveTo>
                  <a:cubicBezTo>
                    <a:pt x="86591" y="110561"/>
                    <a:pt x="56453" y="84371"/>
                    <a:pt x="56453" y="65096"/>
                  </a:cubicBezTo>
                  <a:cubicBezTo>
                    <a:pt x="56453" y="50956"/>
                    <a:pt x="62610" y="37511"/>
                    <a:pt x="73440" y="27133"/>
                  </a:cubicBezTo>
                  <a:lnTo>
                    <a:pt x="73440" y="59204"/>
                  </a:lnTo>
                  <a:cubicBezTo>
                    <a:pt x="73440" y="63887"/>
                    <a:pt x="77231" y="67678"/>
                    <a:pt x="81914" y="67678"/>
                  </a:cubicBezTo>
                  <a:lnTo>
                    <a:pt x="149705" y="67678"/>
                  </a:lnTo>
                  <a:cubicBezTo>
                    <a:pt x="154388" y="67678"/>
                    <a:pt x="158178" y="63887"/>
                    <a:pt x="158178" y="59204"/>
                  </a:cubicBezTo>
                  <a:lnTo>
                    <a:pt x="158178" y="24071"/>
                  </a:lnTo>
                  <a:cubicBezTo>
                    <a:pt x="171064" y="34726"/>
                    <a:pt x="178663" y="49549"/>
                    <a:pt x="178663" y="65096"/>
                  </a:cubicBezTo>
                  <a:cubicBezTo>
                    <a:pt x="178663" y="85145"/>
                    <a:pt x="146179" y="111493"/>
                    <a:pt x="133666" y="119956"/>
                  </a:cubicBezTo>
                  <a:cubicBezTo>
                    <a:pt x="131333" y="121532"/>
                    <a:pt x="129932" y="124164"/>
                    <a:pt x="129932" y="126978"/>
                  </a:cubicBezTo>
                  <a:lnTo>
                    <a:pt x="129932" y="197610"/>
                  </a:lnTo>
                  <a:lnTo>
                    <a:pt x="101686" y="197610"/>
                  </a:lnTo>
                  <a:lnTo>
                    <a:pt x="101686" y="125876"/>
                  </a:lnTo>
                  <a:cubicBezTo>
                    <a:pt x="101686" y="123164"/>
                    <a:pt x="100392" y="120617"/>
                    <a:pt x="98201" y="119024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Полилиния: фигура 19">
              <a:extLst>
                <a:ext uri="{FF2B5EF4-FFF2-40B4-BE49-F238E27FC236}">
                  <a16:creationId xmlns:a16="http://schemas.microsoft.com/office/drawing/2014/main" id="{D769CF23-61ED-4A13-863C-BE8A02DB7A0B}"/>
                </a:ext>
              </a:extLst>
            </p:cNvPr>
            <p:cNvSpPr/>
            <p:nvPr/>
          </p:nvSpPr>
          <p:spPr>
            <a:xfrm>
              <a:off x="741557" y="2320385"/>
              <a:ext cx="355901" cy="446289"/>
            </a:xfrm>
            <a:custGeom>
              <a:avLst/>
              <a:gdLst>
                <a:gd name="connsiteX0" fmla="*/ 347428 w 355901"/>
                <a:gd name="connsiteY0" fmla="*/ 0 h 446289"/>
                <a:gd name="connsiteX1" fmla="*/ 8474 w 355901"/>
                <a:gd name="connsiteY1" fmla="*/ 0 h 446289"/>
                <a:gd name="connsiteX2" fmla="*/ 0 w 355901"/>
                <a:gd name="connsiteY2" fmla="*/ 8474 h 446289"/>
                <a:gd name="connsiteX3" fmla="*/ 0 w 355901"/>
                <a:gd name="connsiteY3" fmla="*/ 48018 h 446289"/>
                <a:gd name="connsiteX4" fmla="*/ 8474 w 355901"/>
                <a:gd name="connsiteY4" fmla="*/ 56492 h 446289"/>
                <a:gd name="connsiteX5" fmla="*/ 16948 w 355901"/>
                <a:gd name="connsiteY5" fmla="*/ 48018 h 446289"/>
                <a:gd name="connsiteX6" fmla="*/ 16948 w 355901"/>
                <a:gd name="connsiteY6" fmla="*/ 16948 h 446289"/>
                <a:gd name="connsiteX7" fmla="*/ 338954 w 355901"/>
                <a:gd name="connsiteY7" fmla="*/ 16948 h 446289"/>
                <a:gd name="connsiteX8" fmla="*/ 338954 w 355901"/>
                <a:gd name="connsiteY8" fmla="*/ 429341 h 446289"/>
                <a:gd name="connsiteX9" fmla="*/ 307883 w 355901"/>
                <a:gd name="connsiteY9" fmla="*/ 429341 h 446289"/>
                <a:gd name="connsiteX10" fmla="*/ 299409 w 355901"/>
                <a:gd name="connsiteY10" fmla="*/ 437815 h 446289"/>
                <a:gd name="connsiteX11" fmla="*/ 307883 w 355901"/>
                <a:gd name="connsiteY11" fmla="*/ 446289 h 446289"/>
                <a:gd name="connsiteX12" fmla="*/ 347428 w 355901"/>
                <a:gd name="connsiteY12" fmla="*/ 446289 h 446289"/>
                <a:gd name="connsiteX13" fmla="*/ 355902 w 355901"/>
                <a:gd name="connsiteY13" fmla="*/ 437815 h 446289"/>
                <a:gd name="connsiteX14" fmla="*/ 355902 w 355901"/>
                <a:gd name="connsiteY14" fmla="*/ 8474 h 446289"/>
                <a:gd name="connsiteX15" fmla="*/ 347428 w 355901"/>
                <a:gd name="connsiteY15" fmla="*/ 0 h 44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5901" h="446289">
                  <a:moveTo>
                    <a:pt x="347428" y="0"/>
                  </a:moveTo>
                  <a:lnTo>
                    <a:pt x="8474" y="0"/>
                  </a:lnTo>
                  <a:cubicBezTo>
                    <a:pt x="3791" y="0"/>
                    <a:pt x="0" y="3791"/>
                    <a:pt x="0" y="8474"/>
                  </a:cubicBezTo>
                  <a:lnTo>
                    <a:pt x="0" y="48018"/>
                  </a:lnTo>
                  <a:cubicBezTo>
                    <a:pt x="0" y="52702"/>
                    <a:pt x="3791" y="56492"/>
                    <a:pt x="8474" y="56492"/>
                  </a:cubicBezTo>
                  <a:cubicBezTo>
                    <a:pt x="13157" y="56492"/>
                    <a:pt x="16948" y="52702"/>
                    <a:pt x="16948" y="48018"/>
                  </a:cubicBezTo>
                  <a:lnTo>
                    <a:pt x="16948" y="16948"/>
                  </a:lnTo>
                  <a:lnTo>
                    <a:pt x="338954" y="16948"/>
                  </a:lnTo>
                  <a:lnTo>
                    <a:pt x="338954" y="429341"/>
                  </a:lnTo>
                  <a:lnTo>
                    <a:pt x="307883" y="429341"/>
                  </a:lnTo>
                  <a:cubicBezTo>
                    <a:pt x="303205" y="429341"/>
                    <a:pt x="299409" y="433138"/>
                    <a:pt x="299409" y="437815"/>
                  </a:cubicBezTo>
                  <a:cubicBezTo>
                    <a:pt x="299409" y="442493"/>
                    <a:pt x="303205" y="446289"/>
                    <a:pt x="307883" y="446289"/>
                  </a:cubicBezTo>
                  <a:lnTo>
                    <a:pt x="347428" y="446289"/>
                  </a:lnTo>
                  <a:cubicBezTo>
                    <a:pt x="352105" y="446289"/>
                    <a:pt x="355902" y="442493"/>
                    <a:pt x="355902" y="437815"/>
                  </a:cubicBezTo>
                  <a:lnTo>
                    <a:pt x="355902" y="8474"/>
                  </a:lnTo>
                  <a:cubicBezTo>
                    <a:pt x="355902" y="3791"/>
                    <a:pt x="352105" y="0"/>
                    <a:pt x="34742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1657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2400" y="2444115"/>
            <a:ext cx="6172201" cy="1969770"/>
          </a:xfrm>
        </p:spPr>
        <p:txBody>
          <a:bodyPr/>
          <a:lstStyle/>
          <a:p>
            <a:r>
              <a:rPr lang="ru-RU" dirty="0">
                <a:solidFill>
                  <a:srgbClr val="FFFFFF"/>
                </a:solidFill>
              </a:rPr>
              <a:t>Сервисные центры (СЦ) – ключевой партнер в диагностике</a:t>
            </a:r>
            <a:r>
              <a:rPr lang="ru-RU" dirty="0">
                <a:solidFill>
                  <a:srgbClr val="00B050"/>
                </a:solidFill>
              </a:rPr>
              <a:t/>
            </a:r>
            <a:br>
              <a:rPr lang="ru-RU" dirty="0">
                <a:solidFill>
                  <a:srgbClr val="00B050"/>
                </a:solidFill>
              </a:rPr>
            </a:br>
            <a:endParaRPr lang="ru-RU" dirty="0"/>
          </a:p>
        </p:txBody>
      </p:sp>
      <p:grpSp>
        <p:nvGrpSpPr>
          <p:cNvPr id="3" name="Рисунок 54">
            <a:extLst>
              <a:ext uri="{FF2B5EF4-FFF2-40B4-BE49-F238E27FC236}">
                <a16:creationId xmlns:a16="http://schemas.microsoft.com/office/drawing/2014/main" id="{C89BF5D7-2AC1-455A-89FE-C11A2150360A}"/>
              </a:ext>
            </a:extLst>
          </p:cNvPr>
          <p:cNvGrpSpPr/>
          <p:nvPr/>
        </p:nvGrpSpPr>
        <p:grpSpPr>
          <a:xfrm>
            <a:off x="782776" y="4413885"/>
            <a:ext cx="1126235" cy="1064494"/>
            <a:chOff x="6437618" y="1223873"/>
            <a:chExt cx="519717" cy="519729"/>
          </a:xfrm>
          <a:solidFill>
            <a:schemeClr val="tx1"/>
          </a:solidFill>
        </p:grpSpPr>
        <p:sp>
          <p:nvSpPr>
            <p:cNvPr id="4" name="Полилиния: фигура 172">
              <a:extLst>
                <a:ext uri="{FF2B5EF4-FFF2-40B4-BE49-F238E27FC236}">
                  <a16:creationId xmlns:a16="http://schemas.microsoft.com/office/drawing/2014/main" id="{3DAD10DE-C1C1-4BC2-9BEB-C10A27940BE1}"/>
                </a:ext>
              </a:extLst>
            </p:cNvPr>
            <p:cNvSpPr/>
            <p:nvPr/>
          </p:nvSpPr>
          <p:spPr>
            <a:xfrm>
              <a:off x="6590141" y="1376402"/>
              <a:ext cx="209021" cy="209021"/>
            </a:xfrm>
            <a:custGeom>
              <a:avLst/>
              <a:gdLst>
                <a:gd name="connsiteX0" fmla="*/ 104511 w 209021"/>
                <a:gd name="connsiteY0" fmla="*/ 0 h 209021"/>
                <a:gd name="connsiteX1" fmla="*/ 0 w 209021"/>
                <a:gd name="connsiteY1" fmla="*/ 104511 h 209021"/>
                <a:gd name="connsiteX2" fmla="*/ 104511 w 209021"/>
                <a:gd name="connsiteY2" fmla="*/ 209022 h 209021"/>
                <a:gd name="connsiteX3" fmla="*/ 209022 w 209021"/>
                <a:gd name="connsiteY3" fmla="*/ 104511 h 209021"/>
                <a:gd name="connsiteX4" fmla="*/ 104511 w 209021"/>
                <a:gd name="connsiteY4" fmla="*/ 0 h 209021"/>
                <a:gd name="connsiteX5" fmla="*/ 104511 w 209021"/>
                <a:gd name="connsiteY5" fmla="*/ 192074 h 209021"/>
                <a:gd name="connsiteX6" fmla="*/ 16948 w 209021"/>
                <a:gd name="connsiteY6" fmla="*/ 104511 h 209021"/>
                <a:gd name="connsiteX7" fmla="*/ 104511 w 209021"/>
                <a:gd name="connsiteY7" fmla="*/ 16948 h 209021"/>
                <a:gd name="connsiteX8" fmla="*/ 192074 w 209021"/>
                <a:gd name="connsiteY8" fmla="*/ 104511 h 209021"/>
                <a:gd name="connsiteX9" fmla="*/ 104511 w 209021"/>
                <a:gd name="connsiteY9" fmla="*/ 192074 h 209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021" h="209021">
                  <a:moveTo>
                    <a:pt x="104511" y="0"/>
                  </a:moveTo>
                  <a:cubicBezTo>
                    <a:pt x="46883" y="0"/>
                    <a:pt x="0" y="46883"/>
                    <a:pt x="0" y="104511"/>
                  </a:cubicBezTo>
                  <a:cubicBezTo>
                    <a:pt x="0" y="162139"/>
                    <a:pt x="46883" y="209022"/>
                    <a:pt x="104511" y="209022"/>
                  </a:cubicBezTo>
                  <a:cubicBezTo>
                    <a:pt x="162139" y="209022"/>
                    <a:pt x="209022" y="162139"/>
                    <a:pt x="209022" y="104511"/>
                  </a:cubicBezTo>
                  <a:cubicBezTo>
                    <a:pt x="209022" y="46883"/>
                    <a:pt x="162139" y="0"/>
                    <a:pt x="104511" y="0"/>
                  </a:cubicBezTo>
                  <a:close/>
                  <a:moveTo>
                    <a:pt x="104511" y="192074"/>
                  </a:moveTo>
                  <a:cubicBezTo>
                    <a:pt x="56227" y="192074"/>
                    <a:pt x="16948" y="152795"/>
                    <a:pt x="16948" y="104511"/>
                  </a:cubicBezTo>
                  <a:cubicBezTo>
                    <a:pt x="16948" y="56227"/>
                    <a:pt x="56227" y="16948"/>
                    <a:pt x="104511" y="16948"/>
                  </a:cubicBezTo>
                  <a:cubicBezTo>
                    <a:pt x="152795" y="16948"/>
                    <a:pt x="192074" y="56227"/>
                    <a:pt x="192074" y="104511"/>
                  </a:cubicBezTo>
                  <a:cubicBezTo>
                    <a:pt x="192074" y="152795"/>
                    <a:pt x="152795" y="192074"/>
                    <a:pt x="104511" y="192074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5" name="Полилиния: фигура 173">
              <a:extLst>
                <a:ext uri="{FF2B5EF4-FFF2-40B4-BE49-F238E27FC236}">
                  <a16:creationId xmlns:a16="http://schemas.microsoft.com/office/drawing/2014/main" id="{8AE92611-E137-4620-BF63-B8D060FE7552}"/>
                </a:ext>
              </a:extLst>
            </p:cNvPr>
            <p:cNvSpPr/>
            <p:nvPr/>
          </p:nvSpPr>
          <p:spPr>
            <a:xfrm>
              <a:off x="6437618" y="1223873"/>
              <a:ext cx="519717" cy="519729"/>
            </a:xfrm>
            <a:custGeom>
              <a:avLst/>
              <a:gdLst>
                <a:gd name="connsiteX0" fmla="*/ 512521 w 519717"/>
                <a:gd name="connsiteY0" fmla="*/ 214676 h 519729"/>
                <a:gd name="connsiteX1" fmla="*/ 444911 w 519717"/>
                <a:gd name="connsiteY1" fmla="*/ 204446 h 519729"/>
                <a:gd name="connsiteX2" fmla="*/ 429935 w 519717"/>
                <a:gd name="connsiteY2" fmla="*/ 168149 h 519729"/>
                <a:gd name="connsiteX3" fmla="*/ 470474 w 519717"/>
                <a:gd name="connsiteY3" fmla="*/ 113165 h 519729"/>
                <a:gd name="connsiteX4" fmla="*/ 469649 w 519717"/>
                <a:gd name="connsiteY4" fmla="*/ 102144 h 519729"/>
                <a:gd name="connsiteX5" fmla="*/ 417585 w 519717"/>
                <a:gd name="connsiteY5" fmla="*/ 50086 h 519729"/>
                <a:gd name="connsiteX6" fmla="*/ 406564 w 519717"/>
                <a:gd name="connsiteY6" fmla="*/ 49256 h 519729"/>
                <a:gd name="connsiteX7" fmla="*/ 351755 w 519717"/>
                <a:gd name="connsiteY7" fmla="*/ 89659 h 519729"/>
                <a:gd name="connsiteX8" fmla="*/ 315227 w 519717"/>
                <a:gd name="connsiteY8" fmla="*/ 74457 h 519729"/>
                <a:gd name="connsiteX9" fmla="*/ 305053 w 519717"/>
                <a:gd name="connsiteY9" fmla="*/ 7208 h 519729"/>
                <a:gd name="connsiteX10" fmla="*/ 296675 w 519717"/>
                <a:gd name="connsiteY10" fmla="*/ 0 h 519729"/>
                <a:gd name="connsiteX11" fmla="*/ 223054 w 519717"/>
                <a:gd name="connsiteY11" fmla="*/ 0 h 519729"/>
                <a:gd name="connsiteX12" fmla="*/ 214676 w 519717"/>
                <a:gd name="connsiteY12" fmla="*/ 7208 h 519729"/>
                <a:gd name="connsiteX13" fmla="*/ 204502 w 519717"/>
                <a:gd name="connsiteY13" fmla="*/ 74457 h 519729"/>
                <a:gd name="connsiteX14" fmla="*/ 167974 w 519717"/>
                <a:gd name="connsiteY14" fmla="*/ 89659 h 519729"/>
                <a:gd name="connsiteX15" fmla="*/ 113165 w 519717"/>
                <a:gd name="connsiteY15" fmla="*/ 49256 h 519729"/>
                <a:gd name="connsiteX16" fmla="*/ 102144 w 519717"/>
                <a:gd name="connsiteY16" fmla="*/ 50086 h 519729"/>
                <a:gd name="connsiteX17" fmla="*/ 50086 w 519717"/>
                <a:gd name="connsiteY17" fmla="*/ 102144 h 519729"/>
                <a:gd name="connsiteX18" fmla="*/ 49256 w 519717"/>
                <a:gd name="connsiteY18" fmla="*/ 113165 h 519729"/>
                <a:gd name="connsiteX19" fmla="*/ 89795 w 519717"/>
                <a:gd name="connsiteY19" fmla="*/ 168149 h 519729"/>
                <a:gd name="connsiteX20" fmla="*/ 74818 w 519717"/>
                <a:gd name="connsiteY20" fmla="*/ 204446 h 519729"/>
                <a:gd name="connsiteX21" fmla="*/ 7208 w 519717"/>
                <a:gd name="connsiteY21" fmla="*/ 214676 h 519729"/>
                <a:gd name="connsiteX22" fmla="*/ 0 w 519717"/>
                <a:gd name="connsiteY22" fmla="*/ 223054 h 519729"/>
                <a:gd name="connsiteX23" fmla="*/ 0 w 519717"/>
                <a:gd name="connsiteY23" fmla="*/ 296675 h 519729"/>
                <a:gd name="connsiteX24" fmla="*/ 7203 w 519717"/>
                <a:gd name="connsiteY24" fmla="*/ 305053 h 519729"/>
                <a:gd name="connsiteX25" fmla="*/ 75146 w 519717"/>
                <a:gd name="connsiteY25" fmla="*/ 315334 h 519729"/>
                <a:gd name="connsiteX26" fmla="*/ 90100 w 519717"/>
                <a:gd name="connsiteY26" fmla="*/ 351156 h 519729"/>
                <a:gd name="connsiteX27" fmla="*/ 49250 w 519717"/>
                <a:gd name="connsiteY27" fmla="*/ 406564 h 519729"/>
                <a:gd name="connsiteX28" fmla="*/ 50080 w 519717"/>
                <a:gd name="connsiteY28" fmla="*/ 417585 h 519729"/>
                <a:gd name="connsiteX29" fmla="*/ 102138 w 519717"/>
                <a:gd name="connsiteY29" fmla="*/ 469643 h 519729"/>
                <a:gd name="connsiteX30" fmla="*/ 113160 w 519717"/>
                <a:gd name="connsiteY30" fmla="*/ 470474 h 519729"/>
                <a:gd name="connsiteX31" fmla="*/ 168748 w 519717"/>
                <a:gd name="connsiteY31" fmla="*/ 429494 h 519729"/>
                <a:gd name="connsiteX32" fmla="*/ 204338 w 519717"/>
                <a:gd name="connsiteY32" fmla="*/ 444222 h 519729"/>
                <a:gd name="connsiteX33" fmla="*/ 214671 w 519717"/>
                <a:gd name="connsiteY33" fmla="*/ 512521 h 519729"/>
                <a:gd name="connsiteX34" fmla="*/ 223049 w 519717"/>
                <a:gd name="connsiteY34" fmla="*/ 519729 h 519729"/>
                <a:gd name="connsiteX35" fmla="*/ 296669 w 519717"/>
                <a:gd name="connsiteY35" fmla="*/ 519729 h 519729"/>
                <a:gd name="connsiteX36" fmla="*/ 305047 w 519717"/>
                <a:gd name="connsiteY36" fmla="*/ 512521 h 519729"/>
                <a:gd name="connsiteX37" fmla="*/ 315380 w 519717"/>
                <a:gd name="connsiteY37" fmla="*/ 444222 h 519729"/>
                <a:gd name="connsiteX38" fmla="*/ 350970 w 519717"/>
                <a:gd name="connsiteY38" fmla="*/ 429494 h 519729"/>
                <a:gd name="connsiteX39" fmla="*/ 406558 w 519717"/>
                <a:gd name="connsiteY39" fmla="*/ 470474 h 519729"/>
                <a:gd name="connsiteX40" fmla="*/ 417580 w 519717"/>
                <a:gd name="connsiteY40" fmla="*/ 469643 h 519729"/>
                <a:gd name="connsiteX41" fmla="*/ 469643 w 519717"/>
                <a:gd name="connsiteY41" fmla="*/ 417585 h 519729"/>
                <a:gd name="connsiteX42" fmla="*/ 470468 w 519717"/>
                <a:gd name="connsiteY42" fmla="*/ 406564 h 519729"/>
                <a:gd name="connsiteX43" fmla="*/ 429618 w 519717"/>
                <a:gd name="connsiteY43" fmla="*/ 351156 h 519729"/>
                <a:gd name="connsiteX44" fmla="*/ 444572 w 519717"/>
                <a:gd name="connsiteY44" fmla="*/ 315334 h 519729"/>
                <a:gd name="connsiteX45" fmla="*/ 512515 w 519717"/>
                <a:gd name="connsiteY45" fmla="*/ 305053 h 519729"/>
                <a:gd name="connsiteX46" fmla="*/ 519718 w 519717"/>
                <a:gd name="connsiteY46" fmla="*/ 296675 h 519729"/>
                <a:gd name="connsiteX47" fmla="*/ 519718 w 519717"/>
                <a:gd name="connsiteY47" fmla="*/ 223054 h 519729"/>
                <a:gd name="connsiteX48" fmla="*/ 512521 w 519717"/>
                <a:gd name="connsiteY48" fmla="*/ 214676 h 519729"/>
                <a:gd name="connsiteX49" fmla="*/ 502776 w 519717"/>
                <a:gd name="connsiteY49" fmla="*/ 289387 h 519729"/>
                <a:gd name="connsiteX50" fmla="*/ 436663 w 519717"/>
                <a:gd name="connsiteY50" fmla="*/ 299392 h 519729"/>
                <a:gd name="connsiteX51" fmla="*/ 429748 w 519717"/>
                <a:gd name="connsiteY51" fmla="*/ 305550 h 519729"/>
                <a:gd name="connsiteX52" fmla="*/ 412219 w 519717"/>
                <a:gd name="connsiteY52" fmla="*/ 347535 h 519729"/>
                <a:gd name="connsiteX53" fmla="*/ 412727 w 519717"/>
                <a:gd name="connsiteY53" fmla="*/ 356817 h 519729"/>
                <a:gd name="connsiteX54" fmla="*/ 452498 w 519717"/>
                <a:gd name="connsiteY54" fmla="*/ 410761 h 519729"/>
                <a:gd name="connsiteX55" fmla="*/ 410744 w 519717"/>
                <a:gd name="connsiteY55" fmla="*/ 452515 h 519729"/>
                <a:gd name="connsiteX56" fmla="*/ 356636 w 519717"/>
                <a:gd name="connsiteY56" fmla="*/ 412625 h 519729"/>
                <a:gd name="connsiteX57" fmla="*/ 347388 w 519717"/>
                <a:gd name="connsiteY57" fmla="*/ 412100 h 519729"/>
                <a:gd name="connsiteX58" fmla="*/ 305612 w 519717"/>
                <a:gd name="connsiteY58" fmla="*/ 429387 h 519729"/>
                <a:gd name="connsiteX59" fmla="*/ 299432 w 519717"/>
                <a:gd name="connsiteY59" fmla="*/ 436307 h 519729"/>
                <a:gd name="connsiteX60" fmla="*/ 289376 w 519717"/>
                <a:gd name="connsiteY60" fmla="*/ 502793 h 519729"/>
                <a:gd name="connsiteX61" fmla="*/ 230330 w 519717"/>
                <a:gd name="connsiteY61" fmla="*/ 502793 h 519729"/>
                <a:gd name="connsiteX62" fmla="*/ 220275 w 519717"/>
                <a:gd name="connsiteY62" fmla="*/ 436307 h 519729"/>
                <a:gd name="connsiteX63" fmla="*/ 214095 w 519717"/>
                <a:gd name="connsiteY63" fmla="*/ 429387 h 519729"/>
                <a:gd name="connsiteX64" fmla="*/ 172318 w 519717"/>
                <a:gd name="connsiteY64" fmla="*/ 412100 h 519729"/>
                <a:gd name="connsiteX65" fmla="*/ 163071 w 519717"/>
                <a:gd name="connsiteY65" fmla="*/ 412625 h 519729"/>
                <a:gd name="connsiteX66" fmla="*/ 108962 w 519717"/>
                <a:gd name="connsiteY66" fmla="*/ 452515 h 519729"/>
                <a:gd name="connsiteX67" fmla="*/ 67209 w 519717"/>
                <a:gd name="connsiteY67" fmla="*/ 410761 h 519729"/>
                <a:gd name="connsiteX68" fmla="*/ 106979 w 519717"/>
                <a:gd name="connsiteY68" fmla="*/ 356817 h 519729"/>
                <a:gd name="connsiteX69" fmla="*/ 107488 w 519717"/>
                <a:gd name="connsiteY69" fmla="*/ 347535 h 519729"/>
                <a:gd name="connsiteX70" fmla="*/ 89958 w 519717"/>
                <a:gd name="connsiteY70" fmla="*/ 305550 h 519729"/>
                <a:gd name="connsiteX71" fmla="*/ 83044 w 519717"/>
                <a:gd name="connsiteY71" fmla="*/ 299392 h 519729"/>
                <a:gd name="connsiteX72" fmla="*/ 16931 w 519717"/>
                <a:gd name="connsiteY72" fmla="*/ 289387 h 519729"/>
                <a:gd name="connsiteX73" fmla="*/ 16931 w 519717"/>
                <a:gd name="connsiteY73" fmla="*/ 230342 h 519729"/>
                <a:gd name="connsiteX74" fmla="*/ 82744 w 519717"/>
                <a:gd name="connsiteY74" fmla="*/ 220388 h 519729"/>
                <a:gd name="connsiteX75" fmla="*/ 89670 w 519717"/>
                <a:gd name="connsiteY75" fmla="*/ 214179 h 519729"/>
                <a:gd name="connsiteX76" fmla="*/ 107177 w 519717"/>
                <a:gd name="connsiteY76" fmla="*/ 171731 h 519729"/>
                <a:gd name="connsiteX77" fmla="*/ 106652 w 519717"/>
                <a:gd name="connsiteY77" fmla="*/ 162478 h 519729"/>
                <a:gd name="connsiteX78" fmla="*/ 67209 w 519717"/>
                <a:gd name="connsiteY78" fmla="*/ 108974 h 519729"/>
                <a:gd name="connsiteX79" fmla="*/ 108962 w 519717"/>
                <a:gd name="connsiteY79" fmla="*/ 67220 h 519729"/>
                <a:gd name="connsiteX80" fmla="*/ 162308 w 519717"/>
                <a:gd name="connsiteY80" fmla="*/ 106544 h 519729"/>
                <a:gd name="connsiteX81" fmla="*/ 171595 w 519717"/>
                <a:gd name="connsiteY81" fmla="*/ 107047 h 519729"/>
                <a:gd name="connsiteX82" fmla="*/ 214247 w 519717"/>
                <a:gd name="connsiteY82" fmla="*/ 89297 h 519729"/>
                <a:gd name="connsiteX83" fmla="*/ 220433 w 519717"/>
                <a:gd name="connsiteY83" fmla="*/ 82377 h 519729"/>
                <a:gd name="connsiteX84" fmla="*/ 230330 w 519717"/>
                <a:gd name="connsiteY84" fmla="*/ 16942 h 519729"/>
                <a:gd name="connsiteX85" fmla="*/ 289376 w 519717"/>
                <a:gd name="connsiteY85" fmla="*/ 16942 h 519729"/>
                <a:gd name="connsiteX86" fmla="*/ 299274 w 519717"/>
                <a:gd name="connsiteY86" fmla="*/ 82377 h 519729"/>
                <a:gd name="connsiteX87" fmla="*/ 305460 w 519717"/>
                <a:gd name="connsiteY87" fmla="*/ 89297 h 519729"/>
                <a:gd name="connsiteX88" fmla="*/ 348111 w 519717"/>
                <a:gd name="connsiteY88" fmla="*/ 107047 h 519729"/>
                <a:gd name="connsiteX89" fmla="*/ 357399 w 519717"/>
                <a:gd name="connsiteY89" fmla="*/ 106544 h 519729"/>
                <a:gd name="connsiteX90" fmla="*/ 410744 w 519717"/>
                <a:gd name="connsiteY90" fmla="*/ 67220 h 519729"/>
                <a:gd name="connsiteX91" fmla="*/ 452498 w 519717"/>
                <a:gd name="connsiteY91" fmla="*/ 108974 h 519729"/>
                <a:gd name="connsiteX92" fmla="*/ 413055 w 519717"/>
                <a:gd name="connsiteY92" fmla="*/ 162478 h 519729"/>
                <a:gd name="connsiteX93" fmla="*/ 412529 w 519717"/>
                <a:gd name="connsiteY93" fmla="*/ 171731 h 519729"/>
                <a:gd name="connsiteX94" fmla="*/ 430036 w 519717"/>
                <a:gd name="connsiteY94" fmla="*/ 214179 h 519729"/>
                <a:gd name="connsiteX95" fmla="*/ 436962 w 519717"/>
                <a:gd name="connsiteY95" fmla="*/ 220388 h 519729"/>
                <a:gd name="connsiteX96" fmla="*/ 502776 w 519717"/>
                <a:gd name="connsiteY96" fmla="*/ 230342 h 519729"/>
                <a:gd name="connsiteX97" fmla="*/ 502776 w 519717"/>
                <a:gd name="connsiteY97" fmla="*/ 289387 h 519729"/>
                <a:gd name="connsiteX98" fmla="*/ 502776 w 519717"/>
                <a:gd name="connsiteY98" fmla="*/ 289387 h 519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519717" h="519729">
                  <a:moveTo>
                    <a:pt x="512521" y="214676"/>
                  </a:moveTo>
                  <a:lnTo>
                    <a:pt x="444911" y="204446"/>
                  </a:lnTo>
                  <a:cubicBezTo>
                    <a:pt x="441194" y="191916"/>
                    <a:pt x="436171" y="179747"/>
                    <a:pt x="429935" y="168149"/>
                  </a:cubicBezTo>
                  <a:lnTo>
                    <a:pt x="470474" y="113165"/>
                  </a:lnTo>
                  <a:cubicBezTo>
                    <a:pt x="472959" y="109793"/>
                    <a:pt x="472609" y="105110"/>
                    <a:pt x="469649" y="102144"/>
                  </a:cubicBezTo>
                  <a:lnTo>
                    <a:pt x="417585" y="50086"/>
                  </a:lnTo>
                  <a:cubicBezTo>
                    <a:pt x="414620" y="47126"/>
                    <a:pt x="409936" y="46770"/>
                    <a:pt x="406564" y="49256"/>
                  </a:cubicBezTo>
                  <a:lnTo>
                    <a:pt x="351755" y="89659"/>
                  </a:lnTo>
                  <a:cubicBezTo>
                    <a:pt x="340106" y="83332"/>
                    <a:pt x="327859" y="78236"/>
                    <a:pt x="315227" y="74457"/>
                  </a:cubicBezTo>
                  <a:lnTo>
                    <a:pt x="305053" y="7208"/>
                  </a:lnTo>
                  <a:cubicBezTo>
                    <a:pt x="304426" y="3062"/>
                    <a:pt x="300867" y="0"/>
                    <a:pt x="296675" y="0"/>
                  </a:cubicBezTo>
                  <a:lnTo>
                    <a:pt x="223054" y="0"/>
                  </a:lnTo>
                  <a:cubicBezTo>
                    <a:pt x="218862" y="0"/>
                    <a:pt x="215303" y="3062"/>
                    <a:pt x="214676" y="7208"/>
                  </a:cubicBezTo>
                  <a:lnTo>
                    <a:pt x="204502" y="74457"/>
                  </a:lnTo>
                  <a:cubicBezTo>
                    <a:pt x="191870" y="78236"/>
                    <a:pt x="179623" y="83337"/>
                    <a:pt x="167974" y="89659"/>
                  </a:cubicBezTo>
                  <a:lnTo>
                    <a:pt x="113165" y="49256"/>
                  </a:lnTo>
                  <a:cubicBezTo>
                    <a:pt x="109793" y="46770"/>
                    <a:pt x="105110" y="47120"/>
                    <a:pt x="102144" y="50086"/>
                  </a:cubicBezTo>
                  <a:lnTo>
                    <a:pt x="50086" y="102144"/>
                  </a:lnTo>
                  <a:cubicBezTo>
                    <a:pt x="47126" y="105104"/>
                    <a:pt x="46770" y="109793"/>
                    <a:pt x="49256" y="113165"/>
                  </a:cubicBezTo>
                  <a:lnTo>
                    <a:pt x="89795" y="168149"/>
                  </a:lnTo>
                  <a:cubicBezTo>
                    <a:pt x="83558" y="179747"/>
                    <a:pt x="78536" y="191916"/>
                    <a:pt x="74818" y="204446"/>
                  </a:cubicBezTo>
                  <a:lnTo>
                    <a:pt x="7208" y="214676"/>
                  </a:lnTo>
                  <a:cubicBezTo>
                    <a:pt x="3062" y="215303"/>
                    <a:pt x="0" y="218862"/>
                    <a:pt x="0" y="223054"/>
                  </a:cubicBezTo>
                  <a:lnTo>
                    <a:pt x="0" y="296675"/>
                  </a:lnTo>
                  <a:cubicBezTo>
                    <a:pt x="0" y="300867"/>
                    <a:pt x="3062" y="304426"/>
                    <a:pt x="7203" y="305053"/>
                  </a:cubicBezTo>
                  <a:lnTo>
                    <a:pt x="75146" y="315334"/>
                  </a:lnTo>
                  <a:cubicBezTo>
                    <a:pt x="78903" y="327729"/>
                    <a:pt x="83914" y="339733"/>
                    <a:pt x="90100" y="351156"/>
                  </a:cubicBezTo>
                  <a:lnTo>
                    <a:pt x="49250" y="406564"/>
                  </a:lnTo>
                  <a:cubicBezTo>
                    <a:pt x="46764" y="409936"/>
                    <a:pt x="47120" y="414620"/>
                    <a:pt x="50080" y="417585"/>
                  </a:cubicBezTo>
                  <a:lnTo>
                    <a:pt x="102138" y="469643"/>
                  </a:lnTo>
                  <a:cubicBezTo>
                    <a:pt x="105098" y="472609"/>
                    <a:pt x="109787" y="472959"/>
                    <a:pt x="113160" y="470474"/>
                  </a:cubicBezTo>
                  <a:lnTo>
                    <a:pt x="168748" y="429494"/>
                  </a:lnTo>
                  <a:cubicBezTo>
                    <a:pt x="180114" y="435595"/>
                    <a:pt x="192046" y="440533"/>
                    <a:pt x="204338" y="444222"/>
                  </a:cubicBezTo>
                  <a:lnTo>
                    <a:pt x="214671" y="512521"/>
                  </a:lnTo>
                  <a:cubicBezTo>
                    <a:pt x="215298" y="516667"/>
                    <a:pt x="218857" y="519729"/>
                    <a:pt x="223049" y="519729"/>
                  </a:cubicBezTo>
                  <a:lnTo>
                    <a:pt x="296669" y="519729"/>
                  </a:lnTo>
                  <a:cubicBezTo>
                    <a:pt x="300861" y="519729"/>
                    <a:pt x="304420" y="516667"/>
                    <a:pt x="305047" y="512521"/>
                  </a:cubicBezTo>
                  <a:lnTo>
                    <a:pt x="315380" y="444222"/>
                  </a:lnTo>
                  <a:cubicBezTo>
                    <a:pt x="327672" y="440533"/>
                    <a:pt x="339603" y="435595"/>
                    <a:pt x="350970" y="429494"/>
                  </a:cubicBezTo>
                  <a:lnTo>
                    <a:pt x="406558" y="470474"/>
                  </a:lnTo>
                  <a:cubicBezTo>
                    <a:pt x="409931" y="472959"/>
                    <a:pt x="414614" y="472603"/>
                    <a:pt x="417580" y="469643"/>
                  </a:cubicBezTo>
                  <a:lnTo>
                    <a:pt x="469643" y="417585"/>
                  </a:lnTo>
                  <a:cubicBezTo>
                    <a:pt x="472603" y="414625"/>
                    <a:pt x="472959" y="409936"/>
                    <a:pt x="470468" y="406564"/>
                  </a:cubicBezTo>
                  <a:lnTo>
                    <a:pt x="429618" y="351156"/>
                  </a:lnTo>
                  <a:cubicBezTo>
                    <a:pt x="435810" y="339733"/>
                    <a:pt x="440821" y="327729"/>
                    <a:pt x="444572" y="315334"/>
                  </a:cubicBezTo>
                  <a:lnTo>
                    <a:pt x="512515" y="305053"/>
                  </a:lnTo>
                  <a:cubicBezTo>
                    <a:pt x="516656" y="304426"/>
                    <a:pt x="519718" y="300867"/>
                    <a:pt x="519718" y="296675"/>
                  </a:cubicBezTo>
                  <a:lnTo>
                    <a:pt x="519718" y="223054"/>
                  </a:lnTo>
                  <a:cubicBezTo>
                    <a:pt x="519724" y="218868"/>
                    <a:pt x="516662" y="215303"/>
                    <a:pt x="512521" y="214676"/>
                  </a:cubicBezTo>
                  <a:close/>
                  <a:moveTo>
                    <a:pt x="502776" y="289387"/>
                  </a:moveTo>
                  <a:lnTo>
                    <a:pt x="436663" y="299392"/>
                  </a:lnTo>
                  <a:cubicBezTo>
                    <a:pt x="433341" y="299895"/>
                    <a:pt x="430629" y="302313"/>
                    <a:pt x="429748" y="305550"/>
                  </a:cubicBezTo>
                  <a:cubicBezTo>
                    <a:pt x="425771" y="320210"/>
                    <a:pt x="419873" y="334333"/>
                    <a:pt x="412219" y="347535"/>
                  </a:cubicBezTo>
                  <a:cubicBezTo>
                    <a:pt x="410524" y="350456"/>
                    <a:pt x="410722" y="354099"/>
                    <a:pt x="412727" y="356817"/>
                  </a:cubicBezTo>
                  <a:lnTo>
                    <a:pt x="452498" y="410761"/>
                  </a:lnTo>
                  <a:lnTo>
                    <a:pt x="410744" y="452515"/>
                  </a:lnTo>
                  <a:lnTo>
                    <a:pt x="356636" y="412625"/>
                  </a:lnTo>
                  <a:cubicBezTo>
                    <a:pt x="353924" y="410631"/>
                    <a:pt x="350297" y="410422"/>
                    <a:pt x="347388" y="412100"/>
                  </a:cubicBezTo>
                  <a:cubicBezTo>
                    <a:pt x="334220" y="419664"/>
                    <a:pt x="320170" y="425483"/>
                    <a:pt x="305612" y="429387"/>
                  </a:cubicBezTo>
                  <a:cubicBezTo>
                    <a:pt x="302364" y="430262"/>
                    <a:pt x="299935" y="432974"/>
                    <a:pt x="299432" y="436307"/>
                  </a:cubicBezTo>
                  <a:lnTo>
                    <a:pt x="289376" y="502793"/>
                  </a:lnTo>
                  <a:lnTo>
                    <a:pt x="230330" y="502793"/>
                  </a:lnTo>
                  <a:lnTo>
                    <a:pt x="220275" y="436307"/>
                  </a:lnTo>
                  <a:cubicBezTo>
                    <a:pt x="219772" y="432980"/>
                    <a:pt x="217343" y="430262"/>
                    <a:pt x="214095" y="429387"/>
                  </a:cubicBezTo>
                  <a:cubicBezTo>
                    <a:pt x="199536" y="425483"/>
                    <a:pt x="185487" y="419664"/>
                    <a:pt x="172318" y="412100"/>
                  </a:cubicBezTo>
                  <a:cubicBezTo>
                    <a:pt x="169409" y="410428"/>
                    <a:pt x="165777" y="410637"/>
                    <a:pt x="163071" y="412625"/>
                  </a:cubicBezTo>
                  <a:lnTo>
                    <a:pt x="108962" y="452515"/>
                  </a:lnTo>
                  <a:lnTo>
                    <a:pt x="67209" y="410761"/>
                  </a:lnTo>
                  <a:lnTo>
                    <a:pt x="106979" y="356817"/>
                  </a:lnTo>
                  <a:cubicBezTo>
                    <a:pt x="108979" y="354099"/>
                    <a:pt x="109183" y="350456"/>
                    <a:pt x="107488" y="347535"/>
                  </a:cubicBezTo>
                  <a:cubicBezTo>
                    <a:pt x="99833" y="334338"/>
                    <a:pt x="93935" y="320210"/>
                    <a:pt x="89958" y="305550"/>
                  </a:cubicBezTo>
                  <a:cubicBezTo>
                    <a:pt x="89077" y="302307"/>
                    <a:pt x="86365" y="299895"/>
                    <a:pt x="83044" y="299392"/>
                  </a:cubicBezTo>
                  <a:lnTo>
                    <a:pt x="16931" y="289387"/>
                  </a:lnTo>
                  <a:lnTo>
                    <a:pt x="16931" y="230342"/>
                  </a:lnTo>
                  <a:lnTo>
                    <a:pt x="82744" y="220388"/>
                  </a:lnTo>
                  <a:cubicBezTo>
                    <a:pt x="86083" y="219885"/>
                    <a:pt x="88806" y="217445"/>
                    <a:pt x="89670" y="214179"/>
                  </a:cubicBezTo>
                  <a:cubicBezTo>
                    <a:pt x="93585" y="199401"/>
                    <a:pt x="99472" y="185120"/>
                    <a:pt x="107177" y="171731"/>
                  </a:cubicBezTo>
                  <a:cubicBezTo>
                    <a:pt x="108855" y="168816"/>
                    <a:pt x="108646" y="165184"/>
                    <a:pt x="106652" y="162478"/>
                  </a:cubicBezTo>
                  <a:lnTo>
                    <a:pt x="67209" y="108974"/>
                  </a:lnTo>
                  <a:lnTo>
                    <a:pt x="108962" y="67220"/>
                  </a:lnTo>
                  <a:lnTo>
                    <a:pt x="162308" y="106544"/>
                  </a:lnTo>
                  <a:cubicBezTo>
                    <a:pt x="165025" y="108544"/>
                    <a:pt x="168669" y="108748"/>
                    <a:pt x="171595" y="107047"/>
                  </a:cubicBezTo>
                  <a:cubicBezTo>
                    <a:pt x="185012" y="99251"/>
                    <a:pt x="199367" y="93280"/>
                    <a:pt x="214247" y="89297"/>
                  </a:cubicBezTo>
                  <a:cubicBezTo>
                    <a:pt x="217501" y="88427"/>
                    <a:pt x="219930" y="85710"/>
                    <a:pt x="220433" y="82377"/>
                  </a:cubicBezTo>
                  <a:lnTo>
                    <a:pt x="230330" y="16942"/>
                  </a:lnTo>
                  <a:lnTo>
                    <a:pt x="289376" y="16942"/>
                  </a:lnTo>
                  <a:lnTo>
                    <a:pt x="299274" y="82377"/>
                  </a:lnTo>
                  <a:cubicBezTo>
                    <a:pt x="299776" y="85710"/>
                    <a:pt x="302206" y="88427"/>
                    <a:pt x="305460" y="89297"/>
                  </a:cubicBezTo>
                  <a:cubicBezTo>
                    <a:pt x="320340" y="93280"/>
                    <a:pt x="334689" y="99251"/>
                    <a:pt x="348111" y="107047"/>
                  </a:cubicBezTo>
                  <a:cubicBezTo>
                    <a:pt x="351032" y="108753"/>
                    <a:pt x="354676" y="108544"/>
                    <a:pt x="357399" y="106544"/>
                  </a:cubicBezTo>
                  <a:lnTo>
                    <a:pt x="410744" y="67220"/>
                  </a:lnTo>
                  <a:lnTo>
                    <a:pt x="452498" y="108974"/>
                  </a:lnTo>
                  <a:lnTo>
                    <a:pt x="413055" y="162478"/>
                  </a:lnTo>
                  <a:cubicBezTo>
                    <a:pt x="411061" y="165184"/>
                    <a:pt x="410852" y="168816"/>
                    <a:pt x="412529" y="171731"/>
                  </a:cubicBezTo>
                  <a:cubicBezTo>
                    <a:pt x="420229" y="185120"/>
                    <a:pt x="426121" y="199401"/>
                    <a:pt x="430036" y="214179"/>
                  </a:cubicBezTo>
                  <a:cubicBezTo>
                    <a:pt x="430901" y="217445"/>
                    <a:pt x="433624" y="219879"/>
                    <a:pt x="436962" y="220388"/>
                  </a:cubicBezTo>
                  <a:lnTo>
                    <a:pt x="502776" y="230342"/>
                  </a:lnTo>
                  <a:lnTo>
                    <a:pt x="502776" y="289387"/>
                  </a:lnTo>
                  <a:lnTo>
                    <a:pt x="502776" y="289387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590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38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126BD4-7026-48F1-B716-35B9F4737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369332"/>
          </a:xfrm>
        </p:spPr>
        <p:txBody>
          <a:bodyPr vert="horz"/>
          <a:lstStyle/>
          <a:p>
            <a:r>
              <a:rPr lang="ru-RU" sz="2400" dirty="0"/>
              <a:t>Процедуры работы с СЦ в «Ленте»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88</a:t>
            </a:fld>
            <a:endParaRPr lang="en-US" dirty="0"/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6863BC82-91CA-428C-B8DB-4FD01771815B}"/>
              </a:ext>
            </a:extLst>
          </p:cNvPr>
          <p:cNvSpPr/>
          <p:nvPr/>
        </p:nvSpPr>
        <p:spPr>
          <a:xfrm>
            <a:off x="651247" y="2105305"/>
            <a:ext cx="3511679" cy="3402682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E79F39FD-3584-4CD2-9352-CDADF6689926}"/>
              </a:ext>
            </a:extLst>
          </p:cNvPr>
          <p:cNvSpPr/>
          <p:nvPr/>
        </p:nvSpPr>
        <p:spPr>
          <a:xfrm>
            <a:off x="4243035" y="3703420"/>
            <a:ext cx="2916927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Неправильная эксплуатация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D6706DE7-A32B-4EB7-8261-954713B1BA52}"/>
              </a:ext>
            </a:extLst>
          </p:cNvPr>
          <p:cNvSpPr/>
          <p:nvPr/>
        </p:nvSpPr>
        <p:spPr>
          <a:xfrm>
            <a:off x="1264022" y="2640668"/>
            <a:ext cx="2274594" cy="2294068"/>
          </a:xfrm>
          <a:prstGeom prst="ellipse">
            <a:avLst/>
          </a:prstGeom>
          <a:noFill/>
          <a:ln w="2857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514363"/>
            <a:r>
              <a:rPr lang="ru-RU" sz="1200" b="1" dirty="0" smtClean="0">
                <a:latin typeface="+mj-lt"/>
                <a:cs typeface="Arial" panose="020B0604020202020204" pitchFamily="34" charset="0"/>
              </a:rPr>
              <a:t>Акт СЦ</a:t>
            </a:r>
            <a:endParaRPr lang="ru-RU" sz="12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29FBCC7-1A29-4A68-9FF0-6AF1A54DD3AD}"/>
              </a:ext>
            </a:extLst>
          </p:cNvPr>
          <p:cNvSpPr/>
          <p:nvPr/>
        </p:nvSpPr>
        <p:spPr>
          <a:xfrm>
            <a:off x="1419800" y="5507986"/>
            <a:ext cx="2916927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85817"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Повреждение при транспортировке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440BDD07-ACAA-41C1-9F4D-A0A1FB184241}"/>
              </a:ext>
            </a:extLst>
          </p:cNvPr>
          <p:cNvSpPr/>
          <p:nvPr/>
        </p:nvSpPr>
        <p:spPr>
          <a:xfrm>
            <a:off x="651247" y="1334521"/>
            <a:ext cx="2921366" cy="860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 defTabSz="685817"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Производственный брак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33" name="Полилиния: фигура 32">
            <a:extLst>
              <a:ext uri="{FF2B5EF4-FFF2-40B4-BE49-F238E27FC236}">
                <a16:creationId xmlns:a16="http://schemas.microsoft.com/office/drawing/2014/main" id="{42C82C1D-C91C-437D-8A2E-0255BCC9F560}"/>
              </a:ext>
            </a:extLst>
          </p:cNvPr>
          <p:cNvSpPr/>
          <p:nvPr userDrawn="1"/>
        </p:nvSpPr>
        <p:spPr>
          <a:xfrm>
            <a:off x="4059699" y="3600195"/>
            <a:ext cx="206453" cy="206451"/>
          </a:xfrm>
          <a:custGeom>
            <a:avLst/>
            <a:gdLst>
              <a:gd name="connsiteX0" fmla="*/ 341920 w 341920"/>
              <a:gd name="connsiteY0" fmla="*/ 170960 h 341920"/>
              <a:gd name="connsiteX1" fmla="*/ 170960 w 341920"/>
              <a:gd name="connsiteY1" fmla="*/ 341920 h 341920"/>
              <a:gd name="connsiteX2" fmla="*/ 0 w 341920"/>
              <a:gd name="connsiteY2" fmla="*/ 170960 h 341920"/>
              <a:gd name="connsiteX3" fmla="*/ 170960 w 341920"/>
              <a:gd name="connsiteY3" fmla="*/ 0 h 341920"/>
              <a:gd name="connsiteX4" fmla="*/ 341920 w 341920"/>
              <a:gd name="connsiteY4" fmla="*/ 170960 h 34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920" h="341920">
                <a:moveTo>
                  <a:pt x="341920" y="170960"/>
                </a:moveTo>
                <a:cubicBezTo>
                  <a:pt x="341920" y="265379"/>
                  <a:pt x="265379" y="341920"/>
                  <a:pt x="170960" y="341920"/>
                </a:cubicBezTo>
                <a:cubicBezTo>
                  <a:pt x="76542" y="341920"/>
                  <a:pt x="0" y="265379"/>
                  <a:pt x="0" y="170960"/>
                </a:cubicBezTo>
                <a:cubicBezTo>
                  <a:pt x="0" y="76541"/>
                  <a:pt x="76542" y="0"/>
                  <a:pt x="170960" y="0"/>
                </a:cubicBezTo>
                <a:cubicBezTo>
                  <a:pt x="265379" y="0"/>
                  <a:pt x="341920" y="76541"/>
                  <a:pt x="341920" y="170960"/>
                </a:cubicBezTo>
                <a:close/>
              </a:path>
            </a:pathLst>
          </a:custGeom>
          <a:solidFill>
            <a:schemeClr val="tx1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6" name="Полилиния: фигура 35">
            <a:extLst>
              <a:ext uri="{FF2B5EF4-FFF2-40B4-BE49-F238E27FC236}">
                <a16:creationId xmlns:a16="http://schemas.microsoft.com/office/drawing/2014/main" id="{20481A5B-D398-4F5C-B7C3-E60FFC4764FF}"/>
              </a:ext>
            </a:extLst>
          </p:cNvPr>
          <p:cNvSpPr/>
          <p:nvPr userDrawn="1"/>
        </p:nvSpPr>
        <p:spPr>
          <a:xfrm>
            <a:off x="2120628" y="1988593"/>
            <a:ext cx="206453" cy="206451"/>
          </a:xfrm>
          <a:custGeom>
            <a:avLst/>
            <a:gdLst>
              <a:gd name="connsiteX0" fmla="*/ 341920 w 341920"/>
              <a:gd name="connsiteY0" fmla="*/ 170960 h 341920"/>
              <a:gd name="connsiteX1" fmla="*/ 170960 w 341920"/>
              <a:gd name="connsiteY1" fmla="*/ 341920 h 341920"/>
              <a:gd name="connsiteX2" fmla="*/ 0 w 341920"/>
              <a:gd name="connsiteY2" fmla="*/ 170960 h 341920"/>
              <a:gd name="connsiteX3" fmla="*/ 170960 w 341920"/>
              <a:gd name="connsiteY3" fmla="*/ 0 h 341920"/>
              <a:gd name="connsiteX4" fmla="*/ 341920 w 341920"/>
              <a:gd name="connsiteY4" fmla="*/ 170960 h 34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920" h="341920">
                <a:moveTo>
                  <a:pt x="341920" y="170960"/>
                </a:moveTo>
                <a:cubicBezTo>
                  <a:pt x="341920" y="265379"/>
                  <a:pt x="265379" y="341920"/>
                  <a:pt x="170960" y="341920"/>
                </a:cubicBezTo>
                <a:cubicBezTo>
                  <a:pt x="76542" y="341920"/>
                  <a:pt x="0" y="265379"/>
                  <a:pt x="0" y="170960"/>
                </a:cubicBezTo>
                <a:cubicBezTo>
                  <a:pt x="0" y="76541"/>
                  <a:pt x="76542" y="0"/>
                  <a:pt x="170960" y="0"/>
                </a:cubicBezTo>
                <a:cubicBezTo>
                  <a:pt x="265379" y="0"/>
                  <a:pt x="341920" y="76541"/>
                  <a:pt x="341920" y="170960"/>
                </a:cubicBezTo>
                <a:close/>
              </a:path>
            </a:pathLst>
          </a:custGeom>
          <a:solidFill>
            <a:schemeClr val="tx1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9" name="Полилиния: фигура 38">
            <a:extLst>
              <a:ext uri="{FF2B5EF4-FFF2-40B4-BE49-F238E27FC236}">
                <a16:creationId xmlns:a16="http://schemas.microsoft.com/office/drawing/2014/main" id="{C59D5F58-F47E-4421-964E-18E4CB42BF7F}"/>
              </a:ext>
            </a:extLst>
          </p:cNvPr>
          <p:cNvSpPr/>
          <p:nvPr userDrawn="1"/>
        </p:nvSpPr>
        <p:spPr>
          <a:xfrm>
            <a:off x="2167631" y="5404761"/>
            <a:ext cx="206453" cy="206451"/>
          </a:xfrm>
          <a:custGeom>
            <a:avLst/>
            <a:gdLst>
              <a:gd name="connsiteX0" fmla="*/ 341920 w 341920"/>
              <a:gd name="connsiteY0" fmla="*/ 170960 h 341920"/>
              <a:gd name="connsiteX1" fmla="*/ 170960 w 341920"/>
              <a:gd name="connsiteY1" fmla="*/ 341920 h 341920"/>
              <a:gd name="connsiteX2" fmla="*/ 0 w 341920"/>
              <a:gd name="connsiteY2" fmla="*/ 170960 h 341920"/>
              <a:gd name="connsiteX3" fmla="*/ 170960 w 341920"/>
              <a:gd name="connsiteY3" fmla="*/ 0 h 341920"/>
              <a:gd name="connsiteX4" fmla="*/ 341920 w 341920"/>
              <a:gd name="connsiteY4" fmla="*/ 170960 h 34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920" h="341920">
                <a:moveTo>
                  <a:pt x="341920" y="170960"/>
                </a:moveTo>
                <a:cubicBezTo>
                  <a:pt x="341920" y="265379"/>
                  <a:pt x="265379" y="341920"/>
                  <a:pt x="170960" y="341920"/>
                </a:cubicBezTo>
                <a:cubicBezTo>
                  <a:pt x="76542" y="341920"/>
                  <a:pt x="0" y="265379"/>
                  <a:pt x="0" y="170960"/>
                </a:cubicBezTo>
                <a:cubicBezTo>
                  <a:pt x="0" y="76541"/>
                  <a:pt x="76542" y="0"/>
                  <a:pt x="170960" y="0"/>
                </a:cubicBezTo>
                <a:cubicBezTo>
                  <a:pt x="265379" y="0"/>
                  <a:pt x="341920" y="76541"/>
                  <a:pt x="341920" y="170960"/>
                </a:cubicBezTo>
                <a:close/>
              </a:path>
            </a:pathLst>
          </a:custGeom>
          <a:solidFill>
            <a:schemeClr val="tx1"/>
          </a:solidFill>
          <a:ln w="97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0" name="Группа 19"/>
          <p:cNvGrpSpPr/>
          <p:nvPr/>
        </p:nvGrpSpPr>
        <p:grpSpPr>
          <a:xfrm>
            <a:off x="6672620" y="1687447"/>
            <a:ext cx="3105043" cy="3923765"/>
            <a:chOff x="576621" y="2269714"/>
            <a:chExt cx="2095458" cy="3016900"/>
          </a:xfrm>
        </p:grpSpPr>
        <p:grpSp>
          <p:nvGrpSpPr>
            <p:cNvPr id="21" name="Группа 20"/>
            <p:cNvGrpSpPr/>
            <p:nvPr/>
          </p:nvGrpSpPr>
          <p:grpSpPr>
            <a:xfrm>
              <a:off x="775499" y="3124875"/>
              <a:ext cx="1721362" cy="1432583"/>
              <a:chOff x="775499" y="3124875"/>
              <a:chExt cx="1721362" cy="1432583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65D0E19-EBD5-1BC0-813A-B15F60588B06}"/>
                  </a:ext>
                </a:extLst>
              </p:cNvPr>
              <p:cNvSpPr txBox="1"/>
              <p:nvPr/>
            </p:nvSpPr>
            <p:spPr>
              <a:xfrm>
                <a:off x="775499" y="3124875"/>
                <a:ext cx="1721362" cy="1656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71513">
                  <a:spcAft>
                    <a:spcPts val="450"/>
                  </a:spcAft>
                  <a:buClr>
                    <a:schemeClr val="accent1"/>
                  </a:buClr>
                </a:pPr>
                <a:r>
                  <a:rPr lang="ru-RU" sz="1400" b="1" dirty="0" smtClean="0"/>
                  <a:t>Ключевое требование</a:t>
                </a:r>
                <a:endParaRPr lang="ru-RU" sz="1400" b="1" dirty="0"/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6CA3DEC8-80E1-0BAC-3A1A-1077F692F014}"/>
                  </a:ext>
                </a:extLst>
              </p:cNvPr>
              <p:cNvSpPr txBox="1"/>
              <p:nvPr/>
            </p:nvSpPr>
            <p:spPr>
              <a:xfrm>
                <a:off x="775499" y="3555761"/>
                <a:ext cx="1721362" cy="10016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1200" dirty="0"/>
                  <a:t>Пожалуйста, </a:t>
                </a:r>
                <a:r>
                  <a:rPr lang="ru-RU" sz="1200" b="1" dirty="0"/>
                  <a:t>всегда предоставляйте нам актуальные списки ваших авторизованных сервисных центров!</a:t>
                </a:r>
                <a:r>
                  <a:rPr lang="ru-RU" sz="1200" dirty="0"/>
                  <a:t> Их адреса и контакты. Это критически важно для скорости решения вопросов и объективности диагностики.</a:t>
                </a:r>
              </a:p>
            </p:txBody>
          </p:sp>
        </p:grpSp>
        <p:grpSp>
          <p:nvGrpSpPr>
            <p:cNvPr id="22" name="Группа 21"/>
            <p:cNvGrpSpPr/>
            <p:nvPr/>
          </p:nvGrpSpPr>
          <p:grpSpPr>
            <a:xfrm>
              <a:off x="576621" y="2269714"/>
              <a:ext cx="2095458" cy="3016900"/>
              <a:chOff x="576621" y="2269714"/>
              <a:chExt cx="2095458" cy="3016900"/>
            </a:xfrm>
          </p:grpSpPr>
          <p:grpSp>
            <p:nvGrpSpPr>
              <p:cNvPr id="23" name="Группа 22">
                <a:extLst>
                  <a:ext uri="{FF2B5EF4-FFF2-40B4-BE49-F238E27FC236}">
                    <a16:creationId xmlns:a16="http://schemas.microsoft.com/office/drawing/2014/main" id="{F4B25B1F-AF17-EE6C-EFAA-7F57F661E991}"/>
                  </a:ext>
                </a:extLst>
              </p:cNvPr>
              <p:cNvGrpSpPr/>
              <p:nvPr/>
            </p:nvGrpSpPr>
            <p:grpSpPr>
              <a:xfrm>
                <a:off x="576621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27" name="Прямоугольник 36">
                  <a:extLst>
                    <a:ext uri="{FF2B5EF4-FFF2-40B4-BE49-F238E27FC236}">
                      <a16:creationId xmlns:a16="http://schemas.microsoft.com/office/drawing/2014/main" id="{1DD3D5EA-E28D-BFAE-0003-6ECED0CD73D5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8" name="Прямая соединительная линия 27">
                  <a:extLst>
                    <a:ext uri="{FF2B5EF4-FFF2-40B4-BE49-F238E27FC236}">
                      <a16:creationId xmlns:a16="http://schemas.microsoft.com/office/drawing/2014/main" id="{F78E17E4-B6EC-FCD1-DE50-9C039168BD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1284489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8AC4CBC6-018A-4466-B0E0-F981F77B298D}"/>
              </a:ext>
            </a:extLst>
          </p:cNvPr>
          <p:cNvGrpSpPr/>
          <p:nvPr/>
        </p:nvGrpSpPr>
        <p:grpSpPr>
          <a:xfrm>
            <a:off x="7976662" y="1851328"/>
            <a:ext cx="424212" cy="399920"/>
            <a:chOff x="6479023" y="1274017"/>
            <a:chExt cx="424212" cy="399920"/>
          </a:xfrm>
          <a:solidFill>
            <a:schemeClr val="tx1"/>
          </a:solidFill>
        </p:grpSpPr>
        <p:sp>
          <p:nvSpPr>
            <p:cNvPr id="32" name="Полилиния: фигура 167">
              <a:extLst>
                <a:ext uri="{FF2B5EF4-FFF2-40B4-BE49-F238E27FC236}">
                  <a16:creationId xmlns:a16="http://schemas.microsoft.com/office/drawing/2014/main" id="{5A21D608-9F08-48E1-B4A1-DBBBAE2FE405}"/>
                </a:ext>
              </a:extLst>
            </p:cNvPr>
            <p:cNvSpPr/>
            <p:nvPr/>
          </p:nvSpPr>
          <p:spPr>
            <a:xfrm>
              <a:off x="6743426" y="1329782"/>
              <a:ext cx="89492" cy="89492"/>
            </a:xfrm>
            <a:custGeom>
              <a:avLst/>
              <a:gdLst>
                <a:gd name="connsiteX0" fmla="*/ 44746 w 89492"/>
                <a:gd name="connsiteY0" fmla="*/ 89493 h 89492"/>
                <a:gd name="connsiteX1" fmla="*/ 89493 w 89492"/>
                <a:gd name="connsiteY1" fmla="*/ 44746 h 89492"/>
                <a:gd name="connsiteX2" fmla="*/ 44746 w 89492"/>
                <a:gd name="connsiteY2" fmla="*/ 0 h 89492"/>
                <a:gd name="connsiteX3" fmla="*/ 44746 w 89492"/>
                <a:gd name="connsiteY3" fmla="*/ 0 h 89492"/>
                <a:gd name="connsiteX4" fmla="*/ 0 w 89492"/>
                <a:gd name="connsiteY4" fmla="*/ 44746 h 89492"/>
                <a:gd name="connsiteX5" fmla="*/ 44746 w 89492"/>
                <a:gd name="connsiteY5" fmla="*/ 89493 h 89492"/>
                <a:gd name="connsiteX6" fmla="*/ 16780 w 89492"/>
                <a:gd name="connsiteY6" fmla="*/ 44746 h 89492"/>
                <a:gd name="connsiteX7" fmla="*/ 44746 w 89492"/>
                <a:gd name="connsiteY7" fmla="*/ 16780 h 89492"/>
                <a:gd name="connsiteX8" fmla="*/ 44746 w 89492"/>
                <a:gd name="connsiteY8" fmla="*/ 16780 h 89492"/>
                <a:gd name="connsiteX9" fmla="*/ 72713 w 89492"/>
                <a:gd name="connsiteY9" fmla="*/ 44746 h 89492"/>
                <a:gd name="connsiteX10" fmla="*/ 44746 w 89492"/>
                <a:gd name="connsiteY10" fmla="*/ 72713 h 89492"/>
                <a:gd name="connsiteX11" fmla="*/ 16780 w 89492"/>
                <a:gd name="connsiteY11" fmla="*/ 44746 h 89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9492" h="89492">
                  <a:moveTo>
                    <a:pt x="44746" y="89493"/>
                  </a:moveTo>
                  <a:cubicBezTo>
                    <a:pt x="69459" y="89493"/>
                    <a:pt x="89493" y="69459"/>
                    <a:pt x="89493" y="44746"/>
                  </a:cubicBezTo>
                  <a:cubicBezTo>
                    <a:pt x="89493" y="20034"/>
                    <a:pt x="69459" y="0"/>
                    <a:pt x="44746" y="0"/>
                  </a:cubicBezTo>
                  <a:lnTo>
                    <a:pt x="44746" y="0"/>
                  </a:lnTo>
                  <a:cubicBezTo>
                    <a:pt x="20034" y="0"/>
                    <a:pt x="0" y="20034"/>
                    <a:pt x="0" y="44746"/>
                  </a:cubicBezTo>
                  <a:cubicBezTo>
                    <a:pt x="0" y="69459"/>
                    <a:pt x="20034" y="89493"/>
                    <a:pt x="44746" y="89493"/>
                  </a:cubicBezTo>
                  <a:close/>
                  <a:moveTo>
                    <a:pt x="16780" y="44746"/>
                  </a:moveTo>
                  <a:cubicBezTo>
                    <a:pt x="16780" y="29301"/>
                    <a:pt x="29301" y="16780"/>
                    <a:pt x="44746" y="16780"/>
                  </a:cubicBezTo>
                  <a:lnTo>
                    <a:pt x="44746" y="16780"/>
                  </a:lnTo>
                  <a:cubicBezTo>
                    <a:pt x="60192" y="16780"/>
                    <a:pt x="72713" y="29301"/>
                    <a:pt x="72713" y="44746"/>
                  </a:cubicBezTo>
                  <a:cubicBezTo>
                    <a:pt x="72713" y="60192"/>
                    <a:pt x="60192" y="72713"/>
                    <a:pt x="44746" y="72713"/>
                  </a:cubicBezTo>
                  <a:cubicBezTo>
                    <a:pt x="29301" y="72713"/>
                    <a:pt x="16780" y="60192"/>
                    <a:pt x="16780" y="44746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Полилиния: фигура 168">
              <a:extLst>
                <a:ext uri="{FF2B5EF4-FFF2-40B4-BE49-F238E27FC236}">
                  <a16:creationId xmlns:a16="http://schemas.microsoft.com/office/drawing/2014/main" id="{A75207C8-EEAF-4004-A371-0C108923CA72}"/>
                </a:ext>
              </a:extLst>
            </p:cNvPr>
            <p:cNvSpPr/>
            <p:nvPr/>
          </p:nvSpPr>
          <p:spPr>
            <a:xfrm>
              <a:off x="6479023" y="1274017"/>
              <a:ext cx="424212" cy="399920"/>
            </a:xfrm>
            <a:custGeom>
              <a:avLst/>
              <a:gdLst>
                <a:gd name="connsiteX0" fmla="*/ 423588 w 424212"/>
                <a:gd name="connsiteY0" fmla="*/ 388287 h 399920"/>
                <a:gd name="connsiteX1" fmla="*/ 357587 w 424212"/>
                <a:gd name="connsiteY1" fmla="*/ 230164 h 399920"/>
                <a:gd name="connsiteX2" fmla="*/ 398697 w 424212"/>
                <a:gd name="connsiteY2" fmla="*/ 166792 h 399920"/>
                <a:gd name="connsiteX3" fmla="*/ 399760 w 424212"/>
                <a:gd name="connsiteY3" fmla="*/ 164219 h 399920"/>
                <a:gd name="connsiteX4" fmla="*/ 414806 w 424212"/>
                <a:gd name="connsiteY4" fmla="*/ 105881 h 399920"/>
                <a:gd name="connsiteX5" fmla="*/ 309261 w 424212"/>
                <a:gd name="connsiteY5" fmla="*/ 0 h 399920"/>
                <a:gd name="connsiteX6" fmla="*/ 309261 w 424212"/>
                <a:gd name="connsiteY6" fmla="*/ 0 h 399920"/>
                <a:gd name="connsiteX7" fmla="*/ 203323 w 424212"/>
                <a:gd name="connsiteY7" fmla="*/ 105601 h 399920"/>
                <a:gd name="connsiteX8" fmla="*/ 218761 w 424212"/>
                <a:gd name="connsiteY8" fmla="*/ 159912 h 399920"/>
                <a:gd name="connsiteX9" fmla="*/ 219264 w 424212"/>
                <a:gd name="connsiteY9" fmla="*/ 160863 h 399920"/>
                <a:gd name="connsiteX10" fmla="*/ 248182 w 424212"/>
                <a:gd name="connsiteY10" fmla="*/ 209749 h 399920"/>
                <a:gd name="connsiteX11" fmla="*/ 82508 w 424212"/>
                <a:gd name="connsiteY11" fmla="*/ 209749 h 399920"/>
                <a:gd name="connsiteX12" fmla="*/ 74790 w 424212"/>
                <a:gd name="connsiteY12" fmla="*/ 214839 h 399920"/>
                <a:gd name="connsiteX13" fmla="*/ 678 w 424212"/>
                <a:gd name="connsiteY13" fmla="*/ 388231 h 399920"/>
                <a:gd name="connsiteX14" fmla="*/ 5092 w 424212"/>
                <a:gd name="connsiteY14" fmla="*/ 399245 h 399920"/>
                <a:gd name="connsiteX15" fmla="*/ 8397 w 424212"/>
                <a:gd name="connsiteY15" fmla="*/ 399921 h 399920"/>
                <a:gd name="connsiteX16" fmla="*/ 415813 w 424212"/>
                <a:gd name="connsiteY16" fmla="*/ 399921 h 399920"/>
                <a:gd name="connsiteX17" fmla="*/ 424212 w 424212"/>
                <a:gd name="connsiteY17" fmla="*/ 391429 h 399920"/>
                <a:gd name="connsiteX18" fmla="*/ 423588 w 424212"/>
                <a:gd name="connsiteY18" fmla="*/ 388287 h 399920"/>
                <a:gd name="connsiteX19" fmla="*/ 233415 w 424212"/>
                <a:gd name="connsiteY19" fmla="*/ 151970 h 399920"/>
                <a:gd name="connsiteX20" fmla="*/ 219880 w 424212"/>
                <a:gd name="connsiteY20" fmla="*/ 105601 h 399920"/>
                <a:gd name="connsiteX21" fmla="*/ 309093 w 424212"/>
                <a:gd name="connsiteY21" fmla="*/ 16780 h 399920"/>
                <a:gd name="connsiteX22" fmla="*/ 309093 w 424212"/>
                <a:gd name="connsiteY22" fmla="*/ 16780 h 399920"/>
                <a:gd name="connsiteX23" fmla="*/ 398026 w 424212"/>
                <a:gd name="connsiteY23" fmla="*/ 105601 h 399920"/>
                <a:gd name="connsiteX24" fmla="*/ 398026 w 424212"/>
                <a:gd name="connsiteY24" fmla="*/ 105881 h 399920"/>
                <a:gd name="connsiteX25" fmla="*/ 398026 w 424212"/>
                <a:gd name="connsiteY25" fmla="*/ 105881 h 399920"/>
                <a:gd name="connsiteX26" fmla="*/ 383875 w 424212"/>
                <a:gd name="connsiteY26" fmla="*/ 158570 h 399920"/>
                <a:gd name="connsiteX27" fmla="*/ 383875 w 424212"/>
                <a:gd name="connsiteY27" fmla="*/ 159129 h 399920"/>
                <a:gd name="connsiteX28" fmla="*/ 307415 w 424212"/>
                <a:gd name="connsiteY28" fmla="*/ 276868 h 399920"/>
                <a:gd name="connsiteX29" fmla="*/ 234702 w 424212"/>
                <a:gd name="connsiteY29" fmla="*/ 153816 h 399920"/>
                <a:gd name="connsiteX30" fmla="*/ 233639 w 424212"/>
                <a:gd name="connsiteY30" fmla="*/ 151970 h 399920"/>
                <a:gd name="connsiteX31" fmla="*/ 88046 w 424212"/>
                <a:gd name="connsiteY31" fmla="*/ 226529 h 399920"/>
                <a:gd name="connsiteX32" fmla="*/ 106559 w 424212"/>
                <a:gd name="connsiteY32" fmla="*/ 226529 h 399920"/>
                <a:gd name="connsiteX33" fmla="*/ 137043 w 424212"/>
                <a:gd name="connsiteY33" fmla="*/ 255893 h 399920"/>
                <a:gd name="connsiteX34" fmla="*/ 151306 w 424212"/>
                <a:gd name="connsiteY34" fmla="*/ 264563 h 399920"/>
                <a:gd name="connsiteX35" fmla="*/ 146048 w 424212"/>
                <a:gd name="connsiteY35" fmla="*/ 281343 h 399920"/>
                <a:gd name="connsiteX36" fmla="*/ 137602 w 424212"/>
                <a:gd name="connsiteY36" fmla="*/ 314903 h 399920"/>
                <a:gd name="connsiteX37" fmla="*/ 231905 w 424212"/>
                <a:gd name="connsiteY37" fmla="*/ 346673 h 399920"/>
                <a:gd name="connsiteX38" fmla="*/ 251258 w 424212"/>
                <a:gd name="connsiteY38" fmla="*/ 348854 h 399920"/>
                <a:gd name="connsiteX39" fmla="*/ 299696 w 424212"/>
                <a:gd name="connsiteY39" fmla="*/ 383253 h 399920"/>
                <a:gd name="connsiteX40" fmla="*/ 21094 w 424212"/>
                <a:gd name="connsiteY40" fmla="*/ 383253 h 399920"/>
                <a:gd name="connsiteX41" fmla="*/ 317371 w 424212"/>
                <a:gd name="connsiteY41" fmla="*/ 383141 h 399920"/>
                <a:gd name="connsiteX42" fmla="*/ 254167 w 424212"/>
                <a:gd name="connsiteY42" fmla="*/ 332186 h 399920"/>
                <a:gd name="connsiteX43" fmla="*/ 233639 w 424212"/>
                <a:gd name="connsiteY43" fmla="*/ 329837 h 399920"/>
                <a:gd name="connsiteX44" fmla="*/ 153431 w 424212"/>
                <a:gd name="connsiteY44" fmla="*/ 308918 h 399920"/>
                <a:gd name="connsiteX45" fmla="*/ 159808 w 424212"/>
                <a:gd name="connsiteY45" fmla="*/ 291243 h 399920"/>
                <a:gd name="connsiteX46" fmla="*/ 165904 w 424212"/>
                <a:gd name="connsiteY46" fmla="*/ 256061 h 399920"/>
                <a:gd name="connsiteX47" fmla="*/ 143531 w 424212"/>
                <a:gd name="connsiteY47" fmla="*/ 240512 h 399920"/>
                <a:gd name="connsiteX48" fmla="*/ 123731 w 424212"/>
                <a:gd name="connsiteY48" fmla="*/ 226529 h 399920"/>
                <a:gd name="connsiteX49" fmla="*/ 254782 w 424212"/>
                <a:gd name="connsiteY49" fmla="*/ 226529 h 399920"/>
                <a:gd name="connsiteX50" fmla="*/ 257802 w 424212"/>
                <a:gd name="connsiteY50" fmla="*/ 225969 h 399920"/>
                <a:gd name="connsiteX51" fmla="*/ 299864 w 424212"/>
                <a:gd name="connsiteY51" fmla="*/ 296948 h 399920"/>
                <a:gd name="connsiteX52" fmla="*/ 306911 w 424212"/>
                <a:gd name="connsiteY52" fmla="*/ 301087 h 399920"/>
                <a:gd name="connsiteX53" fmla="*/ 306911 w 424212"/>
                <a:gd name="connsiteY53" fmla="*/ 301087 h 399920"/>
                <a:gd name="connsiteX54" fmla="*/ 313959 w 424212"/>
                <a:gd name="connsiteY54" fmla="*/ 297228 h 399920"/>
                <a:gd name="connsiteX55" fmla="*/ 346400 w 424212"/>
                <a:gd name="connsiteY55" fmla="*/ 247224 h 399920"/>
                <a:gd name="connsiteX56" fmla="*/ 403004 w 424212"/>
                <a:gd name="connsiteY56" fmla="*/ 383141 h 39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4212" h="399920">
                  <a:moveTo>
                    <a:pt x="423588" y="388287"/>
                  </a:moveTo>
                  <a:lnTo>
                    <a:pt x="357587" y="230164"/>
                  </a:lnTo>
                  <a:lnTo>
                    <a:pt x="398697" y="166792"/>
                  </a:lnTo>
                  <a:cubicBezTo>
                    <a:pt x="399179" y="165993"/>
                    <a:pt x="399537" y="165125"/>
                    <a:pt x="399760" y="164219"/>
                  </a:cubicBezTo>
                  <a:cubicBezTo>
                    <a:pt x="409131" y="146165"/>
                    <a:pt x="414276" y="126216"/>
                    <a:pt x="414806" y="105881"/>
                  </a:cubicBezTo>
                  <a:cubicBezTo>
                    <a:pt x="414899" y="47497"/>
                    <a:pt x="367645" y="93"/>
                    <a:pt x="309261" y="0"/>
                  </a:cubicBezTo>
                  <a:lnTo>
                    <a:pt x="309261" y="0"/>
                  </a:lnTo>
                  <a:cubicBezTo>
                    <a:pt x="250871" y="-31"/>
                    <a:pt x="203478" y="47212"/>
                    <a:pt x="203323" y="105601"/>
                  </a:cubicBezTo>
                  <a:cubicBezTo>
                    <a:pt x="203184" y="124807"/>
                    <a:pt x="208540" y="143652"/>
                    <a:pt x="218761" y="159912"/>
                  </a:cubicBezTo>
                  <a:cubicBezTo>
                    <a:pt x="218873" y="160256"/>
                    <a:pt x="219043" y="160578"/>
                    <a:pt x="219264" y="160863"/>
                  </a:cubicBezTo>
                  <a:lnTo>
                    <a:pt x="248182" y="209749"/>
                  </a:lnTo>
                  <a:lnTo>
                    <a:pt x="82508" y="209749"/>
                  </a:lnTo>
                  <a:cubicBezTo>
                    <a:pt x="79153" y="209762"/>
                    <a:pt x="76123" y="211759"/>
                    <a:pt x="74790" y="214839"/>
                  </a:cubicBezTo>
                  <a:lnTo>
                    <a:pt x="678" y="388231"/>
                  </a:lnTo>
                  <a:cubicBezTo>
                    <a:pt x="-1144" y="392491"/>
                    <a:pt x="832" y="397422"/>
                    <a:pt x="5092" y="399245"/>
                  </a:cubicBezTo>
                  <a:cubicBezTo>
                    <a:pt x="6136" y="399691"/>
                    <a:pt x="7261" y="399921"/>
                    <a:pt x="8397" y="399921"/>
                  </a:cubicBezTo>
                  <a:lnTo>
                    <a:pt x="415813" y="399921"/>
                  </a:lnTo>
                  <a:cubicBezTo>
                    <a:pt x="420477" y="399895"/>
                    <a:pt x="424238" y="396093"/>
                    <a:pt x="424212" y="391429"/>
                  </a:cubicBezTo>
                  <a:cubicBezTo>
                    <a:pt x="424206" y="390351"/>
                    <a:pt x="423994" y="389285"/>
                    <a:pt x="423588" y="388287"/>
                  </a:cubicBezTo>
                  <a:close/>
                  <a:moveTo>
                    <a:pt x="233415" y="151970"/>
                  </a:moveTo>
                  <a:cubicBezTo>
                    <a:pt x="224456" y="138175"/>
                    <a:pt x="219749" y="122050"/>
                    <a:pt x="219880" y="105601"/>
                  </a:cubicBezTo>
                  <a:cubicBezTo>
                    <a:pt x="220034" y="56458"/>
                    <a:pt x="259949" y="16718"/>
                    <a:pt x="309093" y="16780"/>
                  </a:cubicBezTo>
                  <a:lnTo>
                    <a:pt x="309093" y="16780"/>
                  </a:lnTo>
                  <a:cubicBezTo>
                    <a:pt x="358178" y="16749"/>
                    <a:pt x="397995" y="56515"/>
                    <a:pt x="398026" y="105601"/>
                  </a:cubicBezTo>
                  <a:cubicBezTo>
                    <a:pt x="398027" y="105694"/>
                    <a:pt x="398026" y="105788"/>
                    <a:pt x="398026" y="105881"/>
                  </a:cubicBezTo>
                  <a:lnTo>
                    <a:pt x="398026" y="105881"/>
                  </a:lnTo>
                  <a:cubicBezTo>
                    <a:pt x="398026" y="121990"/>
                    <a:pt x="393775" y="137763"/>
                    <a:pt x="383875" y="158570"/>
                  </a:cubicBezTo>
                  <a:lnTo>
                    <a:pt x="383875" y="159129"/>
                  </a:lnTo>
                  <a:lnTo>
                    <a:pt x="307415" y="276868"/>
                  </a:lnTo>
                  <a:lnTo>
                    <a:pt x="234702" y="153816"/>
                  </a:lnTo>
                  <a:cubicBezTo>
                    <a:pt x="234404" y="153170"/>
                    <a:pt x="234049" y="152552"/>
                    <a:pt x="233639" y="151970"/>
                  </a:cubicBezTo>
                  <a:close/>
                  <a:moveTo>
                    <a:pt x="88046" y="226529"/>
                  </a:moveTo>
                  <a:lnTo>
                    <a:pt x="106559" y="226529"/>
                  </a:lnTo>
                  <a:cubicBezTo>
                    <a:pt x="109580" y="243812"/>
                    <a:pt x="125241" y="250748"/>
                    <a:pt x="137043" y="255893"/>
                  </a:cubicBezTo>
                  <a:cubicBezTo>
                    <a:pt x="142415" y="257617"/>
                    <a:pt x="147302" y="260588"/>
                    <a:pt x="151306" y="264563"/>
                  </a:cubicBezTo>
                  <a:cubicBezTo>
                    <a:pt x="154047" y="269205"/>
                    <a:pt x="152648" y="272338"/>
                    <a:pt x="146048" y="281343"/>
                  </a:cubicBezTo>
                  <a:cubicBezTo>
                    <a:pt x="140455" y="289397"/>
                    <a:pt x="132233" y="300472"/>
                    <a:pt x="137602" y="314903"/>
                  </a:cubicBezTo>
                  <a:cubicBezTo>
                    <a:pt x="145768" y="336605"/>
                    <a:pt x="186879" y="342310"/>
                    <a:pt x="231905" y="346673"/>
                  </a:cubicBezTo>
                  <a:cubicBezTo>
                    <a:pt x="239960" y="347400"/>
                    <a:pt x="246895" y="348071"/>
                    <a:pt x="251258" y="348854"/>
                  </a:cubicBezTo>
                  <a:cubicBezTo>
                    <a:pt x="284818" y="354447"/>
                    <a:pt x="296004" y="373409"/>
                    <a:pt x="299696" y="383253"/>
                  </a:cubicBezTo>
                  <a:lnTo>
                    <a:pt x="21094" y="383253"/>
                  </a:lnTo>
                  <a:close/>
                  <a:moveTo>
                    <a:pt x="317371" y="383141"/>
                  </a:moveTo>
                  <a:cubicBezTo>
                    <a:pt x="314518" y="371954"/>
                    <a:pt x="302493" y="340352"/>
                    <a:pt x="254167" y="332186"/>
                  </a:cubicBezTo>
                  <a:cubicBezTo>
                    <a:pt x="249244" y="331347"/>
                    <a:pt x="242029" y="330620"/>
                    <a:pt x="233639" y="329837"/>
                  </a:cubicBezTo>
                  <a:cubicBezTo>
                    <a:pt x="211266" y="327655"/>
                    <a:pt x="158577" y="322565"/>
                    <a:pt x="153431" y="308918"/>
                  </a:cubicBezTo>
                  <a:cubicBezTo>
                    <a:pt x="151474" y="303660"/>
                    <a:pt x="153823" y="299465"/>
                    <a:pt x="159808" y="291243"/>
                  </a:cubicBezTo>
                  <a:cubicBezTo>
                    <a:pt x="165792" y="283021"/>
                    <a:pt x="174518" y="270827"/>
                    <a:pt x="165904" y="256061"/>
                  </a:cubicBezTo>
                  <a:cubicBezTo>
                    <a:pt x="161262" y="248231"/>
                    <a:pt x="152313" y="244259"/>
                    <a:pt x="143531" y="240512"/>
                  </a:cubicBezTo>
                  <a:cubicBezTo>
                    <a:pt x="132345" y="235758"/>
                    <a:pt x="126192" y="232290"/>
                    <a:pt x="123731" y="226529"/>
                  </a:cubicBezTo>
                  <a:lnTo>
                    <a:pt x="254782" y="226529"/>
                  </a:lnTo>
                  <a:cubicBezTo>
                    <a:pt x="255813" y="226515"/>
                    <a:pt x="256835" y="226326"/>
                    <a:pt x="257802" y="225969"/>
                  </a:cubicBezTo>
                  <a:lnTo>
                    <a:pt x="299864" y="296948"/>
                  </a:lnTo>
                  <a:cubicBezTo>
                    <a:pt x="301344" y="299448"/>
                    <a:pt x="304007" y="301012"/>
                    <a:pt x="306911" y="301087"/>
                  </a:cubicBezTo>
                  <a:lnTo>
                    <a:pt x="306911" y="301087"/>
                  </a:lnTo>
                  <a:cubicBezTo>
                    <a:pt x="309767" y="301093"/>
                    <a:pt x="312426" y="299637"/>
                    <a:pt x="313959" y="297228"/>
                  </a:cubicBezTo>
                  <a:lnTo>
                    <a:pt x="346400" y="247224"/>
                  </a:lnTo>
                  <a:lnTo>
                    <a:pt x="403004" y="383141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0053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338554"/>
          </a:xfrm>
        </p:spPr>
        <p:txBody>
          <a:bodyPr/>
          <a:lstStyle/>
          <a:p>
            <a:r>
              <a:rPr lang="ru-RU" dirty="0" smtClean="0"/>
              <a:t>Заключение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89</a:t>
            </a:fld>
            <a:endParaRPr lang="en-US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71499" y="1917234"/>
            <a:ext cx="1072561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одводя итог, хочу сказать, что вся наша работа – от обнаружения брака до отправки вам письма – направлена на одно: </a:t>
            </a:r>
            <a:r>
              <a:rPr lang="ru-RU" b="1" dirty="0"/>
              <a:t>на улучшение качества товаров и уровня сервиса для наших общих покупателей</a:t>
            </a:r>
            <a:r>
              <a:rPr lang="ru-RU" dirty="0"/>
              <a:t>. </a:t>
            </a:r>
          </a:p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Мы </a:t>
            </a:r>
            <a:r>
              <a:rPr lang="ru-RU" dirty="0"/>
              <a:t>хотим </a:t>
            </a:r>
            <a:r>
              <a:rPr lang="ru-RU" b="1" dirty="0"/>
              <a:t>видеть в вас партнеров</a:t>
            </a:r>
            <a:r>
              <a:rPr lang="ru-RU" dirty="0"/>
              <a:t> и вместе решать возникающие проблемы. </a:t>
            </a:r>
          </a:p>
          <a:p>
            <a:r>
              <a:rPr lang="ru-RU" dirty="0"/>
              <a:t>Ваша оперативная реакция, готовность к диалогу и, конечно, актуальные контакты ваших СЦ – это залог нашего быстрого и эффективного сотрудничества. </a:t>
            </a:r>
            <a:endParaRPr lang="ru-RU" dirty="0" smtClean="0"/>
          </a:p>
        </p:txBody>
      </p:sp>
      <p:grpSp>
        <p:nvGrpSpPr>
          <p:cNvPr id="6" name="Рисунок 18">
            <a:extLst>
              <a:ext uri="{FF2B5EF4-FFF2-40B4-BE49-F238E27FC236}">
                <a16:creationId xmlns:a16="http://schemas.microsoft.com/office/drawing/2014/main" id="{8C8C6BBB-119D-4CBD-8E9E-BD4CD7A0464B}"/>
              </a:ext>
            </a:extLst>
          </p:cNvPr>
          <p:cNvGrpSpPr/>
          <p:nvPr/>
        </p:nvGrpSpPr>
        <p:grpSpPr>
          <a:xfrm>
            <a:off x="571499" y="844331"/>
            <a:ext cx="1260232" cy="858360"/>
            <a:chOff x="11092190" y="2394672"/>
            <a:chExt cx="496621" cy="359855"/>
          </a:xfrm>
          <a:solidFill>
            <a:schemeClr val="tx1"/>
          </a:solidFill>
        </p:grpSpPr>
        <p:sp>
          <p:nvSpPr>
            <p:cNvPr id="7" name="Полилиния: фигура 99">
              <a:extLst>
                <a:ext uri="{FF2B5EF4-FFF2-40B4-BE49-F238E27FC236}">
                  <a16:creationId xmlns:a16="http://schemas.microsoft.com/office/drawing/2014/main" id="{52330F9E-761A-451E-8725-105925B2769D}"/>
                </a:ext>
              </a:extLst>
            </p:cNvPr>
            <p:cNvSpPr/>
            <p:nvPr/>
          </p:nvSpPr>
          <p:spPr>
            <a:xfrm>
              <a:off x="11421540" y="2425178"/>
              <a:ext cx="67790" cy="67790"/>
            </a:xfrm>
            <a:custGeom>
              <a:avLst/>
              <a:gdLst>
                <a:gd name="connsiteX0" fmla="*/ 33895 w 67790"/>
                <a:gd name="connsiteY0" fmla="*/ 67791 h 67790"/>
                <a:gd name="connsiteX1" fmla="*/ 67791 w 67790"/>
                <a:gd name="connsiteY1" fmla="*/ 33895 h 67790"/>
                <a:gd name="connsiteX2" fmla="*/ 33895 w 67790"/>
                <a:gd name="connsiteY2" fmla="*/ 0 h 67790"/>
                <a:gd name="connsiteX3" fmla="*/ 0 w 67790"/>
                <a:gd name="connsiteY3" fmla="*/ 33895 h 67790"/>
                <a:gd name="connsiteX4" fmla="*/ 33895 w 67790"/>
                <a:gd name="connsiteY4" fmla="*/ 67791 h 67790"/>
                <a:gd name="connsiteX5" fmla="*/ 33895 w 67790"/>
                <a:gd name="connsiteY5" fmla="*/ 16383 h 67790"/>
                <a:gd name="connsiteX6" fmla="*/ 50843 w 67790"/>
                <a:gd name="connsiteY6" fmla="*/ 33330 h 67790"/>
                <a:gd name="connsiteX7" fmla="*/ 33895 w 67790"/>
                <a:gd name="connsiteY7" fmla="*/ 50278 h 67790"/>
                <a:gd name="connsiteX8" fmla="*/ 16948 w 67790"/>
                <a:gd name="connsiteY8" fmla="*/ 33330 h 67790"/>
                <a:gd name="connsiteX9" fmla="*/ 33895 w 67790"/>
                <a:gd name="connsiteY9" fmla="*/ 16383 h 67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790" h="67790">
                  <a:moveTo>
                    <a:pt x="33895" y="67791"/>
                  </a:moveTo>
                  <a:cubicBezTo>
                    <a:pt x="52538" y="67791"/>
                    <a:pt x="67791" y="52538"/>
                    <a:pt x="67791" y="33895"/>
                  </a:cubicBezTo>
                  <a:cubicBezTo>
                    <a:pt x="67791" y="15253"/>
                    <a:pt x="52538" y="0"/>
                    <a:pt x="33895" y="0"/>
                  </a:cubicBezTo>
                  <a:cubicBezTo>
                    <a:pt x="15253" y="0"/>
                    <a:pt x="0" y="15253"/>
                    <a:pt x="0" y="33895"/>
                  </a:cubicBezTo>
                  <a:cubicBezTo>
                    <a:pt x="0" y="52538"/>
                    <a:pt x="15253" y="67791"/>
                    <a:pt x="33895" y="67791"/>
                  </a:cubicBezTo>
                  <a:close/>
                  <a:moveTo>
                    <a:pt x="33895" y="16383"/>
                  </a:moveTo>
                  <a:cubicBezTo>
                    <a:pt x="43499" y="16383"/>
                    <a:pt x="50843" y="24292"/>
                    <a:pt x="50843" y="33330"/>
                  </a:cubicBezTo>
                  <a:cubicBezTo>
                    <a:pt x="50843" y="42934"/>
                    <a:pt x="42934" y="50278"/>
                    <a:pt x="33895" y="50278"/>
                  </a:cubicBezTo>
                  <a:cubicBezTo>
                    <a:pt x="24857" y="50278"/>
                    <a:pt x="16948" y="42369"/>
                    <a:pt x="16948" y="33330"/>
                  </a:cubicBezTo>
                  <a:cubicBezTo>
                    <a:pt x="16948" y="24292"/>
                    <a:pt x="24857" y="16383"/>
                    <a:pt x="33895" y="1638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: фигура 100">
              <a:extLst>
                <a:ext uri="{FF2B5EF4-FFF2-40B4-BE49-F238E27FC236}">
                  <a16:creationId xmlns:a16="http://schemas.microsoft.com/office/drawing/2014/main" id="{9A6D5EB6-834B-4A6A-AFD7-7052E3B001D1}"/>
                </a:ext>
              </a:extLst>
            </p:cNvPr>
            <p:cNvSpPr/>
            <p:nvPr/>
          </p:nvSpPr>
          <p:spPr>
            <a:xfrm>
              <a:off x="11421540" y="2570928"/>
              <a:ext cx="67790" cy="67790"/>
            </a:xfrm>
            <a:custGeom>
              <a:avLst/>
              <a:gdLst>
                <a:gd name="connsiteX0" fmla="*/ 33895 w 67790"/>
                <a:gd name="connsiteY0" fmla="*/ 0 h 67790"/>
                <a:gd name="connsiteX1" fmla="*/ 0 w 67790"/>
                <a:gd name="connsiteY1" fmla="*/ 33895 h 67790"/>
                <a:gd name="connsiteX2" fmla="*/ 33895 w 67790"/>
                <a:gd name="connsiteY2" fmla="*/ 67791 h 67790"/>
                <a:gd name="connsiteX3" fmla="*/ 67791 w 67790"/>
                <a:gd name="connsiteY3" fmla="*/ 33895 h 67790"/>
                <a:gd name="connsiteX4" fmla="*/ 33895 w 67790"/>
                <a:gd name="connsiteY4" fmla="*/ 0 h 67790"/>
                <a:gd name="connsiteX5" fmla="*/ 33895 w 67790"/>
                <a:gd name="connsiteY5" fmla="*/ 51408 h 67790"/>
                <a:gd name="connsiteX6" fmla="*/ 16948 w 67790"/>
                <a:gd name="connsiteY6" fmla="*/ 34460 h 67790"/>
                <a:gd name="connsiteX7" fmla="*/ 33895 w 67790"/>
                <a:gd name="connsiteY7" fmla="*/ 17513 h 67790"/>
                <a:gd name="connsiteX8" fmla="*/ 50843 w 67790"/>
                <a:gd name="connsiteY8" fmla="*/ 34460 h 67790"/>
                <a:gd name="connsiteX9" fmla="*/ 33895 w 67790"/>
                <a:gd name="connsiteY9" fmla="*/ 51408 h 67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790" h="67790">
                  <a:moveTo>
                    <a:pt x="33895" y="0"/>
                  </a:moveTo>
                  <a:cubicBezTo>
                    <a:pt x="15253" y="0"/>
                    <a:pt x="0" y="15253"/>
                    <a:pt x="0" y="33895"/>
                  </a:cubicBezTo>
                  <a:cubicBezTo>
                    <a:pt x="0" y="52538"/>
                    <a:pt x="15253" y="67791"/>
                    <a:pt x="33895" y="67791"/>
                  </a:cubicBezTo>
                  <a:cubicBezTo>
                    <a:pt x="52538" y="67791"/>
                    <a:pt x="67791" y="52538"/>
                    <a:pt x="67791" y="33895"/>
                  </a:cubicBezTo>
                  <a:cubicBezTo>
                    <a:pt x="67791" y="15253"/>
                    <a:pt x="52538" y="0"/>
                    <a:pt x="33895" y="0"/>
                  </a:cubicBezTo>
                  <a:close/>
                  <a:moveTo>
                    <a:pt x="33895" y="51408"/>
                  </a:moveTo>
                  <a:cubicBezTo>
                    <a:pt x="24292" y="51408"/>
                    <a:pt x="16948" y="43499"/>
                    <a:pt x="16948" y="34460"/>
                  </a:cubicBezTo>
                  <a:cubicBezTo>
                    <a:pt x="16948" y="25422"/>
                    <a:pt x="24857" y="17513"/>
                    <a:pt x="33895" y="17513"/>
                  </a:cubicBezTo>
                  <a:cubicBezTo>
                    <a:pt x="42934" y="17513"/>
                    <a:pt x="50843" y="25422"/>
                    <a:pt x="50843" y="34460"/>
                  </a:cubicBezTo>
                  <a:cubicBezTo>
                    <a:pt x="50843" y="43499"/>
                    <a:pt x="43499" y="51408"/>
                    <a:pt x="33895" y="5140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: фигура 101">
              <a:extLst>
                <a:ext uri="{FF2B5EF4-FFF2-40B4-BE49-F238E27FC236}">
                  <a16:creationId xmlns:a16="http://schemas.microsoft.com/office/drawing/2014/main" id="{643973DD-EC7D-44FE-A49A-39BB28319AE2}"/>
                </a:ext>
              </a:extLst>
            </p:cNvPr>
            <p:cNvSpPr/>
            <p:nvPr/>
          </p:nvSpPr>
          <p:spPr>
            <a:xfrm>
              <a:off x="11209694" y="2442691"/>
              <a:ext cx="89257" cy="89257"/>
            </a:xfrm>
            <a:custGeom>
              <a:avLst/>
              <a:gdLst>
                <a:gd name="connsiteX0" fmla="*/ 44629 w 89257"/>
                <a:gd name="connsiteY0" fmla="*/ 89258 h 89257"/>
                <a:gd name="connsiteX1" fmla="*/ 89258 w 89257"/>
                <a:gd name="connsiteY1" fmla="*/ 44629 h 89257"/>
                <a:gd name="connsiteX2" fmla="*/ 44629 w 89257"/>
                <a:gd name="connsiteY2" fmla="*/ 0 h 89257"/>
                <a:gd name="connsiteX3" fmla="*/ 0 w 89257"/>
                <a:gd name="connsiteY3" fmla="*/ 44629 h 89257"/>
                <a:gd name="connsiteX4" fmla="*/ 44629 w 89257"/>
                <a:gd name="connsiteY4" fmla="*/ 89258 h 89257"/>
                <a:gd name="connsiteX5" fmla="*/ 44629 w 89257"/>
                <a:gd name="connsiteY5" fmla="*/ 16948 h 89257"/>
                <a:gd name="connsiteX6" fmla="*/ 72310 w 89257"/>
                <a:gd name="connsiteY6" fmla="*/ 44629 h 89257"/>
                <a:gd name="connsiteX7" fmla="*/ 44629 w 89257"/>
                <a:gd name="connsiteY7" fmla="*/ 72310 h 89257"/>
                <a:gd name="connsiteX8" fmla="*/ 16948 w 89257"/>
                <a:gd name="connsiteY8" fmla="*/ 44629 h 89257"/>
                <a:gd name="connsiteX9" fmla="*/ 44629 w 89257"/>
                <a:gd name="connsiteY9" fmla="*/ 16948 h 8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57" h="89257">
                  <a:moveTo>
                    <a:pt x="44629" y="89258"/>
                  </a:moveTo>
                  <a:cubicBezTo>
                    <a:pt x="68921" y="89258"/>
                    <a:pt x="89258" y="69486"/>
                    <a:pt x="89258" y="44629"/>
                  </a:cubicBezTo>
                  <a:cubicBezTo>
                    <a:pt x="89258" y="19772"/>
                    <a:pt x="69486" y="0"/>
                    <a:pt x="44629" y="0"/>
                  </a:cubicBezTo>
                  <a:cubicBezTo>
                    <a:pt x="19772" y="0"/>
                    <a:pt x="0" y="19772"/>
                    <a:pt x="0" y="44629"/>
                  </a:cubicBezTo>
                  <a:cubicBezTo>
                    <a:pt x="0" y="69486"/>
                    <a:pt x="19772" y="89258"/>
                    <a:pt x="44629" y="89258"/>
                  </a:cubicBezTo>
                  <a:close/>
                  <a:moveTo>
                    <a:pt x="44629" y="16948"/>
                  </a:moveTo>
                  <a:cubicBezTo>
                    <a:pt x="59882" y="16948"/>
                    <a:pt x="72310" y="29376"/>
                    <a:pt x="72310" y="44629"/>
                  </a:cubicBezTo>
                  <a:cubicBezTo>
                    <a:pt x="72310" y="59882"/>
                    <a:pt x="59882" y="72310"/>
                    <a:pt x="44629" y="72310"/>
                  </a:cubicBezTo>
                  <a:cubicBezTo>
                    <a:pt x="29376" y="72310"/>
                    <a:pt x="16948" y="59882"/>
                    <a:pt x="16948" y="44629"/>
                  </a:cubicBezTo>
                  <a:cubicBezTo>
                    <a:pt x="16948" y="29376"/>
                    <a:pt x="29376" y="16948"/>
                    <a:pt x="44629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: фигура 102">
              <a:extLst>
                <a:ext uri="{FF2B5EF4-FFF2-40B4-BE49-F238E27FC236}">
                  <a16:creationId xmlns:a16="http://schemas.microsoft.com/office/drawing/2014/main" id="{0FE01AE4-DAB4-4214-9F7E-BB4A62A45ED4}"/>
                </a:ext>
              </a:extLst>
            </p:cNvPr>
            <p:cNvSpPr/>
            <p:nvPr/>
          </p:nvSpPr>
          <p:spPr>
            <a:xfrm>
              <a:off x="11092190" y="2394672"/>
              <a:ext cx="496621" cy="359855"/>
            </a:xfrm>
            <a:custGeom>
              <a:avLst/>
              <a:gdLst>
                <a:gd name="connsiteX0" fmla="*/ 488658 w 496621"/>
                <a:gd name="connsiteY0" fmla="*/ 292630 h 359855"/>
                <a:gd name="connsiteX1" fmla="*/ 458718 w 496621"/>
                <a:gd name="connsiteY1" fmla="*/ 292630 h 359855"/>
                <a:gd name="connsiteX2" fmla="*/ 458718 w 496621"/>
                <a:gd name="connsiteY2" fmla="*/ 8474 h 359855"/>
                <a:gd name="connsiteX3" fmla="*/ 450244 w 496621"/>
                <a:gd name="connsiteY3" fmla="*/ 0 h 359855"/>
                <a:gd name="connsiteX4" fmla="*/ 47454 w 496621"/>
                <a:gd name="connsiteY4" fmla="*/ 0 h 359855"/>
                <a:gd name="connsiteX5" fmla="*/ 38980 w 496621"/>
                <a:gd name="connsiteY5" fmla="*/ 8474 h 359855"/>
                <a:gd name="connsiteX6" fmla="*/ 38980 w 496621"/>
                <a:gd name="connsiteY6" fmla="*/ 293195 h 359855"/>
                <a:gd name="connsiteX7" fmla="*/ 8474 w 496621"/>
                <a:gd name="connsiteY7" fmla="*/ 293195 h 359855"/>
                <a:gd name="connsiteX8" fmla="*/ 0 w 496621"/>
                <a:gd name="connsiteY8" fmla="*/ 301669 h 359855"/>
                <a:gd name="connsiteX9" fmla="*/ 0 w 496621"/>
                <a:gd name="connsiteY9" fmla="*/ 351382 h 359855"/>
                <a:gd name="connsiteX10" fmla="*/ 8474 w 496621"/>
                <a:gd name="connsiteY10" fmla="*/ 359856 h 359855"/>
                <a:gd name="connsiteX11" fmla="*/ 488093 w 496621"/>
                <a:gd name="connsiteY11" fmla="*/ 359856 h 359855"/>
                <a:gd name="connsiteX12" fmla="*/ 496567 w 496621"/>
                <a:gd name="connsiteY12" fmla="*/ 351382 h 359855"/>
                <a:gd name="connsiteX13" fmla="*/ 496567 w 496621"/>
                <a:gd name="connsiteY13" fmla="*/ 301669 h 359855"/>
                <a:gd name="connsiteX14" fmla="*/ 488658 w 496621"/>
                <a:gd name="connsiteY14" fmla="*/ 292630 h 359855"/>
                <a:gd name="connsiteX15" fmla="*/ 418043 w 496621"/>
                <a:gd name="connsiteY15" fmla="*/ 292630 h 359855"/>
                <a:gd name="connsiteX16" fmla="*/ 363810 w 496621"/>
                <a:gd name="connsiteY16" fmla="*/ 246871 h 359855"/>
                <a:gd name="connsiteX17" fmla="*/ 309578 w 496621"/>
                <a:gd name="connsiteY17" fmla="*/ 292630 h 359855"/>
                <a:gd name="connsiteX18" fmla="*/ 285851 w 496621"/>
                <a:gd name="connsiteY18" fmla="*/ 292630 h 359855"/>
                <a:gd name="connsiteX19" fmla="*/ 285851 w 496621"/>
                <a:gd name="connsiteY19" fmla="*/ 163263 h 359855"/>
                <a:gd name="connsiteX20" fmla="*/ 317487 w 496621"/>
                <a:gd name="connsiteY20" fmla="*/ 163263 h 359855"/>
                <a:gd name="connsiteX21" fmla="*/ 318052 w 496621"/>
                <a:gd name="connsiteY21" fmla="*/ 163263 h 359855"/>
                <a:gd name="connsiteX22" fmla="*/ 410134 w 496621"/>
                <a:gd name="connsiteY22" fmla="*/ 163263 h 359855"/>
                <a:gd name="connsiteX23" fmla="*/ 410699 w 496621"/>
                <a:gd name="connsiteY23" fmla="*/ 163263 h 359855"/>
                <a:gd name="connsiteX24" fmla="*/ 441770 w 496621"/>
                <a:gd name="connsiteY24" fmla="*/ 163263 h 359855"/>
                <a:gd name="connsiteX25" fmla="*/ 441770 w 496621"/>
                <a:gd name="connsiteY25" fmla="*/ 292630 h 359855"/>
                <a:gd name="connsiteX26" fmla="*/ 418043 w 496621"/>
                <a:gd name="connsiteY26" fmla="*/ 292630 h 359855"/>
                <a:gd name="connsiteX27" fmla="*/ 400530 w 496621"/>
                <a:gd name="connsiteY27" fmla="*/ 292630 h 359855"/>
                <a:gd name="connsiteX28" fmla="*/ 325961 w 496621"/>
                <a:gd name="connsiteY28" fmla="*/ 292630 h 359855"/>
                <a:gd name="connsiteX29" fmla="*/ 363246 w 496621"/>
                <a:gd name="connsiteY29" fmla="*/ 263819 h 359855"/>
                <a:gd name="connsiteX30" fmla="*/ 400530 w 496621"/>
                <a:gd name="connsiteY30" fmla="*/ 292630 h 359855"/>
                <a:gd name="connsiteX31" fmla="*/ 325961 w 496621"/>
                <a:gd name="connsiteY31" fmla="*/ 146315 h 359855"/>
                <a:gd name="connsiteX32" fmla="*/ 363246 w 496621"/>
                <a:gd name="connsiteY32" fmla="*/ 117504 h 359855"/>
                <a:gd name="connsiteX33" fmla="*/ 400530 w 496621"/>
                <a:gd name="connsiteY33" fmla="*/ 146315 h 359855"/>
                <a:gd name="connsiteX34" fmla="*/ 325961 w 496621"/>
                <a:gd name="connsiteY34" fmla="*/ 146315 h 359855"/>
                <a:gd name="connsiteX35" fmla="*/ 441205 w 496621"/>
                <a:gd name="connsiteY35" fmla="*/ 146315 h 359855"/>
                <a:gd name="connsiteX36" fmla="*/ 417478 w 496621"/>
                <a:gd name="connsiteY36" fmla="*/ 146315 h 359855"/>
                <a:gd name="connsiteX37" fmla="*/ 363246 w 496621"/>
                <a:gd name="connsiteY37" fmla="*/ 100556 h 359855"/>
                <a:gd name="connsiteX38" fmla="*/ 309013 w 496621"/>
                <a:gd name="connsiteY38" fmla="*/ 146315 h 359855"/>
                <a:gd name="connsiteX39" fmla="*/ 285286 w 496621"/>
                <a:gd name="connsiteY39" fmla="*/ 146315 h 359855"/>
                <a:gd name="connsiteX40" fmla="*/ 285286 w 496621"/>
                <a:gd name="connsiteY40" fmla="*/ 16948 h 359855"/>
                <a:gd name="connsiteX41" fmla="*/ 441205 w 496621"/>
                <a:gd name="connsiteY41" fmla="*/ 16948 h 359855"/>
                <a:gd name="connsiteX42" fmla="*/ 441205 w 496621"/>
                <a:gd name="connsiteY42" fmla="*/ 146315 h 359855"/>
                <a:gd name="connsiteX43" fmla="*/ 268338 w 496621"/>
                <a:gd name="connsiteY43" fmla="*/ 16948 h 359855"/>
                <a:gd name="connsiteX44" fmla="*/ 268338 w 496621"/>
                <a:gd name="connsiteY44" fmla="*/ 212411 h 359855"/>
                <a:gd name="connsiteX45" fmla="*/ 235573 w 496621"/>
                <a:gd name="connsiteY45" fmla="*/ 212411 h 359855"/>
                <a:gd name="connsiteX46" fmla="*/ 162133 w 496621"/>
                <a:gd name="connsiteY46" fmla="*/ 148010 h 359855"/>
                <a:gd name="connsiteX47" fmla="*/ 88693 w 496621"/>
                <a:gd name="connsiteY47" fmla="*/ 212411 h 359855"/>
                <a:gd name="connsiteX48" fmla="*/ 55927 w 496621"/>
                <a:gd name="connsiteY48" fmla="*/ 212411 h 359855"/>
                <a:gd name="connsiteX49" fmla="*/ 55927 w 496621"/>
                <a:gd name="connsiteY49" fmla="*/ 16948 h 359855"/>
                <a:gd name="connsiteX50" fmla="*/ 268338 w 496621"/>
                <a:gd name="connsiteY50" fmla="*/ 16948 h 359855"/>
                <a:gd name="connsiteX51" fmla="*/ 218625 w 496621"/>
                <a:gd name="connsiteY51" fmla="*/ 211846 h 359855"/>
                <a:gd name="connsiteX52" fmla="*/ 105076 w 496621"/>
                <a:gd name="connsiteY52" fmla="*/ 211846 h 359855"/>
                <a:gd name="connsiteX53" fmla="*/ 162133 w 496621"/>
                <a:gd name="connsiteY53" fmla="*/ 164393 h 359855"/>
                <a:gd name="connsiteX54" fmla="*/ 218625 w 496621"/>
                <a:gd name="connsiteY54" fmla="*/ 211846 h 359855"/>
                <a:gd name="connsiteX55" fmla="*/ 55927 w 496621"/>
                <a:gd name="connsiteY55" fmla="*/ 228794 h 359855"/>
                <a:gd name="connsiteX56" fmla="*/ 97167 w 496621"/>
                <a:gd name="connsiteY56" fmla="*/ 228794 h 359855"/>
                <a:gd name="connsiteX57" fmla="*/ 227099 w 496621"/>
                <a:gd name="connsiteY57" fmla="*/ 228794 h 359855"/>
                <a:gd name="connsiteX58" fmla="*/ 268338 w 496621"/>
                <a:gd name="connsiteY58" fmla="*/ 228794 h 359855"/>
                <a:gd name="connsiteX59" fmla="*/ 268338 w 496621"/>
                <a:gd name="connsiteY59" fmla="*/ 292630 h 359855"/>
                <a:gd name="connsiteX60" fmla="*/ 55927 w 496621"/>
                <a:gd name="connsiteY60" fmla="*/ 292630 h 359855"/>
                <a:gd name="connsiteX61" fmla="*/ 55927 w 496621"/>
                <a:gd name="connsiteY61" fmla="*/ 228794 h 359855"/>
                <a:gd name="connsiteX62" fmla="*/ 480185 w 496621"/>
                <a:gd name="connsiteY62" fmla="*/ 342343 h 359855"/>
                <a:gd name="connsiteX63" fmla="*/ 16948 w 496621"/>
                <a:gd name="connsiteY63" fmla="*/ 342343 h 359855"/>
                <a:gd name="connsiteX64" fmla="*/ 16948 w 496621"/>
                <a:gd name="connsiteY64" fmla="*/ 309578 h 359855"/>
                <a:gd name="connsiteX65" fmla="*/ 46889 w 496621"/>
                <a:gd name="connsiteY65" fmla="*/ 309578 h 359855"/>
                <a:gd name="connsiteX66" fmla="*/ 316922 w 496621"/>
                <a:gd name="connsiteY66" fmla="*/ 309578 h 359855"/>
                <a:gd name="connsiteX67" fmla="*/ 409004 w 496621"/>
                <a:gd name="connsiteY67" fmla="*/ 309578 h 359855"/>
                <a:gd name="connsiteX68" fmla="*/ 449679 w 496621"/>
                <a:gd name="connsiteY68" fmla="*/ 309578 h 359855"/>
                <a:gd name="connsiteX69" fmla="*/ 479620 w 496621"/>
                <a:gd name="connsiteY69" fmla="*/ 309578 h 359855"/>
                <a:gd name="connsiteX70" fmla="*/ 479620 w 496621"/>
                <a:gd name="connsiteY70" fmla="*/ 342343 h 359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496621" h="359855">
                  <a:moveTo>
                    <a:pt x="488658" y="292630"/>
                  </a:moveTo>
                  <a:lnTo>
                    <a:pt x="458718" y="292630"/>
                  </a:lnTo>
                  <a:lnTo>
                    <a:pt x="458718" y="8474"/>
                  </a:lnTo>
                  <a:cubicBezTo>
                    <a:pt x="458718" y="3954"/>
                    <a:pt x="454763" y="0"/>
                    <a:pt x="450244" y="0"/>
                  </a:cubicBezTo>
                  <a:lnTo>
                    <a:pt x="47454" y="0"/>
                  </a:lnTo>
                  <a:cubicBezTo>
                    <a:pt x="42934" y="0"/>
                    <a:pt x="38980" y="3954"/>
                    <a:pt x="38980" y="8474"/>
                  </a:cubicBezTo>
                  <a:lnTo>
                    <a:pt x="38980" y="293195"/>
                  </a:lnTo>
                  <a:lnTo>
                    <a:pt x="8474" y="293195"/>
                  </a:lnTo>
                  <a:cubicBezTo>
                    <a:pt x="3954" y="293195"/>
                    <a:pt x="0" y="297150"/>
                    <a:pt x="0" y="301669"/>
                  </a:cubicBezTo>
                  <a:lnTo>
                    <a:pt x="0" y="351382"/>
                  </a:lnTo>
                  <a:cubicBezTo>
                    <a:pt x="0" y="355902"/>
                    <a:pt x="3954" y="359856"/>
                    <a:pt x="8474" y="359856"/>
                  </a:cubicBezTo>
                  <a:lnTo>
                    <a:pt x="488093" y="359856"/>
                  </a:lnTo>
                  <a:cubicBezTo>
                    <a:pt x="492613" y="359856"/>
                    <a:pt x="496567" y="355902"/>
                    <a:pt x="496567" y="351382"/>
                  </a:cubicBezTo>
                  <a:lnTo>
                    <a:pt x="496567" y="301669"/>
                  </a:lnTo>
                  <a:cubicBezTo>
                    <a:pt x="497132" y="296585"/>
                    <a:pt x="493178" y="292630"/>
                    <a:pt x="488658" y="292630"/>
                  </a:cubicBezTo>
                  <a:close/>
                  <a:moveTo>
                    <a:pt x="418043" y="292630"/>
                  </a:moveTo>
                  <a:cubicBezTo>
                    <a:pt x="415218" y="267209"/>
                    <a:pt x="392057" y="246871"/>
                    <a:pt x="363810" y="246871"/>
                  </a:cubicBezTo>
                  <a:cubicBezTo>
                    <a:pt x="335564" y="246871"/>
                    <a:pt x="312402" y="266644"/>
                    <a:pt x="309578" y="292630"/>
                  </a:cubicBezTo>
                  <a:lnTo>
                    <a:pt x="285851" y="292630"/>
                  </a:lnTo>
                  <a:lnTo>
                    <a:pt x="285851" y="163263"/>
                  </a:lnTo>
                  <a:lnTo>
                    <a:pt x="317487" y="163263"/>
                  </a:lnTo>
                  <a:cubicBezTo>
                    <a:pt x="317487" y="163263"/>
                    <a:pt x="317487" y="163263"/>
                    <a:pt x="318052" y="163263"/>
                  </a:cubicBezTo>
                  <a:lnTo>
                    <a:pt x="410134" y="163263"/>
                  </a:lnTo>
                  <a:cubicBezTo>
                    <a:pt x="410134" y="163263"/>
                    <a:pt x="410699" y="163263"/>
                    <a:pt x="410699" y="163263"/>
                  </a:cubicBezTo>
                  <a:lnTo>
                    <a:pt x="441770" y="163263"/>
                  </a:lnTo>
                  <a:lnTo>
                    <a:pt x="441770" y="292630"/>
                  </a:lnTo>
                  <a:lnTo>
                    <a:pt x="418043" y="292630"/>
                  </a:lnTo>
                  <a:close/>
                  <a:moveTo>
                    <a:pt x="400530" y="292630"/>
                  </a:moveTo>
                  <a:lnTo>
                    <a:pt x="325961" y="292630"/>
                  </a:lnTo>
                  <a:cubicBezTo>
                    <a:pt x="328785" y="276247"/>
                    <a:pt x="344603" y="263819"/>
                    <a:pt x="363246" y="263819"/>
                  </a:cubicBezTo>
                  <a:cubicBezTo>
                    <a:pt x="381888" y="264384"/>
                    <a:pt x="397706" y="276812"/>
                    <a:pt x="400530" y="292630"/>
                  </a:cubicBezTo>
                  <a:close/>
                  <a:moveTo>
                    <a:pt x="325961" y="146315"/>
                  </a:moveTo>
                  <a:cubicBezTo>
                    <a:pt x="328785" y="129932"/>
                    <a:pt x="344603" y="117504"/>
                    <a:pt x="363246" y="117504"/>
                  </a:cubicBezTo>
                  <a:cubicBezTo>
                    <a:pt x="381888" y="117504"/>
                    <a:pt x="397706" y="129932"/>
                    <a:pt x="400530" y="146315"/>
                  </a:cubicBezTo>
                  <a:lnTo>
                    <a:pt x="325961" y="146315"/>
                  </a:lnTo>
                  <a:close/>
                  <a:moveTo>
                    <a:pt x="441205" y="146315"/>
                  </a:moveTo>
                  <a:lnTo>
                    <a:pt x="417478" y="146315"/>
                  </a:lnTo>
                  <a:cubicBezTo>
                    <a:pt x="414653" y="120894"/>
                    <a:pt x="391492" y="100556"/>
                    <a:pt x="363246" y="100556"/>
                  </a:cubicBezTo>
                  <a:cubicBezTo>
                    <a:pt x="334999" y="100556"/>
                    <a:pt x="311838" y="120329"/>
                    <a:pt x="309013" y="146315"/>
                  </a:cubicBezTo>
                  <a:lnTo>
                    <a:pt x="285286" y="146315"/>
                  </a:lnTo>
                  <a:lnTo>
                    <a:pt x="285286" y="16948"/>
                  </a:lnTo>
                  <a:lnTo>
                    <a:pt x="441205" y="16948"/>
                  </a:lnTo>
                  <a:lnTo>
                    <a:pt x="441205" y="146315"/>
                  </a:lnTo>
                  <a:close/>
                  <a:moveTo>
                    <a:pt x="268338" y="16948"/>
                  </a:moveTo>
                  <a:lnTo>
                    <a:pt x="268338" y="212411"/>
                  </a:lnTo>
                  <a:lnTo>
                    <a:pt x="235573" y="212411"/>
                  </a:lnTo>
                  <a:cubicBezTo>
                    <a:pt x="233313" y="176821"/>
                    <a:pt x="201113" y="148010"/>
                    <a:pt x="162133" y="148010"/>
                  </a:cubicBezTo>
                  <a:cubicBezTo>
                    <a:pt x="123153" y="148010"/>
                    <a:pt x="90953" y="176256"/>
                    <a:pt x="88693" y="212411"/>
                  </a:cubicBezTo>
                  <a:lnTo>
                    <a:pt x="55927" y="212411"/>
                  </a:lnTo>
                  <a:lnTo>
                    <a:pt x="55927" y="16948"/>
                  </a:lnTo>
                  <a:lnTo>
                    <a:pt x="268338" y="16948"/>
                  </a:lnTo>
                  <a:close/>
                  <a:moveTo>
                    <a:pt x="218625" y="211846"/>
                  </a:moveTo>
                  <a:lnTo>
                    <a:pt x="105076" y="211846"/>
                  </a:lnTo>
                  <a:cubicBezTo>
                    <a:pt x="107335" y="185295"/>
                    <a:pt x="132192" y="164393"/>
                    <a:pt x="162133" y="164393"/>
                  </a:cubicBezTo>
                  <a:cubicBezTo>
                    <a:pt x="191509" y="164958"/>
                    <a:pt x="216366" y="185860"/>
                    <a:pt x="218625" y="211846"/>
                  </a:cubicBezTo>
                  <a:close/>
                  <a:moveTo>
                    <a:pt x="55927" y="228794"/>
                  </a:moveTo>
                  <a:lnTo>
                    <a:pt x="97167" y="228794"/>
                  </a:lnTo>
                  <a:lnTo>
                    <a:pt x="227099" y="228794"/>
                  </a:lnTo>
                  <a:lnTo>
                    <a:pt x="268338" y="228794"/>
                  </a:lnTo>
                  <a:lnTo>
                    <a:pt x="268338" y="292630"/>
                  </a:lnTo>
                  <a:lnTo>
                    <a:pt x="55927" y="292630"/>
                  </a:lnTo>
                  <a:lnTo>
                    <a:pt x="55927" y="228794"/>
                  </a:lnTo>
                  <a:close/>
                  <a:moveTo>
                    <a:pt x="480185" y="342343"/>
                  </a:moveTo>
                  <a:lnTo>
                    <a:pt x="16948" y="342343"/>
                  </a:lnTo>
                  <a:lnTo>
                    <a:pt x="16948" y="309578"/>
                  </a:lnTo>
                  <a:lnTo>
                    <a:pt x="46889" y="309578"/>
                  </a:lnTo>
                  <a:lnTo>
                    <a:pt x="316922" y="309578"/>
                  </a:lnTo>
                  <a:lnTo>
                    <a:pt x="409004" y="309578"/>
                  </a:lnTo>
                  <a:lnTo>
                    <a:pt x="449679" y="309578"/>
                  </a:lnTo>
                  <a:lnTo>
                    <a:pt x="479620" y="309578"/>
                  </a:lnTo>
                  <a:lnTo>
                    <a:pt x="479620" y="342343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0907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0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790FFE-7019-4534-9D72-79CEEDEA11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257185"/>
            <a:ext cx="9192986" cy="677108"/>
          </a:xfrm>
        </p:spPr>
        <p:txBody>
          <a:bodyPr vert="horz"/>
          <a:lstStyle/>
          <a:p>
            <a:r>
              <a:rPr lang="ru-RU" dirty="0">
                <a:solidFill>
                  <a:schemeClr val="tx1"/>
                </a:solidFill>
              </a:rPr>
              <a:t>Примеры нарушений оформления потребительской маркировки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9CBE406-C74E-4AEF-83DA-C4C663D43D88}"/>
              </a:ext>
            </a:extLst>
          </p:cNvPr>
          <p:cNvGrpSpPr/>
          <p:nvPr/>
        </p:nvGrpSpPr>
        <p:grpSpPr>
          <a:xfrm>
            <a:off x="6477533" y="1164903"/>
            <a:ext cx="5081383" cy="979146"/>
            <a:chOff x="568790" y="1198563"/>
            <a:chExt cx="3519022" cy="3338710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790C774A-D436-492B-BCCC-EDCCB0192854}"/>
                </a:ext>
              </a:extLst>
            </p:cNvPr>
            <p:cNvSpPr/>
            <p:nvPr/>
          </p:nvSpPr>
          <p:spPr>
            <a:xfrm>
              <a:off x="575959" y="1198563"/>
              <a:ext cx="3511853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400" dirty="0">
                <a:latin typeface="+mj-lt"/>
              </a:endParaRPr>
            </a:p>
          </p:txBody>
        </p: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1833CDB6-7AC9-4A49-8342-69E3F56EF4ED}"/>
                </a:ext>
              </a:extLst>
            </p:cNvPr>
            <p:cNvCxnSpPr>
              <a:cxnSpLocks/>
            </p:cNvCxnSpPr>
            <p:nvPr/>
          </p:nvCxnSpPr>
          <p:spPr>
            <a:xfrm>
              <a:off x="568790" y="1198563"/>
              <a:ext cx="3519022" cy="0"/>
            </a:xfrm>
            <a:prstGeom prst="lin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249D152-D02E-4244-A3CA-6B38670EE57A}"/>
              </a:ext>
            </a:extLst>
          </p:cNvPr>
          <p:cNvSpPr txBox="1"/>
          <p:nvPr/>
        </p:nvSpPr>
        <p:spPr>
          <a:xfrm>
            <a:off x="6738257" y="1272688"/>
            <a:ext cx="4746005" cy="4308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685800"/>
            <a:r>
              <a:rPr lang="ru-RU" sz="1400" b="1" kern="1200" dirty="0" smtClean="0">
                <a:latin typeface="+mn-lt"/>
                <a:ea typeface="+mn-ea"/>
                <a:cs typeface="Calibri" panose="020F0502020204030204" pitchFamily="34" charset="0"/>
              </a:rPr>
              <a:t>Дата изготовления нанесена легкоудалямым стикером</a:t>
            </a:r>
            <a:endParaRPr lang="ru-RU" sz="1400" b="1" kern="1200" dirty="0"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E8A6A8D2-B292-8C8C-131C-7B79B41EBC16}"/>
              </a:ext>
            </a:extLst>
          </p:cNvPr>
          <p:cNvGrpSpPr/>
          <p:nvPr/>
        </p:nvGrpSpPr>
        <p:grpSpPr>
          <a:xfrm>
            <a:off x="6487885" y="2327429"/>
            <a:ext cx="5071031" cy="966283"/>
            <a:chOff x="568790" y="1198563"/>
            <a:chExt cx="3519022" cy="3338710"/>
          </a:xfrm>
        </p:grpSpPr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id="{68C233D5-85FC-8AE3-C4C5-1A5C1EF93F00}"/>
                </a:ext>
              </a:extLst>
            </p:cNvPr>
            <p:cNvSpPr/>
            <p:nvPr/>
          </p:nvSpPr>
          <p:spPr>
            <a:xfrm>
              <a:off x="575959" y="1198563"/>
              <a:ext cx="3511853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73" name="Прямая соединительная линия 72">
              <a:extLst>
                <a:ext uri="{FF2B5EF4-FFF2-40B4-BE49-F238E27FC236}">
                  <a16:creationId xmlns:a16="http://schemas.microsoft.com/office/drawing/2014/main" id="{5C39A182-BCC1-3A50-5A04-E37EC2B95BC5}"/>
                </a:ext>
              </a:extLst>
            </p:cNvPr>
            <p:cNvCxnSpPr>
              <a:cxnSpLocks/>
            </p:cNvCxnSpPr>
            <p:nvPr/>
          </p:nvCxnSpPr>
          <p:spPr>
            <a:xfrm>
              <a:off x="568790" y="1198563"/>
              <a:ext cx="351902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460F1401-B9F6-CB5E-C971-42F695524A2A}"/>
              </a:ext>
            </a:extLst>
          </p:cNvPr>
          <p:cNvSpPr txBox="1"/>
          <p:nvPr/>
        </p:nvSpPr>
        <p:spPr>
          <a:xfrm>
            <a:off x="6738257" y="4757096"/>
            <a:ext cx="3909417" cy="4308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685800"/>
            <a:endParaRPr lang="ru-RU" sz="1400" b="1" dirty="0">
              <a:cs typeface="Calibri" panose="020F0502020204030204" pitchFamily="34" charset="0"/>
            </a:endParaRPr>
          </a:p>
          <a:p>
            <a:pPr defTabSz="685800"/>
            <a:r>
              <a:rPr lang="ru-RU" sz="1400" b="1" kern="1200" dirty="0" smtClean="0">
                <a:latin typeface="+mn-lt"/>
                <a:ea typeface="+mn-ea"/>
                <a:cs typeface="Calibri" panose="020F0502020204030204" pitchFamily="34" charset="0"/>
              </a:rPr>
              <a:t>Состав не соответствует продукции</a:t>
            </a:r>
            <a:endParaRPr lang="ru-RU" sz="1400" b="1" kern="1200" dirty="0"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701C0617-771B-36D9-CB0A-75817363AF6D}"/>
              </a:ext>
            </a:extLst>
          </p:cNvPr>
          <p:cNvGrpSpPr/>
          <p:nvPr/>
        </p:nvGrpSpPr>
        <p:grpSpPr>
          <a:xfrm>
            <a:off x="6487885" y="3426504"/>
            <a:ext cx="5081383" cy="1027331"/>
            <a:chOff x="568790" y="1198563"/>
            <a:chExt cx="3519022" cy="3338710"/>
          </a:xfrm>
        </p:grpSpPr>
        <p:sp>
          <p:nvSpPr>
            <p:cNvPr id="78" name="Прямоугольник 77">
              <a:extLst>
                <a:ext uri="{FF2B5EF4-FFF2-40B4-BE49-F238E27FC236}">
                  <a16:creationId xmlns:a16="http://schemas.microsoft.com/office/drawing/2014/main" id="{4E4C600F-D5C9-398B-7607-B8B427BFB7B0}"/>
                </a:ext>
              </a:extLst>
            </p:cNvPr>
            <p:cNvSpPr/>
            <p:nvPr/>
          </p:nvSpPr>
          <p:spPr>
            <a:xfrm>
              <a:off x="575959" y="1198563"/>
              <a:ext cx="3511853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79" name="Прямая соединительная линия 78">
              <a:extLst>
                <a:ext uri="{FF2B5EF4-FFF2-40B4-BE49-F238E27FC236}">
                  <a16:creationId xmlns:a16="http://schemas.microsoft.com/office/drawing/2014/main" id="{D0229B86-99D0-1E21-A52A-AADBC2566E9C}"/>
                </a:ext>
              </a:extLst>
            </p:cNvPr>
            <p:cNvCxnSpPr>
              <a:cxnSpLocks/>
            </p:cNvCxnSpPr>
            <p:nvPr/>
          </p:nvCxnSpPr>
          <p:spPr>
            <a:xfrm>
              <a:off x="568790" y="1198563"/>
              <a:ext cx="351902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FDDAA8E5-F015-3FFC-210E-C8AAFB89B981}"/>
              </a:ext>
            </a:extLst>
          </p:cNvPr>
          <p:cNvSpPr txBox="1"/>
          <p:nvPr/>
        </p:nvSpPr>
        <p:spPr>
          <a:xfrm>
            <a:off x="6692561" y="3396735"/>
            <a:ext cx="50607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ru-RU" sz="1400" b="1" dirty="0">
              <a:cs typeface="Calibri" panose="020F0502020204030204" pitchFamily="34" charset="0"/>
            </a:endParaRPr>
          </a:p>
          <a:p>
            <a:r>
              <a:rPr lang="ru-RU" sz="1400" b="1" dirty="0" smtClean="0">
                <a:cs typeface="Calibri" panose="020F0502020204030204" pitchFamily="34" charset="0"/>
              </a:rPr>
              <a:t>«Содержит красители, которые </a:t>
            </a:r>
            <a:r>
              <a:rPr lang="ru-RU" sz="1400" b="1" dirty="0">
                <a:cs typeface="Calibri" panose="020F0502020204030204" pitchFamily="34" charset="0"/>
              </a:rPr>
              <a:t>могут оказывать отрицательное влияние на активность и внимание </a:t>
            </a:r>
            <a:r>
              <a:rPr lang="ru-RU" sz="1400" b="1" dirty="0" smtClean="0">
                <a:cs typeface="Calibri" panose="020F0502020204030204" pitchFamily="34" charset="0"/>
              </a:rPr>
              <a:t>детей»</a:t>
            </a:r>
            <a:endParaRPr lang="ru-RU" sz="1400" b="1" dirty="0">
              <a:cs typeface="Calibri" panose="020F0502020204030204" pitchFamily="34" charset="0"/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344E1-0F76-4023-B180-E4B0CE5660A5}" type="slidenum">
              <a:rPr lang="en-US" smtClean="0">
                <a:solidFill>
                  <a:schemeClr val="tx1"/>
                </a:solidFill>
              </a:rPr>
              <a:pPr/>
              <a:t>9</a:t>
            </a:fld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E8A6A8D2-B292-8C8C-131C-7B79B41EBC16}"/>
              </a:ext>
            </a:extLst>
          </p:cNvPr>
          <p:cNvGrpSpPr/>
          <p:nvPr/>
        </p:nvGrpSpPr>
        <p:grpSpPr>
          <a:xfrm>
            <a:off x="6477533" y="4687907"/>
            <a:ext cx="5071033" cy="895640"/>
            <a:chOff x="568790" y="1198563"/>
            <a:chExt cx="3519022" cy="3338710"/>
          </a:xfrm>
        </p:grpSpPr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68C233D5-85FC-8AE3-C4C5-1A5C1EF93F00}"/>
                </a:ext>
              </a:extLst>
            </p:cNvPr>
            <p:cNvSpPr/>
            <p:nvPr/>
          </p:nvSpPr>
          <p:spPr>
            <a:xfrm>
              <a:off x="575959" y="1198563"/>
              <a:ext cx="3511853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5C39A182-BCC1-3A50-5A04-E37EC2B95BC5}"/>
                </a:ext>
              </a:extLst>
            </p:cNvPr>
            <p:cNvCxnSpPr>
              <a:cxnSpLocks/>
            </p:cNvCxnSpPr>
            <p:nvPr/>
          </p:nvCxnSpPr>
          <p:spPr>
            <a:xfrm>
              <a:off x="568790" y="1198563"/>
              <a:ext cx="351902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Прямоугольник 16"/>
          <p:cNvSpPr/>
          <p:nvPr/>
        </p:nvSpPr>
        <p:spPr>
          <a:xfrm>
            <a:off x="6648110" y="2440496"/>
            <a:ext cx="510515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ru-RU" sz="1400" b="1" dirty="0">
                <a:cs typeface="Calibri" panose="020F0502020204030204" pitchFamily="34" charset="0"/>
              </a:rPr>
              <a:t>Не расписаны многосоставные компоненты;</a:t>
            </a:r>
          </a:p>
          <a:p>
            <a:pPr defTabSz="685800"/>
            <a:r>
              <a:rPr lang="ru-RU" sz="1400" b="1" dirty="0">
                <a:cs typeface="Calibri" panose="020F0502020204030204" pitchFamily="34" charset="0"/>
              </a:rPr>
              <a:t>Не указано функциональное назначение пищевой добавки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2430" y="1093149"/>
            <a:ext cx="4471073" cy="129813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1099" y="2418799"/>
            <a:ext cx="5173738" cy="213088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9392" y="4604714"/>
            <a:ext cx="4297151" cy="181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675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12908" y="1489904"/>
            <a:ext cx="6172201" cy="492443"/>
          </a:xfrm>
        </p:spPr>
        <p:txBody>
          <a:bodyPr/>
          <a:lstStyle/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449179" y="2606841"/>
            <a:ext cx="6841957" cy="30469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dirty="0" smtClean="0"/>
              <a:t>Контакты: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Ефимова Татьяна </a:t>
            </a:r>
            <a:r>
              <a:rPr lang="en-US" dirty="0" smtClean="0">
                <a:solidFill>
                  <a:srgbClr val="0070C0"/>
                </a:solidFill>
                <a:hlinkClick r:id="rId2"/>
              </a:rPr>
              <a:t>tatyana.m.efimova@lenta.com</a:t>
            </a:r>
            <a:r>
              <a:rPr lang="ru-RU" dirty="0" smtClean="0">
                <a:solidFill>
                  <a:srgbClr val="0070C0"/>
                </a:solidFill>
              </a:rPr>
              <a:t/>
            </a:r>
            <a:br>
              <a:rPr lang="ru-RU" dirty="0" smtClean="0">
                <a:solidFill>
                  <a:srgbClr val="0070C0"/>
                </a:solidFill>
              </a:rPr>
            </a:br>
            <a:r>
              <a:rPr lang="ru-RU" dirty="0" smtClean="0"/>
              <a:t>Князева Анна </a:t>
            </a:r>
            <a:r>
              <a:rPr lang="en-US" dirty="0" smtClean="0">
                <a:hlinkClick r:id="rId3"/>
              </a:rPr>
              <a:t>anna.knyazeva@lenta.com</a:t>
            </a:r>
            <a:r>
              <a:rPr lang="ru-RU" dirty="0" smtClean="0"/>
              <a:t> </a:t>
            </a:r>
            <a:br>
              <a:rPr lang="ru-RU" dirty="0" smtClean="0"/>
            </a:br>
            <a:r>
              <a:rPr lang="ru-RU" dirty="0" smtClean="0"/>
              <a:t>Волкова Ольга </a:t>
            </a:r>
            <a:r>
              <a:rPr lang="en-US" dirty="0" smtClean="0">
                <a:hlinkClick r:id="rId4"/>
              </a:rPr>
              <a:t>olga.e.volkova@lenta.com</a:t>
            </a:r>
            <a:r>
              <a:rPr lang="ru-RU" dirty="0" smtClean="0"/>
              <a:t> 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пециалисты по претензионной работе:</a:t>
            </a:r>
            <a:br>
              <a:rPr lang="ru-RU" dirty="0" smtClean="0"/>
            </a:br>
            <a:r>
              <a:rPr lang="en-US" dirty="0" smtClean="0">
                <a:hlinkClick r:id="rId5"/>
              </a:rPr>
              <a:t>WHSPbSpecialistsinQuality@lenta.com</a:t>
            </a:r>
            <a:r>
              <a:rPr lang="ru-RU" dirty="0" smtClean="0"/>
              <a:t> </a:t>
            </a:r>
            <a:endParaRPr lang="en-US" dirty="0"/>
          </a:p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81229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3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Заголовок 33">
            <a:extLst>
              <a:ext uri="{FF2B5EF4-FFF2-40B4-BE49-F238E27FC236}">
                <a16:creationId xmlns:a16="http://schemas.microsoft.com/office/drawing/2014/main" id="{DFE19F94-644B-42C1-AD3F-8528C51CFA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499" y="3015259"/>
            <a:ext cx="8995021" cy="615553"/>
          </a:xfrm>
        </p:spPr>
        <p:txBody>
          <a:bodyPr vert="horz"/>
          <a:lstStyle/>
          <a:p>
            <a:r>
              <a:rPr lang="ru-RU" sz="4000" dirty="0"/>
              <a:t>Все под контролем? 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C8C12EE-F6E3-DC38-EC5D-561226AB2A87}"/>
              </a:ext>
            </a:extLst>
          </p:cNvPr>
          <p:cNvGrpSpPr/>
          <p:nvPr/>
        </p:nvGrpSpPr>
        <p:grpSpPr>
          <a:xfrm>
            <a:off x="0" y="4895068"/>
            <a:ext cx="5700035" cy="1962956"/>
            <a:chOff x="0" y="4895068"/>
            <a:chExt cx="5700035" cy="1962956"/>
          </a:xfrm>
        </p:grpSpPr>
        <p:sp>
          <p:nvSpPr>
            <p:cNvPr id="125" name="Полилиния: фигура 7">
              <a:extLst>
                <a:ext uri="{FF2B5EF4-FFF2-40B4-BE49-F238E27FC236}">
                  <a16:creationId xmlns:a16="http://schemas.microsoft.com/office/drawing/2014/main" id="{3789CB51-94F1-F8FA-A79F-06A57F1C8DF4}"/>
                </a:ext>
              </a:extLst>
            </p:cNvPr>
            <p:cNvSpPr/>
            <p:nvPr userDrawn="1"/>
          </p:nvSpPr>
          <p:spPr>
            <a:xfrm rot="16200000">
              <a:off x="979714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Полилиния: фигура 8">
              <a:extLst>
                <a:ext uri="{FF2B5EF4-FFF2-40B4-BE49-F238E27FC236}">
                  <a16:creationId xmlns:a16="http://schemas.microsoft.com/office/drawing/2014/main" id="{A6ACED56-6CF8-39E8-A8FB-2A87C0231D3C}"/>
                </a:ext>
              </a:extLst>
            </p:cNvPr>
            <p:cNvSpPr/>
            <p:nvPr userDrawn="1"/>
          </p:nvSpPr>
          <p:spPr>
            <a:xfrm>
              <a:off x="1224642" y="6123239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Полилиния: фигура 11">
              <a:extLst>
                <a:ext uri="{FF2B5EF4-FFF2-40B4-BE49-F238E27FC236}">
                  <a16:creationId xmlns:a16="http://schemas.microsoft.com/office/drawing/2014/main" id="{5DB7683A-9BD5-4464-68F8-5EDE8AF6796A}"/>
                </a:ext>
              </a:extLst>
            </p:cNvPr>
            <p:cNvSpPr/>
            <p:nvPr userDrawn="1"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Полилиния: фигура 12">
              <a:extLst>
                <a:ext uri="{FF2B5EF4-FFF2-40B4-BE49-F238E27FC236}">
                  <a16:creationId xmlns:a16="http://schemas.microsoft.com/office/drawing/2014/main" id="{F57E5213-5C20-6A07-918A-83451D3052F3}"/>
                </a:ext>
              </a:extLst>
            </p:cNvPr>
            <p:cNvSpPr/>
            <p:nvPr userDrawn="1"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Полилиния: фигура 13">
              <a:extLst>
                <a:ext uri="{FF2B5EF4-FFF2-40B4-BE49-F238E27FC236}">
                  <a16:creationId xmlns:a16="http://schemas.microsoft.com/office/drawing/2014/main" id="{EEC48DA5-7A77-6D8F-679C-6B23C76D5E64}"/>
                </a:ext>
              </a:extLst>
            </p:cNvPr>
            <p:cNvSpPr/>
            <p:nvPr userDrawn="1"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Полилиния: фигура 14">
              <a:extLst>
                <a:ext uri="{FF2B5EF4-FFF2-40B4-BE49-F238E27FC236}">
                  <a16:creationId xmlns:a16="http://schemas.microsoft.com/office/drawing/2014/main" id="{1613629D-47BB-7796-0553-499C6821CA59}"/>
                </a:ext>
              </a:extLst>
            </p:cNvPr>
            <p:cNvSpPr/>
            <p:nvPr userDrawn="1"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Полилиния: фигура 15">
              <a:extLst>
                <a:ext uri="{FF2B5EF4-FFF2-40B4-BE49-F238E27FC236}">
                  <a16:creationId xmlns:a16="http://schemas.microsoft.com/office/drawing/2014/main" id="{C85BD5F8-F7C8-28E1-BFDB-DDC8307360F7}"/>
                </a:ext>
              </a:extLst>
            </p:cNvPr>
            <p:cNvSpPr/>
            <p:nvPr userDrawn="1"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17">
              <a:extLst>
                <a:ext uri="{FF2B5EF4-FFF2-40B4-BE49-F238E27FC236}">
                  <a16:creationId xmlns:a16="http://schemas.microsoft.com/office/drawing/2014/main" id="{0355DC7A-A024-569E-0B8D-DDEEE1CADB03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Полилиния: фигура 18">
              <a:extLst>
                <a:ext uri="{FF2B5EF4-FFF2-40B4-BE49-F238E27FC236}">
                  <a16:creationId xmlns:a16="http://schemas.microsoft.com/office/drawing/2014/main" id="{26A08EE6-873F-5FF3-69E5-49E927186F08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Полилиния: фигура 19">
              <a:extLst>
                <a:ext uri="{FF2B5EF4-FFF2-40B4-BE49-F238E27FC236}">
                  <a16:creationId xmlns:a16="http://schemas.microsoft.com/office/drawing/2014/main" id="{18ED321C-6A84-4D58-AD6B-4E8876929C0F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Полилиния: фигура 21">
              <a:extLst>
                <a:ext uri="{FF2B5EF4-FFF2-40B4-BE49-F238E27FC236}">
                  <a16:creationId xmlns:a16="http://schemas.microsoft.com/office/drawing/2014/main" id="{1D4D272C-D9B3-B449-31B4-629820975AD7}"/>
                </a:ext>
              </a:extLst>
            </p:cNvPr>
            <p:cNvSpPr/>
            <p:nvPr/>
          </p:nvSpPr>
          <p:spPr>
            <a:xfrm>
              <a:off x="1959428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Полилиния: фигура 22">
              <a:extLst>
                <a:ext uri="{FF2B5EF4-FFF2-40B4-BE49-F238E27FC236}">
                  <a16:creationId xmlns:a16="http://schemas.microsoft.com/office/drawing/2014/main" id="{4553FED2-7C22-3A82-5723-3CB1B665DA29}"/>
                </a:ext>
              </a:extLst>
            </p:cNvPr>
            <p:cNvSpPr/>
            <p:nvPr/>
          </p:nvSpPr>
          <p:spPr>
            <a:xfrm>
              <a:off x="1959428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Полилиния: фигура 23">
              <a:extLst>
                <a:ext uri="{FF2B5EF4-FFF2-40B4-BE49-F238E27FC236}">
                  <a16:creationId xmlns:a16="http://schemas.microsoft.com/office/drawing/2014/main" id="{92BE6DE7-1F2A-EC43-8771-8E2CCF1F4233}"/>
                </a:ext>
              </a:extLst>
            </p:cNvPr>
            <p:cNvSpPr/>
            <p:nvPr/>
          </p:nvSpPr>
          <p:spPr>
            <a:xfrm>
              <a:off x="2449285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Полилиния: фигура 24">
              <a:extLst>
                <a:ext uri="{FF2B5EF4-FFF2-40B4-BE49-F238E27FC236}">
                  <a16:creationId xmlns:a16="http://schemas.microsoft.com/office/drawing/2014/main" id="{EEED14F5-BCFF-9854-C273-6F2CDA8A487B}"/>
                </a:ext>
              </a:extLst>
            </p:cNvPr>
            <p:cNvSpPr/>
            <p:nvPr/>
          </p:nvSpPr>
          <p:spPr>
            <a:xfrm>
              <a:off x="2449285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Полилиния: фигура 26">
              <a:extLst>
                <a:ext uri="{FF2B5EF4-FFF2-40B4-BE49-F238E27FC236}">
                  <a16:creationId xmlns:a16="http://schemas.microsoft.com/office/drawing/2014/main" id="{99B323CD-8E61-4B69-EA1D-5DCA632F6E66}"/>
                </a:ext>
              </a:extLst>
            </p:cNvPr>
            <p:cNvSpPr/>
            <p:nvPr/>
          </p:nvSpPr>
          <p:spPr>
            <a:xfrm>
              <a:off x="3268046" y="6171445"/>
              <a:ext cx="432445" cy="432445"/>
            </a:xfrm>
            <a:custGeom>
              <a:avLst/>
              <a:gdLst>
                <a:gd name="connsiteX0" fmla="*/ 432446 w 432445"/>
                <a:gd name="connsiteY0" fmla="*/ 216223 h 432445"/>
                <a:gd name="connsiteX1" fmla="*/ 216223 w 432445"/>
                <a:gd name="connsiteY1" fmla="*/ 432446 h 432445"/>
                <a:gd name="connsiteX2" fmla="*/ 0 w 432445"/>
                <a:gd name="connsiteY2" fmla="*/ 216223 h 432445"/>
                <a:gd name="connsiteX3" fmla="*/ 216223 w 432445"/>
                <a:gd name="connsiteY3" fmla="*/ 0 h 432445"/>
                <a:gd name="connsiteX4" fmla="*/ 432446 w 432445"/>
                <a:gd name="connsiteY4" fmla="*/ 216223 h 4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445" h="432445">
                  <a:moveTo>
                    <a:pt x="432446" y="216223"/>
                  </a:moveTo>
                  <a:cubicBezTo>
                    <a:pt x="432446" y="335639"/>
                    <a:pt x="335640" y="432446"/>
                    <a:pt x="216223" y="432446"/>
                  </a:cubicBezTo>
                  <a:cubicBezTo>
                    <a:pt x="96806" y="432446"/>
                    <a:pt x="0" y="335639"/>
                    <a:pt x="0" y="216223"/>
                  </a:cubicBezTo>
                  <a:cubicBezTo>
                    <a:pt x="0" y="96806"/>
                    <a:pt x="96806" y="0"/>
                    <a:pt x="216223" y="0"/>
                  </a:cubicBezTo>
                  <a:cubicBezTo>
                    <a:pt x="335640" y="0"/>
                    <a:pt x="432446" y="96806"/>
                    <a:pt x="432446" y="216223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Полилиния: фигура 27">
              <a:extLst>
                <a:ext uri="{FF2B5EF4-FFF2-40B4-BE49-F238E27FC236}">
                  <a16:creationId xmlns:a16="http://schemas.microsoft.com/office/drawing/2014/main" id="{436C948C-C636-AD72-AEAA-7147655F72E7}"/>
                </a:ext>
              </a:extLst>
            </p:cNvPr>
            <p:cNvSpPr/>
            <p:nvPr/>
          </p:nvSpPr>
          <p:spPr>
            <a:xfrm>
              <a:off x="3484268" y="6011751"/>
              <a:ext cx="159988" cy="159987"/>
            </a:xfrm>
            <a:custGeom>
              <a:avLst/>
              <a:gdLst>
                <a:gd name="connsiteX0" fmla="*/ -3207 w 159988"/>
                <a:gd name="connsiteY0" fmla="*/ 159748 h 159987"/>
                <a:gd name="connsiteX1" fmla="*/ 156781 w 159988"/>
                <a:gd name="connsiteY1" fmla="*/ -240 h 159987"/>
                <a:gd name="connsiteX2" fmla="*/ -3207 w 159988"/>
                <a:gd name="connsiteY2" fmla="*/ 159748 h 15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88" h="159987">
                  <a:moveTo>
                    <a:pt x="-3207" y="159748"/>
                  </a:moveTo>
                  <a:cubicBezTo>
                    <a:pt x="85163" y="159748"/>
                    <a:pt x="156781" y="88121"/>
                    <a:pt x="156781" y="-240"/>
                  </a:cubicBezTo>
                  <a:cubicBezTo>
                    <a:pt x="68410" y="-240"/>
                    <a:pt x="-3207" y="71387"/>
                    <a:pt x="-3207" y="159748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4" name="Группа 48">
              <a:extLst>
                <a:ext uri="{FF2B5EF4-FFF2-40B4-BE49-F238E27FC236}">
                  <a16:creationId xmlns:a16="http://schemas.microsoft.com/office/drawing/2014/main" id="{A344F5CA-3BFA-949C-3A3C-50FC4802C112}"/>
                </a:ext>
              </a:extLst>
            </p:cNvPr>
            <p:cNvGrpSpPr/>
            <p:nvPr/>
          </p:nvGrpSpPr>
          <p:grpSpPr>
            <a:xfrm>
              <a:off x="5094572" y="6068734"/>
              <a:ext cx="605463" cy="605463"/>
              <a:chOff x="5094572" y="6068734"/>
              <a:chExt cx="605463" cy="605463"/>
            </a:xfrm>
          </p:grpSpPr>
          <p:sp>
            <p:nvSpPr>
              <p:cNvPr id="159" name="Полилиния: фигура 49">
                <a:extLst>
                  <a:ext uri="{FF2B5EF4-FFF2-40B4-BE49-F238E27FC236}">
                    <a16:creationId xmlns:a16="http://schemas.microsoft.com/office/drawing/2014/main" id="{D0C567A5-1393-2D50-08F3-F4763D871D24}"/>
                  </a:ext>
                </a:extLst>
              </p:cNvPr>
              <p:cNvSpPr/>
              <p:nvPr userDrawn="1"/>
            </p:nvSpPr>
            <p:spPr>
              <a:xfrm>
                <a:off x="5226343" y="6200506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2" y="341920"/>
                      <a:pt x="0" y="265379"/>
                      <a:pt x="0" y="170960"/>
                    </a:cubicBezTo>
                    <a:cubicBezTo>
                      <a:pt x="0" y="76541"/>
                      <a:pt x="76542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Полилиния: фигура 50">
                <a:extLst>
                  <a:ext uri="{FF2B5EF4-FFF2-40B4-BE49-F238E27FC236}">
                    <a16:creationId xmlns:a16="http://schemas.microsoft.com/office/drawing/2014/main" id="{A1867F93-FB8B-B633-D8E3-07D0B8ADBE26}"/>
                  </a:ext>
                </a:extLst>
              </p:cNvPr>
              <p:cNvSpPr/>
              <p:nvPr userDrawn="1"/>
            </p:nvSpPr>
            <p:spPr>
              <a:xfrm>
                <a:off x="5094572" y="6068734"/>
                <a:ext cx="605463" cy="605463"/>
              </a:xfrm>
              <a:custGeom>
                <a:avLst/>
                <a:gdLst>
                  <a:gd name="connsiteX0" fmla="*/ 299524 w 605463"/>
                  <a:gd name="connsiteY0" fmla="*/ -240 h 605463"/>
                  <a:gd name="connsiteX1" fmla="*/ 270132 w 605463"/>
                  <a:gd name="connsiteY1" fmla="*/ 29151 h 605463"/>
                  <a:gd name="connsiteX2" fmla="*/ 270132 w 605463"/>
                  <a:gd name="connsiteY2" fmla="*/ 72847 h 605463"/>
                  <a:gd name="connsiteX3" fmla="*/ 299524 w 605463"/>
                  <a:gd name="connsiteY3" fmla="*/ 102238 h 605463"/>
                  <a:gd name="connsiteX4" fmla="*/ 328915 w 605463"/>
                  <a:gd name="connsiteY4" fmla="*/ 72847 h 605463"/>
                  <a:gd name="connsiteX5" fmla="*/ 328915 w 605463"/>
                  <a:gd name="connsiteY5" fmla="*/ 29151 h 605463"/>
                  <a:gd name="connsiteX6" fmla="*/ 299524 w 605463"/>
                  <a:gd name="connsiteY6" fmla="*/ -240 h 605463"/>
                  <a:gd name="connsiteX7" fmla="*/ 299524 w 605463"/>
                  <a:gd name="connsiteY7" fmla="*/ 502745 h 605463"/>
                  <a:gd name="connsiteX8" fmla="*/ 270132 w 605463"/>
                  <a:gd name="connsiteY8" fmla="*/ 532137 h 605463"/>
                  <a:gd name="connsiteX9" fmla="*/ 270132 w 605463"/>
                  <a:gd name="connsiteY9" fmla="*/ 575832 h 605463"/>
                  <a:gd name="connsiteX10" fmla="*/ 299524 w 605463"/>
                  <a:gd name="connsiteY10" fmla="*/ 605223 h 605463"/>
                  <a:gd name="connsiteX11" fmla="*/ 328915 w 605463"/>
                  <a:gd name="connsiteY11" fmla="*/ 575832 h 605463"/>
                  <a:gd name="connsiteX12" fmla="*/ 328915 w 605463"/>
                  <a:gd name="connsiteY12" fmla="*/ 532137 h 605463"/>
                  <a:gd name="connsiteX13" fmla="*/ 299524 w 605463"/>
                  <a:gd name="connsiteY13" fmla="*/ 502745 h 605463"/>
                  <a:gd name="connsiteX14" fmla="*/ 99271 w 605463"/>
                  <a:gd name="connsiteY14" fmla="*/ 302492 h 605463"/>
                  <a:gd name="connsiteX15" fmla="*/ 69879 w 605463"/>
                  <a:gd name="connsiteY15" fmla="*/ 273100 h 605463"/>
                  <a:gd name="connsiteX16" fmla="*/ 26184 w 605463"/>
                  <a:gd name="connsiteY16" fmla="*/ 273100 h 605463"/>
                  <a:gd name="connsiteX17" fmla="*/ -3207 w 605463"/>
                  <a:gd name="connsiteY17" fmla="*/ 302492 h 605463"/>
                  <a:gd name="connsiteX18" fmla="*/ 26184 w 605463"/>
                  <a:gd name="connsiteY18" fmla="*/ 331883 h 605463"/>
                  <a:gd name="connsiteX19" fmla="*/ 69879 w 605463"/>
                  <a:gd name="connsiteY19" fmla="*/ 331883 h 605463"/>
                  <a:gd name="connsiteX20" fmla="*/ 99271 w 605463"/>
                  <a:gd name="connsiteY20" fmla="*/ 302492 h 605463"/>
                  <a:gd name="connsiteX21" fmla="*/ 572865 w 605463"/>
                  <a:gd name="connsiteY21" fmla="*/ 273100 h 605463"/>
                  <a:gd name="connsiteX22" fmla="*/ 529168 w 605463"/>
                  <a:gd name="connsiteY22" fmla="*/ 273100 h 605463"/>
                  <a:gd name="connsiteX23" fmla="*/ 499777 w 605463"/>
                  <a:gd name="connsiteY23" fmla="*/ 302492 h 605463"/>
                  <a:gd name="connsiteX24" fmla="*/ 529168 w 605463"/>
                  <a:gd name="connsiteY24" fmla="*/ 331883 h 605463"/>
                  <a:gd name="connsiteX25" fmla="*/ 572865 w 605463"/>
                  <a:gd name="connsiteY25" fmla="*/ 331883 h 605463"/>
                  <a:gd name="connsiteX26" fmla="*/ 602257 w 605463"/>
                  <a:gd name="connsiteY26" fmla="*/ 302492 h 605463"/>
                  <a:gd name="connsiteX27" fmla="*/ 572865 w 605463"/>
                  <a:gd name="connsiteY27" fmla="*/ 273100 h 605463"/>
                  <a:gd name="connsiteX28" fmla="*/ 126997 w 605463"/>
                  <a:gd name="connsiteY28" fmla="*/ 88424 h 605463"/>
                  <a:gd name="connsiteX29" fmla="*/ 85457 w 605463"/>
                  <a:gd name="connsiteY29" fmla="*/ 86955 h 605463"/>
                  <a:gd name="connsiteX30" fmla="*/ 83986 w 605463"/>
                  <a:gd name="connsiteY30" fmla="*/ 128494 h 605463"/>
                  <a:gd name="connsiteX31" fmla="*/ 85457 w 605463"/>
                  <a:gd name="connsiteY31" fmla="*/ 129964 h 605463"/>
                  <a:gd name="connsiteX32" fmla="*/ 116317 w 605463"/>
                  <a:gd name="connsiteY32" fmla="*/ 160923 h 605463"/>
                  <a:gd name="connsiteX33" fmla="*/ 157955 w 605463"/>
                  <a:gd name="connsiteY33" fmla="*/ 160923 h 605463"/>
                  <a:gd name="connsiteX34" fmla="*/ 157955 w 605463"/>
                  <a:gd name="connsiteY34" fmla="*/ 119285 h 605463"/>
                  <a:gd name="connsiteX35" fmla="*/ 482730 w 605463"/>
                  <a:gd name="connsiteY35" fmla="*/ 444061 h 605463"/>
                  <a:gd name="connsiteX36" fmla="*/ 441092 w 605463"/>
                  <a:gd name="connsiteY36" fmla="*/ 444061 h 605463"/>
                  <a:gd name="connsiteX37" fmla="*/ 441092 w 605463"/>
                  <a:gd name="connsiteY37" fmla="*/ 485698 h 605463"/>
                  <a:gd name="connsiteX38" fmla="*/ 472052 w 605463"/>
                  <a:gd name="connsiteY38" fmla="*/ 516559 h 605463"/>
                  <a:gd name="connsiteX39" fmla="*/ 513592 w 605463"/>
                  <a:gd name="connsiteY39" fmla="*/ 516559 h 605463"/>
                  <a:gd name="connsiteX40" fmla="*/ 513592 w 605463"/>
                  <a:gd name="connsiteY40" fmla="*/ 475019 h 605463"/>
                  <a:gd name="connsiteX41" fmla="*/ 116317 w 605463"/>
                  <a:gd name="connsiteY41" fmla="*/ 444061 h 605463"/>
                  <a:gd name="connsiteX42" fmla="*/ 85457 w 605463"/>
                  <a:gd name="connsiteY42" fmla="*/ 475019 h 605463"/>
                  <a:gd name="connsiteX43" fmla="*/ 85457 w 605463"/>
                  <a:gd name="connsiteY43" fmla="*/ 516589 h 605463"/>
                  <a:gd name="connsiteX44" fmla="*/ 106226 w 605463"/>
                  <a:gd name="connsiteY44" fmla="*/ 525181 h 605463"/>
                  <a:gd name="connsiteX45" fmla="*/ 126997 w 605463"/>
                  <a:gd name="connsiteY45" fmla="*/ 516559 h 605463"/>
                  <a:gd name="connsiteX46" fmla="*/ 157955 w 605463"/>
                  <a:gd name="connsiteY46" fmla="*/ 485698 h 605463"/>
                  <a:gd name="connsiteX47" fmla="*/ 157955 w 605463"/>
                  <a:gd name="connsiteY47" fmla="*/ 444061 h 605463"/>
                  <a:gd name="connsiteX48" fmla="*/ 116317 w 605463"/>
                  <a:gd name="connsiteY48" fmla="*/ 444061 h 605463"/>
                  <a:gd name="connsiteX49" fmla="*/ 461961 w 605463"/>
                  <a:gd name="connsiteY49" fmla="*/ 169740 h 605463"/>
                  <a:gd name="connsiteX50" fmla="*/ 482730 w 605463"/>
                  <a:gd name="connsiteY50" fmla="*/ 161217 h 605463"/>
                  <a:gd name="connsiteX51" fmla="*/ 513592 w 605463"/>
                  <a:gd name="connsiteY51" fmla="*/ 130258 h 605463"/>
                  <a:gd name="connsiteX52" fmla="*/ 512121 w 605463"/>
                  <a:gd name="connsiteY52" fmla="*/ 88718 h 605463"/>
                  <a:gd name="connsiteX53" fmla="*/ 472052 w 605463"/>
                  <a:gd name="connsiteY53" fmla="*/ 88718 h 605463"/>
                  <a:gd name="connsiteX54" fmla="*/ 441092 w 605463"/>
                  <a:gd name="connsiteY54" fmla="*/ 119579 h 605463"/>
                  <a:gd name="connsiteX55" fmla="*/ 441092 w 605463"/>
                  <a:gd name="connsiteY55" fmla="*/ 161148 h 605463"/>
                  <a:gd name="connsiteX56" fmla="*/ 461961 w 605463"/>
                  <a:gd name="connsiteY56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5463" h="605463">
                    <a:moveTo>
                      <a:pt x="299524" y="-240"/>
                    </a:moveTo>
                    <a:cubicBezTo>
                      <a:pt x="283261" y="-240"/>
                      <a:pt x="270132" y="12917"/>
                      <a:pt x="270132" y="29151"/>
                    </a:cubicBezTo>
                    <a:lnTo>
                      <a:pt x="270132" y="72847"/>
                    </a:lnTo>
                    <a:cubicBezTo>
                      <a:pt x="270132" y="89081"/>
                      <a:pt x="283261" y="102238"/>
                      <a:pt x="299524" y="102238"/>
                    </a:cubicBezTo>
                    <a:cubicBezTo>
                      <a:pt x="315786" y="102238"/>
                      <a:pt x="328915" y="89081"/>
                      <a:pt x="328915" y="72847"/>
                    </a:cubicBezTo>
                    <a:lnTo>
                      <a:pt x="328915" y="29151"/>
                    </a:lnTo>
                    <a:cubicBezTo>
                      <a:pt x="328915" y="12917"/>
                      <a:pt x="315786" y="-240"/>
                      <a:pt x="299524" y="-240"/>
                    </a:cubicBezTo>
                    <a:close/>
                    <a:moveTo>
                      <a:pt x="299524" y="502745"/>
                    </a:moveTo>
                    <a:cubicBezTo>
                      <a:pt x="283261" y="502745"/>
                      <a:pt x="270132" y="515903"/>
                      <a:pt x="270132" y="532137"/>
                    </a:cubicBezTo>
                    <a:lnTo>
                      <a:pt x="270132" y="575832"/>
                    </a:lnTo>
                    <a:cubicBezTo>
                      <a:pt x="270132" y="592066"/>
                      <a:pt x="283261" y="605223"/>
                      <a:pt x="299524" y="605223"/>
                    </a:cubicBezTo>
                    <a:cubicBezTo>
                      <a:pt x="315786" y="605223"/>
                      <a:pt x="328915" y="592066"/>
                      <a:pt x="328915" y="575832"/>
                    </a:cubicBezTo>
                    <a:lnTo>
                      <a:pt x="328915" y="532137"/>
                    </a:lnTo>
                    <a:cubicBezTo>
                      <a:pt x="328915" y="515903"/>
                      <a:pt x="315786" y="502745"/>
                      <a:pt x="299524" y="502745"/>
                    </a:cubicBezTo>
                    <a:close/>
                    <a:moveTo>
                      <a:pt x="99271" y="302492"/>
                    </a:moveTo>
                    <a:cubicBezTo>
                      <a:pt x="99271" y="286258"/>
                      <a:pt x="86141" y="273100"/>
                      <a:pt x="69879" y="273100"/>
                    </a:cubicBezTo>
                    <a:lnTo>
                      <a:pt x="26184" y="273100"/>
                    </a:lnTo>
                    <a:cubicBezTo>
                      <a:pt x="9919" y="273100"/>
                      <a:pt x="-3207" y="286258"/>
                      <a:pt x="-3207" y="302492"/>
                    </a:cubicBezTo>
                    <a:cubicBezTo>
                      <a:pt x="-3207" y="318726"/>
                      <a:pt x="9919" y="331883"/>
                      <a:pt x="26184" y="331883"/>
                    </a:cubicBezTo>
                    <a:lnTo>
                      <a:pt x="69879" y="331883"/>
                    </a:lnTo>
                    <a:cubicBezTo>
                      <a:pt x="86141" y="331883"/>
                      <a:pt x="99271" y="318726"/>
                      <a:pt x="99271" y="302492"/>
                    </a:cubicBezTo>
                    <a:close/>
                    <a:moveTo>
                      <a:pt x="572865" y="273100"/>
                    </a:moveTo>
                    <a:lnTo>
                      <a:pt x="529168" y="273100"/>
                    </a:lnTo>
                    <a:cubicBezTo>
                      <a:pt x="512906" y="273100"/>
                      <a:pt x="499777" y="286258"/>
                      <a:pt x="499777" y="302492"/>
                    </a:cubicBezTo>
                    <a:cubicBezTo>
                      <a:pt x="499777" y="318726"/>
                      <a:pt x="512906" y="331883"/>
                      <a:pt x="529168" y="331883"/>
                    </a:cubicBezTo>
                    <a:lnTo>
                      <a:pt x="572865" y="331883"/>
                    </a:lnTo>
                    <a:cubicBezTo>
                      <a:pt x="589128" y="331883"/>
                      <a:pt x="602257" y="318726"/>
                      <a:pt x="602257" y="302492"/>
                    </a:cubicBezTo>
                    <a:cubicBezTo>
                      <a:pt x="602257" y="286258"/>
                      <a:pt x="589128" y="273100"/>
                      <a:pt x="572865" y="273100"/>
                    </a:cubicBezTo>
                    <a:close/>
                    <a:moveTo>
                      <a:pt x="126997" y="88424"/>
                    </a:moveTo>
                    <a:cubicBezTo>
                      <a:pt x="115925" y="76550"/>
                      <a:pt x="97312" y="75894"/>
                      <a:pt x="85457" y="86955"/>
                    </a:cubicBezTo>
                    <a:cubicBezTo>
                      <a:pt x="73601" y="98025"/>
                      <a:pt x="72917" y="116620"/>
                      <a:pt x="83986" y="128494"/>
                    </a:cubicBezTo>
                    <a:cubicBezTo>
                      <a:pt x="84477" y="129004"/>
                      <a:pt x="84967" y="129494"/>
                      <a:pt x="85457" y="129964"/>
                    </a:cubicBezTo>
                    <a:lnTo>
                      <a:pt x="116317" y="160923"/>
                    </a:lnTo>
                    <a:cubicBezTo>
                      <a:pt x="127779" y="172425"/>
                      <a:pt x="146493" y="172425"/>
                      <a:pt x="157955" y="160923"/>
                    </a:cubicBezTo>
                    <a:cubicBezTo>
                      <a:pt x="169417" y="149421"/>
                      <a:pt x="169417" y="130787"/>
                      <a:pt x="157955" y="119285"/>
                    </a:cubicBezTo>
                    <a:close/>
                    <a:moveTo>
                      <a:pt x="482730" y="444061"/>
                    </a:moveTo>
                    <a:cubicBezTo>
                      <a:pt x="471268" y="432559"/>
                      <a:pt x="452556" y="432559"/>
                      <a:pt x="441092" y="444061"/>
                    </a:cubicBezTo>
                    <a:cubicBezTo>
                      <a:pt x="429630" y="455562"/>
                      <a:pt x="429630" y="474196"/>
                      <a:pt x="441092" y="485698"/>
                    </a:cubicBezTo>
                    <a:lnTo>
                      <a:pt x="472052" y="516559"/>
                    </a:lnTo>
                    <a:cubicBezTo>
                      <a:pt x="483514" y="528022"/>
                      <a:pt x="502128" y="528022"/>
                      <a:pt x="513592" y="516559"/>
                    </a:cubicBezTo>
                    <a:cubicBezTo>
                      <a:pt x="525054" y="505087"/>
                      <a:pt x="525054" y="486492"/>
                      <a:pt x="513592" y="475019"/>
                    </a:cubicBezTo>
                    <a:close/>
                    <a:moveTo>
                      <a:pt x="116317" y="444061"/>
                    </a:moveTo>
                    <a:lnTo>
                      <a:pt x="85457" y="475019"/>
                    </a:lnTo>
                    <a:cubicBezTo>
                      <a:pt x="73993" y="486502"/>
                      <a:pt x="73993" y="505116"/>
                      <a:pt x="85457" y="516589"/>
                    </a:cubicBezTo>
                    <a:cubicBezTo>
                      <a:pt x="90942" y="522085"/>
                      <a:pt x="98486" y="525171"/>
                      <a:pt x="106226" y="525181"/>
                    </a:cubicBezTo>
                    <a:cubicBezTo>
                      <a:pt x="114064" y="525171"/>
                      <a:pt x="121510" y="522075"/>
                      <a:pt x="126997" y="516559"/>
                    </a:cubicBezTo>
                    <a:lnTo>
                      <a:pt x="157955" y="485698"/>
                    </a:lnTo>
                    <a:cubicBezTo>
                      <a:pt x="169417" y="474196"/>
                      <a:pt x="169417" y="455562"/>
                      <a:pt x="157955" y="444061"/>
                    </a:cubicBezTo>
                    <a:cubicBezTo>
                      <a:pt x="146493" y="432559"/>
                      <a:pt x="127779" y="432559"/>
                      <a:pt x="116317" y="444061"/>
                    </a:cubicBezTo>
                    <a:close/>
                    <a:moveTo>
                      <a:pt x="461961" y="169740"/>
                    </a:moveTo>
                    <a:cubicBezTo>
                      <a:pt x="469701" y="169760"/>
                      <a:pt x="477245" y="166694"/>
                      <a:pt x="482730" y="161217"/>
                    </a:cubicBezTo>
                    <a:lnTo>
                      <a:pt x="513592" y="130258"/>
                    </a:lnTo>
                    <a:cubicBezTo>
                      <a:pt x="524662" y="118384"/>
                      <a:pt x="523975" y="99789"/>
                      <a:pt x="512121" y="88718"/>
                    </a:cubicBezTo>
                    <a:cubicBezTo>
                      <a:pt x="500855" y="78196"/>
                      <a:pt x="483318" y="78196"/>
                      <a:pt x="472052" y="88718"/>
                    </a:cubicBezTo>
                    <a:lnTo>
                      <a:pt x="441092" y="119579"/>
                    </a:lnTo>
                    <a:cubicBezTo>
                      <a:pt x="429630" y="131061"/>
                      <a:pt x="429630" y="149676"/>
                      <a:pt x="441092" y="161148"/>
                    </a:cubicBezTo>
                    <a:cubicBezTo>
                      <a:pt x="446677" y="166664"/>
                      <a:pt x="454123" y="169760"/>
                      <a:pt x="461961" y="1697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5" name="Полилиния: фигура 52">
              <a:extLst>
                <a:ext uri="{FF2B5EF4-FFF2-40B4-BE49-F238E27FC236}">
                  <a16:creationId xmlns:a16="http://schemas.microsoft.com/office/drawing/2014/main" id="{2BEBA008-9D8E-B612-6D74-7BA0ED06E2B4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Полилиния: фигура 53">
              <a:extLst>
                <a:ext uri="{FF2B5EF4-FFF2-40B4-BE49-F238E27FC236}">
                  <a16:creationId xmlns:a16="http://schemas.microsoft.com/office/drawing/2014/main" id="{EBFCDC05-7D2B-F87E-3430-3371007F1F4F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Полилиния: фигура 54">
              <a:extLst>
                <a:ext uri="{FF2B5EF4-FFF2-40B4-BE49-F238E27FC236}">
                  <a16:creationId xmlns:a16="http://schemas.microsoft.com/office/drawing/2014/main" id="{044E6A5C-147D-9D07-B80F-DC0BF76FAD0D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55">
              <a:extLst>
                <a:ext uri="{FF2B5EF4-FFF2-40B4-BE49-F238E27FC236}">
                  <a16:creationId xmlns:a16="http://schemas.microsoft.com/office/drawing/2014/main" id="{6A1BF84E-F638-1593-8342-EEBE750D39CF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4BF8E173-FACE-ED4C-FDD4-55EC1D155F37}"/>
              </a:ext>
            </a:extLst>
          </p:cNvPr>
          <p:cNvGrpSpPr/>
          <p:nvPr/>
        </p:nvGrpSpPr>
        <p:grpSpPr>
          <a:xfrm>
            <a:off x="6436154" y="-838"/>
            <a:ext cx="5755846" cy="6858838"/>
            <a:chOff x="6436154" y="-838"/>
            <a:chExt cx="5755846" cy="6858838"/>
          </a:xfrm>
        </p:grpSpPr>
        <p:sp>
          <p:nvSpPr>
            <p:cNvPr id="162" name="Полилиния: фигура 29">
              <a:extLst>
                <a:ext uri="{FF2B5EF4-FFF2-40B4-BE49-F238E27FC236}">
                  <a16:creationId xmlns:a16="http://schemas.microsoft.com/office/drawing/2014/main" id="{7AE37D25-279B-FAD5-AEE7-483751C79B9B}"/>
                </a:ext>
              </a:extLst>
            </p:cNvPr>
            <p:cNvSpPr/>
            <p:nvPr/>
          </p:nvSpPr>
          <p:spPr>
            <a:xfrm>
              <a:off x="9306282" y="5879124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Полилиния: фигура 30">
              <a:extLst>
                <a:ext uri="{FF2B5EF4-FFF2-40B4-BE49-F238E27FC236}">
                  <a16:creationId xmlns:a16="http://schemas.microsoft.com/office/drawing/2014/main" id="{AC1D7F98-B9D9-57B7-CC22-7DF1DAED54CF}"/>
                </a:ext>
              </a:extLst>
            </p:cNvPr>
            <p:cNvSpPr/>
            <p:nvPr/>
          </p:nvSpPr>
          <p:spPr>
            <a:xfrm>
              <a:off x="9795720" y="5879124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35">
              <a:extLst>
                <a:ext uri="{FF2B5EF4-FFF2-40B4-BE49-F238E27FC236}">
                  <a16:creationId xmlns:a16="http://schemas.microsoft.com/office/drawing/2014/main" id="{1EC629B3-F129-7CF7-A2BD-42A84E922D3C}"/>
                </a:ext>
              </a:extLst>
            </p:cNvPr>
            <p:cNvSpPr/>
            <p:nvPr/>
          </p:nvSpPr>
          <p:spPr>
            <a:xfrm rot="16200000">
              <a:off x="11213124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noFill/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Полилиния: фигура 32">
              <a:extLst>
                <a:ext uri="{FF2B5EF4-FFF2-40B4-BE49-F238E27FC236}">
                  <a16:creationId xmlns:a16="http://schemas.microsoft.com/office/drawing/2014/main" id="{9399CA00-A682-3BD2-C663-F3FEA23DE7A8}"/>
                </a:ext>
              </a:extLst>
            </p:cNvPr>
            <p:cNvSpPr/>
            <p:nvPr/>
          </p:nvSpPr>
          <p:spPr>
            <a:xfrm rot="5400000">
              <a:off x="10234009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Полилиния: фигура 37">
              <a:extLst>
                <a:ext uri="{FF2B5EF4-FFF2-40B4-BE49-F238E27FC236}">
                  <a16:creationId xmlns:a16="http://schemas.microsoft.com/office/drawing/2014/main" id="{771D2AE4-D7A7-37B7-2A9F-C9F8B9B1DF1A}"/>
                </a:ext>
              </a:extLst>
            </p:cNvPr>
            <p:cNvSpPr/>
            <p:nvPr/>
          </p:nvSpPr>
          <p:spPr>
            <a:xfrm>
              <a:off x="10478966" y="6123843"/>
              <a:ext cx="489438" cy="489438"/>
            </a:xfrm>
            <a:custGeom>
              <a:avLst/>
              <a:gdLst>
                <a:gd name="connsiteX0" fmla="*/ 489438 w 489438"/>
                <a:gd name="connsiteY0" fmla="*/ 244719 h 489438"/>
                <a:gd name="connsiteX1" fmla="*/ 244719 w 489438"/>
                <a:gd name="connsiteY1" fmla="*/ 489438 h 489438"/>
                <a:gd name="connsiteX2" fmla="*/ 0 w 489438"/>
                <a:gd name="connsiteY2" fmla="*/ 244719 h 489438"/>
                <a:gd name="connsiteX3" fmla="*/ 244719 w 489438"/>
                <a:gd name="connsiteY3" fmla="*/ 0 h 489438"/>
                <a:gd name="connsiteX4" fmla="*/ 489438 w 489438"/>
                <a:gd name="connsiteY4" fmla="*/ 244719 h 48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438" h="489438">
                  <a:moveTo>
                    <a:pt x="489438" y="244719"/>
                  </a:moveTo>
                  <a:cubicBezTo>
                    <a:pt x="489438" y="379874"/>
                    <a:pt x="379874" y="489438"/>
                    <a:pt x="244719" y="489438"/>
                  </a:cubicBezTo>
                  <a:cubicBezTo>
                    <a:pt x="109564" y="489438"/>
                    <a:pt x="0" y="379874"/>
                    <a:pt x="0" y="244719"/>
                  </a:cubicBezTo>
                  <a:cubicBezTo>
                    <a:pt x="0" y="109564"/>
                    <a:pt x="109564" y="0"/>
                    <a:pt x="244719" y="0"/>
                  </a:cubicBezTo>
                  <a:cubicBezTo>
                    <a:pt x="379874" y="0"/>
                    <a:pt x="489438" y="109564"/>
                    <a:pt x="489438" y="244719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Полилиния: фигура 36">
              <a:extLst>
                <a:ext uri="{FF2B5EF4-FFF2-40B4-BE49-F238E27FC236}">
                  <a16:creationId xmlns:a16="http://schemas.microsoft.com/office/drawing/2014/main" id="{97BFECD6-3F78-D810-D06D-4DB788A24550}"/>
                </a:ext>
              </a:extLst>
            </p:cNvPr>
            <p:cNvSpPr/>
            <p:nvPr/>
          </p:nvSpPr>
          <p:spPr>
            <a:xfrm rot="5400000">
              <a:off x="10234247" y="4900247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38">
              <a:extLst>
                <a:ext uri="{FF2B5EF4-FFF2-40B4-BE49-F238E27FC236}">
                  <a16:creationId xmlns:a16="http://schemas.microsoft.com/office/drawing/2014/main" id="{541C9ACD-568F-8637-D608-4D98DE612750}"/>
                </a:ext>
              </a:extLst>
            </p:cNvPr>
            <p:cNvSpPr/>
            <p:nvPr/>
          </p:nvSpPr>
          <p:spPr>
            <a:xfrm>
              <a:off x="10234247" y="4900247"/>
              <a:ext cx="978876" cy="978876"/>
            </a:xfrm>
            <a:custGeom>
              <a:avLst/>
              <a:gdLst>
                <a:gd name="connsiteX0" fmla="*/ 978567 w 978876"/>
                <a:gd name="connsiteY0" fmla="*/ -240 h 978876"/>
                <a:gd name="connsiteX1" fmla="*/ -310 w 978876"/>
                <a:gd name="connsiteY1" fmla="*/ 978637 h 978876"/>
                <a:gd name="connsiteX2" fmla="*/ 978567 w 978876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8876" h="978876">
                  <a:moveTo>
                    <a:pt x="978567" y="-240"/>
                  </a:moveTo>
                  <a:cubicBezTo>
                    <a:pt x="437953" y="-240"/>
                    <a:pt x="-310" y="438022"/>
                    <a:pt x="-310" y="978637"/>
                  </a:cubicBezTo>
                  <a:cubicBezTo>
                    <a:pt x="540304" y="978637"/>
                    <a:pt x="978567" y="540374"/>
                    <a:pt x="978567" y="-240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Полилиния: фигура 39">
              <a:extLst>
                <a:ext uri="{FF2B5EF4-FFF2-40B4-BE49-F238E27FC236}">
                  <a16:creationId xmlns:a16="http://schemas.microsoft.com/office/drawing/2014/main" id="{2CEFE2E8-C801-B2DF-C309-266491FD61D3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Полилиния: фигура 40">
              <a:extLst>
                <a:ext uri="{FF2B5EF4-FFF2-40B4-BE49-F238E27FC236}">
                  <a16:creationId xmlns:a16="http://schemas.microsoft.com/office/drawing/2014/main" id="{5A76BE50-F569-D366-7AB1-3FACC18FC8FD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Полилиния: фигура 41">
              <a:extLst>
                <a:ext uri="{FF2B5EF4-FFF2-40B4-BE49-F238E27FC236}">
                  <a16:creationId xmlns:a16="http://schemas.microsoft.com/office/drawing/2014/main" id="{FE22727D-1C1D-4E79-495B-FC295573D98A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Полилиния: фигура 42">
              <a:extLst>
                <a:ext uri="{FF2B5EF4-FFF2-40B4-BE49-F238E27FC236}">
                  <a16:creationId xmlns:a16="http://schemas.microsoft.com/office/drawing/2014/main" id="{77B5FFA8-6C14-166E-0498-93163BC1066B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Полилиния: фигура 43">
              <a:extLst>
                <a:ext uri="{FF2B5EF4-FFF2-40B4-BE49-F238E27FC236}">
                  <a16:creationId xmlns:a16="http://schemas.microsoft.com/office/drawing/2014/main" id="{DFC74432-806C-FE9B-3172-74E47A38D527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2"/>
                </a:solidFill>
              </a:endParaRPr>
            </a:p>
          </p:txBody>
        </p:sp>
        <p:grpSp>
          <p:nvGrpSpPr>
            <p:cNvPr id="174" name="Группа 145">
              <a:extLst>
                <a:ext uri="{FF2B5EF4-FFF2-40B4-BE49-F238E27FC236}">
                  <a16:creationId xmlns:a16="http://schemas.microsoft.com/office/drawing/2014/main" id="{BBD5BFD8-DD3E-902E-5832-1A201C6D220F}"/>
                </a:ext>
              </a:extLst>
            </p:cNvPr>
            <p:cNvGrpSpPr/>
            <p:nvPr/>
          </p:nvGrpSpPr>
          <p:grpSpPr>
            <a:xfrm>
              <a:off x="11482993" y="6055615"/>
              <a:ext cx="204201" cy="625502"/>
              <a:chOff x="11482993" y="6055615"/>
              <a:chExt cx="204201" cy="625502"/>
            </a:xfrm>
          </p:grpSpPr>
          <p:sp>
            <p:nvSpPr>
              <p:cNvPr id="244" name="Полилиния: фигура 44">
                <a:extLst>
                  <a:ext uri="{FF2B5EF4-FFF2-40B4-BE49-F238E27FC236}">
                    <a16:creationId xmlns:a16="http://schemas.microsoft.com/office/drawing/2014/main" id="{BBA50A16-7AD7-629F-F2D8-D5EC976D3A5E}"/>
                  </a:ext>
                </a:extLst>
              </p:cNvPr>
              <p:cNvSpPr/>
              <p:nvPr/>
            </p:nvSpPr>
            <p:spPr>
              <a:xfrm>
                <a:off x="11547704" y="6327156"/>
                <a:ext cx="74786" cy="353961"/>
              </a:xfrm>
              <a:custGeom>
                <a:avLst/>
                <a:gdLst>
                  <a:gd name="connsiteX0" fmla="*/ 37083 w 74786"/>
                  <a:gd name="connsiteY0" fmla="*/ 353722 h 353961"/>
                  <a:gd name="connsiteX1" fmla="*/ 37083 w 74786"/>
                  <a:gd name="connsiteY1" fmla="*/ 353722 h 353961"/>
                  <a:gd name="connsiteX2" fmla="*/ 74476 w 74786"/>
                  <a:gd name="connsiteY2" fmla="*/ 316328 h 353961"/>
                  <a:gd name="connsiteX3" fmla="*/ 74476 w 74786"/>
                  <a:gd name="connsiteY3" fmla="*/ -240 h 353961"/>
                  <a:gd name="connsiteX4" fmla="*/ -310 w 74786"/>
                  <a:gd name="connsiteY4" fmla="*/ -240 h 353961"/>
                  <a:gd name="connsiteX5" fmla="*/ -310 w 74786"/>
                  <a:gd name="connsiteY5" fmla="*/ 316328 h 353961"/>
                  <a:gd name="connsiteX6" fmla="*/ 37083 w 74786"/>
                  <a:gd name="connsiteY6" fmla="*/ 353722 h 353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353961">
                    <a:moveTo>
                      <a:pt x="37083" y="353722"/>
                    </a:moveTo>
                    <a:lnTo>
                      <a:pt x="37083" y="353722"/>
                    </a:lnTo>
                    <a:cubicBezTo>
                      <a:pt x="57737" y="353722"/>
                      <a:pt x="74476" y="336983"/>
                      <a:pt x="74476" y="316328"/>
                    </a:cubicBezTo>
                    <a:lnTo>
                      <a:pt x="74476" y="-240"/>
                    </a:lnTo>
                    <a:lnTo>
                      <a:pt x="-310" y="-240"/>
                    </a:lnTo>
                    <a:lnTo>
                      <a:pt x="-310" y="316328"/>
                    </a:lnTo>
                    <a:cubicBezTo>
                      <a:pt x="-310" y="336983"/>
                      <a:pt x="16429" y="353722"/>
                      <a:pt x="37083" y="353722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Полилиния: фигура 45">
                <a:extLst>
                  <a:ext uri="{FF2B5EF4-FFF2-40B4-BE49-F238E27FC236}">
                    <a16:creationId xmlns:a16="http://schemas.microsoft.com/office/drawing/2014/main" id="{D5720F4F-4224-CC6B-B843-E58AA10355BA}"/>
                  </a:ext>
                </a:extLst>
              </p:cNvPr>
              <p:cNvSpPr/>
              <p:nvPr/>
            </p:nvSpPr>
            <p:spPr>
              <a:xfrm>
                <a:off x="11482993" y="6055615"/>
                <a:ext cx="204201" cy="288885"/>
              </a:xfrm>
              <a:custGeom>
                <a:avLst/>
                <a:gdLst>
                  <a:gd name="connsiteX0" fmla="*/ 162974 w 204201"/>
                  <a:gd name="connsiteY0" fmla="*/ 20512 h 288885"/>
                  <a:gd name="connsiteX1" fmla="*/ 162974 w 204201"/>
                  <a:gd name="connsiteY1" fmla="*/ 165875 h 288885"/>
                  <a:gd name="connsiteX2" fmla="*/ 143984 w 204201"/>
                  <a:gd name="connsiteY2" fmla="*/ 187694 h 288885"/>
                  <a:gd name="connsiteX3" fmla="*/ 122155 w 204201"/>
                  <a:gd name="connsiteY3" fmla="*/ 168704 h 288885"/>
                  <a:gd name="connsiteX4" fmla="*/ 122155 w 204201"/>
                  <a:gd name="connsiteY4" fmla="*/ 165875 h 288885"/>
                  <a:gd name="connsiteX5" fmla="*/ 122155 w 204201"/>
                  <a:gd name="connsiteY5" fmla="*/ 20512 h 288885"/>
                  <a:gd name="connsiteX6" fmla="*/ 101794 w 204201"/>
                  <a:gd name="connsiteY6" fmla="*/ 151 h 288885"/>
                  <a:gd name="connsiteX7" fmla="*/ 101794 w 204201"/>
                  <a:gd name="connsiteY7" fmla="*/ 151 h 288885"/>
                  <a:gd name="connsiteX8" fmla="*/ 81336 w 204201"/>
                  <a:gd name="connsiteY8" fmla="*/ 20512 h 288885"/>
                  <a:gd name="connsiteX9" fmla="*/ 81336 w 204201"/>
                  <a:gd name="connsiteY9" fmla="*/ 165875 h 288885"/>
                  <a:gd name="connsiteX10" fmla="*/ 62336 w 204201"/>
                  <a:gd name="connsiteY10" fmla="*/ 187694 h 288885"/>
                  <a:gd name="connsiteX11" fmla="*/ 40517 w 204201"/>
                  <a:gd name="connsiteY11" fmla="*/ 168704 h 288885"/>
                  <a:gd name="connsiteX12" fmla="*/ 40517 w 204201"/>
                  <a:gd name="connsiteY12" fmla="*/ 165875 h 288885"/>
                  <a:gd name="connsiteX13" fmla="*/ 40517 w 204201"/>
                  <a:gd name="connsiteY13" fmla="*/ 20512 h 288885"/>
                  <a:gd name="connsiteX14" fmla="*/ 18688 w 204201"/>
                  <a:gd name="connsiteY14" fmla="*/ 1522 h 288885"/>
                  <a:gd name="connsiteX15" fmla="*/ -302 w 204201"/>
                  <a:gd name="connsiteY15" fmla="*/ 20512 h 288885"/>
                  <a:gd name="connsiteX16" fmla="*/ -302 w 204201"/>
                  <a:gd name="connsiteY16" fmla="*/ 183201 h 288885"/>
                  <a:gd name="connsiteX17" fmla="*/ 99837 w 204201"/>
                  <a:gd name="connsiteY17" fmla="*/ 288626 h 288885"/>
                  <a:gd name="connsiteX18" fmla="*/ 203871 w 204201"/>
                  <a:gd name="connsiteY18" fmla="*/ 188507 h 288885"/>
                  <a:gd name="connsiteX19" fmla="*/ 203891 w 204201"/>
                  <a:gd name="connsiteY19" fmla="*/ 186627 h 288885"/>
                  <a:gd name="connsiteX20" fmla="*/ 203891 w 204201"/>
                  <a:gd name="connsiteY20" fmla="*/ 20218 h 288885"/>
                  <a:gd name="connsiteX21" fmla="*/ 183433 w 204201"/>
                  <a:gd name="connsiteY21" fmla="*/ -240 h 288885"/>
                  <a:gd name="connsiteX22" fmla="*/ 162974 w 204201"/>
                  <a:gd name="connsiteY22" fmla="*/ 20218 h 28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201" h="288885">
                    <a:moveTo>
                      <a:pt x="162974" y="20512"/>
                    </a:moveTo>
                    <a:lnTo>
                      <a:pt x="162974" y="165875"/>
                    </a:lnTo>
                    <a:cubicBezTo>
                      <a:pt x="163757" y="177142"/>
                      <a:pt x="155251" y="186921"/>
                      <a:pt x="143984" y="187694"/>
                    </a:cubicBezTo>
                    <a:cubicBezTo>
                      <a:pt x="132708" y="188478"/>
                      <a:pt x="122938" y="179971"/>
                      <a:pt x="122155" y="168704"/>
                    </a:cubicBezTo>
                    <a:cubicBezTo>
                      <a:pt x="122087" y="167764"/>
                      <a:pt x="122087" y="166815"/>
                      <a:pt x="122155" y="165875"/>
                    </a:cubicBezTo>
                    <a:lnTo>
                      <a:pt x="122155" y="20512"/>
                    </a:lnTo>
                    <a:cubicBezTo>
                      <a:pt x="122155" y="9264"/>
                      <a:pt x="113042" y="151"/>
                      <a:pt x="101794" y="151"/>
                    </a:cubicBezTo>
                    <a:lnTo>
                      <a:pt x="101794" y="151"/>
                    </a:lnTo>
                    <a:cubicBezTo>
                      <a:pt x="90537" y="151"/>
                      <a:pt x="81395" y="9255"/>
                      <a:pt x="81336" y="20512"/>
                    </a:cubicBezTo>
                    <a:lnTo>
                      <a:pt x="81336" y="165875"/>
                    </a:lnTo>
                    <a:cubicBezTo>
                      <a:pt x="82119" y="177142"/>
                      <a:pt x="73612" y="186921"/>
                      <a:pt x="62336" y="187694"/>
                    </a:cubicBezTo>
                    <a:cubicBezTo>
                      <a:pt x="51069" y="188478"/>
                      <a:pt x="41300" y="179971"/>
                      <a:pt x="40517" y="168704"/>
                    </a:cubicBezTo>
                    <a:cubicBezTo>
                      <a:pt x="40448" y="167764"/>
                      <a:pt x="40448" y="166815"/>
                      <a:pt x="40517" y="165875"/>
                    </a:cubicBezTo>
                    <a:lnTo>
                      <a:pt x="40517" y="20512"/>
                    </a:lnTo>
                    <a:cubicBezTo>
                      <a:pt x="39733" y="9245"/>
                      <a:pt x="29964" y="739"/>
                      <a:pt x="18688" y="1522"/>
                    </a:cubicBezTo>
                    <a:cubicBezTo>
                      <a:pt x="8507" y="2226"/>
                      <a:pt x="403" y="10331"/>
                      <a:pt x="-302" y="20512"/>
                    </a:cubicBezTo>
                    <a:lnTo>
                      <a:pt x="-302" y="183201"/>
                    </a:lnTo>
                    <a:cubicBezTo>
                      <a:pt x="-978" y="239663"/>
                      <a:pt x="43414" y="286404"/>
                      <a:pt x="99837" y="288626"/>
                    </a:cubicBezTo>
                    <a:cubicBezTo>
                      <a:pt x="156210" y="289713"/>
                      <a:pt x="202795" y="244880"/>
                      <a:pt x="203871" y="188507"/>
                    </a:cubicBezTo>
                    <a:cubicBezTo>
                      <a:pt x="203882" y="187880"/>
                      <a:pt x="203891" y="187254"/>
                      <a:pt x="203891" y="186627"/>
                    </a:cubicBezTo>
                    <a:lnTo>
                      <a:pt x="203891" y="20218"/>
                    </a:lnTo>
                    <a:cubicBezTo>
                      <a:pt x="203891" y="8922"/>
                      <a:pt x="194729" y="-240"/>
                      <a:pt x="183433" y="-240"/>
                    </a:cubicBezTo>
                    <a:cubicBezTo>
                      <a:pt x="172136" y="-240"/>
                      <a:pt x="162974" y="8922"/>
                      <a:pt x="162974" y="20218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75" name="Группа 146">
              <a:extLst>
                <a:ext uri="{FF2B5EF4-FFF2-40B4-BE49-F238E27FC236}">
                  <a16:creationId xmlns:a16="http://schemas.microsoft.com/office/drawing/2014/main" id="{3EC56F36-211F-8B4D-FCF9-75345C83DEBB}"/>
                </a:ext>
              </a:extLst>
            </p:cNvPr>
            <p:cNvGrpSpPr/>
            <p:nvPr/>
          </p:nvGrpSpPr>
          <p:grpSpPr>
            <a:xfrm>
              <a:off x="11717931" y="6056007"/>
              <a:ext cx="204193" cy="625110"/>
              <a:chOff x="11717931" y="6056007"/>
              <a:chExt cx="204193" cy="625110"/>
            </a:xfrm>
          </p:grpSpPr>
          <p:sp>
            <p:nvSpPr>
              <p:cNvPr id="242" name="Полилиния: фигура 46">
                <a:extLst>
                  <a:ext uri="{FF2B5EF4-FFF2-40B4-BE49-F238E27FC236}">
                    <a16:creationId xmlns:a16="http://schemas.microsoft.com/office/drawing/2014/main" id="{EE5E528E-80B1-3D17-9DD3-FCB9DE83E1B3}"/>
                  </a:ext>
                </a:extLst>
              </p:cNvPr>
              <p:cNvSpPr/>
              <p:nvPr/>
            </p:nvSpPr>
            <p:spPr>
              <a:xfrm>
                <a:off x="11782635" y="6056007"/>
                <a:ext cx="74786" cy="425224"/>
              </a:xfrm>
              <a:custGeom>
                <a:avLst/>
                <a:gdLst>
                  <a:gd name="connsiteX0" fmla="*/ 37083 w 74786"/>
                  <a:gd name="connsiteY0" fmla="*/ -240 h 425224"/>
                  <a:gd name="connsiteX1" fmla="*/ 37083 w 74786"/>
                  <a:gd name="connsiteY1" fmla="*/ -240 h 425224"/>
                  <a:gd name="connsiteX2" fmla="*/ -310 w 74786"/>
                  <a:gd name="connsiteY2" fmla="*/ 37153 h 425224"/>
                  <a:gd name="connsiteX3" fmla="*/ -310 w 74786"/>
                  <a:gd name="connsiteY3" fmla="*/ 424984 h 425224"/>
                  <a:gd name="connsiteX4" fmla="*/ 74476 w 74786"/>
                  <a:gd name="connsiteY4" fmla="*/ 424984 h 425224"/>
                  <a:gd name="connsiteX5" fmla="*/ 74476 w 74786"/>
                  <a:gd name="connsiteY5" fmla="*/ 37153 h 425224"/>
                  <a:gd name="connsiteX6" fmla="*/ 37083 w 74786"/>
                  <a:gd name="connsiteY6" fmla="*/ -240 h 42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425224">
                    <a:moveTo>
                      <a:pt x="37083" y="-240"/>
                    </a:moveTo>
                    <a:lnTo>
                      <a:pt x="37083" y="-240"/>
                    </a:lnTo>
                    <a:cubicBezTo>
                      <a:pt x="16429" y="-240"/>
                      <a:pt x="-310" y="16499"/>
                      <a:pt x="-310" y="37153"/>
                    </a:cubicBezTo>
                    <a:lnTo>
                      <a:pt x="-310" y="424984"/>
                    </a:lnTo>
                    <a:lnTo>
                      <a:pt x="74476" y="424984"/>
                    </a:lnTo>
                    <a:lnTo>
                      <a:pt x="74476" y="37153"/>
                    </a:lnTo>
                    <a:cubicBezTo>
                      <a:pt x="74476" y="16499"/>
                      <a:pt x="57737" y="-240"/>
                      <a:pt x="37083" y="-240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Полилиния: фигура 47">
                <a:extLst>
                  <a:ext uri="{FF2B5EF4-FFF2-40B4-BE49-F238E27FC236}">
                    <a16:creationId xmlns:a16="http://schemas.microsoft.com/office/drawing/2014/main" id="{9EC87D7A-39AB-4CD3-0F1C-31B70D227BE8}"/>
                  </a:ext>
                </a:extLst>
              </p:cNvPr>
              <p:cNvSpPr/>
              <p:nvPr/>
            </p:nvSpPr>
            <p:spPr>
              <a:xfrm>
                <a:off x="11717931" y="6392545"/>
                <a:ext cx="204193" cy="288572"/>
              </a:xfrm>
              <a:custGeom>
                <a:avLst/>
                <a:gdLst>
                  <a:gd name="connsiteX0" fmla="*/ 101787 w 204193"/>
                  <a:gd name="connsiteY0" fmla="*/ 288333 h 288572"/>
                  <a:gd name="connsiteX1" fmla="*/ 203884 w 204193"/>
                  <a:gd name="connsiteY1" fmla="*/ 186236 h 288572"/>
                  <a:gd name="connsiteX2" fmla="*/ 203884 w 204193"/>
                  <a:gd name="connsiteY2" fmla="*/ 101857 h 288572"/>
                  <a:gd name="connsiteX3" fmla="*/ 101787 w 204193"/>
                  <a:gd name="connsiteY3" fmla="*/ -240 h 288572"/>
                  <a:gd name="connsiteX4" fmla="*/ -310 w 204193"/>
                  <a:gd name="connsiteY4" fmla="*/ 101857 h 288572"/>
                  <a:gd name="connsiteX5" fmla="*/ -310 w 204193"/>
                  <a:gd name="connsiteY5" fmla="*/ 186236 h 288572"/>
                  <a:gd name="connsiteX6" fmla="*/ 101787 w 204193"/>
                  <a:gd name="connsiteY6" fmla="*/ 288333 h 28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193" h="288572">
                    <a:moveTo>
                      <a:pt x="101787" y="288333"/>
                    </a:moveTo>
                    <a:cubicBezTo>
                      <a:pt x="158170" y="288333"/>
                      <a:pt x="203884" y="242619"/>
                      <a:pt x="203884" y="186236"/>
                    </a:cubicBezTo>
                    <a:lnTo>
                      <a:pt x="203884" y="101857"/>
                    </a:lnTo>
                    <a:cubicBezTo>
                      <a:pt x="203884" y="45473"/>
                      <a:pt x="158170" y="-240"/>
                      <a:pt x="101787" y="-240"/>
                    </a:cubicBezTo>
                    <a:cubicBezTo>
                      <a:pt x="45403" y="-240"/>
                      <a:pt x="-310" y="45473"/>
                      <a:pt x="-310" y="101857"/>
                    </a:cubicBezTo>
                    <a:lnTo>
                      <a:pt x="-310" y="186236"/>
                    </a:lnTo>
                    <a:cubicBezTo>
                      <a:pt x="-310" y="242619"/>
                      <a:pt x="45403" y="288333"/>
                      <a:pt x="101787" y="288333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6" name="Полилиния: фигура 56">
              <a:extLst>
                <a:ext uri="{FF2B5EF4-FFF2-40B4-BE49-F238E27FC236}">
                  <a16:creationId xmlns:a16="http://schemas.microsoft.com/office/drawing/2014/main" id="{6E6199AE-034D-751B-0B41-16843783D52E}"/>
                </a:ext>
              </a:extLst>
            </p:cNvPr>
            <p:cNvSpPr/>
            <p:nvPr/>
          </p:nvSpPr>
          <p:spPr>
            <a:xfrm>
              <a:off x="9252833" y="0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Полилиния: фигура 57">
              <a:extLst>
                <a:ext uri="{FF2B5EF4-FFF2-40B4-BE49-F238E27FC236}">
                  <a16:creationId xmlns:a16="http://schemas.microsoft.com/office/drawing/2014/main" id="{9B637539-34B8-C902-670F-61DA69B52B5E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Полилиния: фигура 59">
              <a:extLst>
                <a:ext uri="{FF2B5EF4-FFF2-40B4-BE49-F238E27FC236}">
                  <a16:creationId xmlns:a16="http://schemas.microsoft.com/office/drawing/2014/main" id="{F5129B11-D1CB-5277-B291-BC940C69B3B7}"/>
                </a:ext>
              </a:extLst>
            </p:cNvPr>
            <p:cNvSpPr/>
            <p:nvPr/>
          </p:nvSpPr>
          <p:spPr>
            <a:xfrm rot="16200000">
              <a:off x="7297491" y="4107"/>
              <a:ext cx="978852" cy="972412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Полилиния: фигура 60">
              <a:extLst>
                <a:ext uri="{FF2B5EF4-FFF2-40B4-BE49-F238E27FC236}">
                  <a16:creationId xmlns:a16="http://schemas.microsoft.com/office/drawing/2014/main" id="{974EF996-E4A2-7F1D-39E1-C0E93962FF0D}"/>
                </a:ext>
              </a:extLst>
            </p:cNvPr>
            <p:cNvSpPr/>
            <p:nvPr/>
          </p:nvSpPr>
          <p:spPr>
            <a:xfrm>
              <a:off x="7288368" y="489882"/>
              <a:ext cx="494894" cy="495482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Полилиния: фигура 61">
              <a:extLst>
                <a:ext uri="{FF2B5EF4-FFF2-40B4-BE49-F238E27FC236}">
                  <a16:creationId xmlns:a16="http://schemas.microsoft.com/office/drawing/2014/main" id="{2109B157-2DB2-D42E-0D05-727A20A19A9C}"/>
                </a:ext>
              </a:extLst>
            </p:cNvPr>
            <p:cNvSpPr/>
            <p:nvPr/>
          </p:nvSpPr>
          <p:spPr>
            <a:xfrm>
              <a:off x="7284210" y="25"/>
              <a:ext cx="499051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Полилиния: фигура 62">
              <a:extLst>
                <a:ext uri="{FF2B5EF4-FFF2-40B4-BE49-F238E27FC236}">
                  <a16:creationId xmlns:a16="http://schemas.microsoft.com/office/drawing/2014/main" id="{1DF63EB9-998D-F6DC-0EA8-B1427C621F3D}"/>
                </a:ext>
              </a:extLst>
            </p:cNvPr>
            <p:cNvSpPr/>
            <p:nvPr/>
          </p:nvSpPr>
          <p:spPr>
            <a:xfrm>
              <a:off x="7774067" y="25"/>
              <a:ext cx="499051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Полилиния: фигура 63">
              <a:extLst>
                <a:ext uri="{FF2B5EF4-FFF2-40B4-BE49-F238E27FC236}">
                  <a16:creationId xmlns:a16="http://schemas.microsoft.com/office/drawing/2014/main" id="{D859794D-6835-2E5D-0A71-C4015F66C477}"/>
                </a:ext>
              </a:extLst>
            </p:cNvPr>
            <p:cNvSpPr/>
            <p:nvPr/>
          </p:nvSpPr>
          <p:spPr>
            <a:xfrm>
              <a:off x="7778225" y="489882"/>
              <a:ext cx="494894" cy="495482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Полилиния: фигура 65">
              <a:extLst>
                <a:ext uri="{FF2B5EF4-FFF2-40B4-BE49-F238E27FC236}">
                  <a16:creationId xmlns:a16="http://schemas.microsoft.com/office/drawing/2014/main" id="{8D146B39-1CF3-38A2-02D7-8EEE1021B295}"/>
                </a:ext>
              </a:extLst>
            </p:cNvPr>
            <p:cNvSpPr/>
            <p:nvPr/>
          </p:nvSpPr>
          <p:spPr>
            <a:xfrm rot="16200000">
              <a:off x="10229303" y="2406"/>
              <a:ext cx="986202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66">
              <a:extLst>
                <a:ext uri="{FF2B5EF4-FFF2-40B4-BE49-F238E27FC236}">
                  <a16:creationId xmlns:a16="http://schemas.microsoft.com/office/drawing/2014/main" id="{808F38F4-0E60-680B-48D4-095F2B513E1F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Полилиния: фигура 67">
              <a:extLst>
                <a:ext uri="{FF2B5EF4-FFF2-40B4-BE49-F238E27FC236}">
                  <a16:creationId xmlns:a16="http://schemas.microsoft.com/office/drawing/2014/main" id="{C89429AF-71A5-1284-B6E1-D71AABE0B71D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Полилиния: фигура 68">
              <a:extLst>
                <a:ext uri="{FF2B5EF4-FFF2-40B4-BE49-F238E27FC236}">
                  <a16:creationId xmlns:a16="http://schemas.microsoft.com/office/drawing/2014/main" id="{C405CC03-1321-0681-8E46-9ED5F4699D77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Полилиния: фигура 69">
              <a:extLst>
                <a:ext uri="{FF2B5EF4-FFF2-40B4-BE49-F238E27FC236}">
                  <a16:creationId xmlns:a16="http://schemas.microsoft.com/office/drawing/2014/main" id="{47E90767-1CD4-229E-F8B8-B9F62694FD46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Полилиния: фигура 71">
              <a:extLst>
                <a:ext uri="{FF2B5EF4-FFF2-40B4-BE49-F238E27FC236}">
                  <a16:creationId xmlns:a16="http://schemas.microsoft.com/office/drawing/2014/main" id="{7577D1C3-34C5-3C69-A9A7-CC93CEC67644}"/>
                </a:ext>
              </a:extLst>
            </p:cNvPr>
            <p:cNvSpPr/>
            <p:nvPr/>
          </p:nvSpPr>
          <p:spPr>
            <a:xfrm rot="16200000">
              <a:off x="8273043" y="4107"/>
              <a:ext cx="978852" cy="972411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9" name="Группа 133">
              <a:extLst>
                <a:ext uri="{FF2B5EF4-FFF2-40B4-BE49-F238E27FC236}">
                  <a16:creationId xmlns:a16="http://schemas.microsoft.com/office/drawing/2014/main" id="{038C248A-533D-7B45-7FF8-783145FF53E9}"/>
                </a:ext>
              </a:extLst>
            </p:cNvPr>
            <p:cNvGrpSpPr/>
            <p:nvPr/>
          </p:nvGrpSpPr>
          <p:grpSpPr>
            <a:xfrm>
              <a:off x="8460243" y="187150"/>
              <a:ext cx="605463" cy="605463"/>
              <a:chOff x="8460243" y="187150"/>
              <a:chExt cx="605463" cy="605463"/>
            </a:xfrm>
          </p:grpSpPr>
          <p:sp>
            <p:nvSpPr>
              <p:cNvPr id="240" name="Полилиния: фигура 72">
                <a:extLst>
                  <a:ext uri="{FF2B5EF4-FFF2-40B4-BE49-F238E27FC236}">
                    <a16:creationId xmlns:a16="http://schemas.microsoft.com/office/drawing/2014/main" id="{94AE1B0D-F2A2-80E9-FDB9-FB89DE377F2C}"/>
                  </a:ext>
                </a:extLst>
              </p:cNvPr>
              <p:cNvSpPr/>
              <p:nvPr userDrawn="1"/>
            </p:nvSpPr>
            <p:spPr>
              <a:xfrm>
                <a:off x="8592015" y="318922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1" y="341920"/>
                      <a:pt x="0" y="265379"/>
                      <a:pt x="0" y="170960"/>
                    </a:cubicBezTo>
                    <a:cubicBezTo>
                      <a:pt x="0" y="76541"/>
                      <a:pt x="76541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Полилиния: фигура 73">
                <a:extLst>
                  <a:ext uri="{FF2B5EF4-FFF2-40B4-BE49-F238E27FC236}">
                    <a16:creationId xmlns:a16="http://schemas.microsoft.com/office/drawing/2014/main" id="{C3CE0353-B3A6-B07F-A4F3-82D85DE782BE}"/>
                  </a:ext>
                </a:extLst>
              </p:cNvPr>
              <p:cNvSpPr/>
              <p:nvPr userDrawn="1"/>
            </p:nvSpPr>
            <p:spPr>
              <a:xfrm>
                <a:off x="8460243" y="187150"/>
                <a:ext cx="605463" cy="605463"/>
              </a:xfrm>
              <a:custGeom>
                <a:avLst/>
                <a:gdLst>
                  <a:gd name="connsiteX0" fmla="*/ 302422 w 605463"/>
                  <a:gd name="connsiteY0" fmla="*/ -240 h 605463"/>
                  <a:gd name="connsiteX1" fmla="*/ 273031 w 605463"/>
                  <a:gd name="connsiteY1" fmla="*/ 29151 h 605463"/>
                  <a:gd name="connsiteX2" fmla="*/ 273031 w 605463"/>
                  <a:gd name="connsiteY2" fmla="*/ 72847 h 605463"/>
                  <a:gd name="connsiteX3" fmla="*/ 302422 w 605463"/>
                  <a:gd name="connsiteY3" fmla="*/ 102238 h 605463"/>
                  <a:gd name="connsiteX4" fmla="*/ 331813 w 605463"/>
                  <a:gd name="connsiteY4" fmla="*/ 72847 h 605463"/>
                  <a:gd name="connsiteX5" fmla="*/ 331813 w 605463"/>
                  <a:gd name="connsiteY5" fmla="*/ 29151 h 605463"/>
                  <a:gd name="connsiteX6" fmla="*/ 302422 w 605463"/>
                  <a:gd name="connsiteY6" fmla="*/ -240 h 605463"/>
                  <a:gd name="connsiteX7" fmla="*/ 302422 w 605463"/>
                  <a:gd name="connsiteY7" fmla="*/ 502745 h 605463"/>
                  <a:gd name="connsiteX8" fmla="*/ 273031 w 605463"/>
                  <a:gd name="connsiteY8" fmla="*/ 532137 h 605463"/>
                  <a:gd name="connsiteX9" fmla="*/ 273031 w 605463"/>
                  <a:gd name="connsiteY9" fmla="*/ 575832 h 605463"/>
                  <a:gd name="connsiteX10" fmla="*/ 302422 w 605463"/>
                  <a:gd name="connsiteY10" fmla="*/ 605223 h 605463"/>
                  <a:gd name="connsiteX11" fmla="*/ 331813 w 605463"/>
                  <a:gd name="connsiteY11" fmla="*/ 575832 h 605463"/>
                  <a:gd name="connsiteX12" fmla="*/ 331813 w 605463"/>
                  <a:gd name="connsiteY12" fmla="*/ 532137 h 605463"/>
                  <a:gd name="connsiteX13" fmla="*/ 302422 w 605463"/>
                  <a:gd name="connsiteY13" fmla="*/ 502745 h 605463"/>
                  <a:gd name="connsiteX14" fmla="*/ 102169 w 605463"/>
                  <a:gd name="connsiteY14" fmla="*/ 302492 h 605463"/>
                  <a:gd name="connsiteX15" fmla="*/ 72778 w 605463"/>
                  <a:gd name="connsiteY15" fmla="*/ 273100 h 605463"/>
                  <a:gd name="connsiteX16" fmla="*/ 29081 w 605463"/>
                  <a:gd name="connsiteY16" fmla="*/ 273100 h 605463"/>
                  <a:gd name="connsiteX17" fmla="*/ -310 w 605463"/>
                  <a:gd name="connsiteY17" fmla="*/ 302492 h 605463"/>
                  <a:gd name="connsiteX18" fmla="*/ 29081 w 605463"/>
                  <a:gd name="connsiteY18" fmla="*/ 331883 h 605463"/>
                  <a:gd name="connsiteX19" fmla="*/ 72778 w 605463"/>
                  <a:gd name="connsiteY19" fmla="*/ 331883 h 605463"/>
                  <a:gd name="connsiteX20" fmla="*/ 102169 w 605463"/>
                  <a:gd name="connsiteY20" fmla="*/ 302492 h 605463"/>
                  <a:gd name="connsiteX21" fmla="*/ 575763 w 605463"/>
                  <a:gd name="connsiteY21" fmla="*/ 273100 h 605463"/>
                  <a:gd name="connsiteX22" fmla="*/ 532066 w 605463"/>
                  <a:gd name="connsiteY22" fmla="*/ 273100 h 605463"/>
                  <a:gd name="connsiteX23" fmla="*/ 502675 w 605463"/>
                  <a:gd name="connsiteY23" fmla="*/ 302492 h 605463"/>
                  <a:gd name="connsiteX24" fmla="*/ 532066 w 605463"/>
                  <a:gd name="connsiteY24" fmla="*/ 331883 h 605463"/>
                  <a:gd name="connsiteX25" fmla="*/ 575763 w 605463"/>
                  <a:gd name="connsiteY25" fmla="*/ 331883 h 605463"/>
                  <a:gd name="connsiteX26" fmla="*/ 605154 w 605463"/>
                  <a:gd name="connsiteY26" fmla="*/ 302492 h 605463"/>
                  <a:gd name="connsiteX27" fmla="*/ 575763 w 605463"/>
                  <a:gd name="connsiteY27" fmla="*/ 273100 h 605463"/>
                  <a:gd name="connsiteX28" fmla="*/ 129894 w 605463"/>
                  <a:gd name="connsiteY28" fmla="*/ 88424 h 605463"/>
                  <a:gd name="connsiteX29" fmla="*/ 88355 w 605463"/>
                  <a:gd name="connsiteY29" fmla="*/ 86955 h 605463"/>
                  <a:gd name="connsiteX30" fmla="*/ 86885 w 605463"/>
                  <a:gd name="connsiteY30" fmla="*/ 128494 h 605463"/>
                  <a:gd name="connsiteX31" fmla="*/ 88355 w 605463"/>
                  <a:gd name="connsiteY31" fmla="*/ 129964 h 605463"/>
                  <a:gd name="connsiteX32" fmla="*/ 119216 w 605463"/>
                  <a:gd name="connsiteY32" fmla="*/ 160923 h 605463"/>
                  <a:gd name="connsiteX33" fmla="*/ 160854 w 605463"/>
                  <a:gd name="connsiteY33" fmla="*/ 160923 h 605463"/>
                  <a:gd name="connsiteX34" fmla="*/ 160854 w 605463"/>
                  <a:gd name="connsiteY34" fmla="*/ 119285 h 605463"/>
                  <a:gd name="connsiteX35" fmla="*/ 485628 w 605463"/>
                  <a:gd name="connsiteY35" fmla="*/ 444061 h 605463"/>
                  <a:gd name="connsiteX36" fmla="*/ 443990 w 605463"/>
                  <a:gd name="connsiteY36" fmla="*/ 444061 h 605463"/>
                  <a:gd name="connsiteX37" fmla="*/ 443990 w 605463"/>
                  <a:gd name="connsiteY37" fmla="*/ 485698 h 605463"/>
                  <a:gd name="connsiteX38" fmla="*/ 474950 w 605463"/>
                  <a:gd name="connsiteY38" fmla="*/ 516559 h 605463"/>
                  <a:gd name="connsiteX39" fmla="*/ 516489 w 605463"/>
                  <a:gd name="connsiteY39" fmla="*/ 516559 h 605463"/>
                  <a:gd name="connsiteX40" fmla="*/ 516489 w 605463"/>
                  <a:gd name="connsiteY40" fmla="*/ 475019 h 605463"/>
                  <a:gd name="connsiteX41" fmla="*/ 119216 w 605463"/>
                  <a:gd name="connsiteY41" fmla="*/ 444061 h 605463"/>
                  <a:gd name="connsiteX42" fmla="*/ 88355 w 605463"/>
                  <a:gd name="connsiteY42" fmla="*/ 475019 h 605463"/>
                  <a:gd name="connsiteX43" fmla="*/ 88355 w 605463"/>
                  <a:gd name="connsiteY43" fmla="*/ 516589 h 605463"/>
                  <a:gd name="connsiteX44" fmla="*/ 109125 w 605463"/>
                  <a:gd name="connsiteY44" fmla="*/ 525181 h 605463"/>
                  <a:gd name="connsiteX45" fmla="*/ 129894 w 605463"/>
                  <a:gd name="connsiteY45" fmla="*/ 516559 h 605463"/>
                  <a:gd name="connsiteX46" fmla="*/ 160854 w 605463"/>
                  <a:gd name="connsiteY46" fmla="*/ 485698 h 605463"/>
                  <a:gd name="connsiteX47" fmla="*/ 160854 w 605463"/>
                  <a:gd name="connsiteY47" fmla="*/ 444061 h 605463"/>
                  <a:gd name="connsiteX48" fmla="*/ 119216 w 605463"/>
                  <a:gd name="connsiteY48" fmla="*/ 444061 h 605463"/>
                  <a:gd name="connsiteX49" fmla="*/ 464858 w 605463"/>
                  <a:gd name="connsiteY49" fmla="*/ 169740 h 605463"/>
                  <a:gd name="connsiteX50" fmla="*/ 485628 w 605463"/>
                  <a:gd name="connsiteY50" fmla="*/ 161217 h 605463"/>
                  <a:gd name="connsiteX51" fmla="*/ 516489 w 605463"/>
                  <a:gd name="connsiteY51" fmla="*/ 130258 h 605463"/>
                  <a:gd name="connsiteX52" fmla="*/ 517959 w 605463"/>
                  <a:gd name="connsiteY52" fmla="*/ 88718 h 605463"/>
                  <a:gd name="connsiteX53" fmla="*/ 476419 w 605463"/>
                  <a:gd name="connsiteY53" fmla="*/ 87248 h 605463"/>
                  <a:gd name="connsiteX54" fmla="*/ 474950 w 605463"/>
                  <a:gd name="connsiteY54" fmla="*/ 88718 h 605463"/>
                  <a:gd name="connsiteX55" fmla="*/ 443990 w 605463"/>
                  <a:gd name="connsiteY55" fmla="*/ 119579 h 605463"/>
                  <a:gd name="connsiteX56" fmla="*/ 443990 w 605463"/>
                  <a:gd name="connsiteY56" fmla="*/ 161148 h 605463"/>
                  <a:gd name="connsiteX57" fmla="*/ 464858 w 605463"/>
                  <a:gd name="connsiteY57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605463" h="605463">
                    <a:moveTo>
                      <a:pt x="302422" y="-240"/>
                    </a:moveTo>
                    <a:cubicBezTo>
                      <a:pt x="286158" y="-240"/>
                      <a:pt x="273031" y="12917"/>
                      <a:pt x="273031" y="29151"/>
                    </a:cubicBezTo>
                    <a:lnTo>
                      <a:pt x="273031" y="72847"/>
                    </a:lnTo>
                    <a:cubicBezTo>
                      <a:pt x="273031" y="89081"/>
                      <a:pt x="286158" y="102238"/>
                      <a:pt x="302422" y="102238"/>
                    </a:cubicBezTo>
                    <a:cubicBezTo>
                      <a:pt x="318686" y="102238"/>
                      <a:pt x="331813" y="89081"/>
                      <a:pt x="331813" y="72847"/>
                    </a:cubicBezTo>
                    <a:lnTo>
                      <a:pt x="331813" y="29151"/>
                    </a:lnTo>
                    <a:cubicBezTo>
                      <a:pt x="331813" y="12917"/>
                      <a:pt x="318686" y="-240"/>
                      <a:pt x="302422" y="-240"/>
                    </a:cubicBezTo>
                    <a:close/>
                    <a:moveTo>
                      <a:pt x="302422" y="502745"/>
                    </a:moveTo>
                    <a:cubicBezTo>
                      <a:pt x="286158" y="502745"/>
                      <a:pt x="273031" y="515903"/>
                      <a:pt x="273031" y="532137"/>
                    </a:cubicBezTo>
                    <a:lnTo>
                      <a:pt x="273031" y="575832"/>
                    </a:lnTo>
                    <a:cubicBezTo>
                      <a:pt x="273031" y="592066"/>
                      <a:pt x="286158" y="605223"/>
                      <a:pt x="302422" y="605223"/>
                    </a:cubicBezTo>
                    <a:cubicBezTo>
                      <a:pt x="318686" y="605223"/>
                      <a:pt x="331813" y="592066"/>
                      <a:pt x="331813" y="575832"/>
                    </a:cubicBezTo>
                    <a:lnTo>
                      <a:pt x="331813" y="532137"/>
                    </a:lnTo>
                    <a:cubicBezTo>
                      <a:pt x="331813" y="515903"/>
                      <a:pt x="318686" y="502745"/>
                      <a:pt x="302422" y="502745"/>
                    </a:cubicBezTo>
                    <a:close/>
                    <a:moveTo>
                      <a:pt x="102169" y="302492"/>
                    </a:moveTo>
                    <a:cubicBezTo>
                      <a:pt x="102169" y="286258"/>
                      <a:pt x="89040" y="273100"/>
                      <a:pt x="72778" y="273100"/>
                    </a:cubicBezTo>
                    <a:lnTo>
                      <a:pt x="29081" y="273100"/>
                    </a:lnTo>
                    <a:cubicBezTo>
                      <a:pt x="12818" y="273100"/>
                      <a:pt x="-310" y="286258"/>
                      <a:pt x="-310" y="302492"/>
                    </a:cubicBezTo>
                    <a:cubicBezTo>
                      <a:pt x="-310" y="318726"/>
                      <a:pt x="12818" y="331883"/>
                      <a:pt x="29081" y="331883"/>
                    </a:cubicBezTo>
                    <a:lnTo>
                      <a:pt x="72778" y="331883"/>
                    </a:lnTo>
                    <a:cubicBezTo>
                      <a:pt x="89040" y="331883"/>
                      <a:pt x="102169" y="318726"/>
                      <a:pt x="102169" y="302492"/>
                    </a:cubicBezTo>
                    <a:close/>
                    <a:moveTo>
                      <a:pt x="575763" y="273100"/>
                    </a:moveTo>
                    <a:lnTo>
                      <a:pt x="532066" y="273100"/>
                    </a:lnTo>
                    <a:cubicBezTo>
                      <a:pt x="515804" y="273100"/>
                      <a:pt x="502675" y="286258"/>
                      <a:pt x="502675" y="302492"/>
                    </a:cubicBezTo>
                    <a:cubicBezTo>
                      <a:pt x="502675" y="318726"/>
                      <a:pt x="515804" y="331883"/>
                      <a:pt x="532066" y="331883"/>
                    </a:cubicBezTo>
                    <a:lnTo>
                      <a:pt x="575763" y="331883"/>
                    </a:lnTo>
                    <a:cubicBezTo>
                      <a:pt x="592026" y="331883"/>
                      <a:pt x="605154" y="318726"/>
                      <a:pt x="605154" y="302492"/>
                    </a:cubicBezTo>
                    <a:cubicBezTo>
                      <a:pt x="605154" y="286258"/>
                      <a:pt x="592026" y="273100"/>
                      <a:pt x="575763" y="273100"/>
                    </a:cubicBezTo>
                    <a:close/>
                    <a:moveTo>
                      <a:pt x="129894" y="88424"/>
                    </a:moveTo>
                    <a:cubicBezTo>
                      <a:pt x="118824" y="76550"/>
                      <a:pt x="100209" y="75894"/>
                      <a:pt x="88355" y="86955"/>
                    </a:cubicBezTo>
                    <a:cubicBezTo>
                      <a:pt x="76499" y="98025"/>
                      <a:pt x="75814" y="116620"/>
                      <a:pt x="86885" y="128494"/>
                    </a:cubicBezTo>
                    <a:cubicBezTo>
                      <a:pt x="87375" y="129004"/>
                      <a:pt x="87864" y="129494"/>
                      <a:pt x="88355" y="129964"/>
                    </a:cubicBezTo>
                    <a:lnTo>
                      <a:pt x="119216" y="160923"/>
                    </a:lnTo>
                    <a:cubicBezTo>
                      <a:pt x="130678" y="172425"/>
                      <a:pt x="149391" y="172425"/>
                      <a:pt x="160854" y="160923"/>
                    </a:cubicBezTo>
                    <a:cubicBezTo>
                      <a:pt x="172316" y="149421"/>
                      <a:pt x="172316" y="130787"/>
                      <a:pt x="160854" y="119285"/>
                    </a:cubicBezTo>
                    <a:close/>
                    <a:moveTo>
                      <a:pt x="485628" y="444061"/>
                    </a:moveTo>
                    <a:cubicBezTo>
                      <a:pt x="474166" y="432559"/>
                      <a:pt x="455453" y="432559"/>
                      <a:pt x="443990" y="444061"/>
                    </a:cubicBezTo>
                    <a:cubicBezTo>
                      <a:pt x="432528" y="455562"/>
                      <a:pt x="432528" y="474196"/>
                      <a:pt x="443990" y="485698"/>
                    </a:cubicBezTo>
                    <a:lnTo>
                      <a:pt x="474950" y="516559"/>
                    </a:lnTo>
                    <a:cubicBezTo>
                      <a:pt x="486413" y="528022"/>
                      <a:pt x="505027" y="528022"/>
                      <a:pt x="516489" y="516559"/>
                    </a:cubicBezTo>
                    <a:cubicBezTo>
                      <a:pt x="527952" y="505087"/>
                      <a:pt x="527952" y="486492"/>
                      <a:pt x="516489" y="475019"/>
                    </a:cubicBezTo>
                    <a:close/>
                    <a:moveTo>
                      <a:pt x="119216" y="444061"/>
                    </a:moveTo>
                    <a:lnTo>
                      <a:pt x="88355" y="475019"/>
                    </a:lnTo>
                    <a:cubicBezTo>
                      <a:pt x="76892" y="486502"/>
                      <a:pt x="76892" y="505116"/>
                      <a:pt x="88355" y="516589"/>
                    </a:cubicBezTo>
                    <a:cubicBezTo>
                      <a:pt x="93840" y="522085"/>
                      <a:pt x="101384" y="525171"/>
                      <a:pt x="109125" y="525181"/>
                    </a:cubicBezTo>
                    <a:cubicBezTo>
                      <a:pt x="116962" y="525171"/>
                      <a:pt x="124407" y="522075"/>
                      <a:pt x="129894" y="516559"/>
                    </a:cubicBezTo>
                    <a:lnTo>
                      <a:pt x="160854" y="485698"/>
                    </a:lnTo>
                    <a:cubicBezTo>
                      <a:pt x="172316" y="474196"/>
                      <a:pt x="172316" y="455562"/>
                      <a:pt x="160854" y="444061"/>
                    </a:cubicBezTo>
                    <a:cubicBezTo>
                      <a:pt x="149391" y="432559"/>
                      <a:pt x="130678" y="432559"/>
                      <a:pt x="119216" y="444061"/>
                    </a:cubicBezTo>
                    <a:close/>
                    <a:moveTo>
                      <a:pt x="464858" y="169740"/>
                    </a:moveTo>
                    <a:cubicBezTo>
                      <a:pt x="472598" y="169760"/>
                      <a:pt x="480142" y="166694"/>
                      <a:pt x="485628" y="161217"/>
                    </a:cubicBezTo>
                    <a:lnTo>
                      <a:pt x="516489" y="130258"/>
                    </a:lnTo>
                    <a:cubicBezTo>
                      <a:pt x="528345" y="119187"/>
                      <a:pt x="529030" y="100592"/>
                      <a:pt x="517959" y="88718"/>
                    </a:cubicBezTo>
                    <a:cubicBezTo>
                      <a:pt x="506888" y="76844"/>
                      <a:pt x="488273" y="76187"/>
                      <a:pt x="476419" y="87248"/>
                    </a:cubicBezTo>
                    <a:cubicBezTo>
                      <a:pt x="475929" y="87719"/>
                      <a:pt x="475440" y="88208"/>
                      <a:pt x="474950" y="88718"/>
                    </a:cubicBezTo>
                    <a:lnTo>
                      <a:pt x="443990" y="119579"/>
                    </a:lnTo>
                    <a:cubicBezTo>
                      <a:pt x="432528" y="131061"/>
                      <a:pt x="432528" y="149676"/>
                      <a:pt x="443990" y="161148"/>
                    </a:cubicBezTo>
                    <a:cubicBezTo>
                      <a:pt x="449575" y="166664"/>
                      <a:pt x="457021" y="169760"/>
                      <a:pt x="464858" y="1697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0" name="Полилиния: фигура 75">
              <a:extLst>
                <a:ext uri="{FF2B5EF4-FFF2-40B4-BE49-F238E27FC236}">
                  <a16:creationId xmlns:a16="http://schemas.microsoft.com/office/drawing/2014/main" id="{81F99469-47F3-5E7C-6CA4-6DCEB846CA29}"/>
                </a:ext>
              </a:extLst>
            </p:cNvPr>
            <p:cNvSpPr/>
            <p:nvPr/>
          </p:nvSpPr>
          <p:spPr>
            <a:xfrm>
              <a:off x="6926011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Полилиния: фигура 76">
              <a:extLst>
                <a:ext uri="{FF2B5EF4-FFF2-40B4-BE49-F238E27FC236}">
                  <a16:creationId xmlns:a16="http://schemas.microsoft.com/office/drawing/2014/main" id="{7AE61898-43E7-4DE4-6129-B22B7D9A3DC4}"/>
                </a:ext>
              </a:extLst>
            </p:cNvPr>
            <p:cNvSpPr/>
            <p:nvPr/>
          </p:nvSpPr>
          <p:spPr>
            <a:xfrm>
              <a:off x="6436154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Полилиния: фигура 77">
              <a:extLst>
                <a:ext uri="{FF2B5EF4-FFF2-40B4-BE49-F238E27FC236}">
                  <a16:creationId xmlns:a16="http://schemas.microsoft.com/office/drawing/2014/main" id="{547CF65D-CEAE-C352-5A85-FFF9189150B5}"/>
                </a:ext>
              </a:extLst>
            </p:cNvPr>
            <p:cNvSpPr/>
            <p:nvPr/>
          </p:nvSpPr>
          <p:spPr>
            <a:xfrm>
              <a:off x="6926011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Полилиния: фигура 78">
              <a:extLst>
                <a:ext uri="{FF2B5EF4-FFF2-40B4-BE49-F238E27FC236}">
                  <a16:creationId xmlns:a16="http://schemas.microsoft.com/office/drawing/2014/main" id="{23CAF896-8BE7-B71B-77DA-6D0B1FB876E5}"/>
                </a:ext>
              </a:extLst>
            </p:cNvPr>
            <p:cNvSpPr/>
            <p:nvPr/>
          </p:nvSpPr>
          <p:spPr>
            <a:xfrm>
              <a:off x="6681083" y="367417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Полилиния: фигура 79">
              <a:extLst>
                <a:ext uri="{FF2B5EF4-FFF2-40B4-BE49-F238E27FC236}">
                  <a16:creationId xmlns:a16="http://schemas.microsoft.com/office/drawing/2014/main" id="{2B37F7E8-E89D-8459-5373-131DADF7A792}"/>
                </a:ext>
              </a:extLst>
            </p:cNvPr>
            <p:cNvSpPr/>
            <p:nvPr/>
          </p:nvSpPr>
          <p:spPr>
            <a:xfrm>
              <a:off x="6436154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Полилиния: фигура 81">
              <a:extLst>
                <a:ext uri="{FF2B5EF4-FFF2-40B4-BE49-F238E27FC236}">
                  <a16:creationId xmlns:a16="http://schemas.microsoft.com/office/drawing/2014/main" id="{C1A6FAE4-111D-E1CF-5EA3-53F0E6708016}"/>
                </a:ext>
              </a:extLst>
            </p:cNvPr>
            <p:cNvSpPr/>
            <p:nvPr/>
          </p:nvSpPr>
          <p:spPr>
            <a:xfrm rot="5400000">
              <a:off x="11210613" y="-2508"/>
              <a:ext cx="978877" cy="98389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Полилиния: фигура 82">
              <a:extLst>
                <a:ext uri="{FF2B5EF4-FFF2-40B4-BE49-F238E27FC236}">
                  <a16:creationId xmlns:a16="http://schemas.microsoft.com/office/drawing/2014/main" id="{09EB9843-1497-0BF8-D6D3-8895C82F1CFF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Полилиния: фигура 83">
              <a:extLst>
                <a:ext uri="{FF2B5EF4-FFF2-40B4-BE49-F238E27FC236}">
                  <a16:creationId xmlns:a16="http://schemas.microsoft.com/office/drawing/2014/main" id="{A7960E16-D3C6-7C19-B284-9D6891D41091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Полилиния: фигура 84">
              <a:extLst>
                <a:ext uri="{FF2B5EF4-FFF2-40B4-BE49-F238E27FC236}">
                  <a16:creationId xmlns:a16="http://schemas.microsoft.com/office/drawing/2014/main" id="{7E7243CA-C318-CFBD-752B-3ECB9C85005E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Полилиния: фигура 85">
              <a:extLst>
                <a:ext uri="{FF2B5EF4-FFF2-40B4-BE49-F238E27FC236}">
                  <a16:creationId xmlns:a16="http://schemas.microsoft.com/office/drawing/2014/main" id="{C0D6D19C-8414-5B25-9FF2-68CCA3C32376}"/>
                </a:ext>
              </a:extLst>
            </p:cNvPr>
            <p:cNvSpPr/>
            <p:nvPr/>
          </p:nvSpPr>
          <p:spPr>
            <a:xfrm>
              <a:off x="10477475" y="122466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Полилиния: фигура 87">
              <a:extLst>
                <a:ext uri="{FF2B5EF4-FFF2-40B4-BE49-F238E27FC236}">
                  <a16:creationId xmlns:a16="http://schemas.microsoft.com/office/drawing/2014/main" id="{9318107F-7C68-343C-164E-A2DABF4D6B11}"/>
                </a:ext>
              </a:extLst>
            </p:cNvPr>
            <p:cNvSpPr/>
            <p:nvPr/>
          </p:nvSpPr>
          <p:spPr>
            <a:xfrm rot="5400000">
              <a:off x="1121212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Полилиния: фигура 91">
              <a:extLst>
                <a:ext uri="{FF2B5EF4-FFF2-40B4-BE49-F238E27FC236}">
                  <a16:creationId xmlns:a16="http://schemas.microsoft.com/office/drawing/2014/main" id="{8F76CF08-4CE0-BDAB-FAC1-DEA5A1118CE7}"/>
                </a:ext>
              </a:extLst>
            </p:cNvPr>
            <p:cNvSpPr/>
            <p:nvPr/>
          </p:nvSpPr>
          <p:spPr>
            <a:xfrm>
              <a:off x="1144945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2" name="Группа 136">
              <a:extLst>
                <a:ext uri="{FF2B5EF4-FFF2-40B4-BE49-F238E27FC236}">
                  <a16:creationId xmlns:a16="http://schemas.microsoft.com/office/drawing/2014/main" id="{4748D860-3CD8-49C3-3166-E2B8CE443A34}"/>
                </a:ext>
              </a:extLst>
            </p:cNvPr>
            <p:cNvGrpSpPr/>
            <p:nvPr/>
          </p:nvGrpSpPr>
          <p:grpSpPr>
            <a:xfrm>
              <a:off x="11393801" y="1597449"/>
              <a:ext cx="523658" cy="198686"/>
              <a:chOff x="11393801" y="1597449"/>
              <a:chExt cx="523658" cy="198686"/>
            </a:xfrm>
          </p:grpSpPr>
          <p:sp>
            <p:nvSpPr>
              <p:cNvPr id="238" name="Полилиния: фигура 90">
                <a:extLst>
                  <a:ext uri="{FF2B5EF4-FFF2-40B4-BE49-F238E27FC236}">
                    <a16:creationId xmlns:a16="http://schemas.microsoft.com/office/drawing/2014/main" id="{33AE071A-B5EC-184F-2257-0BE906262B02}"/>
                  </a:ext>
                </a:extLst>
              </p:cNvPr>
              <p:cNvSpPr/>
              <p:nvPr userDrawn="1"/>
            </p:nvSpPr>
            <p:spPr>
              <a:xfrm>
                <a:off x="11393801" y="1597449"/>
                <a:ext cx="300576" cy="198686"/>
              </a:xfrm>
              <a:custGeom>
                <a:avLst/>
                <a:gdLst>
                  <a:gd name="connsiteX0" fmla="*/ -310 w 300576"/>
                  <a:gd name="connsiteY0" fmla="*/ -240 h 198686"/>
                  <a:gd name="connsiteX1" fmla="*/ 300267 w 300576"/>
                  <a:gd name="connsiteY1" fmla="*/ 198446 h 198686"/>
                  <a:gd name="connsiteX2" fmla="*/ -310 w 300576"/>
                  <a:gd name="connsiteY2" fmla="*/ -240 h 19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576" h="198686">
                    <a:moveTo>
                      <a:pt x="-310" y="-240"/>
                    </a:moveTo>
                    <a:cubicBezTo>
                      <a:pt x="51028" y="120255"/>
                      <a:pt x="169279" y="198466"/>
                      <a:pt x="300267" y="198446"/>
                    </a:cubicBezTo>
                    <a:cubicBezTo>
                      <a:pt x="248930" y="77951"/>
                      <a:pt x="130678" y="-259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Полилиния: фигура 92">
                <a:extLst>
                  <a:ext uri="{FF2B5EF4-FFF2-40B4-BE49-F238E27FC236}">
                    <a16:creationId xmlns:a16="http://schemas.microsoft.com/office/drawing/2014/main" id="{7F605E93-15E8-0197-4A45-5CB6613358C5}"/>
                  </a:ext>
                </a:extLst>
              </p:cNvPr>
              <p:cNvSpPr/>
              <p:nvPr userDrawn="1"/>
            </p:nvSpPr>
            <p:spPr>
              <a:xfrm>
                <a:off x="11694378" y="1652509"/>
                <a:ext cx="223081" cy="143625"/>
              </a:xfrm>
              <a:custGeom>
                <a:avLst/>
                <a:gdLst>
                  <a:gd name="connsiteX0" fmla="*/ -310 w 223081"/>
                  <a:gd name="connsiteY0" fmla="*/ 143386 h 143625"/>
                  <a:gd name="connsiteX1" fmla="*/ 222771 w 223081"/>
                  <a:gd name="connsiteY1" fmla="*/ -240 h 143625"/>
                  <a:gd name="connsiteX2" fmla="*/ -310 w 223081"/>
                  <a:gd name="connsiteY2" fmla="*/ 143386 h 14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081" h="143625">
                    <a:moveTo>
                      <a:pt x="-310" y="143386"/>
                    </a:moveTo>
                    <a:cubicBezTo>
                      <a:pt x="95801" y="143415"/>
                      <a:pt x="182994" y="87248"/>
                      <a:pt x="222771" y="-240"/>
                    </a:cubicBezTo>
                    <a:cubicBezTo>
                      <a:pt x="126661" y="-270"/>
                      <a:pt x="39467" y="55897"/>
                      <a:pt x="-310" y="143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" name="Полилиния: фигура 89">
              <a:extLst>
                <a:ext uri="{FF2B5EF4-FFF2-40B4-BE49-F238E27FC236}">
                  <a16:creationId xmlns:a16="http://schemas.microsoft.com/office/drawing/2014/main" id="{54DC7FAB-EE34-8839-AD62-9DFA1B0EDFB3}"/>
                </a:ext>
              </a:extLst>
            </p:cNvPr>
            <p:cNvSpPr/>
            <p:nvPr/>
          </p:nvSpPr>
          <p:spPr>
            <a:xfrm>
              <a:off x="1157191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Полилиния: фигура 94">
              <a:extLst>
                <a:ext uri="{FF2B5EF4-FFF2-40B4-BE49-F238E27FC236}">
                  <a16:creationId xmlns:a16="http://schemas.microsoft.com/office/drawing/2014/main" id="{07126D8E-FA74-0C18-3599-8D18AC06DC1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Полилиния: фигура 95">
              <a:extLst>
                <a:ext uri="{FF2B5EF4-FFF2-40B4-BE49-F238E27FC236}">
                  <a16:creationId xmlns:a16="http://schemas.microsoft.com/office/drawing/2014/main" id="{9A1A78D4-29DC-474D-98E7-A92F4B0A90CD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Полилиния: фигура 96">
              <a:extLst>
                <a:ext uri="{FF2B5EF4-FFF2-40B4-BE49-F238E27FC236}">
                  <a16:creationId xmlns:a16="http://schemas.microsoft.com/office/drawing/2014/main" id="{D6A7AA67-C7B4-4520-EBCD-AF8BE1AD1198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Полилиния: фигура 97">
              <a:extLst>
                <a:ext uri="{FF2B5EF4-FFF2-40B4-BE49-F238E27FC236}">
                  <a16:creationId xmlns:a16="http://schemas.microsoft.com/office/drawing/2014/main" id="{D20415EB-ED5E-5235-0EAE-2EAF652432C0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Полилиния: фигура 99">
              <a:extLst>
                <a:ext uri="{FF2B5EF4-FFF2-40B4-BE49-F238E27FC236}">
                  <a16:creationId xmlns:a16="http://schemas.microsoft.com/office/drawing/2014/main" id="{152FC6B9-D657-0563-6A0C-099048BB738D}"/>
                </a:ext>
              </a:extLst>
            </p:cNvPr>
            <p:cNvSpPr/>
            <p:nvPr/>
          </p:nvSpPr>
          <p:spPr>
            <a:xfrm>
              <a:off x="8886079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Полилиния: фигура 100">
              <a:extLst>
                <a:ext uri="{FF2B5EF4-FFF2-40B4-BE49-F238E27FC236}">
                  <a16:creationId xmlns:a16="http://schemas.microsoft.com/office/drawing/2014/main" id="{68FA2434-9773-3100-E7E8-ABFD1A4CE02B}"/>
                </a:ext>
              </a:extLst>
            </p:cNvPr>
            <p:cNvSpPr/>
            <p:nvPr/>
          </p:nvSpPr>
          <p:spPr>
            <a:xfrm>
              <a:off x="8396222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Полилиния: фигура 101">
              <a:extLst>
                <a:ext uri="{FF2B5EF4-FFF2-40B4-BE49-F238E27FC236}">
                  <a16:creationId xmlns:a16="http://schemas.microsoft.com/office/drawing/2014/main" id="{98DB10FD-4F0D-930E-0BEB-87ED4C7A2599}"/>
                </a:ext>
              </a:extLst>
            </p:cNvPr>
            <p:cNvSpPr/>
            <p:nvPr/>
          </p:nvSpPr>
          <p:spPr>
            <a:xfrm>
              <a:off x="8886079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Полилиния: фигура 102">
              <a:extLst>
                <a:ext uri="{FF2B5EF4-FFF2-40B4-BE49-F238E27FC236}">
                  <a16:creationId xmlns:a16="http://schemas.microsoft.com/office/drawing/2014/main" id="{804A6F9D-B6D0-ABAE-F6D4-C39115C3EE49}"/>
                </a:ext>
              </a:extLst>
            </p:cNvPr>
            <p:cNvSpPr/>
            <p:nvPr/>
          </p:nvSpPr>
          <p:spPr>
            <a:xfrm>
              <a:off x="8641150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Полилиния: фигура 103">
              <a:extLst>
                <a:ext uri="{FF2B5EF4-FFF2-40B4-BE49-F238E27FC236}">
                  <a16:creationId xmlns:a16="http://schemas.microsoft.com/office/drawing/2014/main" id="{DBE9AE2F-8403-94CC-6FA2-45F66F486747}"/>
                </a:ext>
              </a:extLst>
            </p:cNvPr>
            <p:cNvSpPr/>
            <p:nvPr/>
          </p:nvSpPr>
          <p:spPr>
            <a:xfrm>
              <a:off x="8396222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Полилиния: фигура 105">
              <a:extLst>
                <a:ext uri="{FF2B5EF4-FFF2-40B4-BE49-F238E27FC236}">
                  <a16:creationId xmlns:a16="http://schemas.microsoft.com/office/drawing/2014/main" id="{221F817F-7EC3-54E3-C932-F09C8401708B}"/>
                </a:ext>
              </a:extLst>
            </p:cNvPr>
            <p:cNvSpPr/>
            <p:nvPr userDrawn="1"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Полилиния: фигура 106">
              <a:extLst>
                <a:ext uri="{FF2B5EF4-FFF2-40B4-BE49-F238E27FC236}">
                  <a16:creationId xmlns:a16="http://schemas.microsoft.com/office/drawing/2014/main" id="{CF9A9883-D805-017B-FC4D-85501BEA2102}"/>
                </a:ext>
              </a:extLst>
            </p:cNvPr>
            <p:cNvSpPr/>
            <p:nvPr userDrawn="1"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Полилиния: фигура 107">
              <a:extLst>
                <a:ext uri="{FF2B5EF4-FFF2-40B4-BE49-F238E27FC236}">
                  <a16:creationId xmlns:a16="http://schemas.microsoft.com/office/drawing/2014/main" id="{DC063878-F546-B7EE-03D8-FB173F2E2DC5}"/>
                </a:ext>
              </a:extLst>
            </p:cNvPr>
            <p:cNvSpPr/>
            <p:nvPr userDrawn="1"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Полилиния: фигура 108">
              <a:extLst>
                <a:ext uri="{FF2B5EF4-FFF2-40B4-BE49-F238E27FC236}">
                  <a16:creationId xmlns:a16="http://schemas.microsoft.com/office/drawing/2014/main" id="{B1DD7367-C17C-4447-675A-13AE0E3EAFE8}"/>
                </a:ext>
              </a:extLst>
            </p:cNvPr>
            <p:cNvSpPr/>
            <p:nvPr userDrawn="1"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Полилиния: фигура 110">
              <a:extLst>
                <a:ext uri="{FF2B5EF4-FFF2-40B4-BE49-F238E27FC236}">
                  <a16:creationId xmlns:a16="http://schemas.microsoft.com/office/drawing/2014/main" id="{11C01802-A229-F95E-4D88-5A0B0E4362C3}"/>
                </a:ext>
              </a:extLst>
            </p:cNvPr>
            <p:cNvSpPr/>
            <p:nvPr/>
          </p:nvSpPr>
          <p:spPr>
            <a:xfrm rot="16200000">
              <a:off x="10229248" y="1955232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Полилиния: фигура 111">
              <a:extLst>
                <a:ext uri="{FF2B5EF4-FFF2-40B4-BE49-F238E27FC236}">
                  <a16:creationId xmlns:a16="http://schemas.microsoft.com/office/drawing/2014/main" id="{4CF64195-5C84-6E06-EA28-632701FF62FA}"/>
                </a:ext>
              </a:extLst>
            </p:cNvPr>
            <p:cNvSpPr/>
            <p:nvPr/>
          </p:nvSpPr>
          <p:spPr>
            <a:xfrm>
              <a:off x="10218043" y="2449310"/>
              <a:ext cx="499188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Полилиния: фигура 112">
              <a:extLst>
                <a:ext uri="{FF2B5EF4-FFF2-40B4-BE49-F238E27FC236}">
                  <a16:creationId xmlns:a16="http://schemas.microsoft.com/office/drawing/2014/main" id="{A232DDF6-FFE9-4A7C-95FA-78B6B0B68787}"/>
                </a:ext>
              </a:extLst>
            </p:cNvPr>
            <p:cNvSpPr/>
            <p:nvPr/>
          </p:nvSpPr>
          <p:spPr>
            <a:xfrm>
              <a:off x="10218043" y="1956342"/>
              <a:ext cx="499188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Полилиния: фигура 113">
              <a:extLst>
                <a:ext uri="{FF2B5EF4-FFF2-40B4-BE49-F238E27FC236}">
                  <a16:creationId xmlns:a16="http://schemas.microsoft.com/office/drawing/2014/main" id="{F87E652F-7893-9F92-6C7A-03C586308241}"/>
                </a:ext>
              </a:extLst>
            </p:cNvPr>
            <p:cNvSpPr/>
            <p:nvPr/>
          </p:nvSpPr>
          <p:spPr>
            <a:xfrm>
              <a:off x="10722404" y="195634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Полилиния: фигура 114">
              <a:extLst>
                <a:ext uri="{FF2B5EF4-FFF2-40B4-BE49-F238E27FC236}">
                  <a16:creationId xmlns:a16="http://schemas.microsoft.com/office/drawing/2014/main" id="{E52A84F5-A190-3CBA-533E-1D627B7406C3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Полилиния: фигура 116">
              <a:extLst>
                <a:ext uri="{FF2B5EF4-FFF2-40B4-BE49-F238E27FC236}">
                  <a16:creationId xmlns:a16="http://schemas.microsoft.com/office/drawing/2014/main" id="{8020401A-CB1E-7102-5C24-F4A4AA6155A6}"/>
                </a:ext>
              </a:extLst>
            </p:cNvPr>
            <p:cNvSpPr/>
            <p:nvPr/>
          </p:nvSpPr>
          <p:spPr>
            <a:xfrm rot="16200000">
              <a:off x="10229248" y="2927837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3" name="Группа 142">
              <a:extLst>
                <a:ext uri="{FF2B5EF4-FFF2-40B4-BE49-F238E27FC236}">
                  <a16:creationId xmlns:a16="http://schemas.microsoft.com/office/drawing/2014/main" id="{55BFAE82-8F16-9F3B-4729-653EB69CB0F7}"/>
                </a:ext>
              </a:extLst>
            </p:cNvPr>
            <p:cNvGrpSpPr/>
            <p:nvPr/>
          </p:nvGrpSpPr>
          <p:grpSpPr>
            <a:xfrm>
              <a:off x="10562417" y="3072801"/>
              <a:ext cx="240030" cy="160281"/>
              <a:chOff x="10562417" y="3072801"/>
              <a:chExt cx="240030" cy="160281"/>
            </a:xfrm>
          </p:grpSpPr>
          <p:sp>
            <p:nvSpPr>
              <p:cNvPr id="236" name="Полилиния: фигура 117">
                <a:extLst>
                  <a:ext uri="{FF2B5EF4-FFF2-40B4-BE49-F238E27FC236}">
                    <a16:creationId xmlns:a16="http://schemas.microsoft.com/office/drawing/2014/main" id="{A881E735-97A3-0633-9C8E-4D7471867FE6}"/>
                  </a:ext>
                </a:extLst>
              </p:cNvPr>
              <p:cNvSpPr/>
              <p:nvPr userDrawn="1"/>
            </p:nvSpPr>
            <p:spPr>
              <a:xfrm>
                <a:off x="10722404" y="3152843"/>
                <a:ext cx="80043" cy="80238"/>
              </a:xfrm>
              <a:custGeom>
                <a:avLst/>
                <a:gdLst>
                  <a:gd name="connsiteX0" fmla="*/ 79733 w 80043"/>
                  <a:gd name="connsiteY0" fmla="*/ -240 h 80238"/>
                  <a:gd name="connsiteX1" fmla="*/ -310 w 80043"/>
                  <a:gd name="connsiteY1" fmla="*/ 79607 h 80238"/>
                  <a:gd name="connsiteX2" fmla="*/ -310 w 80043"/>
                  <a:gd name="connsiteY2" fmla="*/ 79999 h 80238"/>
                  <a:gd name="connsiteX3" fmla="*/ 79733 w 80043"/>
                  <a:gd name="connsiteY3" fmla="*/ 152 h 80238"/>
                  <a:gd name="connsiteX4" fmla="*/ 79733 w 80043"/>
                  <a:gd name="connsiteY4" fmla="*/ -240 h 8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43" h="80238">
                    <a:moveTo>
                      <a:pt x="79733" y="-240"/>
                    </a:moveTo>
                    <a:cubicBezTo>
                      <a:pt x="35548" y="-299"/>
                      <a:pt x="-212" y="35451"/>
                      <a:pt x="-310" y="79607"/>
                    </a:cubicBezTo>
                    <a:cubicBezTo>
                      <a:pt x="-310" y="79734"/>
                      <a:pt x="-310" y="79871"/>
                      <a:pt x="-310" y="79999"/>
                    </a:cubicBezTo>
                    <a:cubicBezTo>
                      <a:pt x="43875" y="80057"/>
                      <a:pt x="79635" y="44308"/>
                      <a:pt x="79733" y="152"/>
                    </a:cubicBezTo>
                    <a:cubicBezTo>
                      <a:pt x="79733" y="24"/>
                      <a:pt x="79733" y="-113"/>
                      <a:pt x="79733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Полилиния: фигура 118">
                <a:extLst>
                  <a:ext uri="{FF2B5EF4-FFF2-40B4-BE49-F238E27FC236}">
                    <a16:creationId xmlns:a16="http://schemas.microsoft.com/office/drawing/2014/main" id="{DB7BD1C1-1207-FF95-3C79-C6385CC944E7}"/>
                  </a:ext>
                </a:extLst>
              </p:cNvPr>
              <p:cNvSpPr/>
              <p:nvPr userDrawn="1"/>
            </p:nvSpPr>
            <p:spPr>
              <a:xfrm>
                <a:off x="10562417" y="3072801"/>
                <a:ext cx="159987" cy="160281"/>
              </a:xfrm>
              <a:custGeom>
                <a:avLst/>
                <a:gdLst>
                  <a:gd name="connsiteX0" fmla="*/ -310 w 159987"/>
                  <a:gd name="connsiteY0" fmla="*/ -240 h 160281"/>
                  <a:gd name="connsiteX1" fmla="*/ 159383 w 159987"/>
                  <a:gd name="connsiteY1" fmla="*/ 160041 h 160281"/>
                  <a:gd name="connsiteX2" fmla="*/ 159677 w 159987"/>
                  <a:gd name="connsiteY2" fmla="*/ 160041 h 160281"/>
                  <a:gd name="connsiteX3" fmla="*/ -17 w 159987"/>
                  <a:gd name="connsiteY3" fmla="*/ -240 h 160281"/>
                  <a:gd name="connsiteX4" fmla="*/ -310 w 159987"/>
                  <a:gd name="connsiteY4" fmla="*/ -240 h 1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987" h="160281">
                    <a:moveTo>
                      <a:pt x="-310" y="-240"/>
                    </a:moveTo>
                    <a:cubicBezTo>
                      <a:pt x="-506" y="88120"/>
                      <a:pt x="71013" y="159874"/>
                      <a:pt x="159383" y="160041"/>
                    </a:cubicBezTo>
                    <a:cubicBezTo>
                      <a:pt x="159481" y="160041"/>
                      <a:pt x="159579" y="160041"/>
                      <a:pt x="159677" y="160041"/>
                    </a:cubicBezTo>
                    <a:cubicBezTo>
                      <a:pt x="159873" y="71681"/>
                      <a:pt x="88354" y="-74"/>
                      <a:pt x="-17" y="-240"/>
                    </a:cubicBezTo>
                    <a:cubicBezTo>
                      <a:pt x="-115" y="-240"/>
                      <a:pt x="-212" y="-240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4" name="Полилиния: фигура 119">
              <a:extLst>
                <a:ext uri="{FF2B5EF4-FFF2-40B4-BE49-F238E27FC236}">
                  <a16:creationId xmlns:a16="http://schemas.microsoft.com/office/drawing/2014/main" id="{9AB5CFF2-BC5D-D96E-96E9-9F3FEBE273D3}"/>
                </a:ext>
              </a:extLst>
            </p:cNvPr>
            <p:cNvSpPr/>
            <p:nvPr/>
          </p:nvSpPr>
          <p:spPr>
            <a:xfrm>
              <a:off x="10579947" y="3232812"/>
              <a:ext cx="284927" cy="503156"/>
            </a:xfrm>
            <a:custGeom>
              <a:avLst/>
              <a:gdLst>
                <a:gd name="connsiteX0" fmla="*/ 142147 w 284927"/>
                <a:gd name="connsiteY0" fmla="*/ 502917 h 503156"/>
                <a:gd name="connsiteX1" fmla="*/ 284206 w 284927"/>
                <a:gd name="connsiteY1" fmla="*/ 134152 h 503156"/>
                <a:gd name="connsiteX2" fmla="*/ 89 w 284927"/>
                <a:gd name="connsiteY2" fmla="*/ 134152 h 503156"/>
                <a:gd name="connsiteX3" fmla="*/ 142147 w 284927"/>
                <a:gd name="connsiteY3" fmla="*/ 502917 h 5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27" h="503156">
                  <a:moveTo>
                    <a:pt x="142147" y="502917"/>
                  </a:moveTo>
                  <a:cubicBezTo>
                    <a:pt x="238355" y="404857"/>
                    <a:pt x="289790" y="271410"/>
                    <a:pt x="284206" y="134152"/>
                  </a:cubicBezTo>
                  <a:cubicBezTo>
                    <a:pt x="277543" y="-45037"/>
                    <a:pt x="6848" y="-45037"/>
                    <a:pt x="89" y="134152"/>
                  </a:cubicBezTo>
                  <a:cubicBezTo>
                    <a:pt x="-5398" y="271400"/>
                    <a:pt x="45940" y="404837"/>
                    <a:pt x="142147" y="502917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Полилиния: фигура 121">
              <a:extLst>
                <a:ext uri="{FF2B5EF4-FFF2-40B4-BE49-F238E27FC236}">
                  <a16:creationId xmlns:a16="http://schemas.microsoft.com/office/drawing/2014/main" id="{5724ABB9-23F9-557B-640F-4EDA08185EA2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Полилиния: фигура 122">
              <a:extLst>
                <a:ext uri="{FF2B5EF4-FFF2-40B4-BE49-F238E27FC236}">
                  <a16:creationId xmlns:a16="http://schemas.microsoft.com/office/drawing/2014/main" id="{2E6D9482-2CA0-8F16-ADC6-1839E26E999F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Полилиния: фигура 123">
              <a:extLst>
                <a:ext uri="{FF2B5EF4-FFF2-40B4-BE49-F238E27FC236}">
                  <a16:creationId xmlns:a16="http://schemas.microsoft.com/office/drawing/2014/main" id="{32880002-40DF-0E72-E8B9-259EBD329D29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Полилиния: фигура 125">
              <a:extLst>
                <a:ext uri="{FF2B5EF4-FFF2-40B4-BE49-F238E27FC236}">
                  <a16:creationId xmlns:a16="http://schemas.microsoft.com/office/drawing/2014/main" id="{7C23478D-CA78-9564-4653-E6EE3B7F9873}"/>
                </a:ext>
              </a:extLst>
            </p:cNvPr>
            <p:cNvSpPr/>
            <p:nvPr/>
          </p:nvSpPr>
          <p:spPr>
            <a:xfrm>
              <a:off x="11701548" y="440093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Полилиния: фигура 126">
              <a:extLst>
                <a:ext uri="{FF2B5EF4-FFF2-40B4-BE49-F238E27FC236}">
                  <a16:creationId xmlns:a16="http://schemas.microsoft.com/office/drawing/2014/main" id="{880455E5-D941-01B7-2E0B-428B3E1168AF}"/>
                </a:ext>
              </a:extLst>
            </p:cNvPr>
            <p:cNvSpPr/>
            <p:nvPr/>
          </p:nvSpPr>
          <p:spPr>
            <a:xfrm>
              <a:off x="11211691" y="391107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Полилиния: фигура 127">
              <a:extLst>
                <a:ext uri="{FF2B5EF4-FFF2-40B4-BE49-F238E27FC236}">
                  <a16:creationId xmlns:a16="http://schemas.microsoft.com/office/drawing/2014/main" id="{97F171CD-74ED-E86B-FCA3-2D8AB57BCA8F}"/>
                </a:ext>
              </a:extLst>
            </p:cNvPr>
            <p:cNvSpPr/>
            <p:nvPr/>
          </p:nvSpPr>
          <p:spPr>
            <a:xfrm>
              <a:off x="11701548" y="391107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Полилиния: фигура 128">
              <a:extLst>
                <a:ext uri="{FF2B5EF4-FFF2-40B4-BE49-F238E27FC236}">
                  <a16:creationId xmlns:a16="http://schemas.microsoft.com/office/drawing/2014/main" id="{6B5C7B98-9AF3-A3C5-CC56-1F8415A3BBFA}"/>
                </a:ext>
              </a:extLst>
            </p:cNvPr>
            <p:cNvSpPr/>
            <p:nvPr/>
          </p:nvSpPr>
          <p:spPr>
            <a:xfrm>
              <a:off x="11211691" y="440093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Полилиния: фигура 130">
              <a:extLst>
                <a:ext uri="{FF2B5EF4-FFF2-40B4-BE49-F238E27FC236}">
                  <a16:creationId xmlns:a16="http://schemas.microsoft.com/office/drawing/2014/main" id="{E7E3018D-75B7-25D3-F819-65B4866C5B11}"/>
                </a:ext>
              </a:extLst>
            </p:cNvPr>
            <p:cNvSpPr/>
            <p:nvPr/>
          </p:nvSpPr>
          <p:spPr>
            <a:xfrm>
              <a:off x="7564294" y="1321178"/>
              <a:ext cx="437931" cy="274907"/>
            </a:xfrm>
            <a:custGeom>
              <a:avLst/>
              <a:gdLst>
                <a:gd name="connsiteX0" fmla="*/ 297270 w 437931"/>
                <a:gd name="connsiteY0" fmla="*/ 274668 h 274907"/>
                <a:gd name="connsiteX1" fmla="*/ 134245 w 437931"/>
                <a:gd name="connsiteY1" fmla="*/ 274668 h 274907"/>
                <a:gd name="connsiteX2" fmla="*/ -3207 w 437931"/>
                <a:gd name="connsiteY2" fmla="*/ 137214 h 274907"/>
                <a:gd name="connsiteX3" fmla="*/ 134245 w 437931"/>
                <a:gd name="connsiteY3" fmla="*/ -240 h 274907"/>
                <a:gd name="connsiteX4" fmla="*/ 297270 w 437931"/>
                <a:gd name="connsiteY4" fmla="*/ -240 h 274907"/>
                <a:gd name="connsiteX5" fmla="*/ 434725 w 437931"/>
                <a:gd name="connsiteY5" fmla="*/ 137214 h 274907"/>
                <a:gd name="connsiteX6" fmla="*/ 297270 w 437931"/>
                <a:gd name="connsiteY6" fmla="*/ 274668 h 27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931" h="274907">
                  <a:moveTo>
                    <a:pt x="297270" y="274668"/>
                  </a:moveTo>
                  <a:lnTo>
                    <a:pt x="134245" y="274668"/>
                  </a:lnTo>
                  <a:cubicBezTo>
                    <a:pt x="58317" y="274668"/>
                    <a:pt x="-3207" y="213132"/>
                    <a:pt x="-3207" y="137214"/>
                  </a:cubicBezTo>
                  <a:cubicBezTo>
                    <a:pt x="-3207" y="61296"/>
                    <a:pt x="58317" y="-240"/>
                    <a:pt x="134245" y="-240"/>
                  </a:cubicBezTo>
                  <a:lnTo>
                    <a:pt x="297270" y="-240"/>
                  </a:lnTo>
                  <a:cubicBezTo>
                    <a:pt x="373198" y="-240"/>
                    <a:pt x="434725" y="61296"/>
                    <a:pt x="434725" y="137214"/>
                  </a:cubicBezTo>
                  <a:cubicBezTo>
                    <a:pt x="434725" y="213132"/>
                    <a:pt x="373198" y="274668"/>
                    <a:pt x="297270" y="274668"/>
                  </a:cubicBezTo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3" name="Группа 139">
              <a:extLst>
                <a:ext uri="{FF2B5EF4-FFF2-40B4-BE49-F238E27FC236}">
                  <a16:creationId xmlns:a16="http://schemas.microsoft.com/office/drawing/2014/main" id="{C1B504CE-0FB3-5DDF-21DE-5E26A943F780}"/>
                </a:ext>
              </a:extLst>
            </p:cNvPr>
            <p:cNvGrpSpPr/>
            <p:nvPr/>
          </p:nvGrpSpPr>
          <p:grpSpPr>
            <a:xfrm>
              <a:off x="7431641" y="1321766"/>
              <a:ext cx="703239" cy="274320"/>
              <a:chOff x="7431641" y="1321766"/>
              <a:chExt cx="703239" cy="274320"/>
            </a:xfrm>
          </p:grpSpPr>
          <p:sp>
            <p:nvSpPr>
              <p:cNvPr id="234" name="Полилиния: фигура 131">
                <a:extLst>
                  <a:ext uri="{FF2B5EF4-FFF2-40B4-BE49-F238E27FC236}">
                    <a16:creationId xmlns:a16="http://schemas.microsoft.com/office/drawing/2014/main" id="{50082B8F-F977-7DDB-6F97-4532406ECC27}"/>
                  </a:ext>
                </a:extLst>
              </p:cNvPr>
              <p:cNvSpPr/>
              <p:nvPr userDrawn="1"/>
            </p:nvSpPr>
            <p:spPr>
              <a:xfrm>
                <a:off x="7997720" y="1321766"/>
                <a:ext cx="137160" cy="274320"/>
              </a:xfrm>
              <a:custGeom>
                <a:avLst/>
                <a:gdLst>
                  <a:gd name="connsiteX0" fmla="*/ 133953 w 137160"/>
                  <a:gd name="connsiteY0" fmla="*/ -240 h 274320"/>
                  <a:gd name="connsiteX1" fmla="*/ -3207 w 137160"/>
                  <a:gd name="connsiteY1" fmla="*/ 136920 h 274320"/>
                  <a:gd name="connsiteX2" fmla="*/ 133953 w 137160"/>
                  <a:gd name="connsiteY2" fmla="*/ 27408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133953" y="-240"/>
                    </a:moveTo>
                    <a:cubicBezTo>
                      <a:pt x="58219" y="-240"/>
                      <a:pt x="-3207" y="61169"/>
                      <a:pt x="-3207" y="136920"/>
                    </a:cubicBezTo>
                    <a:cubicBezTo>
                      <a:pt x="-3207" y="212671"/>
                      <a:pt x="58219" y="274080"/>
                      <a:pt x="133953" y="27408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Полилиния: фигура 132">
                <a:extLst>
                  <a:ext uri="{FF2B5EF4-FFF2-40B4-BE49-F238E27FC236}">
                    <a16:creationId xmlns:a16="http://schemas.microsoft.com/office/drawing/2014/main" id="{3A232097-AB6A-7375-0DA6-83BC51B54CD8}"/>
                  </a:ext>
                </a:extLst>
              </p:cNvPr>
              <p:cNvSpPr/>
              <p:nvPr userDrawn="1"/>
            </p:nvSpPr>
            <p:spPr>
              <a:xfrm>
                <a:off x="7431641" y="1321766"/>
                <a:ext cx="137160" cy="274320"/>
              </a:xfrm>
              <a:custGeom>
                <a:avLst/>
                <a:gdLst>
                  <a:gd name="connsiteX0" fmla="*/ -3207 w 137160"/>
                  <a:gd name="connsiteY0" fmla="*/ 274080 h 274320"/>
                  <a:gd name="connsiteX1" fmla="*/ 133953 w 137160"/>
                  <a:gd name="connsiteY1" fmla="*/ 136920 h 274320"/>
                  <a:gd name="connsiteX2" fmla="*/ -3207 w 137160"/>
                  <a:gd name="connsiteY2" fmla="*/ -24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-3207" y="274080"/>
                    </a:moveTo>
                    <a:cubicBezTo>
                      <a:pt x="72525" y="274080"/>
                      <a:pt x="133953" y="212671"/>
                      <a:pt x="133953" y="136920"/>
                    </a:cubicBezTo>
                    <a:cubicBezTo>
                      <a:pt x="133953" y="61169"/>
                      <a:pt x="72525" y="-240"/>
                      <a:pt x="-3207" y="-2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>
          <a:xfrm>
            <a:off x="571499" y="3782688"/>
            <a:ext cx="8995021" cy="1228028"/>
          </a:xfrm>
        </p:spPr>
        <p:txBody>
          <a:bodyPr/>
          <a:lstStyle/>
          <a:p>
            <a:pPr algn="r"/>
            <a:r>
              <a:rPr lang="ru-RU" dirty="0" smtClean="0">
                <a:solidFill>
                  <a:schemeClr val="accent6"/>
                </a:solidFill>
              </a:rPr>
              <a:t>Дивизионный менеджер</a:t>
            </a:r>
          </a:p>
          <a:p>
            <a:pPr algn="r"/>
            <a:r>
              <a:rPr lang="ru-RU" dirty="0" smtClean="0">
                <a:solidFill>
                  <a:schemeClr val="accent6"/>
                </a:solidFill>
              </a:rPr>
              <a:t>отдела внутреннего контроля качества</a:t>
            </a:r>
            <a:endParaRPr lang="ru-RU" dirty="0" smtClean="0"/>
          </a:p>
          <a:p>
            <a:pPr algn="r"/>
            <a:r>
              <a:rPr lang="ru-RU" dirty="0" smtClean="0">
                <a:solidFill>
                  <a:schemeClr val="accent6"/>
                </a:solidFill>
              </a:rPr>
              <a:t>Галимзянова Наталья</a:t>
            </a:r>
            <a:endParaRPr lang="ru-RU" dirty="0">
              <a:solidFill>
                <a:schemeClr val="accent6"/>
              </a:solidFill>
            </a:endParaRPr>
          </a:p>
          <a:p>
            <a:endParaRPr lang="ru-RU" b="0" dirty="0">
              <a:solidFill>
                <a:srgbClr val="003C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208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5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Заголовок 33">
            <a:extLst>
              <a:ext uri="{FF2B5EF4-FFF2-40B4-BE49-F238E27FC236}">
                <a16:creationId xmlns:a16="http://schemas.microsoft.com/office/drawing/2014/main" id="{DFE19F94-644B-42C1-AD3F-8528C51CFA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499" y="3076814"/>
            <a:ext cx="8995021" cy="553998"/>
          </a:xfrm>
        </p:spPr>
        <p:txBody>
          <a:bodyPr vert="horz"/>
          <a:lstStyle/>
          <a:p>
            <a:r>
              <a:rPr lang="ru-RU" dirty="0" smtClean="0"/>
              <a:t>Ваша </a:t>
            </a:r>
            <a:r>
              <a:rPr lang="ru-RU" dirty="0"/>
              <a:t>продукция в безопасности.</a:t>
            </a:r>
            <a:endParaRPr lang="ru-RU" dirty="0">
              <a:solidFill>
                <a:schemeClr val="tx2"/>
              </a:solidFill>
            </a:endParaRP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C8C12EE-F6E3-DC38-EC5D-561226AB2A87}"/>
              </a:ext>
            </a:extLst>
          </p:cNvPr>
          <p:cNvGrpSpPr/>
          <p:nvPr/>
        </p:nvGrpSpPr>
        <p:grpSpPr>
          <a:xfrm>
            <a:off x="0" y="4895068"/>
            <a:ext cx="5700035" cy="1962956"/>
            <a:chOff x="0" y="4895068"/>
            <a:chExt cx="5700035" cy="1962956"/>
          </a:xfrm>
        </p:grpSpPr>
        <p:sp>
          <p:nvSpPr>
            <p:cNvPr id="125" name="Полилиния: фигура 7">
              <a:extLst>
                <a:ext uri="{FF2B5EF4-FFF2-40B4-BE49-F238E27FC236}">
                  <a16:creationId xmlns:a16="http://schemas.microsoft.com/office/drawing/2014/main" id="{3789CB51-94F1-F8FA-A79F-06A57F1C8DF4}"/>
                </a:ext>
              </a:extLst>
            </p:cNvPr>
            <p:cNvSpPr/>
            <p:nvPr userDrawn="1"/>
          </p:nvSpPr>
          <p:spPr>
            <a:xfrm rot="16200000">
              <a:off x="979714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Полилиния: фигура 8">
              <a:extLst>
                <a:ext uri="{FF2B5EF4-FFF2-40B4-BE49-F238E27FC236}">
                  <a16:creationId xmlns:a16="http://schemas.microsoft.com/office/drawing/2014/main" id="{A6ACED56-6CF8-39E8-A8FB-2A87C0231D3C}"/>
                </a:ext>
              </a:extLst>
            </p:cNvPr>
            <p:cNvSpPr/>
            <p:nvPr userDrawn="1"/>
          </p:nvSpPr>
          <p:spPr>
            <a:xfrm>
              <a:off x="1224642" y="6123239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FFFFFF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Полилиния: фигура 11">
              <a:extLst>
                <a:ext uri="{FF2B5EF4-FFF2-40B4-BE49-F238E27FC236}">
                  <a16:creationId xmlns:a16="http://schemas.microsoft.com/office/drawing/2014/main" id="{5DB7683A-9BD5-4464-68F8-5EDE8AF6796A}"/>
                </a:ext>
              </a:extLst>
            </p:cNvPr>
            <p:cNvSpPr/>
            <p:nvPr userDrawn="1"/>
          </p:nvSpPr>
          <p:spPr>
            <a:xfrm rot="10800000">
              <a:off x="1" y="5878310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Полилиния: фигура 12">
              <a:extLst>
                <a:ext uri="{FF2B5EF4-FFF2-40B4-BE49-F238E27FC236}">
                  <a16:creationId xmlns:a16="http://schemas.microsoft.com/office/drawing/2014/main" id="{F57E5213-5C20-6A07-918A-83451D3052F3}"/>
                </a:ext>
              </a:extLst>
            </p:cNvPr>
            <p:cNvSpPr/>
            <p:nvPr userDrawn="1"/>
          </p:nvSpPr>
          <p:spPr>
            <a:xfrm>
              <a:off x="0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Полилиния: фигура 13">
              <a:extLst>
                <a:ext uri="{FF2B5EF4-FFF2-40B4-BE49-F238E27FC236}">
                  <a16:creationId xmlns:a16="http://schemas.microsoft.com/office/drawing/2014/main" id="{EEC48DA5-7A77-6D8F-679C-6B23C76D5E64}"/>
                </a:ext>
              </a:extLst>
            </p:cNvPr>
            <p:cNvSpPr/>
            <p:nvPr userDrawn="1"/>
          </p:nvSpPr>
          <p:spPr>
            <a:xfrm>
              <a:off x="0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Полилиния: фигура 14">
              <a:extLst>
                <a:ext uri="{FF2B5EF4-FFF2-40B4-BE49-F238E27FC236}">
                  <a16:creationId xmlns:a16="http://schemas.microsoft.com/office/drawing/2014/main" id="{1613629D-47BB-7796-0553-499C6821CA59}"/>
                </a:ext>
              </a:extLst>
            </p:cNvPr>
            <p:cNvSpPr/>
            <p:nvPr userDrawn="1"/>
          </p:nvSpPr>
          <p:spPr>
            <a:xfrm>
              <a:off x="489858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Полилиния: фигура 15">
              <a:extLst>
                <a:ext uri="{FF2B5EF4-FFF2-40B4-BE49-F238E27FC236}">
                  <a16:creationId xmlns:a16="http://schemas.microsoft.com/office/drawing/2014/main" id="{C85BD5F8-F7C8-28E1-BFDB-DDC8307360F7}"/>
                </a:ext>
              </a:extLst>
            </p:cNvPr>
            <p:cNvSpPr/>
            <p:nvPr userDrawn="1"/>
          </p:nvSpPr>
          <p:spPr>
            <a:xfrm>
              <a:off x="489858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Полилиния: фигура 17">
              <a:extLst>
                <a:ext uri="{FF2B5EF4-FFF2-40B4-BE49-F238E27FC236}">
                  <a16:creationId xmlns:a16="http://schemas.microsoft.com/office/drawing/2014/main" id="{0355DC7A-A024-569E-0B8D-DDEEE1CADB03}"/>
                </a:ext>
              </a:extLst>
            </p:cNvPr>
            <p:cNvSpPr/>
            <p:nvPr/>
          </p:nvSpPr>
          <p:spPr>
            <a:xfrm>
              <a:off x="4245445" y="5877824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Полилиния: фигура 18">
              <a:extLst>
                <a:ext uri="{FF2B5EF4-FFF2-40B4-BE49-F238E27FC236}">
                  <a16:creationId xmlns:a16="http://schemas.microsoft.com/office/drawing/2014/main" id="{26A08EE6-873F-5FF3-69E5-49E927186F08}"/>
                </a:ext>
              </a:extLst>
            </p:cNvPr>
            <p:cNvSpPr/>
            <p:nvPr/>
          </p:nvSpPr>
          <p:spPr>
            <a:xfrm>
              <a:off x="3918832" y="5877824"/>
              <a:ext cx="326612" cy="979714"/>
            </a:xfrm>
            <a:custGeom>
              <a:avLst/>
              <a:gdLst>
                <a:gd name="connsiteX0" fmla="*/ 163033 w 326612"/>
                <a:gd name="connsiteY0" fmla="*/ 979474 h 979714"/>
                <a:gd name="connsiteX1" fmla="*/ 163033 w 326612"/>
                <a:gd name="connsiteY1" fmla="*/ -240 h 979714"/>
                <a:gd name="connsiteX2" fmla="*/ 163033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3" y="979474"/>
                  </a:moveTo>
                  <a:cubicBezTo>
                    <a:pt x="380726" y="708975"/>
                    <a:pt x="380726" y="270259"/>
                    <a:pt x="163033" y="-240"/>
                  </a:cubicBezTo>
                  <a:cubicBezTo>
                    <a:pt x="-54758" y="270259"/>
                    <a:pt x="-54758" y="708975"/>
                    <a:pt x="163033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Полилиния: фигура 19">
              <a:extLst>
                <a:ext uri="{FF2B5EF4-FFF2-40B4-BE49-F238E27FC236}">
                  <a16:creationId xmlns:a16="http://schemas.microsoft.com/office/drawing/2014/main" id="{18ED321C-6A84-4D58-AD6B-4E8876929C0F}"/>
                </a:ext>
              </a:extLst>
            </p:cNvPr>
            <p:cNvSpPr/>
            <p:nvPr/>
          </p:nvSpPr>
          <p:spPr>
            <a:xfrm>
              <a:off x="4571983" y="5877824"/>
              <a:ext cx="326612" cy="979714"/>
            </a:xfrm>
            <a:custGeom>
              <a:avLst/>
              <a:gdLst>
                <a:gd name="connsiteX0" fmla="*/ 162960 w 326612"/>
                <a:gd name="connsiteY0" fmla="*/ 979474 h 979714"/>
                <a:gd name="connsiteX1" fmla="*/ 162960 w 326612"/>
                <a:gd name="connsiteY1" fmla="*/ -240 h 979714"/>
                <a:gd name="connsiteX2" fmla="*/ 162960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60" y="979474"/>
                  </a:moveTo>
                  <a:cubicBezTo>
                    <a:pt x="380750" y="708975"/>
                    <a:pt x="380750" y="270259"/>
                    <a:pt x="162960" y="-240"/>
                  </a:cubicBezTo>
                  <a:cubicBezTo>
                    <a:pt x="-54733" y="270259"/>
                    <a:pt x="-54733" y="708975"/>
                    <a:pt x="162960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Полилиния: фигура 21">
              <a:extLst>
                <a:ext uri="{FF2B5EF4-FFF2-40B4-BE49-F238E27FC236}">
                  <a16:creationId xmlns:a16="http://schemas.microsoft.com/office/drawing/2014/main" id="{1D4D272C-D9B3-B449-31B4-629820975AD7}"/>
                </a:ext>
              </a:extLst>
            </p:cNvPr>
            <p:cNvSpPr/>
            <p:nvPr/>
          </p:nvSpPr>
          <p:spPr>
            <a:xfrm>
              <a:off x="1959428" y="6368167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5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22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Полилиния: фигура 22">
              <a:extLst>
                <a:ext uri="{FF2B5EF4-FFF2-40B4-BE49-F238E27FC236}">
                  <a16:creationId xmlns:a16="http://schemas.microsoft.com/office/drawing/2014/main" id="{4553FED2-7C22-3A82-5723-3CB1B665DA29}"/>
                </a:ext>
              </a:extLst>
            </p:cNvPr>
            <p:cNvSpPr/>
            <p:nvPr/>
          </p:nvSpPr>
          <p:spPr>
            <a:xfrm>
              <a:off x="1959428" y="5878310"/>
              <a:ext cx="489857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228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59" y="244689"/>
                    <a:pt x="-310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Полилиния: фигура 23">
              <a:extLst>
                <a:ext uri="{FF2B5EF4-FFF2-40B4-BE49-F238E27FC236}">
                  <a16:creationId xmlns:a16="http://schemas.microsoft.com/office/drawing/2014/main" id="{92BE6DE7-1F2A-EC43-8771-8E2CCF1F4233}"/>
                </a:ext>
              </a:extLst>
            </p:cNvPr>
            <p:cNvSpPr/>
            <p:nvPr/>
          </p:nvSpPr>
          <p:spPr>
            <a:xfrm>
              <a:off x="2449285" y="5878310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09" y="489617"/>
                    <a:pt x="489547" y="489617"/>
                  </a:cubicBezTo>
                  <a:lnTo>
                    <a:pt x="489547" y="244689"/>
                  </a:lnTo>
                  <a:cubicBezTo>
                    <a:pt x="35427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Полилиния: фигура 24">
              <a:extLst>
                <a:ext uri="{FF2B5EF4-FFF2-40B4-BE49-F238E27FC236}">
                  <a16:creationId xmlns:a16="http://schemas.microsoft.com/office/drawing/2014/main" id="{EEED14F5-BCFF-9854-C273-6F2CDA8A487B}"/>
                </a:ext>
              </a:extLst>
            </p:cNvPr>
            <p:cNvSpPr/>
            <p:nvPr/>
          </p:nvSpPr>
          <p:spPr>
            <a:xfrm>
              <a:off x="2449285" y="6368167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09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78" y="244689"/>
                    <a:pt x="489547" y="24468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Полилиния: фигура 26">
              <a:extLst>
                <a:ext uri="{FF2B5EF4-FFF2-40B4-BE49-F238E27FC236}">
                  <a16:creationId xmlns:a16="http://schemas.microsoft.com/office/drawing/2014/main" id="{99B323CD-8E61-4B69-EA1D-5DCA632F6E66}"/>
                </a:ext>
              </a:extLst>
            </p:cNvPr>
            <p:cNvSpPr/>
            <p:nvPr/>
          </p:nvSpPr>
          <p:spPr>
            <a:xfrm>
              <a:off x="3268046" y="6171445"/>
              <a:ext cx="432445" cy="432445"/>
            </a:xfrm>
            <a:custGeom>
              <a:avLst/>
              <a:gdLst>
                <a:gd name="connsiteX0" fmla="*/ 432446 w 432445"/>
                <a:gd name="connsiteY0" fmla="*/ 216223 h 432445"/>
                <a:gd name="connsiteX1" fmla="*/ 216223 w 432445"/>
                <a:gd name="connsiteY1" fmla="*/ 432446 h 432445"/>
                <a:gd name="connsiteX2" fmla="*/ 0 w 432445"/>
                <a:gd name="connsiteY2" fmla="*/ 216223 h 432445"/>
                <a:gd name="connsiteX3" fmla="*/ 216223 w 432445"/>
                <a:gd name="connsiteY3" fmla="*/ 0 h 432445"/>
                <a:gd name="connsiteX4" fmla="*/ 432446 w 432445"/>
                <a:gd name="connsiteY4" fmla="*/ 216223 h 43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445" h="432445">
                  <a:moveTo>
                    <a:pt x="432446" y="216223"/>
                  </a:moveTo>
                  <a:cubicBezTo>
                    <a:pt x="432446" y="335639"/>
                    <a:pt x="335640" y="432446"/>
                    <a:pt x="216223" y="432446"/>
                  </a:cubicBezTo>
                  <a:cubicBezTo>
                    <a:pt x="96806" y="432446"/>
                    <a:pt x="0" y="335639"/>
                    <a:pt x="0" y="216223"/>
                  </a:cubicBezTo>
                  <a:cubicBezTo>
                    <a:pt x="0" y="96806"/>
                    <a:pt x="96806" y="0"/>
                    <a:pt x="216223" y="0"/>
                  </a:cubicBezTo>
                  <a:cubicBezTo>
                    <a:pt x="335640" y="0"/>
                    <a:pt x="432446" y="96806"/>
                    <a:pt x="432446" y="216223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Полилиния: фигура 27">
              <a:extLst>
                <a:ext uri="{FF2B5EF4-FFF2-40B4-BE49-F238E27FC236}">
                  <a16:creationId xmlns:a16="http://schemas.microsoft.com/office/drawing/2014/main" id="{436C948C-C636-AD72-AEAA-7147655F72E7}"/>
                </a:ext>
              </a:extLst>
            </p:cNvPr>
            <p:cNvSpPr/>
            <p:nvPr/>
          </p:nvSpPr>
          <p:spPr>
            <a:xfrm>
              <a:off x="3484268" y="6011751"/>
              <a:ext cx="159988" cy="159987"/>
            </a:xfrm>
            <a:custGeom>
              <a:avLst/>
              <a:gdLst>
                <a:gd name="connsiteX0" fmla="*/ -3207 w 159988"/>
                <a:gd name="connsiteY0" fmla="*/ 159748 h 159987"/>
                <a:gd name="connsiteX1" fmla="*/ 156781 w 159988"/>
                <a:gd name="connsiteY1" fmla="*/ -240 h 159987"/>
                <a:gd name="connsiteX2" fmla="*/ -3207 w 159988"/>
                <a:gd name="connsiteY2" fmla="*/ 159748 h 15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88" h="159987">
                  <a:moveTo>
                    <a:pt x="-3207" y="159748"/>
                  </a:moveTo>
                  <a:cubicBezTo>
                    <a:pt x="85163" y="159748"/>
                    <a:pt x="156781" y="88121"/>
                    <a:pt x="156781" y="-240"/>
                  </a:cubicBezTo>
                  <a:cubicBezTo>
                    <a:pt x="68410" y="-240"/>
                    <a:pt x="-3207" y="71387"/>
                    <a:pt x="-3207" y="159748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4" name="Группа 48">
              <a:extLst>
                <a:ext uri="{FF2B5EF4-FFF2-40B4-BE49-F238E27FC236}">
                  <a16:creationId xmlns:a16="http://schemas.microsoft.com/office/drawing/2014/main" id="{A344F5CA-3BFA-949C-3A3C-50FC4802C112}"/>
                </a:ext>
              </a:extLst>
            </p:cNvPr>
            <p:cNvGrpSpPr/>
            <p:nvPr/>
          </p:nvGrpSpPr>
          <p:grpSpPr>
            <a:xfrm>
              <a:off x="5094572" y="6068734"/>
              <a:ext cx="605463" cy="605463"/>
              <a:chOff x="5094572" y="6068734"/>
              <a:chExt cx="605463" cy="605463"/>
            </a:xfrm>
          </p:grpSpPr>
          <p:sp>
            <p:nvSpPr>
              <p:cNvPr id="159" name="Полилиния: фигура 49">
                <a:extLst>
                  <a:ext uri="{FF2B5EF4-FFF2-40B4-BE49-F238E27FC236}">
                    <a16:creationId xmlns:a16="http://schemas.microsoft.com/office/drawing/2014/main" id="{D0C567A5-1393-2D50-08F3-F4763D871D24}"/>
                  </a:ext>
                </a:extLst>
              </p:cNvPr>
              <p:cNvSpPr/>
              <p:nvPr userDrawn="1"/>
            </p:nvSpPr>
            <p:spPr>
              <a:xfrm>
                <a:off x="5226343" y="6200506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2" y="341920"/>
                      <a:pt x="0" y="265379"/>
                      <a:pt x="0" y="170960"/>
                    </a:cubicBezTo>
                    <a:cubicBezTo>
                      <a:pt x="0" y="76541"/>
                      <a:pt x="76542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Полилиния: фигура 50">
                <a:extLst>
                  <a:ext uri="{FF2B5EF4-FFF2-40B4-BE49-F238E27FC236}">
                    <a16:creationId xmlns:a16="http://schemas.microsoft.com/office/drawing/2014/main" id="{A1867F93-FB8B-B633-D8E3-07D0B8ADBE26}"/>
                  </a:ext>
                </a:extLst>
              </p:cNvPr>
              <p:cNvSpPr/>
              <p:nvPr userDrawn="1"/>
            </p:nvSpPr>
            <p:spPr>
              <a:xfrm>
                <a:off x="5094572" y="6068734"/>
                <a:ext cx="605463" cy="605463"/>
              </a:xfrm>
              <a:custGeom>
                <a:avLst/>
                <a:gdLst>
                  <a:gd name="connsiteX0" fmla="*/ 299524 w 605463"/>
                  <a:gd name="connsiteY0" fmla="*/ -240 h 605463"/>
                  <a:gd name="connsiteX1" fmla="*/ 270132 w 605463"/>
                  <a:gd name="connsiteY1" fmla="*/ 29151 h 605463"/>
                  <a:gd name="connsiteX2" fmla="*/ 270132 w 605463"/>
                  <a:gd name="connsiteY2" fmla="*/ 72847 h 605463"/>
                  <a:gd name="connsiteX3" fmla="*/ 299524 w 605463"/>
                  <a:gd name="connsiteY3" fmla="*/ 102238 h 605463"/>
                  <a:gd name="connsiteX4" fmla="*/ 328915 w 605463"/>
                  <a:gd name="connsiteY4" fmla="*/ 72847 h 605463"/>
                  <a:gd name="connsiteX5" fmla="*/ 328915 w 605463"/>
                  <a:gd name="connsiteY5" fmla="*/ 29151 h 605463"/>
                  <a:gd name="connsiteX6" fmla="*/ 299524 w 605463"/>
                  <a:gd name="connsiteY6" fmla="*/ -240 h 605463"/>
                  <a:gd name="connsiteX7" fmla="*/ 299524 w 605463"/>
                  <a:gd name="connsiteY7" fmla="*/ 502745 h 605463"/>
                  <a:gd name="connsiteX8" fmla="*/ 270132 w 605463"/>
                  <a:gd name="connsiteY8" fmla="*/ 532137 h 605463"/>
                  <a:gd name="connsiteX9" fmla="*/ 270132 w 605463"/>
                  <a:gd name="connsiteY9" fmla="*/ 575832 h 605463"/>
                  <a:gd name="connsiteX10" fmla="*/ 299524 w 605463"/>
                  <a:gd name="connsiteY10" fmla="*/ 605223 h 605463"/>
                  <a:gd name="connsiteX11" fmla="*/ 328915 w 605463"/>
                  <a:gd name="connsiteY11" fmla="*/ 575832 h 605463"/>
                  <a:gd name="connsiteX12" fmla="*/ 328915 w 605463"/>
                  <a:gd name="connsiteY12" fmla="*/ 532137 h 605463"/>
                  <a:gd name="connsiteX13" fmla="*/ 299524 w 605463"/>
                  <a:gd name="connsiteY13" fmla="*/ 502745 h 605463"/>
                  <a:gd name="connsiteX14" fmla="*/ 99271 w 605463"/>
                  <a:gd name="connsiteY14" fmla="*/ 302492 h 605463"/>
                  <a:gd name="connsiteX15" fmla="*/ 69879 w 605463"/>
                  <a:gd name="connsiteY15" fmla="*/ 273100 h 605463"/>
                  <a:gd name="connsiteX16" fmla="*/ 26184 w 605463"/>
                  <a:gd name="connsiteY16" fmla="*/ 273100 h 605463"/>
                  <a:gd name="connsiteX17" fmla="*/ -3207 w 605463"/>
                  <a:gd name="connsiteY17" fmla="*/ 302492 h 605463"/>
                  <a:gd name="connsiteX18" fmla="*/ 26184 w 605463"/>
                  <a:gd name="connsiteY18" fmla="*/ 331883 h 605463"/>
                  <a:gd name="connsiteX19" fmla="*/ 69879 w 605463"/>
                  <a:gd name="connsiteY19" fmla="*/ 331883 h 605463"/>
                  <a:gd name="connsiteX20" fmla="*/ 99271 w 605463"/>
                  <a:gd name="connsiteY20" fmla="*/ 302492 h 605463"/>
                  <a:gd name="connsiteX21" fmla="*/ 572865 w 605463"/>
                  <a:gd name="connsiteY21" fmla="*/ 273100 h 605463"/>
                  <a:gd name="connsiteX22" fmla="*/ 529168 w 605463"/>
                  <a:gd name="connsiteY22" fmla="*/ 273100 h 605463"/>
                  <a:gd name="connsiteX23" fmla="*/ 499777 w 605463"/>
                  <a:gd name="connsiteY23" fmla="*/ 302492 h 605463"/>
                  <a:gd name="connsiteX24" fmla="*/ 529168 w 605463"/>
                  <a:gd name="connsiteY24" fmla="*/ 331883 h 605463"/>
                  <a:gd name="connsiteX25" fmla="*/ 572865 w 605463"/>
                  <a:gd name="connsiteY25" fmla="*/ 331883 h 605463"/>
                  <a:gd name="connsiteX26" fmla="*/ 602257 w 605463"/>
                  <a:gd name="connsiteY26" fmla="*/ 302492 h 605463"/>
                  <a:gd name="connsiteX27" fmla="*/ 572865 w 605463"/>
                  <a:gd name="connsiteY27" fmla="*/ 273100 h 605463"/>
                  <a:gd name="connsiteX28" fmla="*/ 126997 w 605463"/>
                  <a:gd name="connsiteY28" fmla="*/ 88424 h 605463"/>
                  <a:gd name="connsiteX29" fmla="*/ 85457 w 605463"/>
                  <a:gd name="connsiteY29" fmla="*/ 86955 h 605463"/>
                  <a:gd name="connsiteX30" fmla="*/ 83986 w 605463"/>
                  <a:gd name="connsiteY30" fmla="*/ 128494 h 605463"/>
                  <a:gd name="connsiteX31" fmla="*/ 85457 w 605463"/>
                  <a:gd name="connsiteY31" fmla="*/ 129964 h 605463"/>
                  <a:gd name="connsiteX32" fmla="*/ 116317 w 605463"/>
                  <a:gd name="connsiteY32" fmla="*/ 160923 h 605463"/>
                  <a:gd name="connsiteX33" fmla="*/ 157955 w 605463"/>
                  <a:gd name="connsiteY33" fmla="*/ 160923 h 605463"/>
                  <a:gd name="connsiteX34" fmla="*/ 157955 w 605463"/>
                  <a:gd name="connsiteY34" fmla="*/ 119285 h 605463"/>
                  <a:gd name="connsiteX35" fmla="*/ 482730 w 605463"/>
                  <a:gd name="connsiteY35" fmla="*/ 444061 h 605463"/>
                  <a:gd name="connsiteX36" fmla="*/ 441092 w 605463"/>
                  <a:gd name="connsiteY36" fmla="*/ 444061 h 605463"/>
                  <a:gd name="connsiteX37" fmla="*/ 441092 w 605463"/>
                  <a:gd name="connsiteY37" fmla="*/ 485698 h 605463"/>
                  <a:gd name="connsiteX38" fmla="*/ 472052 w 605463"/>
                  <a:gd name="connsiteY38" fmla="*/ 516559 h 605463"/>
                  <a:gd name="connsiteX39" fmla="*/ 513592 w 605463"/>
                  <a:gd name="connsiteY39" fmla="*/ 516559 h 605463"/>
                  <a:gd name="connsiteX40" fmla="*/ 513592 w 605463"/>
                  <a:gd name="connsiteY40" fmla="*/ 475019 h 605463"/>
                  <a:gd name="connsiteX41" fmla="*/ 116317 w 605463"/>
                  <a:gd name="connsiteY41" fmla="*/ 444061 h 605463"/>
                  <a:gd name="connsiteX42" fmla="*/ 85457 w 605463"/>
                  <a:gd name="connsiteY42" fmla="*/ 475019 h 605463"/>
                  <a:gd name="connsiteX43" fmla="*/ 85457 w 605463"/>
                  <a:gd name="connsiteY43" fmla="*/ 516589 h 605463"/>
                  <a:gd name="connsiteX44" fmla="*/ 106226 w 605463"/>
                  <a:gd name="connsiteY44" fmla="*/ 525181 h 605463"/>
                  <a:gd name="connsiteX45" fmla="*/ 126997 w 605463"/>
                  <a:gd name="connsiteY45" fmla="*/ 516559 h 605463"/>
                  <a:gd name="connsiteX46" fmla="*/ 157955 w 605463"/>
                  <a:gd name="connsiteY46" fmla="*/ 485698 h 605463"/>
                  <a:gd name="connsiteX47" fmla="*/ 157955 w 605463"/>
                  <a:gd name="connsiteY47" fmla="*/ 444061 h 605463"/>
                  <a:gd name="connsiteX48" fmla="*/ 116317 w 605463"/>
                  <a:gd name="connsiteY48" fmla="*/ 444061 h 605463"/>
                  <a:gd name="connsiteX49" fmla="*/ 461961 w 605463"/>
                  <a:gd name="connsiteY49" fmla="*/ 169740 h 605463"/>
                  <a:gd name="connsiteX50" fmla="*/ 482730 w 605463"/>
                  <a:gd name="connsiteY50" fmla="*/ 161217 h 605463"/>
                  <a:gd name="connsiteX51" fmla="*/ 513592 w 605463"/>
                  <a:gd name="connsiteY51" fmla="*/ 130258 h 605463"/>
                  <a:gd name="connsiteX52" fmla="*/ 512121 w 605463"/>
                  <a:gd name="connsiteY52" fmla="*/ 88718 h 605463"/>
                  <a:gd name="connsiteX53" fmla="*/ 472052 w 605463"/>
                  <a:gd name="connsiteY53" fmla="*/ 88718 h 605463"/>
                  <a:gd name="connsiteX54" fmla="*/ 441092 w 605463"/>
                  <a:gd name="connsiteY54" fmla="*/ 119579 h 605463"/>
                  <a:gd name="connsiteX55" fmla="*/ 441092 w 605463"/>
                  <a:gd name="connsiteY55" fmla="*/ 161148 h 605463"/>
                  <a:gd name="connsiteX56" fmla="*/ 461961 w 605463"/>
                  <a:gd name="connsiteY56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5463" h="605463">
                    <a:moveTo>
                      <a:pt x="299524" y="-240"/>
                    </a:moveTo>
                    <a:cubicBezTo>
                      <a:pt x="283261" y="-240"/>
                      <a:pt x="270132" y="12917"/>
                      <a:pt x="270132" y="29151"/>
                    </a:cubicBezTo>
                    <a:lnTo>
                      <a:pt x="270132" y="72847"/>
                    </a:lnTo>
                    <a:cubicBezTo>
                      <a:pt x="270132" y="89081"/>
                      <a:pt x="283261" y="102238"/>
                      <a:pt x="299524" y="102238"/>
                    </a:cubicBezTo>
                    <a:cubicBezTo>
                      <a:pt x="315786" y="102238"/>
                      <a:pt x="328915" y="89081"/>
                      <a:pt x="328915" y="72847"/>
                    </a:cubicBezTo>
                    <a:lnTo>
                      <a:pt x="328915" y="29151"/>
                    </a:lnTo>
                    <a:cubicBezTo>
                      <a:pt x="328915" y="12917"/>
                      <a:pt x="315786" y="-240"/>
                      <a:pt x="299524" y="-240"/>
                    </a:cubicBezTo>
                    <a:close/>
                    <a:moveTo>
                      <a:pt x="299524" y="502745"/>
                    </a:moveTo>
                    <a:cubicBezTo>
                      <a:pt x="283261" y="502745"/>
                      <a:pt x="270132" y="515903"/>
                      <a:pt x="270132" y="532137"/>
                    </a:cubicBezTo>
                    <a:lnTo>
                      <a:pt x="270132" y="575832"/>
                    </a:lnTo>
                    <a:cubicBezTo>
                      <a:pt x="270132" y="592066"/>
                      <a:pt x="283261" y="605223"/>
                      <a:pt x="299524" y="605223"/>
                    </a:cubicBezTo>
                    <a:cubicBezTo>
                      <a:pt x="315786" y="605223"/>
                      <a:pt x="328915" y="592066"/>
                      <a:pt x="328915" y="575832"/>
                    </a:cubicBezTo>
                    <a:lnTo>
                      <a:pt x="328915" y="532137"/>
                    </a:lnTo>
                    <a:cubicBezTo>
                      <a:pt x="328915" y="515903"/>
                      <a:pt x="315786" y="502745"/>
                      <a:pt x="299524" y="502745"/>
                    </a:cubicBezTo>
                    <a:close/>
                    <a:moveTo>
                      <a:pt x="99271" y="302492"/>
                    </a:moveTo>
                    <a:cubicBezTo>
                      <a:pt x="99271" y="286258"/>
                      <a:pt x="86141" y="273100"/>
                      <a:pt x="69879" y="273100"/>
                    </a:cubicBezTo>
                    <a:lnTo>
                      <a:pt x="26184" y="273100"/>
                    </a:lnTo>
                    <a:cubicBezTo>
                      <a:pt x="9919" y="273100"/>
                      <a:pt x="-3207" y="286258"/>
                      <a:pt x="-3207" y="302492"/>
                    </a:cubicBezTo>
                    <a:cubicBezTo>
                      <a:pt x="-3207" y="318726"/>
                      <a:pt x="9919" y="331883"/>
                      <a:pt x="26184" y="331883"/>
                    </a:cubicBezTo>
                    <a:lnTo>
                      <a:pt x="69879" y="331883"/>
                    </a:lnTo>
                    <a:cubicBezTo>
                      <a:pt x="86141" y="331883"/>
                      <a:pt x="99271" y="318726"/>
                      <a:pt x="99271" y="302492"/>
                    </a:cubicBezTo>
                    <a:close/>
                    <a:moveTo>
                      <a:pt x="572865" y="273100"/>
                    </a:moveTo>
                    <a:lnTo>
                      <a:pt x="529168" y="273100"/>
                    </a:lnTo>
                    <a:cubicBezTo>
                      <a:pt x="512906" y="273100"/>
                      <a:pt x="499777" y="286258"/>
                      <a:pt x="499777" y="302492"/>
                    </a:cubicBezTo>
                    <a:cubicBezTo>
                      <a:pt x="499777" y="318726"/>
                      <a:pt x="512906" y="331883"/>
                      <a:pt x="529168" y="331883"/>
                    </a:cubicBezTo>
                    <a:lnTo>
                      <a:pt x="572865" y="331883"/>
                    </a:lnTo>
                    <a:cubicBezTo>
                      <a:pt x="589128" y="331883"/>
                      <a:pt x="602257" y="318726"/>
                      <a:pt x="602257" y="302492"/>
                    </a:cubicBezTo>
                    <a:cubicBezTo>
                      <a:pt x="602257" y="286258"/>
                      <a:pt x="589128" y="273100"/>
                      <a:pt x="572865" y="273100"/>
                    </a:cubicBezTo>
                    <a:close/>
                    <a:moveTo>
                      <a:pt x="126997" y="88424"/>
                    </a:moveTo>
                    <a:cubicBezTo>
                      <a:pt x="115925" y="76550"/>
                      <a:pt x="97312" y="75894"/>
                      <a:pt x="85457" y="86955"/>
                    </a:cubicBezTo>
                    <a:cubicBezTo>
                      <a:pt x="73601" y="98025"/>
                      <a:pt x="72917" y="116620"/>
                      <a:pt x="83986" y="128494"/>
                    </a:cubicBezTo>
                    <a:cubicBezTo>
                      <a:pt x="84477" y="129004"/>
                      <a:pt x="84967" y="129494"/>
                      <a:pt x="85457" y="129964"/>
                    </a:cubicBezTo>
                    <a:lnTo>
                      <a:pt x="116317" y="160923"/>
                    </a:lnTo>
                    <a:cubicBezTo>
                      <a:pt x="127779" y="172425"/>
                      <a:pt x="146493" y="172425"/>
                      <a:pt x="157955" y="160923"/>
                    </a:cubicBezTo>
                    <a:cubicBezTo>
                      <a:pt x="169417" y="149421"/>
                      <a:pt x="169417" y="130787"/>
                      <a:pt x="157955" y="119285"/>
                    </a:cubicBezTo>
                    <a:close/>
                    <a:moveTo>
                      <a:pt x="482730" y="444061"/>
                    </a:moveTo>
                    <a:cubicBezTo>
                      <a:pt x="471268" y="432559"/>
                      <a:pt x="452556" y="432559"/>
                      <a:pt x="441092" y="444061"/>
                    </a:cubicBezTo>
                    <a:cubicBezTo>
                      <a:pt x="429630" y="455562"/>
                      <a:pt x="429630" y="474196"/>
                      <a:pt x="441092" y="485698"/>
                    </a:cubicBezTo>
                    <a:lnTo>
                      <a:pt x="472052" y="516559"/>
                    </a:lnTo>
                    <a:cubicBezTo>
                      <a:pt x="483514" y="528022"/>
                      <a:pt x="502128" y="528022"/>
                      <a:pt x="513592" y="516559"/>
                    </a:cubicBezTo>
                    <a:cubicBezTo>
                      <a:pt x="525054" y="505087"/>
                      <a:pt x="525054" y="486492"/>
                      <a:pt x="513592" y="475019"/>
                    </a:cubicBezTo>
                    <a:close/>
                    <a:moveTo>
                      <a:pt x="116317" y="444061"/>
                    </a:moveTo>
                    <a:lnTo>
                      <a:pt x="85457" y="475019"/>
                    </a:lnTo>
                    <a:cubicBezTo>
                      <a:pt x="73993" y="486502"/>
                      <a:pt x="73993" y="505116"/>
                      <a:pt x="85457" y="516589"/>
                    </a:cubicBezTo>
                    <a:cubicBezTo>
                      <a:pt x="90942" y="522085"/>
                      <a:pt x="98486" y="525171"/>
                      <a:pt x="106226" y="525181"/>
                    </a:cubicBezTo>
                    <a:cubicBezTo>
                      <a:pt x="114064" y="525171"/>
                      <a:pt x="121510" y="522075"/>
                      <a:pt x="126997" y="516559"/>
                    </a:cubicBezTo>
                    <a:lnTo>
                      <a:pt x="157955" y="485698"/>
                    </a:lnTo>
                    <a:cubicBezTo>
                      <a:pt x="169417" y="474196"/>
                      <a:pt x="169417" y="455562"/>
                      <a:pt x="157955" y="444061"/>
                    </a:cubicBezTo>
                    <a:cubicBezTo>
                      <a:pt x="146493" y="432559"/>
                      <a:pt x="127779" y="432559"/>
                      <a:pt x="116317" y="444061"/>
                    </a:cubicBezTo>
                    <a:close/>
                    <a:moveTo>
                      <a:pt x="461961" y="169740"/>
                    </a:moveTo>
                    <a:cubicBezTo>
                      <a:pt x="469701" y="169760"/>
                      <a:pt x="477245" y="166694"/>
                      <a:pt x="482730" y="161217"/>
                    </a:cubicBezTo>
                    <a:lnTo>
                      <a:pt x="513592" y="130258"/>
                    </a:lnTo>
                    <a:cubicBezTo>
                      <a:pt x="524662" y="118384"/>
                      <a:pt x="523975" y="99789"/>
                      <a:pt x="512121" y="88718"/>
                    </a:cubicBezTo>
                    <a:cubicBezTo>
                      <a:pt x="500855" y="78196"/>
                      <a:pt x="483318" y="78196"/>
                      <a:pt x="472052" y="88718"/>
                    </a:cubicBezTo>
                    <a:lnTo>
                      <a:pt x="441092" y="119579"/>
                    </a:lnTo>
                    <a:cubicBezTo>
                      <a:pt x="429630" y="131061"/>
                      <a:pt x="429630" y="149676"/>
                      <a:pt x="441092" y="161148"/>
                    </a:cubicBezTo>
                    <a:cubicBezTo>
                      <a:pt x="446677" y="166664"/>
                      <a:pt x="454123" y="169760"/>
                      <a:pt x="461961" y="1697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5" name="Полилиния: фигура 52">
              <a:extLst>
                <a:ext uri="{FF2B5EF4-FFF2-40B4-BE49-F238E27FC236}">
                  <a16:creationId xmlns:a16="http://schemas.microsoft.com/office/drawing/2014/main" id="{2BEBA008-9D8E-B612-6D74-7BA0ED06E2B4}"/>
                </a:ext>
              </a:extLst>
            </p:cNvPr>
            <p:cNvSpPr/>
            <p:nvPr/>
          </p:nvSpPr>
          <p:spPr>
            <a:xfrm>
              <a:off x="979714" y="4895068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Полилиния: фигура 53">
              <a:extLst>
                <a:ext uri="{FF2B5EF4-FFF2-40B4-BE49-F238E27FC236}">
                  <a16:creationId xmlns:a16="http://schemas.microsoft.com/office/drawing/2014/main" id="{EBFCDC05-7D2B-F87E-3430-3371007F1F4F}"/>
                </a:ext>
              </a:extLst>
            </p:cNvPr>
            <p:cNvSpPr/>
            <p:nvPr/>
          </p:nvSpPr>
          <p:spPr>
            <a:xfrm>
              <a:off x="1469571" y="5384925"/>
              <a:ext cx="489857" cy="489857"/>
            </a:xfrm>
            <a:custGeom>
              <a:avLst/>
              <a:gdLst>
                <a:gd name="connsiteX0" fmla="*/ 486650 w 489857"/>
                <a:gd name="connsiteY0" fmla="*/ 489617 h 489857"/>
                <a:gd name="connsiteX1" fmla="*/ -3207 w 489857"/>
                <a:gd name="connsiteY1" fmla="*/ -240 h 489857"/>
                <a:gd name="connsiteX2" fmla="*/ 48665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489617"/>
                  </a:moveTo>
                  <a:cubicBezTo>
                    <a:pt x="486650" y="219079"/>
                    <a:pt x="267293" y="-240"/>
                    <a:pt x="-3207" y="-240"/>
                  </a:cubicBezTo>
                  <a:cubicBezTo>
                    <a:pt x="-3207" y="270298"/>
                    <a:pt x="216152" y="489617"/>
                    <a:pt x="486650" y="489617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Полилиния: фигура 54">
              <a:extLst>
                <a:ext uri="{FF2B5EF4-FFF2-40B4-BE49-F238E27FC236}">
                  <a16:creationId xmlns:a16="http://schemas.microsoft.com/office/drawing/2014/main" id="{044E6A5C-147D-9D07-B80F-DC0BF76FAD0D}"/>
                </a:ext>
              </a:extLst>
            </p:cNvPr>
            <p:cNvSpPr/>
            <p:nvPr/>
          </p:nvSpPr>
          <p:spPr>
            <a:xfrm>
              <a:off x="979714" y="5384925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55">
              <a:extLst>
                <a:ext uri="{FF2B5EF4-FFF2-40B4-BE49-F238E27FC236}">
                  <a16:creationId xmlns:a16="http://schemas.microsoft.com/office/drawing/2014/main" id="{6A1BF84E-F638-1593-8342-EEBE750D39CF}"/>
                </a:ext>
              </a:extLst>
            </p:cNvPr>
            <p:cNvSpPr/>
            <p:nvPr/>
          </p:nvSpPr>
          <p:spPr>
            <a:xfrm>
              <a:off x="1469571" y="4895068"/>
              <a:ext cx="489857" cy="489857"/>
            </a:xfrm>
            <a:custGeom>
              <a:avLst/>
              <a:gdLst>
                <a:gd name="connsiteX0" fmla="*/ 486650 w 489857"/>
                <a:gd name="connsiteY0" fmla="*/ -240 h 489857"/>
                <a:gd name="connsiteX1" fmla="*/ -3207 w 489857"/>
                <a:gd name="connsiteY1" fmla="*/ 489617 h 489857"/>
                <a:gd name="connsiteX2" fmla="*/ 48665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486650" y="-240"/>
                  </a:moveTo>
                  <a:cubicBezTo>
                    <a:pt x="216152" y="-240"/>
                    <a:pt x="-3207" y="219079"/>
                    <a:pt x="-3207" y="489617"/>
                  </a:cubicBezTo>
                  <a:cubicBezTo>
                    <a:pt x="267293" y="489617"/>
                    <a:pt x="486650" y="270298"/>
                    <a:pt x="486650" y="-240"/>
                  </a:cubicBezTo>
                  <a:close/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4BF8E173-FACE-ED4C-FDD4-55EC1D155F37}"/>
              </a:ext>
            </a:extLst>
          </p:cNvPr>
          <p:cNvGrpSpPr/>
          <p:nvPr/>
        </p:nvGrpSpPr>
        <p:grpSpPr>
          <a:xfrm>
            <a:off x="6436154" y="-838"/>
            <a:ext cx="5755846" cy="6858838"/>
            <a:chOff x="6436154" y="-838"/>
            <a:chExt cx="5755846" cy="6858838"/>
          </a:xfrm>
        </p:grpSpPr>
        <p:sp>
          <p:nvSpPr>
            <p:cNvPr id="162" name="Полилиния: фигура 29">
              <a:extLst>
                <a:ext uri="{FF2B5EF4-FFF2-40B4-BE49-F238E27FC236}">
                  <a16:creationId xmlns:a16="http://schemas.microsoft.com/office/drawing/2014/main" id="{7AE37D25-279B-FAD5-AEE7-483751C79B9B}"/>
                </a:ext>
              </a:extLst>
            </p:cNvPr>
            <p:cNvSpPr/>
            <p:nvPr/>
          </p:nvSpPr>
          <p:spPr>
            <a:xfrm>
              <a:off x="9306282" y="5879124"/>
              <a:ext cx="489438" cy="978876"/>
            </a:xfrm>
            <a:custGeom>
              <a:avLst/>
              <a:gdLst>
                <a:gd name="connsiteX0" fmla="*/ -310 w 489438"/>
                <a:gd name="connsiteY0" fmla="*/ 978637 h 978876"/>
                <a:gd name="connsiteX1" fmla="*/ 489128 w 489438"/>
                <a:gd name="connsiteY1" fmla="*/ 489198 h 978876"/>
                <a:gd name="connsiteX2" fmla="*/ -310 w 489438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-310" y="978637"/>
                  </a:moveTo>
                  <a:cubicBezTo>
                    <a:pt x="269958" y="978637"/>
                    <a:pt x="489128" y="759506"/>
                    <a:pt x="489128" y="489198"/>
                  </a:cubicBezTo>
                  <a:cubicBezTo>
                    <a:pt x="489128" y="218891"/>
                    <a:pt x="269958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Полилиния: фигура 30">
              <a:extLst>
                <a:ext uri="{FF2B5EF4-FFF2-40B4-BE49-F238E27FC236}">
                  <a16:creationId xmlns:a16="http://schemas.microsoft.com/office/drawing/2014/main" id="{AC1D7F98-B9D9-57B7-CC22-7DF1DAED54CF}"/>
                </a:ext>
              </a:extLst>
            </p:cNvPr>
            <p:cNvSpPr/>
            <p:nvPr/>
          </p:nvSpPr>
          <p:spPr>
            <a:xfrm>
              <a:off x="9795720" y="5879124"/>
              <a:ext cx="489438" cy="978876"/>
            </a:xfrm>
            <a:custGeom>
              <a:avLst/>
              <a:gdLst>
                <a:gd name="connsiteX0" fmla="*/ 489128 w 489438"/>
                <a:gd name="connsiteY0" fmla="*/ -240 h 978876"/>
                <a:gd name="connsiteX1" fmla="*/ -310 w 489438"/>
                <a:gd name="connsiteY1" fmla="*/ 489198 h 978876"/>
                <a:gd name="connsiteX2" fmla="*/ 489128 w 489438"/>
                <a:gd name="connsiteY2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438" h="978876">
                  <a:moveTo>
                    <a:pt x="489128" y="-240"/>
                  </a:moveTo>
                  <a:cubicBezTo>
                    <a:pt x="218861" y="-240"/>
                    <a:pt x="-310" y="218891"/>
                    <a:pt x="-310" y="489198"/>
                  </a:cubicBezTo>
                  <a:cubicBezTo>
                    <a:pt x="-310" y="759506"/>
                    <a:pt x="218861" y="978637"/>
                    <a:pt x="489128" y="978637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Полилиния: фигура 35">
              <a:extLst>
                <a:ext uri="{FF2B5EF4-FFF2-40B4-BE49-F238E27FC236}">
                  <a16:creationId xmlns:a16="http://schemas.microsoft.com/office/drawing/2014/main" id="{1EC629B3-F129-7CF7-A2BD-42A84E922D3C}"/>
                </a:ext>
              </a:extLst>
            </p:cNvPr>
            <p:cNvSpPr/>
            <p:nvPr/>
          </p:nvSpPr>
          <p:spPr>
            <a:xfrm rot="16200000">
              <a:off x="11213124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noFill/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Полилиния: фигура 32">
              <a:extLst>
                <a:ext uri="{FF2B5EF4-FFF2-40B4-BE49-F238E27FC236}">
                  <a16:creationId xmlns:a16="http://schemas.microsoft.com/office/drawing/2014/main" id="{9399CA00-A682-3BD2-C663-F3FEA23DE7A8}"/>
                </a:ext>
              </a:extLst>
            </p:cNvPr>
            <p:cNvSpPr/>
            <p:nvPr/>
          </p:nvSpPr>
          <p:spPr>
            <a:xfrm rot="5400000">
              <a:off x="10234009" y="5879124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Полилиния: фигура 37">
              <a:extLst>
                <a:ext uri="{FF2B5EF4-FFF2-40B4-BE49-F238E27FC236}">
                  <a16:creationId xmlns:a16="http://schemas.microsoft.com/office/drawing/2014/main" id="{771D2AE4-D7A7-37B7-2A9F-C9F8B9B1DF1A}"/>
                </a:ext>
              </a:extLst>
            </p:cNvPr>
            <p:cNvSpPr/>
            <p:nvPr/>
          </p:nvSpPr>
          <p:spPr>
            <a:xfrm>
              <a:off x="10478966" y="6123843"/>
              <a:ext cx="489438" cy="489438"/>
            </a:xfrm>
            <a:custGeom>
              <a:avLst/>
              <a:gdLst>
                <a:gd name="connsiteX0" fmla="*/ 489438 w 489438"/>
                <a:gd name="connsiteY0" fmla="*/ 244719 h 489438"/>
                <a:gd name="connsiteX1" fmla="*/ 244719 w 489438"/>
                <a:gd name="connsiteY1" fmla="*/ 489438 h 489438"/>
                <a:gd name="connsiteX2" fmla="*/ 0 w 489438"/>
                <a:gd name="connsiteY2" fmla="*/ 244719 h 489438"/>
                <a:gd name="connsiteX3" fmla="*/ 244719 w 489438"/>
                <a:gd name="connsiteY3" fmla="*/ 0 h 489438"/>
                <a:gd name="connsiteX4" fmla="*/ 489438 w 489438"/>
                <a:gd name="connsiteY4" fmla="*/ 244719 h 48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438" h="489438">
                  <a:moveTo>
                    <a:pt x="489438" y="244719"/>
                  </a:moveTo>
                  <a:cubicBezTo>
                    <a:pt x="489438" y="379874"/>
                    <a:pt x="379874" y="489438"/>
                    <a:pt x="244719" y="489438"/>
                  </a:cubicBezTo>
                  <a:cubicBezTo>
                    <a:pt x="109564" y="489438"/>
                    <a:pt x="0" y="379874"/>
                    <a:pt x="0" y="244719"/>
                  </a:cubicBezTo>
                  <a:cubicBezTo>
                    <a:pt x="0" y="109564"/>
                    <a:pt x="109564" y="0"/>
                    <a:pt x="244719" y="0"/>
                  </a:cubicBezTo>
                  <a:cubicBezTo>
                    <a:pt x="379874" y="0"/>
                    <a:pt x="489438" y="109564"/>
                    <a:pt x="489438" y="244719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Полилиния: фигура 36">
              <a:extLst>
                <a:ext uri="{FF2B5EF4-FFF2-40B4-BE49-F238E27FC236}">
                  <a16:creationId xmlns:a16="http://schemas.microsoft.com/office/drawing/2014/main" id="{97BFECD6-3F78-D810-D06D-4DB788A24550}"/>
                </a:ext>
              </a:extLst>
            </p:cNvPr>
            <p:cNvSpPr/>
            <p:nvPr/>
          </p:nvSpPr>
          <p:spPr>
            <a:xfrm rot="5400000">
              <a:off x="10234247" y="4900247"/>
              <a:ext cx="978876" cy="97887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Полилиния: фигура 38">
              <a:extLst>
                <a:ext uri="{FF2B5EF4-FFF2-40B4-BE49-F238E27FC236}">
                  <a16:creationId xmlns:a16="http://schemas.microsoft.com/office/drawing/2014/main" id="{541C9ACD-568F-8637-D608-4D98DE612750}"/>
                </a:ext>
              </a:extLst>
            </p:cNvPr>
            <p:cNvSpPr/>
            <p:nvPr/>
          </p:nvSpPr>
          <p:spPr>
            <a:xfrm>
              <a:off x="10234247" y="4900247"/>
              <a:ext cx="978876" cy="978876"/>
            </a:xfrm>
            <a:custGeom>
              <a:avLst/>
              <a:gdLst>
                <a:gd name="connsiteX0" fmla="*/ 978567 w 978876"/>
                <a:gd name="connsiteY0" fmla="*/ -240 h 978876"/>
                <a:gd name="connsiteX1" fmla="*/ -310 w 978876"/>
                <a:gd name="connsiteY1" fmla="*/ 978637 h 978876"/>
                <a:gd name="connsiteX2" fmla="*/ 978567 w 978876"/>
                <a:gd name="connsiteY2" fmla="*/ -240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8876" h="978876">
                  <a:moveTo>
                    <a:pt x="978567" y="-240"/>
                  </a:moveTo>
                  <a:cubicBezTo>
                    <a:pt x="437953" y="-240"/>
                    <a:pt x="-310" y="438022"/>
                    <a:pt x="-310" y="978637"/>
                  </a:cubicBezTo>
                  <a:cubicBezTo>
                    <a:pt x="540304" y="978637"/>
                    <a:pt x="978567" y="540374"/>
                    <a:pt x="978567" y="-240"/>
                  </a:cubicBezTo>
                  <a:close/>
                </a:path>
              </a:pathLst>
            </a:custGeom>
            <a:solidFill>
              <a:schemeClr val="bg1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Полилиния: фигура 39">
              <a:extLst>
                <a:ext uri="{FF2B5EF4-FFF2-40B4-BE49-F238E27FC236}">
                  <a16:creationId xmlns:a16="http://schemas.microsoft.com/office/drawing/2014/main" id="{2CEFE2E8-C801-B2DF-C309-266491FD61D3}"/>
                </a:ext>
              </a:extLst>
            </p:cNvPr>
            <p:cNvSpPr/>
            <p:nvPr/>
          </p:nvSpPr>
          <p:spPr>
            <a:xfrm>
              <a:off x="11824922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Полилиния: фигура 40">
              <a:extLst>
                <a:ext uri="{FF2B5EF4-FFF2-40B4-BE49-F238E27FC236}">
                  <a16:creationId xmlns:a16="http://schemas.microsoft.com/office/drawing/2014/main" id="{5A76BE50-F569-D366-7AB1-3FACC18FC8FD}"/>
                </a:ext>
              </a:extLst>
            </p:cNvPr>
            <p:cNvSpPr/>
            <p:nvPr/>
          </p:nvSpPr>
          <p:spPr>
            <a:xfrm>
              <a:off x="11335484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Полилиния: фигура 41">
              <a:extLst>
                <a:ext uri="{FF2B5EF4-FFF2-40B4-BE49-F238E27FC236}">
                  <a16:creationId xmlns:a16="http://schemas.microsoft.com/office/drawing/2014/main" id="{FE22727D-1C1D-4E79-495B-FC295573D98A}"/>
                </a:ext>
              </a:extLst>
            </p:cNvPr>
            <p:cNvSpPr/>
            <p:nvPr/>
          </p:nvSpPr>
          <p:spPr>
            <a:xfrm>
              <a:off x="11824922" y="502260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Полилиния: фигура 42">
              <a:extLst>
                <a:ext uri="{FF2B5EF4-FFF2-40B4-BE49-F238E27FC236}">
                  <a16:creationId xmlns:a16="http://schemas.microsoft.com/office/drawing/2014/main" id="{77B5FFA8-6C14-166E-0498-93163BC1066B}"/>
                </a:ext>
              </a:extLst>
            </p:cNvPr>
            <p:cNvSpPr/>
            <p:nvPr/>
          </p:nvSpPr>
          <p:spPr>
            <a:xfrm>
              <a:off x="11580203" y="5267326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Полилиния: фигура 43">
              <a:extLst>
                <a:ext uri="{FF2B5EF4-FFF2-40B4-BE49-F238E27FC236}">
                  <a16:creationId xmlns:a16="http://schemas.microsoft.com/office/drawing/2014/main" id="{DFC74432-806C-FE9B-3172-74E47A38D527}"/>
                </a:ext>
              </a:extLst>
            </p:cNvPr>
            <p:cNvSpPr/>
            <p:nvPr/>
          </p:nvSpPr>
          <p:spPr>
            <a:xfrm>
              <a:off x="11335484" y="5512045"/>
              <a:ext cx="244719" cy="244719"/>
            </a:xfrm>
            <a:custGeom>
              <a:avLst/>
              <a:gdLst>
                <a:gd name="connsiteX0" fmla="*/ 244719 w 244719"/>
                <a:gd name="connsiteY0" fmla="*/ 122360 h 244719"/>
                <a:gd name="connsiteX1" fmla="*/ 122360 w 244719"/>
                <a:gd name="connsiteY1" fmla="*/ 244719 h 244719"/>
                <a:gd name="connsiteX2" fmla="*/ 0 w 244719"/>
                <a:gd name="connsiteY2" fmla="*/ 122360 h 244719"/>
                <a:gd name="connsiteX3" fmla="*/ 122360 w 244719"/>
                <a:gd name="connsiteY3" fmla="*/ 0 h 244719"/>
                <a:gd name="connsiteX4" fmla="*/ 244719 w 244719"/>
                <a:gd name="connsiteY4" fmla="*/ 122360 h 244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719" h="244719">
                  <a:moveTo>
                    <a:pt x="244719" y="122360"/>
                  </a:moveTo>
                  <a:cubicBezTo>
                    <a:pt x="244719" y="189937"/>
                    <a:pt x="189937" y="244719"/>
                    <a:pt x="122360" y="244719"/>
                  </a:cubicBezTo>
                  <a:cubicBezTo>
                    <a:pt x="54782" y="244719"/>
                    <a:pt x="0" y="189937"/>
                    <a:pt x="0" y="122360"/>
                  </a:cubicBezTo>
                  <a:cubicBezTo>
                    <a:pt x="0" y="54782"/>
                    <a:pt x="54782" y="0"/>
                    <a:pt x="122360" y="0"/>
                  </a:cubicBezTo>
                  <a:cubicBezTo>
                    <a:pt x="189937" y="0"/>
                    <a:pt x="244719" y="54782"/>
                    <a:pt x="244719" y="122360"/>
                  </a:cubicBez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2"/>
                </a:solidFill>
              </a:endParaRPr>
            </a:p>
          </p:txBody>
        </p:sp>
        <p:grpSp>
          <p:nvGrpSpPr>
            <p:cNvPr id="174" name="Группа 145">
              <a:extLst>
                <a:ext uri="{FF2B5EF4-FFF2-40B4-BE49-F238E27FC236}">
                  <a16:creationId xmlns:a16="http://schemas.microsoft.com/office/drawing/2014/main" id="{BBD5BFD8-DD3E-902E-5832-1A201C6D220F}"/>
                </a:ext>
              </a:extLst>
            </p:cNvPr>
            <p:cNvGrpSpPr/>
            <p:nvPr/>
          </p:nvGrpSpPr>
          <p:grpSpPr>
            <a:xfrm>
              <a:off x="11482993" y="6055615"/>
              <a:ext cx="204201" cy="625502"/>
              <a:chOff x="11482993" y="6055615"/>
              <a:chExt cx="204201" cy="625502"/>
            </a:xfrm>
          </p:grpSpPr>
          <p:sp>
            <p:nvSpPr>
              <p:cNvPr id="244" name="Полилиния: фигура 44">
                <a:extLst>
                  <a:ext uri="{FF2B5EF4-FFF2-40B4-BE49-F238E27FC236}">
                    <a16:creationId xmlns:a16="http://schemas.microsoft.com/office/drawing/2014/main" id="{BBA50A16-7AD7-629F-F2D8-D5EC976D3A5E}"/>
                  </a:ext>
                </a:extLst>
              </p:cNvPr>
              <p:cNvSpPr/>
              <p:nvPr/>
            </p:nvSpPr>
            <p:spPr>
              <a:xfrm>
                <a:off x="11547704" y="6327156"/>
                <a:ext cx="74786" cy="353961"/>
              </a:xfrm>
              <a:custGeom>
                <a:avLst/>
                <a:gdLst>
                  <a:gd name="connsiteX0" fmla="*/ 37083 w 74786"/>
                  <a:gd name="connsiteY0" fmla="*/ 353722 h 353961"/>
                  <a:gd name="connsiteX1" fmla="*/ 37083 w 74786"/>
                  <a:gd name="connsiteY1" fmla="*/ 353722 h 353961"/>
                  <a:gd name="connsiteX2" fmla="*/ 74476 w 74786"/>
                  <a:gd name="connsiteY2" fmla="*/ 316328 h 353961"/>
                  <a:gd name="connsiteX3" fmla="*/ 74476 w 74786"/>
                  <a:gd name="connsiteY3" fmla="*/ -240 h 353961"/>
                  <a:gd name="connsiteX4" fmla="*/ -310 w 74786"/>
                  <a:gd name="connsiteY4" fmla="*/ -240 h 353961"/>
                  <a:gd name="connsiteX5" fmla="*/ -310 w 74786"/>
                  <a:gd name="connsiteY5" fmla="*/ 316328 h 353961"/>
                  <a:gd name="connsiteX6" fmla="*/ 37083 w 74786"/>
                  <a:gd name="connsiteY6" fmla="*/ 353722 h 353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353961">
                    <a:moveTo>
                      <a:pt x="37083" y="353722"/>
                    </a:moveTo>
                    <a:lnTo>
                      <a:pt x="37083" y="353722"/>
                    </a:lnTo>
                    <a:cubicBezTo>
                      <a:pt x="57737" y="353722"/>
                      <a:pt x="74476" y="336983"/>
                      <a:pt x="74476" y="316328"/>
                    </a:cubicBezTo>
                    <a:lnTo>
                      <a:pt x="74476" y="-240"/>
                    </a:lnTo>
                    <a:lnTo>
                      <a:pt x="-310" y="-240"/>
                    </a:lnTo>
                    <a:lnTo>
                      <a:pt x="-310" y="316328"/>
                    </a:lnTo>
                    <a:cubicBezTo>
                      <a:pt x="-310" y="336983"/>
                      <a:pt x="16429" y="353722"/>
                      <a:pt x="37083" y="353722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Полилиния: фигура 45">
                <a:extLst>
                  <a:ext uri="{FF2B5EF4-FFF2-40B4-BE49-F238E27FC236}">
                    <a16:creationId xmlns:a16="http://schemas.microsoft.com/office/drawing/2014/main" id="{D5720F4F-4224-CC6B-B843-E58AA10355BA}"/>
                  </a:ext>
                </a:extLst>
              </p:cNvPr>
              <p:cNvSpPr/>
              <p:nvPr/>
            </p:nvSpPr>
            <p:spPr>
              <a:xfrm>
                <a:off x="11482993" y="6055615"/>
                <a:ext cx="204201" cy="288885"/>
              </a:xfrm>
              <a:custGeom>
                <a:avLst/>
                <a:gdLst>
                  <a:gd name="connsiteX0" fmla="*/ 162974 w 204201"/>
                  <a:gd name="connsiteY0" fmla="*/ 20512 h 288885"/>
                  <a:gd name="connsiteX1" fmla="*/ 162974 w 204201"/>
                  <a:gd name="connsiteY1" fmla="*/ 165875 h 288885"/>
                  <a:gd name="connsiteX2" fmla="*/ 143984 w 204201"/>
                  <a:gd name="connsiteY2" fmla="*/ 187694 h 288885"/>
                  <a:gd name="connsiteX3" fmla="*/ 122155 w 204201"/>
                  <a:gd name="connsiteY3" fmla="*/ 168704 h 288885"/>
                  <a:gd name="connsiteX4" fmla="*/ 122155 w 204201"/>
                  <a:gd name="connsiteY4" fmla="*/ 165875 h 288885"/>
                  <a:gd name="connsiteX5" fmla="*/ 122155 w 204201"/>
                  <a:gd name="connsiteY5" fmla="*/ 20512 h 288885"/>
                  <a:gd name="connsiteX6" fmla="*/ 101794 w 204201"/>
                  <a:gd name="connsiteY6" fmla="*/ 151 h 288885"/>
                  <a:gd name="connsiteX7" fmla="*/ 101794 w 204201"/>
                  <a:gd name="connsiteY7" fmla="*/ 151 h 288885"/>
                  <a:gd name="connsiteX8" fmla="*/ 81336 w 204201"/>
                  <a:gd name="connsiteY8" fmla="*/ 20512 h 288885"/>
                  <a:gd name="connsiteX9" fmla="*/ 81336 w 204201"/>
                  <a:gd name="connsiteY9" fmla="*/ 165875 h 288885"/>
                  <a:gd name="connsiteX10" fmla="*/ 62336 w 204201"/>
                  <a:gd name="connsiteY10" fmla="*/ 187694 h 288885"/>
                  <a:gd name="connsiteX11" fmla="*/ 40517 w 204201"/>
                  <a:gd name="connsiteY11" fmla="*/ 168704 h 288885"/>
                  <a:gd name="connsiteX12" fmla="*/ 40517 w 204201"/>
                  <a:gd name="connsiteY12" fmla="*/ 165875 h 288885"/>
                  <a:gd name="connsiteX13" fmla="*/ 40517 w 204201"/>
                  <a:gd name="connsiteY13" fmla="*/ 20512 h 288885"/>
                  <a:gd name="connsiteX14" fmla="*/ 18688 w 204201"/>
                  <a:gd name="connsiteY14" fmla="*/ 1522 h 288885"/>
                  <a:gd name="connsiteX15" fmla="*/ -302 w 204201"/>
                  <a:gd name="connsiteY15" fmla="*/ 20512 h 288885"/>
                  <a:gd name="connsiteX16" fmla="*/ -302 w 204201"/>
                  <a:gd name="connsiteY16" fmla="*/ 183201 h 288885"/>
                  <a:gd name="connsiteX17" fmla="*/ 99837 w 204201"/>
                  <a:gd name="connsiteY17" fmla="*/ 288626 h 288885"/>
                  <a:gd name="connsiteX18" fmla="*/ 203871 w 204201"/>
                  <a:gd name="connsiteY18" fmla="*/ 188507 h 288885"/>
                  <a:gd name="connsiteX19" fmla="*/ 203891 w 204201"/>
                  <a:gd name="connsiteY19" fmla="*/ 186627 h 288885"/>
                  <a:gd name="connsiteX20" fmla="*/ 203891 w 204201"/>
                  <a:gd name="connsiteY20" fmla="*/ 20218 h 288885"/>
                  <a:gd name="connsiteX21" fmla="*/ 183433 w 204201"/>
                  <a:gd name="connsiteY21" fmla="*/ -240 h 288885"/>
                  <a:gd name="connsiteX22" fmla="*/ 162974 w 204201"/>
                  <a:gd name="connsiteY22" fmla="*/ 20218 h 28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201" h="288885">
                    <a:moveTo>
                      <a:pt x="162974" y="20512"/>
                    </a:moveTo>
                    <a:lnTo>
                      <a:pt x="162974" y="165875"/>
                    </a:lnTo>
                    <a:cubicBezTo>
                      <a:pt x="163757" y="177142"/>
                      <a:pt x="155251" y="186921"/>
                      <a:pt x="143984" y="187694"/>
                    </a:cubicBezTo>
                    <a:cubicBezTo>
                      <a:pt x="132708" y="188478"/>
                      <a:pt x="122938" y="179971"/>
                      <a:pt x="122155" y="168704"/>
                    </a:cubicBezTo>
                    <a:cubicBezTo>
                      <a:pt x="122087" y="167764"/>
                      <a:pt x="122087" y="166815"/>
                      <a:pt x="122155" y="165875"/>
                    </a:cubicBezTo>
                    <a:lnTo>
                      <a:pt x="122155" y="20512"/>
                    </a:lnTo>
                    <a:cubicBezTo>
                      <a:pt x="122155" y="9264"/>
                      <a:pt x="113042" y="151"/>
                      <a:pt x="101794" y="151"/>
                    </a:cubicBezTo>
                    <a:lnTo>
                      <a:pt x="101794" y="151"/>
                    </a:lnTo>
                    <a:cubicBezTo>
                      <a:pt x="90537" y="151"/>
                      <a:pt x="81395" y="9255"/>
                      <a:pt x="81336" y="20512"/>
                    </a:cubicBezTo>
                    <a:lnTo>
                      <a:pt x="81336" y="165875"/>
                    </a:lnTo>
                    <a:cubicBezTo>
                      <a:pt x="82119" y="177142"/>
                      <a:pt x="73612" y="186921"/>
                      <a:pt x="62336" y="187694"/>
                    </a:cubicBezTo>
                    <a:cubicBezTo>
                      <a:pt x="51069" y="188478"/>
                      <a:pt x="41300" y="179971"/>
                      <a:pt x="40517" y="168704"/>
                    </a:cubicBezTo>
                    <a:cubicBezTo>
                      <a:pt x="40448" y="167764"/>
                      <a:pt x="40448" y="166815"/>
                      <a:pt x="40517" y="165875"/>
                    </a:cubicBezTo>
                    <a:lnTo>
                      <a:pt x="40517" y="20512"/>
                    </a:lnTo>
                    <a:cubicBezTo>
                      <a:pt x="39733" y="9245"/>
                      <a:pt x="29964" y="739"/>
                      <a:pt x="18688" y="1522"/>
                    </a:cubicBezTo>
                    <a:cubicBezTo>
                      <a:pt x="8507" y="2226"/>
                      <a:pt x="403" y="10331"/>
                      <a:pt x="-302" y="20512"/>
                    </a:cubicBezTo>
                    <a:lnTo>
                      <a:pt x="-302" y="183201"/>
                    </a:lnTo>
                    <a:cubicBezTo>
                      <a:pt x="-978" y="239663"/>
                      <a:pt x="43414" y="286404"/>
                      <a:pt x="99837" y="288626"/>
                    </a:cubicBezTo>
                    <a:cubicBezTo>
                      <a:pt x="156210" y="289713"/>
                      <a:pt x="202795" y="244880"/>
                      <a:pt x="203871" y="188507"/>
                    </a:cubicBezTo>
                    <a:cubicBezTo>
                      <a:pt x="203882" y="187880"/>
                      <a:pt x="203891" y="187254"/>
                      <a:pt x="203891" y="186627"/>
                    </a:cubicBezTo>
                    <a:lnTo>
                      <a:pt x="203891" y="20218"/>
                    </a:lnTo>
                    <a:cubicBezTo>
                      <a:pt x="203891" y="8922"/>
                      <a:pt x="194729" y="-240"/>
                      <a:pt x="183433" y="-240"/>
                    </a:cubicBezTo>
                    <a:cubicBezTo>
                      <a:pt x="172136" y="-240"/>
                      <a:pt x="162974" y="8922"/>
                      <a:pt x="162974" y="20218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75" name="Группа 146">
              <a:extLst>
                <a:ext uri="{FF2B5EF4-FFF2-40B4-BE49-F238E27FC236}">
                  <a16:creationId xmlns:a16="http://schemas.microsoft.com/office/drawing/2014/main" id="{3EC56F36-211F-8B4D-FCF9-75345C83DEBB}"/>
                </a:ext>
              </a:extLst>
            </p:cNvPr>
            <p:cNvGrpSpPr/>
            <p:nvPr/>
          </p:nvGrpSpPr>
          <p:grpSpPr>
            <a:xfrm>
              <a:off x="11717931" y="6056007"/>
              <a:ext cx="204193" cy="625110"/>
              <a:chOff x="11717931" y="6056007"/>
              <a:chExt cx="204193" cy="625110"/>
            </a:xfrm>
          </p:grpSpPr>
          <p:sp>
            <p:nvSpPr>
              <p:cNvPr id="242" name="Полилиния: фигура 46">
                <a:extLst>
                  <a:ext uri="{FF2B5EF4-FFF2-40B4-BE49-F238E27FC236}">
                    <a16:creationId xmlns:a16="http://schemas.microsoft.com/office/drawing/2014/main" id="{EE5E528E-80B1-3D17-9DD3-FCB9DE83E1B3}"/>
                  </a:ext>
                </a:extLst>
              </p:cNvPr>
              <p:cNvSpPr/>
              <p:nvPr/>
            </p:nvSpPr>
            <p:spPr>
              <a:xfrm>
                <a:off x="11782635" y="6056007"/>
                <a:ext cx="74786" cy="425224"/>
              </a:xfrm>
              <a:custGeom>
                <a:avLst/>
                <a:gdLst>
                  <a:gd name="connsiteX0" fmla="*/ 37083 w 74786"/>
                  <a:gd name="connsiteY0" fmla="*/ -240 h 425224"/>
                  <a:gd name="connsiteX1" fmla="*/ 37083 w 74786"/>
                  <a:gd name="connsiteY1" fmla="*/ -240 h 425224"/>
                  <a:gd name="connsiteX2" fmla="*/ -310 w 74786"/>
                  <a:gd name="connsiteY2" fmla="*/ 37153 h 425224"/>
                  <a:gd name="connsiteX3" fmla="*/ -310 w 74786"/>
                  <a:gd name="connsiteY3" fmla="*/ 424984 h 425224"/>
                  <a:gd name="connsiteX4" fmla="*/ 74476 w 74786"/>
                  <a:gd name="connsiteY4" fmla="*/ 424984 h 425224"/>
                  <a:gd name="connsiteX5" fmla="*/ 74476 w 74786"/>
                  <a:gd name="connsiteY5" fmla="*/ 37153 h 425224"/>
                  <a:gd name="connsiteX6" fmla="*/ 37083 w 74786"/>
                  <a:gd name="connsiteY6" fmla="*/ -240 h 42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786" h="425224">
                    <a:moveTo>
                      <a:pt x="37083" y="-240"/>
                    </a:moveTo>
                    <a:lnTo>
                      <a:pt x="37083" y="-240"/>
                    </a:lnTo>
                    <a:cubicBezTo>
                      <a:pt x="16429" y="-240"/>
                      <a:pt x="-310" y="16499"/>
                      <a:pt x="-310" y="37153"/>
                    </a:cubicBezTo>
                    <a:lnTo>
                      <a:pt x="-310" y="424984"/>
                    </a:lnTo>
                    <a:lnTo>
                      <a:pt x="74476" y="424984"/>
                    </a:lnTo>
                    <a:lnTo>
                      <a:pt x="74476" y="37153"/>
                    </a:lnTo>
                    <a:cubicBezTo>
                      <a:pt x="74476" y="16499"/>
                      <a:pt x="57737" y="-240"/>
                      <a:pt x="37083" y="-240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Полилиния: фигура 47">
                <a:extLst>
                  <a:ext uri="{FF2B5EF4-FFF2-40B4-BE49-F238E27FC236}">
                    <a16:creationId xmlns:a16="http://schemas.microsoft.com/office/drawing/2014/main" id="{9EC87D7A-39AB-4CD3-0F1C-31B70D227BE8}"/>
                  </a:ext>
                </a:extLst>
              </p:cNvPr>
              <p:cNvSpPr/>
              <p:nvPr/>
            </p:nvSpPr>
            <p:spPr>
              <a:xfrm>
                <a:off x="11717931" y="6392545"/>
                <a:ext cx="204193" cy="288572"/>
              </a:xfrm>
              <a:custGeom>
                <a:avLst/>
                <a:gdLst>
                  <a:gd name="connsiteX0" fmla="*/ 101787 w 204193"/>
                  <a:gd name="connsiteY0" fmla="*/ 288333 h 288572"/>
                  <a:gd name="connsiteX1" fmla="*/ 203884 w 204193"/>
                  <a:gd name="connsiteY1" fmla="*/ 186236 h 288572"/>
                  <a:gd name="connsiteX2" fmla="*/ 203884 w 204193"/>
                  <a:gd name="connsiteY2" fmla="*/ 101857 h 288572"/>
                  <a:gd name="connsiteX3" fmla="*/ 101787 w 204193"/>
                  <a:gd name="connsiteY3" fmla="*/ -240 h 288572"/>
                  <a:gd name="connsiteX4" fmla="*/ -310 w 204193"/>
                  <a:gd name="connsiteY4" fmla="*/ 101857 h 288572"/>
                  <a:gd name="connsiteX5" fmla="*/ -310 w 204193"/>
                  <a:gd name="connsiteY5" fmla="*/ 186236 h 288572"/>
                  <a:gd name="connsiteX6" fmla="*/ 101787 w 204193"/>
                  <a:gd name="connsiteY6" fmla="*/ 288333 h 28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193" h="288572">
                    <a:moveTo>
                      <a:pt x="101787" y="288333"/>
                    </a:moveTo>
                    <a:cubicBezTo>
                      <a:pt x="158170" y="288333"/>
                      <a:pt x="203884" y="242619"/>
                      <a:pt x="203884" y="186236"/>
                    </a:cubicBezTo>
                    <a:lnTo>
                      <a:pt x="203884" y="101857"/>
                    </a:lnTo>
                    <a:cubicBezTo>
                      <a:pt x="203884" y="45473"/>
                      <a:pt x="158170" y="-240"/>
                      <a:pt x="101787" y="-240"/>
                    </a:cubicBezTo>
                    <a:cubicBezTo>
                      <a:pt x="45403" y="-240"/>
                      <a:pt x="-310" y="45473"/>
                      <a:pt x="-310" y="101857"/>
                    </a:cubicBezTo>
                    <a:lnTo>
                      <a:pt x="-310" y="186236"/>
                    </a:lnTo>
                    <a:cubicBezTo>
                      <a:pt x="-310" y="242619"/>
                      <a:pt x="45403" y="288333"/>
                      <a:pt x="101787" y="288333"/>
                    </a:cubicBezTo>
                  </a:path>
                </a:pathLst>
              </a:custGeom>
              <a:solidFill>
                <a:srgbClr val="949494"/>
              </a:solidFill>
              <a:ln w="9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6" name="Полилиния: фигура 56">
              <a:extLst>
                <a:ext uri="{FF2B5EF4-FFF2-40B4-BE49-F238E27FC236}">
                  <a16:creationId xmlns:a16="http://schemas.microsoft.com/office/drawing/2014/main" id="{6E6199AE-034D-751B-0B41-16843783D52E}"/>
                </a:ext>
              </a:extLst>
            </p:cNvPr>
            <p:cNvSpPr/>
            <p:nvPr/>
          </p:nvSpPr>
          <p:spPr>
            <a:xfrm>
              <a:off x="9252833" y="0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Полилиния: фигура 57">
              <a:extLst>
                <a:ext uri="{FF2B5EF4-FFF2-40B4-BE49-F238E27FC236}">
                  <a16:creationId xmlns:a16="http://schemas.microsoft.com/office/drawing/2014/main" id="{9B637539-34B8-C902-670F-61DA69B52B5E}"/>
                </a:ext>
              </a:extLst>
            </p:cNvPr>
            <p:cNvSpPr/>
            <p:nvPr/>
          </p:nvSpPr>
          <p:spPr>
            <a:xfrm>
              <a:off x="9497761" y="244953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Полилиния: фигура 59">
              <a:extLst>
                <a:ext uri="{FF2B5EF4-FFF2-40B4-BE49-F238E27FC236}">
                  <a16:creationId xmlns:a16="http://schemas.microsoft.com/office/drawing/2014/main" id="{F5129B11-D1CB-5277-B291-BC940C69B3B7}"/>
                </a:ext>
              </a:extLst>
            </p:cNvPr>
            <p:cNvSpPr/>
            <p:nvPr/>
          </p:nvSpPr>
          <p:spPr>
            <a:xfrm rot="16200000">
              <a:off x="7297491" y="4107"/>
              <a:ext cx="978852" cy="972412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Полилиния: фигура 60">
              <a:extLst>
                <a:ext uri="{FF2B5EF4-FFF2-40B4-BE49-F238E27FC236}">
                  <a16:creationId xmlns:a16="http://schemas.microsoft.com/office/drawing/2014/main" id="{974EF996-E4A2-7F1D-39E1-C0E93962FF0D}"/>
                </a:ext>
              </a:extLst>
            </p:cNvPr>
            <p:cNvSpPr/>
            <p:nvPr/>
          </p:nvSpPr>
          <p:spPr>
            <a:xfrm>
              <a:off x="7288368" y="489882"/>
              <a:ext cx="494894" cy="495482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Полилиния: фигура 61">
              <a:extLst>
                <a:ext uri="{FF2B5EF4-FFF2-40B4-BE49-F238E27FC236}">
                  <a16:creationId xmlns:a16="http://schemas.microsoft.com/office/drawing/2014/main" id="{2109B157-2DB2-D42E-0D05-727A20A19A9C}"/>
                </a:ext>
              </a:extLst>
            </p:cNvPr>
            <p:cNvSpPr/>
            <p:nvPr/>
          </p:nvSpPr>
          <p:spPr>
            <a:xfrm>
              <a:off x="7284210" y="25"/>
              <a:ext cx="499051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Полилиния: фигура 62">
              <a:extLst>
                <a:ext uri="{FF2B5EF4-FFF2-40B4-BE49-F238E27FC236}">
                  <a16:creationId xmlns:a16="http://schemas.microsoft.com/office/drawing/2014/main" id="{1DF63EB9-998D-F6DC-0EA8-B1427C621F3D}"/>
                </a:ext>
              </a:extLst>
            </p:cNvPr>
            <p:cNvSpPr/>
            <p:nvPr/>
          </p:nvSpPr>
          <p:spPr>
            <a:xfrm>
              <a:off x="7774067" y="25"/>
              <a:ext cx="499051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Полилиния: фигура 63">
              <a:extLst>
                <a:ext uri="{FF2B5EF4-FFF2-40B4-BE49-F238E27FC236}">
                  <a16:creationId xmlns:a16="http://schemas.microsoft.com/office/drawing/2014/main" id="{D859794D-6835-2E5D-0A71-C4015F66C477}"/>
                </a:ext>
              </a:extLst>
            </p:cNvPr>
            <p:cNvSpPr/>
            <p:nvPr/>
          </p:nvSpPr>
          <p:spPr>
            <a:xfrm>
              <a:off x="7778225" y="489882"/>
              <a:ext cx="494894" cy="495482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Полилиния: фигура 65">
              <a:extLst>
                <a:ext uri="{FF2B5EF4-FFF2-40B4-BE49-F238E27FC236}">
                  <a16:creationId xmlns:a16="http://schemas.microsoft.com/office/drawing/2014/main" id="{8D146B39-1CF3-38A2-02D7-8EEE1021B295}"/>
                </a:ext>
              </a:extLst>
            </p:cNvPr>
            <p:cNvSpPr/>
            <p:nvPr/>
          </p:nvSpPr>
          <p:spPr>
            <a:xfrm rot="16200000">
              <a:off x="10229303" y="2406"/>
              <a:ext cx="986202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Полилиния: фигура 66">
              <a:extLst>
                <a:ext uri="{FF2B5EF4-FFF2-40B4-BE49-F238E27FC236}">
                  <a16:creationId xmlns:a16="http://schemas.microsoft.com/office/drawing/2014/main" id="{808F38F4-0E60-680B-48D4-095F2B513E1F}"/>
                </a:ext>
              </a:extLst>
            </p:cNvPr>
            <p:cNvSpPr/>
            <p:nvPr/>
          </p:nvSpPr>
          <p:spPr>
            <a:xfrm>
              <a:off x="10232547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Полилиния: фигура 67">
              <a:extLst>
                <a:ext uri="{FF2B5EF4-FFF2-40B4-BE49-F238E27FC236}">
                  <a16:creationId xmlns:a16="http://schemas.microsoft.com/office/drawing/2014/main" id="{C89429AF-71A5-1284-B6E1-D71AABE0B71D}"/>
                </a:ext>
              </a:extLst>
            </p:cNvPr>
            <p:cNvSpPr/>
            <p:nvPr/>
          </p:nvSpPr>
          <p:spPr>
            <a:xfrm>
              <a:off x="10232547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Полилиния: фигура 68">
              <a:extLst>
                <a:ext uri="{FF2B5EF4-FFF2-40B4-BE49-F238E27FC236}">
                  <a16:creationId xmlns:a16="http://schemas.microsoft.com/office/drawing/2014/main" id="{C405CC03-1321-0681-8E46-9ED5F4699D77}"/>
                </a:ext>
              </a:extLst>
            </p:cNvPr>
            <p:cNvSpPr/>
            <p:nvPr/>
          </p:nvSpPr>
          <p:spPr>
            <a:xfrm>
              <a:off x="10722404" y="25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Полилиния: фигура 69">
              <a:extLst>
                <a:ext uri="{FF2B5EF4-FFF2-40B4-BE49-F238E27FC236}">
                  <a16:creationId xmlns:a16="http://schemas.microsoft.com/office/drawing/2014/main" id="{47E90767-1CD4-229E-F8B8-B9F62694FD46}"/>
                </a:ext>
              </a:extLst>
            </p:cNvPr>
            <p:cNvSpPr/>
            <p:nvPr/>
          </p:nvSpPr>
          <p:spPr>
            <a:xfrm>
              <a:off x="10722404" y="48988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  <a:gd name="connsiteX5" fmla="*/ 244619 w 489857"/>
                <a:gd name="connsiteY5" fmla="*/ 367153 h 489857"/>
                <a:gd name="connsiteX6" fmla="*/ 122154 w 489857"/>
                <a:gd name="connsiteY6" fmla="*/ 244689 h 489857"/>
                <a:gd name="connsiteX7" fmla="*/ 244619 w 489857"/>
                <a:gd name="connsiteY7" fmla="*/ 122224 h 489857"/>
                <a:gd name="connsiteX8" fmla="*/ 367083 w 489857"/>
                <a:gd name="connsiteY8" fmla="*/ 244689 h 489857"/>
                <a:gd name="connsiteX9" fmla="*/ 244619 w 489857"/>
                <a:gd name="connsiteY9" fmla="*/ 367153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cubicBezTo>
                    <a:pt x="109319" y="-240"/>
                    <a:pt x="-310" y="109419"/>
                    <a:pt x="-310" y="244689"/>
                  </a:cubicBezTo>
                  <a:cubicBezTo>
                    <a:pt x="-310" y="379958"/>
                    <a:pt x="109319" y="489617"/>
                    <a:pt x="244619" y="489617"/>
                  </a:cubicBezTo>
                  <a:cubicBezTo>
                    <a:pt x="379918" y="489617"/>
                    <a:pt x="489547" y="379958"/>
                    <a:pt x="489547" y="244689"/>
                  </a:cubicBezTo>
                  <a:cubicBezTo>
                    <a:pt x="489547" y="109419"/>
                    <a:pt x="379918" y="-240"/>
                    <a:pt x="244619" y="-240"/>
                  </a:cubicBezTo>
                  <a:close/>
                  <a:moveTo>
                    <a:pt x="244619" y="367153"/>
                  </a:moveTo>
                  <a:cubicBezTo>
                    <a:pt x="177018" y="367153"/>
                    <a:pt x="122154" y="312328"/>
                    <a:pt x="122154" y="244689"/>
                  </a:cubicBezTo>
                  <a:cubicBezTo>
                    <a:pt x="122154" y="177049"/>
                    <a:pt x="177018" y="122224"/>
                    <a:pt x="244619" y="122224"/>
                  </a:cubicBezTo>
                  <a:cubicBezTo>
                    <a:pt x="312219" y="122224"/>
                    <a:pt x="367083" y="177049"/>
                    <a:pt x="367083" y="244689"/>
                  </a:cubicBezTo>
                  <a:cubicBezTo>
                    <a:pt x="367083" y="312328"/>
                    <a:pt x="312219" y="367153"/>
                    <a:pt x="244619" y="36715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Полилиния: фигура 71">
              <a:extLst>
                <a:ext uri="{FF2B5EF4-FFF2-40B4-BE49-F238E27FC236}">
                  <a16:creationId xmlns:a16="http://schemas.microsoft.com/office/drawing/2014/main" id="{7577D1C3-34C5-3C69-A9A7-CC93CEC67644}"/>
                </a:ext>
              </a:extLst>
            </p:cNvPr>
            <p:cNvSpPr/>
            <p:nvPr/>
          </p:nvSpPr>
          <p:spPr>
            <a:xfrm rot="16200000">
              <a:off x="8273043" y="4107"/>
              <a:ext cx="978852" cy="972411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9" name="Группа 133">
              <a:extLst>
                <a:ext uri="{FF2B5EF4-FFF2-40B4-BE49-F238E27FC236}">
                  <a16:creationId xmlns:a16="http://schemas.microsoft.com/office/drawing/2014/main" id="{038C248A-533D-7B45-7FF8-783145FF53E9}"/>
                </a:ext>
              </a:extLst>
            </p:cNvPr>
            <p:cNvGrpSpPr/>
            <p:nvPr/>
          </p:nvGrpSpPr>
          <p:grpSpPr>
            <a:xfrm>
              <a:off x="8460243" y="187150"/>
              <a:ext cx="605463" cy="605463"/>
              <a:chOff x="8460243" y="187150"/>
              <a:chExt cx="605463" cy="605463"/>
            </a:xfrm>
          </p:grpSpPr>
          <p:sp>
            <p:nvSpPr>
              <p:cNvPr id="240" name="Полилиния: фигура 72">
                <a:extLst>
                  <a:ext uri="{FF2B5EF4-FFF2-40B4-BE49-F238E27FC236}">
                    <a16:creationId xmlns:a16="http://schemas.microsoft.com/office/drawing/2014/main" id="{94AE1B0D-F2A2-80E9-FDB9-FB89DE377F2C}"/>
                  </a:ext>
                </a:extLst>
              </p:cNvPr>
              <p:cNvSpPr/>
              <p:nvPr userDrawn="1"/>
            </p:nvSpPr>
            <p:spPr>
              <a:xfrm>
                <a:off x="8592015" y="318922"/>
                <a:ext cx="341920" cy="341920"/>
              </a:xfrm>
              <a:custGeom>
                <a:avLst/>
                <a:gdLst>
                  <a:gd name="connsiteX0" fmla="*/ 341920 w 341920"/>
                  <a:gd name="connsiteY0" fmla="*/ 170960 h 341920"/>
                  <a:gd name="connsiteX1" fmla="*/ 170960 w 341920"/>
                  <a:gd name="connsiteY1" fmla="*/ 341920 h 341920"/>
                  <a:gd name="connsiteX2" fmla="*/ 0 w 341920"/>
                  <a:gd name="connsiteY2" fmla="*/ 170960 h 341920"/>
                  <a:gd name="connsiteX3" fmla="*/ 170960 w 341920"/>
                  <a:gd name="connsiteY3" fmla="*/ 0 h 341920"/>
                  <a:gd name="connsiteX4" fmla="*/ 341920 w 341920"/>
                  <a:gd name="connsiteY4" fmla="*/ 170960 h 34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20" h="341920">
                    <a:moveTo>
                      <a:pt x="341920" y="170960"/>
                    </a:moveTo>
                    <a:cubicBezTo>
                      <a:pt x="341920" y="265379"/>
                      <a:pt x="265379" y="341920"/>
                      <a:pt x="170960" y="341920"/>
                    </a:cubicBezTo>
                    <a:cubicBezTo>
                      <a:pt x="76541" y="341920"/>
                      <a:pt x="0" y="265379"/>
                      <a:pt x="0" y="170960"/>
                    </a:cubicBezTo>
                    <a:cubicBezTo>
                      <a:pt x="0" y="76541"/>
                      <a:pt x="76541" y="0"/>
                      <a:pt x="170960" y="0"/>
                    </a:cubicBezTo>
                    <a:cubicBezTo>
                      <a:pt x="265379" y="0"/>
                      <a:pt x="341920" y="76541"/>
                      <a:pt x="341920" y="1709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Полилиния: фигура 73">
                <a:extLst>
                  <a:ext uri="{FF2B5EF4-FFF2-40B4-BE49-F238E27FC236}">
                    <a16:creationId xmlns:a16="http://schemas.microsoft.com/office/drawing/2014/main" id="{C3CE0353-B3A6-B07F-A4F3-82D85DE782BE}"/>
                  </a:ext>
                </a:extLst>
              </p:cNvPr>
              <p:cNvSpPr/>
              <p:nvPr userDrawn="1"/>
            </p:nvSpPr>
            <p:spPr>
              <a:xfrm>
                <a:off x="8460243" y="187150"/>
                <a:ext cx="605463" cy="605463"/>
              </a:xfrm>
              <a:custGeom>
                <a:avLst/>
                <a:gdLst>
                  <a:gd name="connsiteX0" fmla="*/ 302422 w 605463"/>
                  <a:gd name="connsiteY0" fmla="*/ -240 h 605463"/>
                  <a:gd name="connsiteX1" fmla="*/ 273031 w 605463"/>
                  <a:gd name="connsiteY1" fmla="*/ 29151 h 605463"/>
                  <a:gd name="connsiteX2" fmla="*/ 273031 w 605463"/>
                  <a:gd name="connsiteY2" fmla="*/ 72847 h 605463"/>
                  <a:gd name="connsiteX3" fmla="*/ 302422 w 605463"/>
                  <a:gd name="connsiteY3" fmla="*/ 102238 h 605463"/>
                  <a:gd name="connsiteX4" fmla="*/ 331813 w 605463"/>
                  <a:gd name="connsiteY4" fmla="*/ 72847 h 605463"/>
                  <a:gd name="connsiteX5" fmla="*/ 331813 w 605463"/>
                  <a:gd name="connsiteY5" fmla="*/ 29151 h 605463"/>
                  <a:gd name="connsiteX6" fmla="*/ 302422 w 605463"/>
                  <a:gd name="connsiteY6" fmla="*/ -240 h 605463"/>
                  <a:gd name="connsiteX7" fmla="*/ 302422 w 605463"/>
                  <a:gd name="connsiteY7" fmla="*/ 502745 h 605463"/>
                  <a:gd name="connsiteX8" fmla="*/ 273031 w 605463"/>
                  <a:gd name="connsiteY8" fmla="*/ 532137 h 605463"/>
                  <a:gd name="connsiteX9" fmla="*/ 273031 w 605463"/>
                  <a:gd name="connsiteY9" fmla="*/ 575832 h 605463"/>
                  <a:gd name="connsiteX10" fmla="*/ 302422 w 605463"/>
                  <a:gd name="connsiteY10" fmla="*/ 605223 h 605463"/>
                  <a:gd name="connsiteX11" fmla="*/ 331813 w 605463"/>
                  <a:gd name="connsiteY11" fmla="*/ 575832 h 605463"/>
                  <a:gd name="connsiteX12" fmla="*/ 331813 w 605463"/>
                  <a:gd name="connsiteY12" fmla="*/ 532137 h 605463"/>
                  <a:gd name="connsiteX13" fmla="*/ 302422 w 605463"/>
                  <a:gd name="connsiteY13" fmla="*/ 502745 h 605463"/>
                  <a:gd name="connsiteX14" fmla="*/ 102169 w 605463"/>
                  <a:gd name="connsiteY14" fmla="*/ 302492 h 605463"/>
                  <a:gd name="connsiteX15" fmla="*/ 72778 w 605463"/>
                  <a:gd name="connsiteY15" fmla="*/ 273100 h 605463"/>
                  <a:gd name="connsiteX16" fmla="*/ 29081 w 605463"/>
                  <a:gd name="connsiteY16" fmla="*/ 273100 h 605463"/>
                  <a:gd name="connsiteX17" fmla="*/ -310 w 605463"/>
                  <a:gd name="connsiteY17" fmla="*/ 302492 h 605463"/>
                  <a:gd name="connsiteX18" fmla="*/ 29081 w 605463"/>
                  <a:gd name="connsiteY18" fmla="*/ 331883 h 605463"/>
                  <a:gd name="connsiteX19" fmla="*/ 72778 w 605463"/>
                  <a:gd name="connsiteY19" fmla="*/ 331883 h 605463"/>
                  <a:gd name="connsiteX20" fmla="*/ 102169 w 605463"/>
                  <a:gd name="connsiteY20" fmla="*/ 302492 h 605463"/>
                  <a:gd name="connsiteX21" fmla="*/ 575763 w 605463"/>
                  <a:gd name="connsiteY21" fmla="*/ 273100 h 605463"/>
                  <a:gd name="connsiteX22" fmla="*/ 532066 w 605463"/>
                  <a:gd name="connsiteY22" fmla="*/ 273100 h 605463"/>
                  <a:gd name="connsiteX23" fmla="*/ 502675 w 605463"/>
                  <a:gd name="connsiteY23" fmla="*/ 302492 h 605463"/>
                  <a:gd name="connsiteX24" fmla="*/ 532066 w 605463"/>
                  <a:gd name="connsiteY24" fmla="*/ 331883 h 605463"/>
                  <a:gd name="connsiteX25" fmla="*/ 575763 w 605463"/>
                  <a:gd name="connsiteY25" fmla="*/ 331883 h 605463"/>
                  <a:gd name="connsiteX26" fmla="*/ 605154 w 605463"/>
                  <a:gd name="connsiteY26" fmla="*/ 302492 h 605463"/>
                  <a:gd name="connsiteX27" fmla="*/ 575763 w 605463"/>
                  <a:gd name="connsiteY27" fmla="*/ 273100 h 605463"/>
                  <a:gd name="connsiteX28" fmla="*/ 129894 w 605463"/>
                  <a:gd name="connsiteY28" fmla="*/ 88424 h 605463"/>
                  <a:gd name="connsiteX29" fmla="*/ 88355 w 605463"/>
                  <a:gd name="connsiteY29" fmla="*/ 86955 h 605463"/>
                  <a:gd name="connsiteX30" fmla="*/ 86885 w 605463"/>
                  <a:gd name="connsiteY30" fmla="*/ 128494 h 605463"/>
                  <a:gd name="connsiteX31" fmla="*/ 88355 w 605463"/>
                  <a:gd name="connsiteY31" fmla="*/ 129964 h 605463"/>
                  <a:gd name="connsiteX32" fmla="*/ 119216 w 605463"/>
                  <a:gd name="connsiteY32" fmla="*/ 160923 h 605463"/>
                  <a:gd name="connsiteX33" fmla="*/ 160854 w 605463"/>
                  <a:gd name="connsiteY33" fmla="*/ 160923 h 605463"/>
                  <a:gd name="connsiteX34" fmla="*/ 160854 w 605463"/>
                  <a:gd name="connsiteY34" fmla="*/ 119285 h 605463"/>
                  <a:gd name="connsiteX35" fmla="*/ 485628 w 605463"/>
                  <a:gd name="connsiteY35" fmla="*/ 444061 h 605463"/>
                  <a:gd name="connsiteX36" fmla="*/ 443990 w 605463"/>
                  <a:gd name="connsiteY36" fmla="*/ 444061 h 605463"/>
                  <a:gd name="connsiteX37" fmla="*/ 443990 w 605463"/>
                  <a:gd name="connsiteY37" fmla="*/ 485698 h 605463"/>
                  <a:gd name="connsiteX38" fmla="*/ 474950 w 605463"/>
                  <a:gd name="connsiteY38" fmla="*/ 516559 h 605463"/>
                  <a:gd name="connsiteX39" fmla="*/ 516489 w 605463"/>
                  <a:gd name="connsiteY39" fmla="*/ 516559 h 605463"/>
                  <a:gd name="connsiteX40" fmla="*/ 516489 w 605463"/>
                  <a:gd name="connsiteY40" fmla="*/ 475019 h 605463"/>
                  <a:gd name="connsiteX41" fmla="*/ 119216 w 605463"/>
                  <a:gd name="connsiteY41" fmla="*/ 444061 h 605463"/>
                  <a:gd name="connsiteX42" fmla="*/ 88355 w 605463"/>
                  <a:gd name="connsiteY42" fmla="*/ 475019 h 605463"/>
                  <a:gd name="connsiteX43" fmla="*/ 88355 w 605463"/>
                  <a:gd name="connsiteY43" fmla="*/ 516589 h 605463"/>
                  <a:gd name="connsiteX44" fmla="*/ 109125 w 605463"/>
                  <a:gd name="connsiteY44" fmla="*/ 525181 h 605463"/>
                  <a:gd name="connsiteX45" fmla="*/ 129894 w 605463"/>
                  <a:gd name="connsiteY45" fmla="*/ 516559 h 605463"/>
                  <a:gd name="connsiteX46" fmla="*/ 160854 w 605463"/>
                  <a:gd name="connsiteY46" fmla="*/ 485698 h 605463"/>
                  <a:gd name="connsiteX47" fmla="*/ 160854 w 605463"/>
                  <a:gd name="connsiteY47" fmla="*/ 444061 h 605463"/>
                  <a:gd name="connsiteX48" fmla="*/ 119216 w 605463"/>
                  <a:gd name="connsiteY48" fmla="*/ 444061 h 605463"/>
                  <a:gd name="connsiteX49" fmla="*/ 464858 w 605463"/>
                  <a:gd name="connsiteY49" fmla="*/ 169740 h 605463"/>
                  <a:gd name="connsiteX50" fmla="*/ 485628 w 605463"/>
                  <a:gd name="connsiteY50" fmla="*/ 161217 h 605463"/>
                  <a:gd name="connsiteX51" fmla="*/ 516489 w 605463"/>
                  <a:gd name="connsiteY51" fmla="*/ 130258 h 605463"/>
                  <a:gd name="connsiteX52" fmla="*/ 517959 w 605463"/>
                  <a:gd name="connsiteY52" fmla="*/ 88718 h 605463"/>
                  <a:gd name="connsiteX53" fmla="*/ 476419 w 605463"/>
                  <a:gd name="connsiteY53" fmla="*/ 87248 h 605463"/>
                  <a:gd name="connsiteX54" fmla="*/ 474950 w 605463"/>
                  <a:gd name="connsiteY54" fmla="*/ 88718 h 605463"/>
                  <a:gd name="connsiteX55" fmla="*/ 443990 w 605463"/>
                  <a:gd name="connsiteY55" fmla="*/ 119579 h 605463"/>
                  <a:gd name="connsiteX56" fmla="*/ 443990 w 605463"/>
                  <a:gd name="connsiteY56" fmla="*/ 161148 h 605463"/>
                  <a:gd name="connsiteX57" fmla="*/ 464858 w 605463"/>
                  <a:gd name="connsiteY57" fmla="*/ 169740 h 605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605463" h="605463">
                    <a:moveTo>
                      <a:pt x="302422" y="-240"/>
                    </a:moveTo>
                    <a:cubicBezTo>
                      <a:pt x="286158" y="-240"/>
                      <a:pt x="273031" y="12917"/>
                      <a:pt x="273031" y="29151"/>
                    </a:cubicBezTo>
                    <a:lnTo>
                      <a:pt x="273031" y="72847"/>
                    </a:lnTo>
                    <a:cubicBezTo>
                      <a:pt x="273031" y="89081"/>
                      <a:pt x="286158" y="102238"/>
                      <a:pt x="302422" y="102238"/>
                    </a:cubicBezTo>
                    <a:cubicBezTo>
                      <a:pt x="318686" y="102238"/>
                      <a:pt x="331813" y="89081"/>
                      <a:pt x="331813" y="72847"/>
                    </a:cubicBezTo>
                    <a:lnTo>
                      <a:pt x="331813" y="29151"/>
                    </a:lnTo>
                    <a:cubicBezTo>
                      <a:pt x="331813" y="12917"/>
                      <a:pt x="318686" y="-240"/>
                      <a:pt x="302422" y="-240"/>
                    </a:cubicBezTo>
                    <a:close/>
                    <a:moveTo>
                      <a:pt x="302422" y="502745"/>
                    </a:moveTo>
                    <a:cubicBezTo>
                      <a:pt x="286158" y="502745"/>
                      <a:pt x="273031" y="515903"/>
                      <a:pt x="273031" y="532137"/>
                    </a:cubicBezTo>
                    <a:lnTo>
                      <a:pt x="273031" y="575832"/>
                    </a:lnTo>
                    <a:cubicBezTo>
                      <a:pt x="273031" y="592066"/>
                      <a:pt x="286158" y="605223"/>
                      <a:pt x="302422" y="605223"/>
                    </a:cubicBezTo>
                    <a:cubicBezTo>
                      <a:pt x="318686" y="605223"/>
                      <a:pt x="331813" y="592066"/>
                      <a:pt x="331813" y="575832"/>
                    </a:cubicBezTo>
                    <a:lnTo>
                      <a:pt x="331813" y="532137"/>
                    </a:lnTo>
                    <a:cubicBezTo>
                      <a:pt x="331813" y="515903"/>
                      <a:pt x="318686" y="502745"/>
                      <a:pt x="302422" y="502745"/>
                    </a:cubicBezTo>
                    <a:close/>
                    <a:moveTo>
                      <a:pt x="102169" y="302492"/>
                    </a:moveTo>
                    <a:cubicBezTo>
                      <a:pt x="102169" y="286258"/>
                      <a:pt x="89040" y="273100"/>
                      <a:pt x="72778" y="273100"/>
                    </a:cubicBezTo>
                    <a:lnTo>
                      <a:pt x="29081" y="273100"/>
                    </a:lnTo>
                    <a:cubicBezTo>
                      <a:pt x="12818" y="273100"/>
                      <a:pt x="-310" y="286258"/>
                      <a:pt x="-310" y="302492"/>
                    </a:cubicBezTo>
                    <a:cubicBezTo>
                      <a:pt x="-310" y="318726"/>
                      <a:pt x="12818" y="331883"/>
                      <a:pt x="29081" y="331883"/>
                    </a:cubicBezTo>
                    <a:lnTo>
                      <a:pt x="72778" y="331883"/>
                    </a:lnTo>
                    <a:cubicBezTo>
                      <a:pt x="89040" y="331883"/>
                      <a:pt x="102169" y="318726"/>
                      <a:pt x="102169" y="302492"/>
                    </a:cubicBezTo>
                    <a:close/>
                    <a:moveTo>
                      <a:pt x="575763" y="273100"/>
                    </a:moveTo>
                    <a:lnTo>
                      <a:pt x="532066" y="273100"/>
                    </a:lnTo>
                    <a:cubicBezTo>
                      <a:pt x="515804" y="273100"/>
                      <a:pt x="502675" y="286258"/>
                      <a:pt x="502675" y="302492"/>
                    </a:cubicBezTo>
                    <a:cubicBezTo>
                      <a:pt x="502675" y="318726"/>
                      <a:pt x="515804" y="331883"/>
                      <a:pt x="532066" y="331883"/>
                    </a:cubicBezTo>
                    <a:lnTo>
                      <a:pt x="575763" y="331883"/>
                    </a:lnTo>
                    <a:cubicBezTo>
                      <a:pt x="592026" y="331883"/>
                      <a:pt x="605154" y="318726"/>
                      <a:pt x="605154" y="302492"/>
                    </a:cubicBezTo>
                    <a:cubicBezTo>
                      <a:pt x="605154" y="286258"/>
                      <a:pt x="592026" y="273100"/>
                      <a:pt x="575763" y="273100"/>
                    </a:cubicBezTo>
                    <a:close/>
                    <a:moveTo>
                      <a:pt x="129894" y="88424"/>
                    </a:moveTo>
                    <a:cubicBezTo>
                      <a:pt x="118824" y="76550"/>
                      <a:pt x="100209" y="75894"/>
                      <a:pt x="88355" y="86955"/>
                    </a:cubicBezTo>
                    <a:cubicBezTo>
                      <a:pt x="76499" y="98025"/>
                      <a:pt x="75814" y="116620"/>
                      <a:pt x="86885" y="128494"/>
                    </a:cubicBezTo>
                    <a:cubicBezTo>
                      <a:pt x="87375" y="129004"/>
                      <a:pt x="87864" y="129494"/>
                      <a:pt x="88355" y="129964"/>
                    </a:cubicBezTo>
                    <a:lnTo>
                      <a:pt x="119216" y="160923"/>
                    </a:lnTo>
                    <a:cubicBezTo>
                      <a:pt x="130678" y="172425"/>
                      <a:pt x="149391" y="172425"/>
                      <a:pt x="160854" y="160923"/>
                    </a:cubicBezTo>
                    <a:cubicBezTo>
                      <a:pt x="172316" y="149421"/>
                      <a:pt x="172316" y="130787"/>
                      <a:pt x="160854" y="119285"/>
                    </a:cubicBezTo>
                    <a:close/>
                    <a:moveTo>
                      <a:pt x="485628" y="444061"/>
                    </a:moveTo>
                    <a:cubicBezTo>
                      <a:pt x="474166" y="432559"/>
                      <a:pt x="455453" y="432559"/>
                      <a:pt x="443990" y="444061"/>
                    </a:cubicBezTo>
                    <a:cubicBezTo>
                      <a:pt x="432528" y="455562"/>
                      <a:pt x="432528" y="474196"/>
                      <a:pt x="443990" y="485698"/>
                    </a:cubicBezTo>
                    <a:lnTo>
                      <a:pt x="474950" y="516559"/>
                    </a:lnTo>
                    <a:cubicBezTo>
                      <a:pt x="486413" y="528022"/>
                      <a:pt x="505027" y="528022"/>
                      <a:pt x="516489" y="516559"/>
                    </a:cubicBezTo>
                    <a:cubicBezTo>
                      <a:pt x="527952" y="505087"/>
                      <a:pt x="527952" y="486492"/>
                      <a:pt x="516489" y="475019"/>
                    </a:cubicBezTo>
                    <a:close/>
                    <a:moveTo>
                      <a:pt x="119216" y="444061"/>
                    </a:moveTo>
                    <a:lnTo>
                      <a:pt x="88355" y="475019"/>
                    </a:lnTo>
                    <a:cubicBezTo>
                      <a:pt x="76892" y="486502"/>
                      <a:pt x="76892" y="505116"/>
                      <a:pt x="88355" y="516589"/>
                    </a:cubicBezTo>
                    <a:cubicBezTo>
                      <a:pt x="93840" y="522085"/>
                      <a:pt x="101384" y="525171"/>
                      <a:pt x="109125" y="525181"/>
                    </a:cubicBezTo>
                    <a:cubicBezTo>
                      <a:pt x="116962" y="525171"/>
                      <a:pt x="124407" y="522075"/>
                      <a:pt x="129894" y="516559"/>
                    </a:cubicBezTo>
                    <a:lnTo>
                      <a:pt x="160854" y="485698"/>
                    </a:lnTo>
                    <a:cubicBezTo>
                      <a:pt x="172316" y="474196"/>
                      <a:pt x="172316" y="455562"/>
                      <a:pt x="160854" y="444061"/>
                    </a:cubicBezTo>
                    <a:cubicBezTo>
                      <a:pt x="149391" y="432559"/>
                      <a:pt x="130678" y="432559"/>
                      <a:pt x="119216" y="444061"/>
                    </a:cubicBezTo>
                    <a:close/>
                    <a:moveTo>
                      <a:pt x="464858" y="169740"/>
                    </a:moveTo>
                    <a:cubicBezTo>
                      <a:pt x="472598" y="169760"/>
                      <a:pt x="480142" y="166694"/>
                      <a:pt x="485628" y="161217"/>
                    </a:cubicBezTo>
                    <a:lnTo>
                      <a:pt x="516489" y="130258"/>
                    </a:lnTo>
                    <a:cubicBezTo>
                      <a:pt x="528345" y="119187"/>
                      <a:pt x="529030" y="100592"/>
                      <a:pt x="517959" y="88718"/>
                    </a:cubicBezTo>
                    <a:cubicBezTo>
                      <a:pt x="506888" y="76844"/>
                      <a:pt x="488273" y="76187"/>
                      <a:pt x="476419" y="87248"/>
                    </a:cubicBezTo>
                    <a:cubicBezTo>
                      <a:pt x="475929" y="87719"/>
                      <a:pt x="475440" y="88208"/>
                      <a:pt x="474950" y="88718"/>
                    </a:cubicBezTo>
                    <a:lnTo>
                      <a:pt x="443990" y="119579"/>
                    </a:lnTo>
                    <a:cubicBezTo>
                      <a:pt x="432528" y="131061"/>
                      <a:pt x="432528" y="149676"/>
                      <a:pt x="443990" y="161148"/>
                    </a:cubicBezTo>
                    <a:cubicBezTo>
                      <a:pt x="449575" y="166664"/>
                      <a:pt x="457021" y="169760"/>
                      <a:pt x="464858" y="1697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0" name="Полилиния: фигура 75">
              <a:extLst>
                <a:ext uri="{FF2B5EF4-FFF2-40B4-BE49-F238E27FC236}">
                  <a16:creationId xmlns:a16="http://schemas.microsoft.com/office/drawing/2014/main" id="{81F99469-47F3-5E7C-6CA4-6DCEB846CA29}"/>
                </a:ext>
              </a:extLst>
            </p:cNvPr>
            <p:cNvSpPr/>
            <p:nvPr/>
          </p:nvSpPr>
          <p:spPr>
            <a:xfrm>
              <a:off x="6926011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Полилиния: фигура 76">
              <a:extLst>
                <a:ext uri="{FF2B5EF4-FFF2-40B4-BE49-F238E27FC236}">
                  <a16:creationId xmlns:a16="http://schemas.microsoft.com/office/drawing/2014/main" id="{7AE61898-43E7-4DE4-6129-B22B7D9A3DC4}"/>
                </a:ext>
              </a:extLst>
            </p:cNvPr>
            <p:cNvSpPr/>
            <p:nvPr/>
          </p:nvSpPr>
          <p:spPr>
            <a:xfrm>
              <a:off x="6436154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Полилиния: фигура 77">
              <a:extLst>
                <a:ext uri="{FF2B5EF4-FFF2-40B4-BE49-F238E27FC236}">
                  <a16:creationId xmlns:a16="http://schemas.microsoft.com/office/drawing/2014/main" id="{547CF65D-CEAE-C352-5A85-FFF9189150B5}"/>
                </a:ext>
              </a:extLst>
            </p:cNvPr>
            <p:cNvSpPr/>
            <p:nvPr/>
          </p:nvSpPr>
          <p:spPr>
            <a:xfrm>
              <a:off x="6926011" y="122489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Полилиния: фигура 78">
              <a:extLst>
                <a:ext uri="{FF2B5EF4-FFF2-40B4-BE49-F238E27FC236}">
                  <a16:creationId xmlns:a16="http://schemas.microsoft.com/office/drawing/2014/main" id="{23CAF896-8BE7-B71B-77DA-6D0B1FB876E5}"/>
                </a:ext>
              </a:extLst>
            </p:cNvPr>
            <p:cNvSpPr/>
            <p:nvPr/>
          </p:nvSpPr>
          <p:spPr>
            <a:xfrm>
              <a:off x="6681083" y="367417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Полилиния: фигура 79">
              <a:extLst>
                <a:ext uri="{FF2B5EF4-FFF2-40B4-BE49-F238E27FC236}">
                  <a16:creationId xmlns:a16="http://schemas.microsoft.com/office/drawing/2014/main" id="{2B37F7E8-E89D-8459-5373-131DADF7A792}"/>
                </a:ext>
              </a:extLst>
            </p:cNvPr>
            <p:cNvSpPr/>
            <p:nvPr/>
          </p:nvSpPr>
          <p:spPr>
            <a:xfrm>
              <a:off x="6436154" y="612346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Полилиния: фигура 81">
              <a:extLst>
                <a:ext uri="{FF2B5EF4-FFF2-40B4-BE49-F238E27FC236}">
                  <a16:creationId xmlns:a16="http://schemas.microsoft.com/office/drawing/2014/main" id="{C1A6FAE4-111D-E1CF-5EA3-53F0E6708016}"/>
                </a:ext>
              </a:extLst>
            </p:cNvPr>
            <p:cNvSpPr/>
            <p:nvPr/>
          </p:nvSpPr>
          <p:spPr>
            <a:xfrm rot="5400000">
              <a:off x="11210613" y="-2508"/>
              <a:ext cx="978877" cy="983896"/>
            </a:xfrm>
            <a:custGeom>
              <a:avLst/>
              <a:gdLst>
                <a:gd name="connsiteX0" fmla="*/ -310 w 978876"/>
                <a:gd name="connsiteY0" fmla="*/ -240 h 978876"/>
                <a:gd name="connsiteX1" fmla="*/ 978567 w 978876"/>
                <a:gd name="connsiteY1" fmla="*/ -240 h 978876"/>
                <a:gd name="connsiteX2" fmla="*/ 978567 w 978876"/>
                <a:gd name="connsiteY2" fmla="*/ 978637 h 978876"/>
                <a:gd name="connsiteX3" fmla="*/ -310 w 978876"/>
                <a:gd name="connsiteY3" fmla="*/ 978637 h 9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876" h="978876">
                  <a:moveTo>
                    <a:pt x="-310" y="-240"/>
                  </a:moveTo>
                  <a:lnTo>
                    <a:pt x="978567" y="-240"/>
                  </a:lnTo>
                  <a:lnTo>
                    <a:pt x="978567" y="978637"/>
                  </a:lnTo>
                  <a:lnTo>
                    <a:pt x="-310" y="978637"/>
                  </a:lnTo>
                  <a:close/>
                </a:path>
              </a:pathLst>
            </a:custGeom>
            <a:solidFill>
              <a:srgbClr val="949494"/>
            </a:solidFill>
            <a:ln w="9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Полилиния: фигура 82">
              <a:extLst>
                <a:ext uri="{FF2B5EF4-FFF2-40B4-BE49-F238E27FC236}">
                  <a16:creationId xmlns:a16="http://schemas.microsoft.com/office/drawing/2014/main" id="{09EB9843-1497-0BF8-D6D3-8895C82F1CFF}"/>
                </a:ext>
              </a:extLst>
            </p:cNvPr>
            <p:cNvSpPr/>
            <p:nvPr/>
          </p:nvSpPr>
          <p:spPr>
            <a:xfrm>
              <a:off x="11212261" y="326612"/>
              <a:ext cx="979714" cy="326538"/>
            </a:xfrm>
            <a:custGeom>
              <a:avLst/>
              <a:gdLst>
                <a:gd name="connsiteX0" fmla="*/ 979404 w 979714"/>
                <a:gd name="connsiteY0" fmla="*/ 163029 h 326538"/>
                <a:gd name="connsiteX1" fmla="*/ -310 w 979714"/>
                <a:gd name="connsiteY1" fmla="*/ 163029 h 326538"/>
                <a:gd name="connsiteX2" fmla="*/ 979404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722"/>
                    <a:pt x="708905" y="380722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Полилиния: фигура 83">
              <a:extLst>
                <a:ext uri="{FF2B5EF4-FFF2-40B4-BE49-F238E27FC236}">
                  <a16:creationId xmlns:a16="http://schemas.microsoft.com/office/drawing/2014/main" id="{A7960E16-D3C6-7C19-B284-9D6891D41091}"/>
                </a:ext>
              </a:extLst>
            </p:cNvPr>
            <p:cNvSpPr/>
            <p:nvPr/>
          </p:nvSpPr>
          <p:spPr>
            <a:xfrm>
              <a:off x="11212261" y="653151"/>
              <a:ext cx="979714" cy="326612"/>
            </a:xfrm>
            <a:custGeom>
              <a:avLst/>
              <a:gdLst>
                <a:gd name="connsiteX0" fmla="*/ 979404 w 979714"/>
                <a:gd name="connsiteY0" fmla="*/ 163029 h 326612"/>
                <a:gd name="connsiteX1" fmla="*/ -310 w 979714"/>
                <a:gd name="connsiteY1" fmla="*/ 163029 h 326612"/>
                <a:gd name="connsiteX2" fmla="*/ 979404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029"/>
                  </a:moveTo>
                  <a:cubicBezTo>
                    <a:pt x="708905" y="-54663"/>
                    <a:pt x="270189" y="-54663"/>
                    <a:pt x="-310" y="163029"/>
                  </a:cubicBezTo>
                  <a:cubicBezTo>
                    <a:pt x="270189" y="380820"/>
                    <a:pt x="708905" y="380820"/>
                    <a:pt x="979404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Полилиния: фигура 84">
              <a:extLst>
                <a:ext uri="{FF2B5EF4-FFF2-40B4-BE49-F238E27FC236}">
                  <a16:creationId xmlns:a16="http://schemas.microsoft.com/office/drawing/2014/main" id="{7E7243CA-C318-CFBD-752B-3ECB9C85005E}"/>
                </a:ext>
              </a:extLst>
            </p:cNvPr>
            <p:cNvSpPr/>
            <p:nvPr/>
          </p:nvSpPr>
          <p:spPr>
            <a:xfrm>
              <a:off x="11212261" y="0"/>
              <a:ext cx="979714" cy="326612"/>
            </a:xfrm>
            <a:custGeom>
              <a:avLst/>
              <a:gdLst>
                <a:gd name="connsiteX0" fmla="*/ 979404 w 979714"/>
                <a:gd name="connsiteY0" fmla="*/ 163103 h 326612"/>
                <a:gd name="connsiteX1" fmla="*/ -310 w 979714"/>
                <a:gd name="connsiteY1" fmla="*/ 163103 h 326612"/>
                <a:gd name="connsiteX2" fmla="*/ 979404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979404" y="163103"/>
                  </a:moveTo>
                  <a:cubicBezTo>
                    <a:pt x="708905" y="-54688"/>
                    <a:pt x="270189" y="-54688"/>
                    <a:pt x="-310" y="163103"/>
                  </a:cubicBezTo>
                  <a:cubicBezTo>
                    <a:pt x="270189" y="380795"/>
                    <a:pt x="708905" y="380795"/>
                    <a:pt x="979404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Полилиния: фигура 85">
              <a:extLst>
                <a:ext uri="{FF2B5EF4-FFF2-40B4-BE49-F238E27FC236}">
                  <a16:creationId xmlns:a16="http://schemas.microsoft.com/office/drawing/2014/main" id="{C0D6D19C-8414-5B25-9FF2-68CCA3C32376}"/>
                </a:ext>
              </a:extLst>
            </p:cNvPr>
            <p:cNvSpPr/>
            <p:nvPr/>
          </p:nvSpPr>
          <p:spPr>
            <a:xfrm>
              <a:off x="10477475" y="122466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Полилиния: фигура 87">
              <a:extLst>
                <a:ext uri="{FF2B5EF4-FFF2-40B4-BE49-F238E27FC236}">
                  <a16:creationId xmlns:a16="http://schemas.microsoft.com/office/drawing/2014/main" id="{9318107F-7C68-343C-164E-A2DABF4D6B11}"/>
                </a:ext>
              </a:extLst>
            </p:cNvPr>
            <p:cNvSpPr/>
            <p:nvPr/>
          </p:nvSpPr>
          <p:spPr>
            <a:xfrm rot="5400000">
              <a:off x="11212128" y="979739"/>
              <a:ext cx="979714" cy="979714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Полилиния: фигура 91">
              <a:extLst>
                <a:ext uri="{FF2B5EF4-FFF2-40B4-BE49-F238E27FC236}">
                  <a16:creationId xmlns:a16="http://schemas.microsoft.com/office/drawing/2014/main" id="{8F76CF08-4CE0-BDAB-FAC1-DEA5A1118CE7}"/>
                </a:ext>
              </a:extLst>
            </p:cNvPr>
            <p:cNvSpPr/>
            <p:nvPr/>
          </p:nvSpPr>
          <p:spPr>
            <a:xfrm>
              <a:off x="11449450" y="1143057"/>
              <a:ext cx="489857" cy="489857"/>
            </a:xfrm>
            <a:custGeom>
              <a:avLst/>
              <a:gdLst>
                <a:gd name="connsiteX0" fmla="*/ 489857 w 489857"/>
                <a:gd name="connsiteY0" fmla="*/ 244929 h 489857"/>
                <a:gd name="connsiteX1" fmla="*/ 244929 w 489857"/>
                <a:gd name="connsiteY1" fmla="*/ 489857 h 489857"/>
                <a:gd name="connsiteX2" fmla="*/ 0 w 489857"/>
                <a:gd name="connsiteY2" fmla="*/ 244929 h 489857"/>
                <a:gd name="connsiteX3" fmla="*/ 244929 w 489857"/>
                <a:gd name="connsiteY3" fmla="*/ 0 h 489857"/>
                <a:gd name="connsiteX4" fmla="*/ 489857 w 489857"/>
                <a:gd name="connsiteY4" fmla="*/ 24492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857" y="244929"/>
                  </a:moveTo>
                  <a:cubicBezTo>
                    <a:pt x="489857" y="380199"/>
                    <a:pt x="380199" y="489857"/>
                    <a:pt x="244929" y="489857"/>
                  </a:cubicBezTo>
                  <a:cubicBezTo>
                    <a:pt x="109658" y="489857"/>
                    <a:pt x="0" y="380199"/>
                    <a:pt x="0" y="244929"/>
                  </a:cubicBezTo>
                  <a:cubicBezTo>
                    <a:pt x="0" y="109658"/>
                    <a:pt x="109658" y="0"/>
                    <a:pt x="244929" y="0"/>
                  </a:cubicBezTo>
                  <a:cubicBezTo>
                    <a:pt x="380199" y="0"/>
                    <a:pt x="489857" y="109658"/>
                    <a:pt x="489857" y="2449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2" name="Группа 136">
              <a:extLst>
                <a:ext uri="{FF2B5EF4-FFF2-40B4-BE49-F238E27FC236}">
                  <a16:creationId xmlns:a16="http://schemas.microsoft.com/office/drawing/2014/main" id="{4748D860-3CD8-49C3-3166-E2B8CE443A34}"/>
                </a:ext>
              </a:extLst>
            </p:cNvPr>
            <p:cNvGrpSpPr/>
            <p:nvPr/>
          </p:nvGrpSpPr>
          <p:grpSpPr>
            <a:xfrm>
              <a:off x="11393801" y="1597449"/>
              <a:ext cx="523658" cy="198686"/>
              <a:chOff x="11393801" y="1597449"/>
              <a:chExt cx="523658" cy="198686"/>
            </a:xfrm>
          </p:grpSpPr>
          <p:sp>
            <p:nvSpPr>
              <p:cNvPr id="238" name="Полилиния: фигура 90">
                <a:extLst>
                  <a:ext uri="{FF2B5EF4-FFF2-40B4-BE49-F238E27FC236}">
                    <a16:creationId xmlns:a16="http://schemas.microsoft.com/office/drawing/2014/main" id="{33AE071A-B5EC-184F-2257-0BE906262B02}"/>
                  </a:ext>
                </a:extLst>
              </p:cNvPr>
              <p:cNvSpPr/>
              <p:nvPr userDrawn="1"/>
            </p:nvSpPr>
            <p:spPr>
              <a:xfrm>
                <a:off x="11393801" y="1597449"/>
                <a:ext cx="300576" cy="198686"/>
              </a:xfrm>
              <a:custGeom>
                <a:avLst/>
                <a:gdLst>
                  <a:gd name="connsiteX0" fmla="*/ -310 w 300576"/>
                  <a:gd name="connsiteY0" fmla="*/ -240 h 198686"/>
                  <a:gd name="connsiteX1" fmla="*/ 300267 w 300576"/>
                  <a:gd name="connsiteY1" fmla="*/ 198446 h 198686"/>
                  <a:gd name="connsiteX2" fmla="*/ -310 w 300576"/>
                  <a:gd name="connsiteY2" fmla="*/ -240 h 19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576" h="198686">
                    <a:moveTo>
                      <a:pt x="-310" y="-240"/>
                    </a:moveTo>
                    <a:cubicBezTo>
                      <a:pt x="51028" y="120255"/>
                      <a:pt x="169279" y="198466"/>
                      <a:pt x="300267" y="198446"/>
                    </a:cubicBezTo>
                    <a:cubicBezTo>
                      <a:pt x="248930" y="77951"/>
                      <a:pt x="130678" y="-259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Полилиния: фигура 92">
                <a:extLst>
                  <a:ext uri="{FF2B5EF4-FFF2-40B4-BE49-F238E27FC236}">
                    <a16:creationId xmlns:a16="http://schemas.microsoft.com/office/drawing/2014/main" id="{7F605E93-15E8-0197-4A45-5CB6613358C5}"/>
                  </a:ext>
                </a:extLst>
              </p:cNvPr>
              <p:cNvSpPr/>
              <p:nvPr userDrawn="1"/>
            </p:nvSpPr>
            <p:spPr>
              <a:xfrm>
                <a:off x="11694378" y="1652509"/>
                <a:ext cx="223081" cy="143625"/>
              </a:xfrm>
              <a:custGeom>
                <a:avLst/>
                <a:gdLst>
                  <a:gd name="connsiteX0" fmla="*/ -310 w 223081"/>
                  <a:gd name="connsiteY0" fmla="*/ 143386 h 143625"/>
                  <a:gd name="connsiteX1" fmla="*/ 222771 w 223081"/>
                  <a:gd name="connsiteY1" fmla="*/ -240 h 143625"/>
                  <a:gd name="connsiteX2" fmla="*/ -310 w 223081"/>
                  <a:gd name="connsiteY2" fmla="*/ 143386 h 14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3081" h="143625">
                    <a:moveTo>
                      <a:pt x="-310" y="143386"/>
                    </a:moveTo>
                    <a:cubicBezTo>
                      <a:pt x="95801" y="143415"/>
                      <a:pt x="182994" y="87248"/>
                      <a:pt x="222771" y="-240"/>
                    </a:cubicBezTo>
                    <a:cubicBezTo>
                      <a:pt x="126661" y="-270"/>
                      <a:pt x="39467" y="55897"/>
                      <a:pt x="-310" y="143386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3" name="Полилиния: фигура 89">
              <a:extLst>
                <a:ext uri="{FF2B5EF4-FFF2-40B4-BE49-F238E27FC236}">
                  <a16:creationId xmlns:a16="http://schemas.microsoft.com/office/drawing/2014/main" id="{54DC7FAB-EE34-8839-AD62-9DFA1B0EDFB3}"/>
                </a:ext>
              </a:extLst>
            </p:cNvPr>
            <p:cNvSpPr/>
            <p:nvPr/>
          </p:nvSpPr>
          <p:spPr>
            <a:xfrm>
              <a:off x="11571914" y="1265521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099"/>
                    <a:pt x="190100" y="244929"/>
                    <a:pt x="122464" y="244929"/>
                  </a:cubicBezTo>
                  <a:cubicBezTo>
                    <a:pt x="54829" y="244929"/>
                    <a:pt x="0" y="190099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Полилиния: фигура 94">
              <a:extLst>
                <a:ext uri="{FF2B5EF4-FFF2-40B4-BE49-F238E27FC236}">
                  <a16:creationId xmlns:a16="http://schemas.microsoft.com/office/drawing/2014/main" id="{07126D8E-FA74-0C18-3599-8D18AC06DC1D}"/>
                </a:ext>
              </a:extLst>
            </p:cNvPr>
            <p:cNvSpPr/>
            <p:nvPr/>
          </p:nvSpPr>
          <p:spPr>
            <a:xfrm>
              <a:off x="9252833" y="979739"/>
              <a:ext cx="979714" cy="979714"/>
            </a:xfrm>
            <a:custGeom>
              <a:avLst/>
              <a:gdLst>
                <a:gd name="connsiteX0" fmla="*/ 0 w 979714"/>
                <a:gd name="connsiteY0" fmla="*/ 0 h 979714"/>
                <a:gd name="connsiteX1" fmla="*/ 979714 w 979714"/>
                <a:gd name="connsiteY1" fmla="*/ 0 h 979714"/>
                <a:gd name="connsiteX2" fmla="*/ 979714 w 979714"/>
                <a:gd name="connsiteY2" fmla="*/ 979714 h 979714"/>
                <a:gd name="connsiteX3" fmla="*/ 0 w 979714"/>
                <a:gd name="connsiteY3" fmla="*/ 97971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0" y="0"/>
                  </a:moveTo>
                  <a:lnTo>
                    <a:pt x="979714" y="0"/>
                  </a:lnTo>
                  <a:lnTo>
                    <a:pt x="979714" y="979714"/>
                  </a:lnTo>
                  <a:lnTo>
                    <a:pt x="0" y="97971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Полилиния: фигура 95">
              <a:extLst>
                <a:ext uri="{FF2B5EF4-FFF2-40B4-BE49-F238E27FC236}">
                  <a16:creationId xmlns:a16="http://schemas.microsoft.com/office/drawing/2014/main" id="{9A1A78D4-29DC-474D-98E7-A92F4B0A90CD}"/>
                </a:ext>
              </a:extLst>
            </p:cNvPr>
            <p:cNvSpPr/>
            <p:nvPr/>
          </p:nvSpPr>
          <p:spPr>
            <a:xfrm>
              <a:off x="9252833" y="1306327"/>
              <a:ext cx="979714" cy="326538"/>
            </a:xfrm>
            <a:custGeom>
              <a:avLst/>
              <a:gdLst>
                <a:gd name="connsiteX0" fmla="*/ -310 w 979714"/>
                <a:gd name="connsiteY0" fmla="*/ 163029 h 326538"/>
                <a:gd name="connsiteX1" fmla="*/ 979404 w 979714"/>
                <a:gd name="connsiteY1" fmla="*/ 163029 h 326538"/>
                <a:gd name="connsiteX2" fmla="*/ -310 w 979714"/>
                <a:gd name="connsiteY2" fmla="*/ 163029 h 32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538">
                  <a:moveTo>
                    <a:pt x="-310" y="163029"/>
                  </a:moveTo>
                  <a:cubicBezTo>
                    <a:pt x="270189" y="380722"/>
                    <a:pt x="708905" y="380722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Полилиния: фигура 96">
              <a:extLst>
                <a:ext uri="{FF2B5EF4-FFF2-40B4-BE49-F238E27FC236}">
                  <a16:creationId xmlns:a16="http://schemas.microsoft.com/office/drawing/2014/main" id="{D6A7AA67-C7B4-4520-EBCD-AF8BE1AD1198}"/>
                </a:ext>
              </a:extLst>
            </p:cNvPr>
            <p:cNvSpPr/>
            <p:nvPr/>
          </p:nvSpPr>
          <p:spPr>
            <a:xfrm>
              <a:off x="9252833" y="979714"/>
              <a:ext cx="979714" cy="326612"/>
            </a:xfrm>
            <a:custGeom>
              <a:avLst/>
              <a:gdLst>
                <a:gd name="connsiteX0" fmla="*/ -310 w 979714"/>
                <a:gd name="connsiteY0" fmla="*/ 163103 h 326612"/>
                <a:gd name="connsiteX1" fmla="*/ 979404 w 979714"/>
                <a:gd name="connsiteY1" fmla="*/ 163103 h 326612"/>
                <a:gd name="connsiteX2" fmla="*/ -310 w 979714"/>
                <a:gd name="connsiteY2" fmla="*/ 163103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103"/>
                  </a:moveTo>
                  <a:cubicBezTo>
                    <a:pt x="270189" y="380795"/>
                    <a:pt x="708905" y="380795"/>
                    <a:pt x="979404" y="163103"/>
                  </a:cubicBezTo>
                  <a:cubicBezTo>
                    <a:pt x="708905" y="-54688"/>
                    <a:pt x="270189" y="-54688"/>
                    <a:pt x="-310" y="163103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Полилиния: фигура 97">
              <a:extLst>
                <a:ext uri="{FF2B5EF4-FFF2-40B4-BE49-F238E27FC236}">
                  <a16:creationId xmlns:a16="http://schemas.microsoft.com/office/drawing/2014/main" id="{D20415EB-ED5E-5235-0EAE-2EAF652432C0}"/>
                </a:ext>
              </a:extLst>
            </p:cNvPr>
            <p:cNvSpPr/>
            <p:nvPr/>
          </p:nvSpPr>
          <p:spPr>
            <a:xfrm>
              <a:off x="9252833" y="1632865"/>
              <a:ext cx="979714" cy="326612"/>
            </a:xfrm>
            <a:custGeom>
              <a:avLst/>
              <a:gdLst>
                <a:gd name="connsiteX0" fmla="*/ -310 w 979714"/>
                <a:gd name="connsiteY0" fmla="*/ 163029 h 326612"/>
                <a:gd name="connsiteX1" fmla="*/ 979404 w 979714"/>
                <a:gd name="connsiteY1" fmla="*/ 163029 h 326612"/>
                <a:gd name="connsiteX2" fmla="*/ -310 w 979714"/>
                <a:gd name="connsiteY2" fmla="*/ 163029 h 32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9714" h="326612">
                  <a:moveTo>
                    <a:pt x="-310" y="163029"/>
                  </a:moveTo>
                  <a:cubicBezTo>
                    <a:pt x="270189" y="380820"/>
                    <a:pt x="708905" y="380820"/>
                    <a:pt x="979404" y="163029"/>
                  </a:cubicBezTo>
                  <a:cubicBezTo>
                    <a:pt x="708905" y="-54663"/>
                    <a:pt x="270189" y="-54663"/>
                    <a:pt x="-310" y="16302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Полилиния: фигура 99">
              <a:extLst>
                <a:ext uri="{FF2B5EF4-FFF2-40B4-BE49-F238E27FC236}">
                  <a16:creationId xmlns:a16="http://schemas.microsoft.com/office/drawing/2014/main" id="{152FC6B9-D657-0563-6A0C-099048BB738D}"/>
                </a:ext>
              </a:extLst>
            </p:cNvPr>
            <p:cNvSpPr/>
            <p:nvPr/>
          </p:nvSpPr>
          <p:spPr>
            <a:xfrm>
              <a:off x="8886079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Полилиния: фигура 100">
              <a:extLst>
                <a:ext uri="{FF2B5EF4-FFF2-40B4-BE49-F238E27FC236}">
                  <a16:creationId xmlns:a16="http://schemas.microsoft.com/office/drawing/2014/main" id="{68FA2434-9773-3100-E7E8-ABFD1A4CE02B}"/>
                </a:ext>
              </a:extLst>
            </p:cNvPr>
            <p:cNvSpPr/>
            <p:nvPr/>
          </p:nvSpPr>
          <p:spPr>
            <a:xfrm>
              <a:off x="8396222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Полилиния: фигура 101">
              <a:extLst>
                <a:ext uri="{FF2B5EF4-FFF2-40B4-BE49-F238E27FC236}">
                  <a16:creationId xmlns:a16="http://schemas.microsoft.com/office/drawing/2014/main" id="{98DB10FD-4F0D-930E-0BEB-87ED4C7A2599}"/>
                </a:ext>
              </a:extLst>
            </p:cNvPr>
            <p:cNvSpPr/>
            <p:nvPr/>
          </p:nvSpPr>
          <p:spPr>
            <a:xfrm>
              <a:off x="8886079" y="1102203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Полилиния: фигура 102">
              <a:extLst>
                <a:ext uri="{FF2B5EF4-FFF2-40B4-BE49-F238E27FC236}">
                  <a16:creationId xmlns:a16="http://schemas.microsoft.com/office/drawing/2014/main" id="{804A6F9D-B6D0-ABAE-F6D4-C39115C3EE49}"/>
                </a:ext>
              </a:extLst>
            </p:cNvPr>
            <p:cNvSpPr/>
            <p:nvPr/>
          </p:nvSpPr>
          <p:spPr>
            <a:xfrm>
              <a:off x="8641150" y="1347132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Полилиния: фигура 103">
              <a:extLst>
                <a:ext uri="{FF2B5EF4-FFF2-40B4-BE49-F238E27FC236}">
                  <a16:creationId xmlns:a16="http://schemas.microsoft.com/office/drawing/2014/main" id="{DBE9AE2F-8403-94CC-6FA2-45F66F486747}"/>
                </a:ext>
              </a:extLst>
            </p:cNvPr>
            <p:cNvSpPr/>
            <p:nvPr/>
          </p:nvSpPr>
          <p:spPr>
            <a:xfrm>
              <a:off x="8396222" y="1592060"/>
              <a:ext cx="244928" cy="244928"/>
            </a:xfrm>
            <a:custGeom>
              <a:avLst/>
              <a:gdLst>
                <a:gd name="connsiteX0" fmla="*/ 244929 w 244928"/>
                <a:gd name="connsiteY0" fmla="*/ 122464 h 244928"/>
                <a:gd name="connsiteX1" fmla="*/ 122464 w 244928"/>
                <a:gd name="connsiteY1" fmla="*/ 244929 h 244928"/>
                <a:gd name="connsiteX2" fmla="*/ 0 w 244928"/>
                <a:gd name="connsiteY2" fmla="*/ 122464 h 244928"/>
                <a:gd name="connsiteX3" fmla="*/ 122464 w 244928"/>
                <a:gd name="connsiteY3" fmla="*/ 0 h 244928"/>
                <a:gd name="connsiteX4" fmla="*/ 244929 w 244928"/>
                <a:gd name="connsiteY4" fmla="*/ 122464 h 2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28" h="244928">
                  <a:moveTo>
                    <a:pt x="244929" y="122464"/>
                  </a:moveTo>
                  <a:cubicBezTo>
                    <a:pt x="244929" y="190100"/>
                    <a:pt x="190100" y="244929"/>
                    <a:pt x="122464" y="244929"/>
                  </a:cubicBezTo>
                  <a:cubicBezTo>
                    <a:pt x="54829" y="244929"/>
                    <a:pt x="0" y="190100"/>
                    <a:pt x="0" y="122464"/>
                  </a:cubicBezTo>
                  <a:cubicBezTo>
                    <a:pt x="0" y="54829"/>
                    <a:pt x="54829" y="0"/>
                    <a:pt x="122464" y="0"/>
                  </a:cubicBezTo>
                  <a:cubicBezTo>
                    <a:pt x="190100" y="0"/>
                    <a:pt x="244929" y="54829"/>
                    <a:pt x="244929" y="12246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Полилиния: фигура 105">
              <a:extLst>
                <a:ext uri="{FF2B5EF4-FFF2-40B4-BE49-F238E27FC236}">
                  <a16:creationId xmlns:a16="http://schemas.microsoft.com/office/drawing/2014/main" id="{221F817F-7EC3-54E3-C932-F09C8401708B}"/>
                </a:ext>
              </a:extLst>
            </p:cNvPr>
            <p:cNvSpPr/>
            <p:nvPr userDrawn="1"/>
          </p:nvSpPr>
          <p:spPr>
            <a:xfrm>
              <a:off x="11702118" y="2449310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Полилиния: фигура 106">
              <a:extLst>
                <a:ext uri="{FF2B5EF4-FFF2-40B4-BE49-F238E27FC236}">
                  <a16:creationId xmlns:a16="http://schemas.microsoft.com/office/drawing/2014/main" id="{CF9A9883-D805-017B-FC4D-85501BEA2102}"/>
                </a:ext>
              </a:extLst>
            </p:cNvPr>
            <p:cNvSpPr/>
            <p:nvPr userDrawn="1"/>
          </p:nvSpPr>
          <p:spPr>
            <a:xfrm>
              <a:off x="11212261" y="1959453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Полилиния: фигура 107">
              <a:extLst>
                <a:ext uri="{FF2B5EF4-FFF2-40B4-BE49-F238E27FC236}">
                  <a16:creationId xmlns:a16="http://schemas.microsoft.com/office/drawing/2014/main" id="{DC063878-F546-B7EE-03D8-FB173F2E2DC5}"/>
                </a:ext>
              </a:extLst>
            </p:cNvPr>
            <p:cNvSpPr/>
            <p:nvPr userDrawn="1"/>
          </p:nvSpPr>
          <p:spPr>
            <a:xfrm>
              <a:off x="11702118" y="1959453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Полилиния: фигура 108">
              <a:extLst>
                <a:ext uri="{FF2B5EF4-FFF2-40B4-BE49-F238E27FC236}">
                  <a16:creationId xmlns:a16="http://schemas.microsoft.com/office/drawing/2014/main" id="{B1DD7367-C17C-4447-675A-13AE0E3EAFE8}"/>
                </a:ext>
              </a:extLst>
            </p:cNvPr>
            <p:cNvSpPr/>
            <p:nvPr userDrawn="1"/>
          </p:nvSpPr>
          <p:spPr>
            <a:xfrm>
              <a:off x="11212261" y="2449310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Полилиния: фигура 110">
              <a:extLst>
                <a:ext uri="{FF2B5EF4-FFF2-40B4-BE49-F238E27FC236}">
                  <a16:creationId xmlns:a16="http://schemas.microsoft.com/office/drawing/2014/main" id="{11C01802-A229-F95E-4D88-5A0B0E4362C3}"/>
                </a:ext>
              </a:extLst>
            </p:cNvPr>
            <p:cNvSpPr/>
            <p:nvPr/>
          </p:nvSpPr>
          <p:spPr>
            <a:xfrm rot="16200000">
              <a:off x="10229248" y="1955232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Полилиния: фигура 111">
              <a:extLst>
                <a:ext uri="{FF2B5EF4-FFF2-40B4-BE49-F238E27FC236}">
                  <a16:creationId xmlns:a16="http://schemas.microsoft.com/office/drawing/2014/main" id="{4CF64195-5C84-6E06-EA28-632701FF62FA}"/>
                </a:ext>
              </a:extLst>
            </p:cNvPr>
            <p:cNvSpPr/>
            <p:nvPr/>
          </p:nvSpPr>
          <p:spPr>
            <a:xfrm>
              <a:off x="10218043" y="2449310"/>
              <a:ext cx="499188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-310 w 489857"/>
                <a:gd name="connsiteY1" fmla="*/ 244689 h 489857"/>
                <a:gd name="connsiteX2" fmla="*/ 244619 w 489857"/>
                <a:gd name="connsiteY2" fmla="*/ 489617 h 489857"/>
                <a:gd name="connsiteX3" fmla="*/ 489547 w 489857"/>
                <a:gd name="connsiteY3" fmla="*/ 489617 h 489857"/>
                <a:gd name="connsiteX4" fmla="*/ -310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lnTo>
                    <a:pt x="-310" y="244689"/>
                  </a:lnTo>
                  <a:cubicBezTo>
                    <a:pt x="134989" y="244689"/>
                    <a:pt x="244619" y="354348"/>
                    <a:pt x="244619" y="489617"/>
                  </a:cubicBezTo>
                  <a:lnTo>
                    <a:pt x="489547" y="489617"/>
                  </a:ln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Полилиния: фигура 112">
              <a:extLst>
                <a:ext uri="{FF2B5EF4-FFF2-40B4-BE49-F238E27FC236}">
                  <a16:creationId xmlns:a16="http://schemas.microsoft.com/office/drawing/2014/main" id="{A232DDF6-FFE9-4A7C-95FA-78B6B0B68787}"/>
                </a:ext>
              </a:extLst>
            </p:cNvPr>
            <p:cNvSpPr/>
            <p:nvPr/>
          </p:nvSpPr>
          <p:spPr>
            <a:xfrm>
              <a:off x="10218043" y="1956342"/>
              <a:ext cx="499188" cy="489857"/>
            </a:xfrm>
            <a:custGeom>
              <a:avLst/>
              <a:gdLst>
                <a:gd name="connsiteX0" fmla="*/ -310 w 489857"/>
                <a:gd name="connsiteY0" fmla="*/ 244689 h 489857"/>
                <a:gd name="connsiteX1" fmla="*/ -310 w 489857"/>
                <a:gd name="connsiteY1" fmla="*/ 489617 h 489857"/>
                <a:gd name="connsiteX2" fmla="*/ 489547 w 489857"/>
                <a:gd name="connsiteY2" fmla="*/ -240 h 489857"/>
                <a:gd name="connsiteX3" fmla="*/ 244619 w 489857"/>
                <a:gd name="connsiteY3" fmla="*/ -240 h 489857"/>
                <a:gd name="connsiteX4" fmla="*/ -310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-310" y="244689"/>
                  </a:moveTo>
                  <a:lnTo>
                    <a:pt x="-310" y="489617"/>
                  </a:lnTo>
                  <a:cubicBezTo>
                    <a:pt x="270189" y="489617"/>
                    <a:pt x="489547" y="270298"/>
                    <a:pt x="489547" y="-240"/>
                  </a:cubicBezTo>
                  <a:lnTo>
                    <a:pt x="244619" y="-240"/>
                  </a:lnTo>
                  <a:cubicBezTo>
                    <a:pt x="244619" y="135029"/>
                    <a:pt x="134989" y="244689"/>
                    <a:pt x="-310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Полилиния: фигура 113">
              <a:extLst>
                <a:ext uri="{FF2B5EF4-FFF2-40B4-BE49-F238E27FC236}">
                  <a16:creationId xmlns:a16="http://schemas.microsoft.com/office/drawing/2014/main" id="{F87E652F-7893-9F92-6C7A-03C586308241}"/>
                </a:ext>
              </a:extLst>
            </p:cNvPr>
            <p:cNvSpPr/>
            <p:nvPr/>
          </p:nvSpPr>
          <p:spPr>
            <a:xfrm>
              <a:off x="10722404" y="1956342"/>
              <a:ext cx="489857" cy="489857"/>
            </a:xfrm>
            <a:custGeom>
              <a:avLst/>
              <a:gdLst>
                <a:gd name="connsiteX0" fmla="*/ 244619 w 489857"/>
                <a:gd name="connsiteY0" fmla="*/ -240 h 489857"/>
                <a:gd name="connsiteX1" fmla="*/ -310 w 489857"/>
                <a:gd name="connsiteY1" fmla="*/ -240 h 489857"/>
                <a:gd name="connsiteX2" fmla="*/ 489547 w 489857"/>
                <a:gd name="connsiteY2" fmla="*/ 489617 h 489857"/>
                <a:gd name="connsiteX3" fmla="*/ 489547 w 489857"/>
                <a:gd name="connsiteY3" fmla="*/ 244689 h 489857"/>
                <a:gd name="connsiteX4" fmla="*/ 244619 w 489857"/>
                <a:gd name="connsiteY4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244619" y="-240"/>
                  </a:moveTo>
                  <a:lnTo>
                    <a:pt x="-310" y="-240"/>
                  </a:lnTo>
                  <a:cubicBezTo>
                    <a:pt x="-310" y="270298"/>
                    <a:pt x="219048" y="489617"/>
                    <a:pt x="489547" y="489617"/>
                  </a:cubicBezTo>
                  <a:lnTo>
                    <a:pt x="489547" y="244689"/>
                  </a:lnTo>
                  <a:cubicBezTo>
                    <a:pt x="354248" y="244689"/>
                    <a:pt x="244619" y="135029"/>
                    <a:pt x="244619" y="-240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Полилиния: фигура 114">
              <a:extLst>
                <a:ext uri="{FF2B5EF4-FFF2-40B4-BE49-F238E27FC236}">
                  <a16:creationId xmlns:a16="http://schemas.microsoft.com/office/drawing/2014/main" id="{E52A84F5-A190-3CBA-533E-1D627B7406C3}"/>
                </a:ext>
              </a:extLst>
            </p:cNvPr>
            <p:cNvSpPr/>
            <p:nvPr/>
          </p:nvSpPr>
          <p:spPr>
            <a:xfrm>
              <a:off x="10722404" y="2449310"/>
              <a:ext cx="489857" cy="489857"/>
            </a:xfrm>
            <a:custGeom>
              <a:avLst/>
              <a:gdLst>
                <a:gd name="connsiteX0" fmla="*/ 489547 w 489857"/>
                <a:gd name="connsiteY0" fmla="*/ 244689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  <a:gd name="connsiteX3" fmla="*/ 244619 w 489857"/>
                <a:gd name="connsiteY3" fmla="*/ 489617 h 489857"/>
                <a:gd name="connsiteX4" fmla="*/ 489547 w 489857"/>
                <a:gd name="connsiteY4" fmla="*/ 244689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857" h="489857">
                  <a:moveTo>
                    <a:pt x="489547" y="244689"/>
                  </a:moveTo>
                  <a:lnTo>
                    <a:pt x="489547" y="-240"/>
                  </a:lnTo>
                  <a:cubicBezTo>
                    <a:pt x="219048" y="-240"/>
                    <a:pt x="-310" y="219079"/>
                    <a:pt x="-310" y="489617"/>
                  </a:cubicBezTo>
                  <a:lnTo>
                    <a:pt x="244619" y="489617"/>
                  </a:lnTo>
                  <a:cubicBezTo>
                    <a:pt x="244619" y="354348"/>
                    <a:pt x="354248" y="244689"/>
                    <a:pt x="489547" y="244689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Полилиния: фигура 116">
              <a:extLst>
                <a:ext uri="{FF2B5EF4-FFF2-40B4-BE49-F238E27FC236}">
                  <a16:creationId xmlns:a16="http://schemas.microsoft.com/office/drawing/2014/main" id="{8020401A-CB1E-7102-5C24-F4A4AA6155A6}"/>
                </a:ext>
              </a:extLst>
            </p:cNvPr>
            <p:cNvSpPr/>
            <p:nvPr/>
          </p:nvSpPr>
          <p:spPr>
            <a:xfrm rot="16200000">
              <a:off x="10229248" y="2927837"/>
              <a:ext cx="978876" cy="982626"/>
            </a:xfrm>
            <a:custGeom>
              <a:avLst/>
              <a:gdLst>
                <a:gd name="connsiteX0" fmla="*/ -310 w 979714"/>
                <a:gd name="connsiteY0" fmla="*/ -240 h 979714"/>
                <a:gd name="connsiteX1" fmla="*/ 979404 w 979714"/>
                <a:gd name="connsiteY1" fmla="*/ -240 h 979714"/>
                <a:gd name="connsiteX2" fmla="*/ 979404 w 979714"/>
                <a:gd name="connsiteY2" fmla="*/ 979474 h 979714"/>
                <a:gd name="connsiteX3" fmla="*/ -310 w 979714"/>
                <a:gd name="connsiteY3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14" h="979714">
                  <a:moveTo>
                    <a:pt x="-310" y="-240"/>
                  </a:moveTo>
                  <a:lnTo>
                    <a:pt x="979404" y="-240"/>
                  </a:lnTo>
                  <a:lnTo>
                    <a:pt x="979404" y="979474"/>
                  </a:lnTo>
                  <a:lnTo>
                    <a:pt x="-310" y="979474"/>
                  </a:ln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3" name="Группа 142">
              <a:extLst>
                <a:ext uri="{FF2B5EF4-FFF2-40B4-BE49-F238E27FC236}">
                  <a16:creationId xmlns:a16="http://schemas.microsoft.com/office/drawing/2014/main" id="{55BFAE82-8F16-9F3B-4729-653EB69CB0F7}"/>
                </a:ext>
              </a:extLst>
            </p:cNvPr>
            <p:cNvGrpSpPr/>
            <p:nvPr/>
          </p:nvGrpSpPr>
          <p:grpSpPr>
            <a:xfrm>
              <a:off x="10562417" y="3072801"/>
              <a:ext cx="240030" cy="160281"/>
              <a:chOff x="10562417" y="3072801"/>
              <a:chExt cx="240030" cy="160281"/>
            </a:xfrm>
          </p:grpSpPr>
          <p:sp>
            <p:nvSpPr>
              <p:cNvPr id="236" name="Полилиния: фигура 117">
                <a:extLst>
                  <a:ext uri="{FF2B5EF4-FFF2-40B4-BE49-F238E27FC236}">
                    <a16:creationId xmlns:a16="http://schemas.microsoft.com/office/drawing/2014/main" id="{A881E735-97A3-0633-9C8E-4D7471867FE6}"/>
                  </a:ext>
                </a:extLst>
              </p:cNvPr>
              <p:cNvSpPr/>
              <p:nvPr userDrawn="1"/>
            </p:nvSpPr>
            <p:spPr>
              <a:xfrm>
                <a:off x="10722404" y="3152843"/>
                <a:ext cx="80043" cy="80238"/>
              </a:xfrm>
              <a:custGeom>
                <a:avLst/>
                <a:gdLst>
                  <a:gd name="connsiteX0" fmla="*/ 79733 w 80043"/>
                  <a:gd name="connsiteY0" fmla="*/ -240 h 80238"/>
                  <a:gd name="connsiteX1" fmla="*/ -310 w 80043"/>
                  <a:gd name="connsiteY1" fmla="*/ 79607 h 80238"/>
                  <a:gd name="connsiteX2" fmla="*/ -310 w 80043"/>
                  <a:gd name="connsiteY2" fmla="*/ 79999 h 80238"/>
                  <a:gd name="connsiteX3" fmla="*/ 79733 w 80043"/>
                  <a:gd name="connsiteY3" fmla="*/ 152 h 80238"/>
                  <a:gd name="connsiteX4" fmla="*/ 79733 w 80043"/>
                  <a:gd name="connsiteY4" fmla="*/ -240 h 8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43" h="80238">
                    <a:moveTo>
                      <a:pt x="79733" y="-240"/>
                    </a:moveTo>
                    <a:cubicBezTo>
                      <a:pt x="35548" y="-299"/>
                      <a:pt x="-212" y="35451"/>
                      <a:pt x="-310" y="79607"/>
                    </a:cubicBezTo>
                    <a:cubicBezTo>
                      <a:pt x="-310" y="79734"/>
                      <a:pt x="-310" y="79871"/>
                      <a:pt x="-310" y="79999"/>
                    </a:cubicBezTo>
                    <a:cubicBezTo>
                      <a:pt x="43875" y="80057"/>
                      <a:pt x="79635" y="44308"/>
                      <a:pt x="79733" y="152"/>
                    </a:cubicBezTo>
                    <a:cubicBezTo>
                      <a:pt x="79733" y="24"/>
                      <a:pt x="79733" y="-113"/>
                      <a:pt x="79733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Полилиния: фигура 118">
                <a:extLst>
                  <a:ext uri="{FF2B5EF4-FFF2-40B4-BE49-F238E27FC236}">
                    <a16:creationId xmlns:a16="http://schemas.microsoft.com/office/drawing/2014/main" id="{DB7BD1C1-1207-FF95-3C79-C6385CC944E7}"/>
                  </a:ext>
                </a:extLst>
              </p:cNvPr>
              <p:cNvSpPr/>
              <p:nvPr userDrawn="1"/>
            </p:nvSpPr>
            <p:spPr>
              <a:xfrm>
                <a:off x="10562417" y="3072801"/>
                <a:ext cx="159987" cy="160281"/>
              </a:xfrm>
              <a:custGeom>
                <a:avLst/>
                <a:gdLst>
                  <a:gd name="connsiteX0" fmla="*/ -310 w 159987"/>
                  <a:gd name="connsiteY0" fmla="*/ -240 h 160281"/>
                  <a:gd name="connsiteX1" fmla="*/ 159383 w 159987"/>
                  <a:gd name="connsiteY1" fmla="*/ 160041 h 160281"/>
                  <a:gd name="connsiteX2" fmla="*/ 159677 w 159987"/>
                  <a:gd name="connsiteY2" fmla="*/ 160041 h 160281"/>
                  <a:gd name="connsiteX3" fmla="*/ -17 w 159987"/>
                  <a:gd name="connsiteY3" fmla="*/ -240 h 160281"/>
                  <a:gd name="connsiteX4" fmla="*/ -310 w 159987"/>
                  <a:gd name="connsiteY4" fmla="*/ -240 h 160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987" h="160281">
                    <a:moveTo>
                      <a:pt x="-310" y="-240"/>
                    </a:moveTo>
                    <a:cubicBezTo>
                      <a:pt x="-506" y="88120"/>
                      <a:pt x="71013" y="159874"/>
                      <a:pt x="159383" y="160041"/>
                    </a:cubicBezTo>
                    <a:cubicBezTo>
                      <a:pt x="159481" y="160041"/>
                      <a:pt x="159579" y="160041"/>
                      <a:pt x="159677" y="160041"/>
                    </a:cubicBezTo>
                    <a:cubicBezTo>
                      <a:pt x="159873" y="71681"/>
                      <a:pt x="88354" y="-74"/>
                      <a:pt x="-17" y="-240"/>
                    </a:cubicBezTo>
                    <a:cubicBezTo>
                      <a:pt x="-115" y="-240"/>
                      <a:pt x="-212" y="-240"/>
                      <a:pt x="-310" y="-240"/>
                    </a:cubicBezTo>
                    <a:close/>
                  </a:path>
                </a:pathLst>
              </a:custGeom>
              <a:solidFill>
                <a:schemeClr val="bg1"/>
              </a:solidFill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4" name="Полилиния: фигура 119">
              <a:extLst>
                <a:ext uri="{FF2B5EF4-FFF2-40B4-BE49-F238E27FC236}">
                  <a16:creationId xmlns:a16="http://schemas.microsoft.com/office/drawing/2014/main" id="{9AB5CFF2-BC5D-D96E-96E9-9F3FEBE273D3}"/>
                </a:ext>
              </a:extLst>
            </p:cNvPr>
            <p:cNvSpPr/>
            <p:nvPr/>
          </p:nvSpPr>
          <p:spPr>
            <a:xfrm>
              <a:off x="10579947" y="3232812"/>
              <a:ext cx="284927" cy="503156"/>
            </a:xfrm>
            <a:custGeom>
              <a:avLst/>
              <a:gdLst>
                <a:gd name="connsiteX0" fmla="*/ 142147 w 284927"/>
                <a:gd name="connsiteY0" fmla="*/ 502917 h 503156"/>
                <a:gd name="connsiteX1" fmla="*/ 284206 w 284927"/>
                <a:gd name="connsiteY1" fmla="*/ 134152 h 503156"/>
                <a:gd name="connsiteX2" fmla="*/ 89 w 284927"/>
                <a:gd name="connsiteY2" fmla="*/ 134152 h 503156"/>
                <a:gd name="connsiteX3" fmla="*/ 142147 w 284927"/>
                <a:gd name="connsiteY3" fmla="*/ 502917 h 50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927" h="503156">
                  <a:moveTo>
                    <a:pt x="142147" y="502917"/>
                  </a:moveTo>
                  <a:cubicBezTo>
                    <a:pt x="238355" y="404857"/>
                    <a:pt x="289790" y="271410"/>
                    <a:pt x="284206" y="134152"/>
                  </a:cubicBezTo>
                  <a:cubicBezTo>
                    <a:pt x="277543" y="-45037"/>
                    <a:pt x="6848" y="-45037"/>
                    <a:pt x="89" y="134152"/>
                  </a:cubicBezTo>
                  <a:cubicBezTo>
                    <a:pt x="-5398" y="271400"/>
                    <a:pt x="45940" y="404837"/>
                    <a:pt x="142147" y="502917"/>
                  </a:cubicBezTo>
                  <a:close/>
                </a:path>
              </a:pathLst>
            </a:custGeom>
            <a:solidFill>
              <a:schemeClr val="bg1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Полилиния: фигура 121">
              <a:extLst>
                <a:ext uri="{FF2B5EF4-FFF2-40B4-BE49-F238E27FC236}">
                  <a16:creationId xmlns:a16="http://schemas.microsoft.com/office/drawing/2014/main" id="{5724ABB9-23F9-557B-640F-4EDA08185EA2}"/>
                </a:ext>
              </a:extLst>
            </p:cNvPr>
            <p:cNvSpPr/>
            <p:nvPr/>
          </p:nvSpPr>
          <p:spPr>
            <a:xfrm>
              <a:off x="11538849" y="2939167"/>
              <a:ext cx="326538" cy="979714"/>
            </a:xfrm>
            <a:custGeom>
              <a:avLst/>
              <a:gdLst>
                <a:gd name="connsiteX0" fmla="*/ 162959 w 326538"/>
                <a:gd name="connsiteY0" fmla="*/ 979474 h 979714"/>
                <a:gd name="connsiteX1" fmla="*/ 162959 w 326538"/>
                <a:gd name="connsiteY1" fmla="*/ -240 h 979714"/>
                <a:gd name="connsiteX2" fmla="*/ 162959 w 326538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538" h="979714">
                  <a:moveTo>
                    <a:pt x="162959" y="979474"/>
                  </a:moveTo>
                  <a:cubicBezTo>
                    <a:pt x="380651" y="708975"/>
                    <a:pt x="3806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Полилиния: фигура 122">
              <a:extLst>
                <a:ext uri="{FF2B5EF4-FFF2-40B4-BE49-F238E27FC236}">
                  <a16:creationId xmlns:a16="http://schemas.microsoft.com/office/drawing/2014/main" id="{2E6D9482-2CA0-8F16-ADC6-1839E26E999F}"/>
                </a:ext>
              </a:extLst>
            </p:cNvPr>
            <p:cNvSpPr/>
            <p:nvPr/>
          </p:nvSpPr>
          <p:spPr>
            <a:xfrm>
              <a:off x="11212236" y="2939167"/>
              <a:ext cx="326612" cy="979714"/>
            </a:xfrm>
            <a:custGeom>
              <a:avLst/>
              <a:gdLst>
                <a:gd name="connsiteX0" fmla="*/ 163034 w 326612"/>
                <a:gd name="connsiteY0" fmla="*/ 979474 h 979714"/>
                <a:gd name="connsiteX1" fmla="*/ 163034 w 326612"/>
                <a:gd name="connsiteY1" fmla="*/ -240 h 979714"/>
                <a:gd name="connsiteX2" fmla="*/ 163034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3034" y="979474"/>
                  </a:moveTo>
                  <a:cubicBezTo>
                    <a:pt x="380726" y="708975"/>
                    <a:pt x="380726" y="270259"/>
                    <a:pt x="163034" y="-240"/>
                  </a:cubicBezTo>
                  <a:cubicBezTo>
                    <a:pt x="-54758" y="270259"/>
                    <a:pt x="-54758" y="708975"/>
                    <a:pt x="163034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Полилиния: фигура 123">
              <a:extLst>
                <a:ext uri="{FF2B5EF4-FFF2-40B4-BE49-F238E27FC236}">
                  <a16:creationId xmlns:a16="http://schemas.microsoft.com/office/drawing/2014/main" id="{32880002-40DF-0E72-E8B9-259EBD329D29}"/>
                </a:ext>
              </a:extLst>
            </p:cNvPr>
            <p:cNvSpPr/>
            <p:nvPr/>
          </p:nvSpPr>
          <p:spPr>
            <a:xfrm>
              <a:off x="11865388" y="2939167"/>
              <a:ext cx="326612" cy="979714"/>
            </a:xfrm>
            <a:custGeom>
              <a:avLst/>
              <a:gdLst>
                <a:gd name="connsiteX0" fmla="*/ 162959 w 326612"/>
                <a:gd name="connsiteY0" fmla="*/ 979474 h 979714"/>
                <a:gd name="connsiteX1" fmla="*/ 162959 w 326612"/>
                <a:gd name="connsiteY1" fmla="*/ -240 h 979714"/>
                <a:gd name="connsiteX2" fmla="*/ 162959 w 326612"/>
                <a:gd name="connsiteY2" fmla="*/ 979474 h 97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2" h="979714">
                  <a:moveTo>
                    <a:pt x="162959" y="979474"/>
                  </a:moveTo>
                  <a:cubicBezTo>
                    <a:pt x="380751" y="708975"/>
                    <a:pt x="380751" y="270259"/>
                    <a:pt x="162959" y="-240"/>
                  </a:cubicBezTo>
                  <a:cubicBezTo>
                    <a:pt x="-54733" y="270259"/>
                    <a:pt x="-54733" y="708975"/>
                    <a:pt x="162959" y="979474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Полилиния: фигура 125">
              <a:extLst>
                <a:ext uri="{FF2B5EF4-FFF2-40B4-BE49-F238E27FC236}">
                  <a16:creationId xmlns:a16="http://schemas.microsoft.com/office/drawing/2014/main" id="{7C23478D-CA78-9564-4653-E6EE3B7F9873}"/>
                </a:ext>
              </a:extLst>
            </p:cNvPr>
            <p:cNvSpPr/>
            <p:nvPr/>
          </p:nvSpPr>
          <p:spPr>
            <a:xfrm>
              <a:off x="11701548" y="4400935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Полилиния: фигура 126">
              <a:extLst>
                <a:ext uri="{FF2B5EF4-FFF2-40B4-BE49-F238E27FC236}">
                  <a16:creationId xmlns:a16="http://schemas.microsoft.com/office/drawing/2014/main" id="{880455E5-D941-01B7-2E0B-428B3E1168AF}"/>
                </a:ext>
              </a:extLst>
            </p:cNvPr>
            <p:cNvSpPr/>
            <p:nvPr/>
          </p:nvSpPr>
          <p:spPr>
            <a:xfrm>
              <a:off x="11211691" y="3911078"/>
              <a:ext cx="489857" cy="489857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Полилиния: фигура 127">
              <a:extLst>
                <a:ext uri="{FF2B5EF4-FFF2-40B4-BE49-F238E27FC236}">
                  <a16:creationId xmlns:a16="http://schemas.microsoft.com/office/drawing/2014/main" id="{97F171CD-74ED-E86B-FCA3-2D8AB57BCA8F}"/>
                </a:ext>
              </a:extLst>
            </p:cNvPr>
            <p:cNvSpPr/>
            <p:nvPr/>
          </p:nvSpPr>
          <p:spPr>
            <a:xfrm>
              <a:off x="11701548" y="3911078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Полилиния: фигура 128">
              <a:extLst>
                <a:ext uri="{FF2B5EF4-FFF2-40B4-BE49-F238E27FC236}">
                  <a16:creationId xmlns:a16="http://schemas.microsoft.com/office/drawing/2014/main" id="{6B5C7B98-9AF3-A3C5-CC56-1F8415A3BBFA}"/>
                </a:ext>
              </a:extLst>
            </p:cNvPr>
            <p:cNvSpPr/>
            <p:nvPr/>
          </p:nvSpPr>
          <p:spPr>
            <a:xfrm>
              <a:off x="11211691" y="4400935"/>
              <a:ext cx="489857" cy="489857"/>
            </a:xfrm>
            <a:custGeom>
              <a:avLst/>
              <a:gdLst>
                <a:gd name="connsiteX0" fmla="*/ -310 w 489857"/>
                <a:gd name="connsiteY0" fmla="*/ 489617 h 489857"/>
                <a:gd name="connsiteX1" fmla="*/ 489547 w 489857"/>
                <a:gd name="connsiteY1" fmla="*/ -240 h 489857"/>
                <a:gd name="connsiteX2" fmla="*/ -310 w 489857"/>
                <a:gd name="connsiteY2" fmla="*/ 489617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489617"/>
                  </a:moveTo>
                  <a:cubicBezTo>
                    <a:pt x="270189" y="489617"/>
                    <a:pt x="489547" y="270298"/>
                    <a:pt x="489547" y="-240"/>
                  </a:cubicBezTo>
                  <a:cubicBezTo>
                    <a:pt x="219048" y="-240"/>
                    <a:pt x="-310" y="219079"/>
                    <a:pt x="-310" y="489617"/>
                  </a:cubicBezTo>
                  <a:close/>
                </a:path>
              </a:pathLst>
            </a:custGeom>
            <a:solidFill>
              <a:srgbClr val="949494"/>
            </a:solidFill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Полилиния: фигура 130">
              <a:extLst>
                <a:ext uri="{FF2B5EF4-FFF2-40B4-BE49-F238E27FC236}">
                  <a16:creationId xmlns:a16="http://schemas.microsoft.com/office/drawing/2014/main" id="{E7E3018D-75B7-25D3-F819-65B4866C5B11}"/>
                </a:ext>
              </a:extLst>
            </p:cNvPr>
            <p:cNvSpPr/>
            <p:nvPr/>
          </p:nvSpPr>
          <p:spPr>
            <a:xfrm>
              <a:off x="7564294" y="1321178"/>
              <a:ext cx="437931" cy="274907"/>
            </a:xfrm>
            <a:custGeom>
              <a:avLst/>
              <a:gdLst>
                <a:gd name="connsiteX0" fmla="*/ 297270 w 437931"/>
                <a:gd name="connsiteY0" fmla="*/ 274668 h 274907"/>
                <a:gd name="connsiteX1" fmla="*/ 134245 w 437931"/>
                <a:gd name="connsiteY1" fmla="*/ 274668 h 274907"/>
                <a:gd name="connsiteX2" fmla="*/ -3207 w 437931"/>
                <a:gd name="connsiteY2" fmla="*/ 137214 h 274907"/>
                <a:gd name="connsiteX3" fmla="*/ 134245 w 437931"/>
                <a:gd name="connsiteY3" fmla="*/ -240 h 274907"/>
                <a:gd name="connsiteX4" fmla="*/ 297270 w 437931"/>
                <a:gd name="connsiteY4" fmla="*/ -240 h 274907"/>
                <a:gd name="connsiteX5" fmla="*/ 434725 w 437931"/>
                <a:gd name="connsiteY5" fmla="*/ 137214 h 274907"/>
                <a:gd name="connsiteX6" fmla="*/ 297270 w 437931"/>
                <a:gd name="connsiteY6" fmla="*/ 274668 h 27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931" h="274907">
                  <a:moveTo>
                    <a:pt x="297270" y="274668"/>
                  </a:moveTo>
                  <a:lnTo>
                    <a:pt x="134245" y="274668"/>
                  </a:lnTo>
                  <a:cubicBezTo>
                    <a:pt x="58317" y="274668"/>
                    <a:pt x="-3207" y="213132"/>
                    <a:pt x="-3207" y="137214"/>
                  </a:cubicBezTo>
                  <a:cubicBezTo>
                    <a:pt x="-3207" y="61296"/>
                    <a:pt x="58317" y="-240"/>
                    <a:pt x="134245" y="-240"/>
                  </a:cubicBezTo>
                  <a:lnTo>
                    <a:pt x="297270" y="-240"/>
                  </a:lnTo>
                  <a:cubicBezTo>
                    <a:pt x="373198" y="-240"/>
                    <a:pt x="434725" y="61296"/>
                    <a:pt x="434725" y="137214"/>
                  </a:cubicBezTo>
                  <a:cubicBezTo>
                    <a:pt x="434725" y="213132"/>
                    <a:pt x="373198" y="274668"/>
                    <a:pt x="297270" y="274668"/>
                  </a:cubicBezTo>
                </a:path>
              </a:pathLst>
            </a:custGeom>
            <a:solidFill>
              <a:srgbClr val="949494"/>
            </a:solidFill>
            <a:ln w="97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3" name="Группа 139">
              <a:extLst>
                <a:ext uri="{FF2B5EF4-FFF2-40B4-BE49-F238E27FC236}">
                  <a16:creationId xmlns:a16="http://schemas.microsoft.com/office/drawing/2014/main" id="{C1B504CE-0FB3-5DDF-21DE-5E26A943F780}"/>
                </a:ext>
              </a:extLst>
            </p:cNvPr>
            <p:cNvGrpSpPr/>
            <p:nvPr/>
          </p:nvGrpSpPr>
          <p:grpSpPr>
            <a:xfrm>
              <a:off x="7431641" y="1321766"/>
              <a:ext cx="703239" cy="274320"/>
              <a:chOff x="7431641" y="1321766"/>
              <a:chExt cx="703239" cy="274320"/>
            </a:xfrm>
          </p:grpSpPr>
          <p:sp>
            <p:nvSpPr>
              <p:cNvPr id="234" name="Полилиния: фигура 131">
                <a:extLst>
                  <a:ext uri="{FF2B5EF4-FFF2-40B4-BE49-F238E27FC236}">
                    <a16:creationId xmlns:a16="http://schemas.microsoft.com/office/drawing/2014/main" id="{50082B8F-F977-7DDB-6F97-4532406ECC27}"/>
                  </a:ext>
                </a:extLst>
              </p:cNvPr>
              <p:cNvSpPr/>
              <p:nvPr userDrawn="1"/>
            </p:nvSpPr>
            <p:spPr>
              <a:xfrm>
                <a:off x="7997720" y="1321766"/>
                <a:ext cx="137160" cy="274320"/>
              </a:xfrm>
              <a:custGeom>
                <a:avLst/>
                <a:gdLst>
                  <a:gd name="connsiteX0" fmla="*/ 133953 w 137160"/>
                  <a:gd name="connsiteY0" fmla="*/ -240 h 274320"/>
                  <a:gd name="connsiteX1" fmla="*/ -3207 w 137160"/>
                  <a:gd name="connsiteY1" fmla="*/ 136920 h 274320"/>
                  <a:gd name="connsiteX2" fmla="*/ 133953 w 137160"/>
                  <a:gd name="connsiteY2" fmla="*/ 27408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133953" y="-240"/>
                    </a:moveTo>
                    <a:cubicBezTo>
                      <a:pt x="58219" y="-240"/>
                      <a:pt x="-3207" y="61169"/>
                      <a:pt x="-3207" y="136920"/>
                    </a:cubicBezTo>
                    <a:cubicBezTo>
                      <a:pt x="-3207" y="212671"/>
                      <a:pt x="58219" y="274080"/>
                      <a:pt x="133953" y="27408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Полилиния: фигура 132">
                <a:extLst>
                  <a:ext uri="{FF2B5EF4-FFF2-40B4-BE49-F238E27FC236}">
                    <a16:creationId xmlns:a16="http://schemas.microsoft.com/office/drawing/2014/main" id="{3A232097-AB6A-7375-0DA6-83BC51B54CD8}"/>
                  </a:ext>
                </a:extLst>
              </p:cNvPr>
              <p:cNvSpPr/>
              <p:nvPr userDrawn="1"/>
            </p:nvSpPr>
            <p:spPr>
              <a:xfrm>
                <a:off x="7431641" y="1321766"/>
                <a:ext cx="137160" cy="274320"/>
              </a:xfrm>
              <a:custGeom>
                <a:avLst/>
                <a:gdLst>
                  <a:gd name="connsiteX0" fmla="*/ -3207 w 137160"/>
                  <a:gd name="connsiteY0" fmla="*/ 274080 h 274320"/>
                  <a:gd name="connsiteX1" fmla="*/ 133953 w 137160"/>
                  <a:gd name="connsiteY1" fmla="*/ 136920 h 274320"/>
                  <a:gd name="connsiteX2" fmla="*/ -3207 w 137160"/>
                  <a:gd name="connsiteY2" fmla="*/ -24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7160" h="274320">
                    <a:moveTo>
                      <a:pt x="-3207" y="274080"/>
                    </a:moveTo>
                    <a:cubicBezTo>
                      <a:pt x="72525" y="274080"/>
                      <a:pt x="133953" y="212671"/>
                      <a:pt x="133953" y="136920"/>
                    </a:cubicBezTo>
                    <a:cubicBezTo>
                      <a:pt x="133953" y="61169"/>
                      <a:pt x="72525" y="-240"/>
                      <a:pt x="-3207" y="-240"/>
                    </a:cubicBezTo>
                    <a:close/>
                  </a:path>
                </a:pathLst>
              </a:custGeom>
              <a:solidFill>
                <a:srgbClr val="949494"/>
              </a:solidFill>
              <a:ln w="97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71658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78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4B5C99-6B51-4E3B-9BD0-40676D4B9B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257185"/>
            <a:ext cx="10002539" cy="307777"/>
          </a:xfrm>
        </p:spPr>
        <p:txBody>
          <a:bodyPr vert="horz"/>
          <a:lstStyle/>
          <a:p>
            <a:r>
              <a:rPr lang="ru-RU" sz="2000" dirty="0"/>
              <a:t>Требования к </a:t>
            </a:r>
            <a:r>
              <a:rPr lang="ru-RU" sz="2000" dirty="0" smtClean="0"/>
              <a:t>приемке </a:t>
            </a:r>
            <a:r>
              <a:rPr lang="ru-RU" sz="2000" dirty="0"/>
              <a:t>товара</a:t>
            </a:r>
            <a:endParaRPr lang="ru-RU" sz="2200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11100118" y="6548344"/>
            <a:ext cx="521970" cy="215444"/>
          </a:xfrm>
        </p:spPr>
        <p:txBody>
          <a:bodyPr/>
          <a:lstStyle/>
          <a:p>
            <a:fld id="{766344E1-0F76-4023-B180-E4B0CE5660A5}" type="slidenum">
              <a:rPr lang="en-US" smtClean="0"/>
              <a:pPr/>
              <a:t>93</a:t>
            </a:fld>
            <a:endParaRPr lang="en-US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432208" y="2269714"/>
            <a:ext cx="2266451" cy="2933409"/>
            <a:chOff x="576621" y="2262103"/>
            <a:chExt cx="2095458" cy="3024511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65D0E19-EBD5-1BC0-813A-B15F60588B06}"/>
                </a:ext>
              </a:extLst>
            </p:cNvPr>
            <p:cNvSpPr txBox="1"/>
            <p:nvPr/>
          </p:nvSpPr>
          <p:spPr>
            <a:xfrm>
              <a:off x="638569" y="2992380"/>
              <a:ext cx="1999734" cy="22267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17">
                <a:spcAft>
                  <a:spcPts val="600"/>
                </a:spcAft>
                <a:defRPr/>
              </a:pPr>
              <a:r>
                <a:rPr lang="ru-RU" sz="1400" b="1" dirty="0">
                  <a:solidFill>
                    <a:schemeClr val="tx2"/>
                  </a:solidFill>
                </a:rPr>
                <a:t>Проверка санитарного состояния машины на предмет отсутствия посторонних предметов в кузове транспортного средства</a:t>
              </a:r>
            </a:p>
          </p:txBody>
        </p:sp>
        <p:grpSp>
          <p:nvGrpSpPr>
            <p:cNvPr id="6" name="Группа 5"/>
            <p:cNvGrpSpPr/>
            <p:nvPr/>
          </p:nvGrpSpPr>
          <p:grpSpPr>
            <a:xfrm>
              <a:off x="576621" y="2262103"/>
              <a:ext cx="2095458" cy="3024511"/>
              <a:chOff x="576621" y="2262103"/>
              <a:chExt cx="2095458" cy="3024511"/>
            </a:xfrm>
          </p:grpSpPr>
          <p:grpSp>
            <p:nvGrpSpPr>
              <p:cNvPr id="35" name="Группа 34">
                <a:extLst>
                  <a:ext uri="{FF2B5EF4-FFF2-40B4-BE49-F238E27FC236}">
                    <a16:creationId xmlns:a16="http://schemas.microsoft.com/office/drawing/2014/main" id="{F4B25B1F-AF17-EE6C-EFAA-7F57F661E991}"/>
                  </a:ext>
                </a:extLst>
              </p:cNvPr>
              <p:cNvGrpSpPr/>
              <p:nvPr/>
            </p:nvGrpSpPr>
            <p:grpSpPr>
              <a:xfrm>
                <a:off x="576621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36" name="Прямоугольник 36">
                  <a:extLst>
                    <a:ext uri="{FF2B5EF4-FFF2-40B4-BE49-F238E27FC236}">
                      <a16:creationId xmlns:a16="http://schemas.microsoft.com/office/drawing/2014/main" id="{1DD3D5EA-E28D-BFAE-0003-6ECED0CD73D5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37" name="Прямая соединительная линия 36">
                  <a:extLst>
                    <a:ext uri="{FF2B5EF4-FFF2-40B4-BE49-F238E27FC236}">
                      <a16:creationId xmlns:a16="http://schemas.microsoft.com/office/drawing/2014/main" id="{F78E17E4-B6EC-FCD1-DE50-9C039168BD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2" name="Овал 181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1283593" y="2262103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184" name="Текст 2">
            <a:extLst>
              <a:ext uri="{FF2B5EF4-FFF2-40B4-BE49-F238E27FC236}">
                <a16:creationId xmlns:a16="http://schemas.microsoft.com/office/drawing/2014/main" id="{2B38C693-911D-4131-8E93-29CC5671D516}"/>
              </a:ext>
            </a:extLst>
          </p:cNvPr>
          <p:cNvSpPr txBox="1">
            <a:spLocks/>
          </p:cNvSpPr>
          <p:nvPr/>
        </p:nvSpPr>
        <p:spPr>
          <a:xfrm>
            <a:off x="571500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1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2814123" y="2269714"/>
            <a:ext cx="2095458" cy="2938355"/>
            <a:chOff x="2814123" y="2269714"/>
            <a:chExt cx="2095458" cy="3016900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6C2D228-0EBB-A5EA-BB40-2E94D6D474EE}"/>
                </a:ext>
              </a:extLst>
            </p:cNvPr>
            <p:cNvSpPr txBox="1"/>
            <p:nvPr/>
          </p:nvSpPr>
          <p:spPr>
            <a:xfrm>
              <a:off x="2977934" y="3017097"/>
              <a:ext cx="1888140" cy="129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spcAft>
                  <a:spcPts val="1000"/>
                </a:spcAft>
                <a:buClr>
                  <a:srgbClr val="2FCBFF"/>
                </a:buClr>
                <a:defRPr/>
              </a:pPr>
              <a:r>
                <a:rPr lang="ru-RU" sz="1400" b="1" dirty="0">
                  <a:cs typeface="Calibri" panose="020F0502020204030204" pitchFamily="34" charset="0"/>
                </a:rPr>
                <a:t>Требования к температурным режимам хранения и транспортировки продукции</a:t>
              </a:r>
              <a:endParaRPr lang="ru-RU" sz="1400" b="1" kern="1200" dirty="0">
                <a:cs typeface="Calibri" panose="020F0502020204030204" pitchFamily="34" charset="0"/>
              </a:endParaRPr>
            </a:p>
          </p:txBody>
        </p:sp>
        <p:grpSp>
          <p:nvGrpSpPr>
            <p:cNvPr id="10" name="Группа 9"/>
            <p:cNvGrpSpPr/>
            <p:nvPr/>
          </p:nvGrpSpPr>
          <p:grpSpPr>
            <a:xfrm>
              <a:off x="2814123" y="2269714"/>
              <a:ext cx="2095458" cy="3016900"/>
              <a:chOff x="2814123" y="2269714"/>
              <a:chExt cx="2095458" cy="3016900"/>
            </a:xfrm>
          </p:grpSpPr>
          <p:grpSp>
            <p:nvGrpSpPr>
              <p:cNvPr id="74" name="Группа 73">
                <a:extLst>
                  <a:ext uri="{FF2B5EF4-FFF2-40B4-BE49-F238E27FC236}">
                    <a16:creationId xmlns:a16="http://schemas.microsoft.com/office/drawing/2014/main" id="{13B31DC7-5DA8-7A66-704E-9BEC6B139BE2}"/>
                  </a:ext>
                </a:extLst>
              </p:cNvPr>
              <p:cNvGrpSpPr/>
              <p:nvPr/>
            </p:nvGrpSpPr>
            <p:grpSpPr>
              <a:xfrm>
                <a:off x="2814123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79" name="Прямоугольник 36">
                  <a:extLst>
                    <a:ext uri="{FF2B5EF4-FFF2-40B4-BE49-F238E27FC236}">
                      <a16:creationId xmlns:a16="http://schemas.microsoft.com/office/drawing/2014/main" id="{E8181398-4B0D-C932-2CD4-9B3336DA1930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80" name="Прямая соединительная линия 79">
                  <a:extLst>
                    <a:ext uri="{FF2B5EF4-FFF2-40B4-BE49-F238E27FC236}">
                      <a16:creationId xmlns:a16="http://schemas.microsoft.com/office/drawing/2014/main" id="{805767A0-2302-DD34-E435-F62541346D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7" name="Овал 76">
                <a:extLst>
                  <a:ext uri="{FF2B5EF4-FFF2-40B4-BE49-F238E27FC236}">
                    <a16:creationId xmlns:a16="http://schemas.microsoft.com/office/drawing/2014/main" id="{2333BA61-C33E-F63D-2012-A6614A6231AF}"/>
                  </a:ext>
                </a:extLst>
              </p:cNvPr>
              <p:cNvSpPr/>
              <p:nvPr/>
            </p:nvSpPr>
            <p:spPr>
              <a:xfrm>
                <a:off x="3521991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76" name="Текст 2">
            <a:extLst>
              <a:ext uri="{FF2B5EF4-FFF2-40B4-BE49-F238E27FC236}">
                <a16:creationId xmlns:a16="http://schemas.microsoft.com/office/drawing/2014/main" id="{81DE2CE4-D72F-D5BC-7577-2B164F6B1F6F}"/>
              </a:ext>
            </a:extLst>
          </p:cNvPr>
          <p:cNvSpPr txBox="1">
            <a:spLocks/>
          </p:cNvSpPr>
          <p:nvPr/>
        </p:nvSpPr>
        <p:spPr>
          <a:xfrm>
            <a:off x="2809002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2</a:t>
            </a:r>
          </a:p>
        </p:txBody>
      </p:sp>
      <p:sp>
        <p:nvSpPr>
          <p:cNvPr id="86" name="Текст 2">
            <a:extLst>
              <a:ext uri="{FF2B5EF4-FFF2-40B4-BE49-F238E27FC236}">
                <a16:creationId xmlns:a16="http://schemas.microsoft.com/office/drawing/2014/main" id="{2EDD7165-13C6-C99D-AEBE-E23BF4F7A494}"/>
              </a:ext>
            </a:extLst>
          </p:cNvPr>
          <p:cNvSpPr txBox="1">
            <a:spLocks/>
          </p:cNvSpPr>
          <p:nvPr/>
        </p:nvSpPr>
        <p:spPr>
          <a:xfrm>
            <a:off x="5046504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3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5011879" y="2273919"/>
            <a:ext cx="2095458" cy="2934149"/>
            <a:chOff x="7289127" y="2269657"/>
            <a:chExt cx="2095458" cy="3016957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92D49BCE-7F89-AAEE-9CB4-4C39F7982986}"/>
                </a:ext>
              </a:extLst>
            </p:cNvPr>
            <p:cNvSpPr txBox="1"/>
            <p:nvPr/>
          </p:nvSpPr>
          <p:spPr>
            <a:xfrm>
              <a:off x="7411742" y="3025437"/>
              <a:ext cx="1969409" cy="6645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2FCBFF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ru-RU" sz="1400" b="1" kern="1200" dirty="0" smtClean="0">
                  <a:latin typeface="+mn-lt"/>
                  <a:ea typeface="+mn-ea"/>
                  <a:cs typeface="Calibri" panose="020F0502020204030204" pitchFamily="34" charset="0"/>
                </a:rPr>
                <a:t>Размещение товара на паллетах</a:t>
              </a:r>
              <a:endParaRPr lang="ru-RU" sz="1400" b="1" kern="1200" dirty="0">
                <a:latin typeface="+mn-lt"/>
                <a:ea typeface="+mn-ea"/>
                <a:cs typeface="Calibri" panose="020F0502020204030204" pitchFamily="34" charset="0"/>
              </a:endParaRPr>
            </a:p>
          </p:txBody>
        </p:sp>
        <p:grpSp>
          <p:nvGrpSpPr>
            <p:cNvPr id="16" name="Группа 15"/>
            <p:cNvGrpSpPr/>
            <p:nvPr/>
          </p:nvGrpSpPr>
          <p:grpSpPr>
            <a:xfrm>
              <a:off x="7289127" y="2269657"/>
              <a:ext cx="2095458" cy="3016957"/>
              <a:chOff x="7289127" y="2269657"/>
              <a:chExt cx="2095458" cy="3016957"/>
            </a:xfrm>
          </p:grpSpPr>
          <p:grpSp>
            <p:nvGrpSpPr>
              <p:cNvPr id="94" name="Группа 93">
                <a:extLst>
                  <a:ext uri="{FF2B5EF4-FFF2-40B4-BE49-F238E27FC236}">
                    <a16:creationId xmlns:a16="http://schemas.microsoft.com/office/drawing/2014/main" id="{D5F3F11E-6560-0B23-130F-071931B1EEA7}"/>
                  </a:ext>
                </a:extLst>
              </p:cNvPr>
              <p:cNvGrpSpPr/>
              <p:nvPr/>
            </p:nvGrpSpPr>
            <p:grpSpPr>
              <a:xfrm>
                <a:off x="7289127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100" name="Прямоугольник 36">
                  <a:extLst>
                    <a:ext uri="{FF2B5EF4-FFF2-40B4-BE49-F238E27FC236}">
                      <a16:creationId xmlns:a16="http://schemas.microsoft.com/office/drawing/2014/main" id="{75F72633-0CC4-CCB6-98BE-05693F4F567A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01" name="Прямая соединительная линия 100">
                  <a:extLst>
                    <a:ext uri="{FF2B5EF4-FFF2-40B4-BE49-F238E27FC236}">
                      <a16:creationId xmlns:a16="http://schemas.microsoft.com/office/drawing/2014/main" id="{8C93A341-2881-87B6-C415-6E99EB68F1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8" name="Овал 97">
                <a:extLst>
                  <a:ext uri="{FF2B5EF4-FFF2-40B4-BE49-F238E27FC236}">
                    <a16:creationId xmlns:a16="http://schemas.microsoft.com/office/drawing/2014/main" id="{EC84DCAA-475C-0D99-4B11-F2F544F12306}"/>
                  </a:ext>
                </a:extLst>
              </p:cNvPr>
              <p:cNvSpPr/>
              <p:nvPr/>
            </p:nvSpPr>
            <p:spPr>
              <a:xfrm>
                <a:off x="7993616" y="2269657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96" name="Текст 2">
            <a:extLst>
              <a:ext uri="{FF2B5EF4-FFF2-40B4-BE49-F238E27FC236}">
                <a16:creationId xmlns:a16="http://schemas.microsoft.com/office/drawing/2014/main" id="{F1F081BE-3874-707D-946A-40DC12C4F482}"/>
              </a:ext>
            </a:extLst>
          </p:cNvPr>
          <p:cNvSpPr txBox="1">
            <a:spLocks/>
          </p:cNvSpPr>
          <p:nvPr/>
        </p:nvSpPr>
        <p:spPr>
          <a:xfrm>
            <a:off x="7284006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/>
              <a:t>Шаг 4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D559DAFD-9AEA-EF95-6B07-339D3E63584D}"/>
              </a:ext>
            </a:extLst>
          </p:cNvPr>
          <p:cNvSpPr txBox="1"/>
          <p:nvPr/>
        </p:nvSpPr>
        <p:spPr>
          <a:xfrm>
            <a:off x="9713357" y="2997965"/>
            <a:ext cx="1721362" cy="14824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2FCB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00" b="1" dirty="0" smtClean="0">
                <a:cs typeface="Calibri" panose="020F0502020204030204" pitchFamily="34" charset="0"/>
              </a:rPr>
              <a:t>Безопасный и качественный продукт в реализаци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2FCB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b="1" dirty="0" smtClean="0">
                <a:solidFill>
                  <a:schemeClr val="accent2"/>
                </a:solidFill>
                <a:cs typeface="Calibri" panose="020F0502020204030204" pitchFamily="34" charset="0"/>
              </a:rPr>
              <a:t>Счастливый покупатель</a:t>
            </a:r>
            <a:r>
              <a:rPr lang="ru-RU" sz="1600" b="1" kern="1200" dirty="0" smtClean="0">
                <a:solidFill>
                  <a:schemeClr val="accent2"/>
                </a:solidFill>
                <a:cs typeface="Calibri" panose="020F0502020204030204" pitchFamily="34" charset="0"/>
              </a:rPr>
              <a:t>!</a:t>
            </a:r>
            <a:endParaRPr lang="ru-RU" sz="1600" b="1" kern="1200" dirty="0">
              <a:solidFill>
                <a:schemeClr val="accent2"/>
              </a:solidFill>
              <a:cs typeface="Calibri" panose="020F0502020204030204" pitchFamily="34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9526630" y="2269714"/>
            <a:ext cx="2095458" cy="2938355"/>
            <a:chOff x="9526630" y="2269714"/>
            <a:chExt cx="2095458" cy="3016900"/>
          </a:xfrm>
        </p:grpSpPr>
        <p:grpSp>
          <p:nvGrpSpPr>
            <p:cNvPr id="105" name="Группа 104">
              <a:extLst>
                <a:ext uri="{FF2B5EF4-FFF2-40B4-BE49-F238E27FC236}">
                  <a16:creationId xmlns:a16="http://schemas.microsoft.com/office/drawing/2014/main" id="{1035791F-EF2B-D263-5803-1252057D8D89}"/>
                </a:ext>
              </a:extLst>
            </p:cNvPr>
            <p:cNvGrpSpPr/>
            <p:nvPr/>
          </p:nvGrpSpPr>
          <p:grpSpPr>
            <a:xfrm>
              <a:off x="9526630" y="2576357"/>
              <a:ext cx="2095458" cy="2710257"/>
              <a:chOff x="571500" y="1195342"/>
              <a:chExt cx="11058716" cy="2076165"/>
            </a:xfrm>
          </p:grpSpPr>
          <p:sp>
            <p:nvSpPr>
              <p:cNvPr id="110" name="Прямоугольник 36">
                <a:extLst>
                  <a:ext uri="{FF2B5EF4-FFF2-40B4-BE49-F238E27FC236}">
                    <a16:creationId xmlns:a16="http://schemas.microsoft.com/office/drawing/2014/main" id="{53C30048-E754-6AD2-18D0-ACF2E2BFA9FD}"/>
                  </a:ext>
                </a:extLst>
              </p:cNvPr>
              <p:cNvSpPr/>
              <p:nvPr/>
            </p:nvSpPr>
            <p:spPr>
              <a:xfrm>
                <a:off x="571500" y="1195342"/>
                <a:ext cx="11058711" cy="2076165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8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1" name="Прямая соединительная линия 110">
                <a:extLst>
                  <a:ext uri="{FF2B5EF4-FFF2-40B4-BE49-F238E27FC236}">
                    <a16:creationId xmlns:a16="http://schemas.microsoft.com/office/drawing/2014/main" id="{55D57802-867E-8CDE-74C6-746E8B80AD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500" y="1198562"/>
                <a:ext cx="11058716" cy="0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B1349C9E-117E-7E92-C7A7-1BAE3026288F}"/>
                </a:ext>
              </a:extLst>
            </p:cNvPr>
            <p:cNvSpPr/>
            <p:nvPr/>
          </p:nvSpPr>
          <p:spPr>
            <a:xfrm>
              <a:off x="10234498" y="2269714"/>
              <a:ext cx="630628" cy="632176"/>
            </a:xfrm>
            <a:prstGeom prst="ellipse">
              <a:avLst/>
            </a:prstGeom>
            <a:solidFill>
              <a:schemeClr val="bg1"/>
            </a:solidFill>
            <a:ln w="1111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107" name="Текст 2">
            <a:extLst>
              <a:ext uri="{FF2B5EF4-FFF2-40B4-BE49-F238E27FC236}">
                <a16:creationId xmlns:a16="http://schemas.microsoft.com/office/drawing/2014/main" id="{147D86EC-1F8D-036D-6B4E-1FCB14B14A8F}"/>
              </a:ext>
            </a:extLst>
          </p:cNvPr>
          <p:cNvSpPr txBox="1">
            <a:spLocks/>
          </p:cNvSpPr>
          <p:nvPr/>
        </p:nvSpPr>
        <p:spPr>
          <a:xfrm>
            <a:off x="9521509" y="1646695"/>
            <a:ext cx="2057400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sz="1800" b="1" dirty="0" smtClean="0"/>
              <a:t>Результат</a:t>
            </a:r>
            <a:endParaRPr lang="ru-RU" sz="1800" b="1" dirty="0"/>
          </a:p>
        </p:txBody>
      </p:sp>
      <p:cxnSp>
        <p:nvCxnSpPr>
          <p:cNvPr id="124" name="Прямая со стрелкой 123">
            <a:extLst>
              <a:ext uri="{FF2B5EF4-FFF2-40B4-BE49-F238E27FC236}">
                <a16:creationId xmlns:a16="http://schemas.microsoft.com/office/drawing/2014/main" id="{65D74329-DD9D-2CCE-81FE-FDA4C58F9507}"/>
              </a:ext>
            </a:extLst>
          </p:cNvPr>
          <p:cNvCxnSpPr>
            <a:cxnSpLocks/>
          </p:cNvCxnSpPr>
          <p:nvPr/>
        </p:nvCxnSpPr>
        <p:spPr>
          <a:xfrm>
            <a:off x="9080818" y="1776075"/>
            <a:ext cx="517966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>
            <a:extLst>
              <a:ext uri="{FF2B5EF4-FFF2-40B4-BE49-F238E27FC236}">
                <a16:creationId xmlns:a16="http://schemas.microsoft.com/office/drawing/2014/main" id="{B356F046-1E16-A643-D522-DF00D30F0EB7}"/>
              </a:ext>
            </a:extLst>
          </p:cNvPr>
          <p:cNvCxnSpPr>
            <a:cxnSpLocks/>
          </p:cNvCxnSpPr>
          <p:nvPr/>
        </p:nvCxnSpPr>
        <p:spPr>
          <a:xfrm>
            <a:off x="6934972" y="1776075"/>
            <a:ext cx="517966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 стрелкой 125">
            <a:extLst>
              <a:ext uri="{FF2B5EF4-FFF2-40B4-BE49-F238E27FC236}">
                <a16:creationId xmlns:a16="http://schemas.microsoft.com/office/drawing/2014/main" id="{6F94BA8C-0639-88F7-32F1-345971724B7E}"/>
              </a:ext>
            </a:extLst>
          </p:cNvPr>
          <p:cNvCxnSpPr>
            <a:cxnSpLocks/>
          </p:cNvCxnSpPr>
          <p:nvPr/>
        </p:nvCxnSpPr>
        <p:spPr>
          <a:xfrm>
            <a:off x="4697470" y="1776075"/>
            <a:ext cx="517966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>
            <a:extLst>
              <a:ext uri="{FF2B5EF4-FFF2-40B4-BE49-F238E27FC236}">
                <a16:creationId xmlns:a16="http://schemas.microsoft.com/office/drawing/2014/main" id="{C3B9DC80-458A-2CA7-D8A6-A89B68805D6A}"/>
              </a:ext>
            </a:extLst>
          </p:cNvPr>
          <p:cNvCxnSpPr>
            <a:cxnSpLocks/>
          </p:cNvCxnSpPr>
          <p:nvPr/>
        </p:nvCxnSpPr>
        <p:spPr>
          <a:xfrm>
            <a:off x="2459968" y="1776075"/>
            <a:ext cx="517966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Прямоугольник 69"/>
          <p:cNvSpPr/>
          <p:nvPr/>
        </p:nvSpPr>
        <p:spPr>
          <a:xfrm>
            <a:off x="137246" y="689103"/>
            <a:ext cx="115522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Требования к транспортному средству и водителю транспортного </a:t>
            </a:r>
            <a:r>
              <a:rPr lang="ru-RU" sz="1600" b="1" dirty="0" smtClean="0">
                <a:solidFill>
                  <a:schemeClr val="tx2"/>
                </a:solidFill>
              </a:rPr>
              <a:t>средства определены</a:t>
            </a:r>
            <a:r>
              <a:rPr lang="ru-RU" sz="1600" b="1" dirty="0">
                <a:solidFill>
                  <a:schemeClr val="tx2"/>
                </a:solidFill>
              </a:rPr>
              <a:t>, </a:t>
            </a:r>
            <a:r>
              <a:rPr lang="ru-RU" sz="1600" b="1" dirty="0" smtClean="0">
                <a:solidFill>
                  <a:schemeClr val="tx2"/>
                </a:solidFill>
              </a:rPr>
              <a:t>действующими Требованиями </a:t>
            </a:r>
            <a:r>
              <a:rPr lang="ru-RU" sz="1600" b="1" dirty="0">
                <a:solidFill>
                  <a:schemeClr val="tx2"/>
                </a:solidFill>
              </a:rPr>
              <a:t>П7-16  Проверка качества при входном контроле в ТК и на ЦП</a:t>
            </a:r>
          </a:p>
          <a:p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113" name="Рисунок 37">
            <a:extLst>
              <a:ext uri="{FF2B5EF4-FFF2-40B4-BE49-F238E27FC236}">
                <a16:creationId xmlns:a16="http://schemas.microsoft.com/office/drawing/2014/main" id="{216C13DE-6C20-4102-8F10-63CA71E5F489}"/>
              </a:ext>
            </a:extLst>
          </p:cNvPr>
          <p:cNvSpPr/>
          <p:nvPr/>
        </p:nvSpPr>
        <p:spPr>
          <a:xfrm>
            <a:off x="956406" y="5544137"/>
            <a:ext cx="1118797" cy="892373"/>
          </a:xfrm>
          <a:custGeom>
            <a:avLst/>
            <a:gdLst>
              <a:gd name="connsiteX0" fmla="*/ 490700 w 492210"/>
              <a:gd name="connsiteY0" fmla="*/ 153424 h 316735"/>
              <a:gd name="connsiteX1" fmla="*/ 455686 w 492210"/>
              <a:gd name="connsiteY1" fmla="*/ 102693 h 316735"/>
              <a:gd name="connsiteX2" fmla="*/ 409150 w 492210"/>
              <a:gd name="connsiteY2" fmla="*/ 78306 h 316735"/>
              <a:gd name="connsiteX3" fmla="*/ 318818 w 492210"/>
              <a:gd name="connsiteY3" fmla="*/ 78306 h 316735"/>
              <a:gd name="connsiteX4" fmla="*/ 318818 w 492210"/>
              <a:gd name="connsiteY4" fmla="*/ 8390 h 316735"/>
              <a:gd name="connsiteX5" fmla="*/ 310428 w 492210"/>
              <a:gd name="connsiteY5" fmla="*/ 0 h 316735"/>
              <a:gd name="connsiteX6" fmla="*/ 8390 w 492210"/>
              <a:gd name="connsiteY6" fmla="*/ 0 h 316735"/>
              <a:gd name="connsiteX7" fmla="*/ 0 w 492210"/>
              <a:gd name="connsiteY7" fmla="*/ 8390 h 316735"/>
              <a:gd name="connsiteX8" fmla="*/ 0 w 492210"/>
              <a:gd name="connsiteY8" fmla="*/ 271275 h 316735"/>
              <a:gd name="connsiteX9" fmla="*/ 8390 w 492210"/>
              <a:gd name="connsiteY9" fmla="*/ 279665 h 316735"/>
              <a:gd name="connsiteX10" fmla="*/ 77691 w 492210"/>
              <a:gd name="connsiteY10" fmla="*/ 279665 h 316735"/>
              <a:gd name="connsiteX11" fmla="*/ 125504 w 492210"/>
              <a:gd name="connsiteY11" fmla="*/ 316367 h 316735"/>
              <a:gd name="connsiteX12" fmla="*/ 162206 w 492210"/>
              <a:gd name="connsiteY12" fmla="*/ 279665 h 316735"/>
              <a:gd name="connsiteX13" fmla="*/ 349469 w 492210"/>
              <a:gd name="connsiteY13" fmla="*/ 279665 h 316735"/>
              <a:gd name="connsiteX14" fmla="*/ 398023 w 492210"/>
              <a:gd name="connsiteY14" fmla="*/ 315514 h 316735"/>
              <a:gd name="connsiteX15" fmla="*/ 433872 w 492210"/>
              <a:gd name="connsiteY15" fmla="*/ 279665 h 316735"/>
              <a:gd name="connsiteX16" fmla="*/ 483820 w 492210"/>
              <a:gd name="connsiteY16" fmla="*/ 279665 h 316735"/>
              <a:gd name="connsiteX17" fmla="*/ 492210 w 492210"/>
              <a:gd name="connsiteY17" fmla="*/ 271275 h 316735"/>
              <a:gd name="connsiteX18" fmla="*/ 492210 w 492210"/>
              <a:gd name="connsiteY18" fmla="*/ 158178 h 316735"/>
              <a:gd name="connsiteX19" fmla="*/ 490700 w 492210"/>
              <a:gd name="connsiteY19" fmla="*/ 153424 h 316735"/>
              <a:gd name="connsiteX20" fmla="*/ 409150 w 492210"/>
              <a:gd name="connsiteY20" fmla="*/ 95086 h 316735"/>
              <a:gd name="connsiteX21" fmla="*/ 441870 w 492210"/>
              <a:gd name="connsiteY21" fmla="*/ 112257 h 316735"/>
              <a:gd name="connsiteX22" fmla="*/ 468662 w 492210"/>
              <a:gd name="connsiteY22" fmla="*/ 151019 h 316735"/>
              <a:gd name="connsiteX23" fmla="*/ 318818 w 492210"/>
              <a:gd name="connsiteY23" fmla="*/ 151019 h 316735"/>
              <a:gd name="connsiteX24" fmla="*/ 318818 w 492210"/>
              <a:gd name="connsiteY24" fmla="*/ 95086 h 316735"/>
              <a:gd name="connsiteX25" fmla="*/ 119920 w 492210"/>
              <a:gd name="connsiteY25" fmla="*/ 299241 h 316735"/>
              <a:gd name="connsiteX26" fmla="*/ 93856 w 492210"/>
              <a:gd name="connsiteY26" fmla="*/ 273400 h 316735"/>
              <a:gd name="connsiteX27" fmla="*/ 119697 w 492210"/>
              <a:gd name="connsiteY27" fmla="*/ 247336 h 316735"/>
              <a:gd name="connsiteX28" fmla="*/ 145761 w 492210"/>
              <a:gd name="connsiteY28" fmla="*/ 273177 h 316735"/>
              <a:gd name="connsiteX29" fmla="*/ 145761 w 492210"/>
              <a:gd name="connsiteY29" fmla="*/ 273344 h 316735"/>
              <a:gd name="connsiteX30" fmla="*/ 119920 w 492210"/>
              <a:gd name="connsiteY30" fmla="*/ 299241 h 316735"/>
              <a:gd name="connsiteX31" fmla="*/ 119920 w 492210"/>
              <a:gd name="connsiteY31" fmla="*/ 230612 h 316735"/>
              <a:gd name="connsiteX32" fmla="*/ 78306 w 492210"/>
              <a:gd name="connsiteY32" fmla="*/ 262885 h 316735"/>
              <a:gd name="connsiteX33" fmla="*/ 16780 w 492210"/>
              <a:gd name="connsiteY33" fmla="*/ 262885 h 316735"/>
              <a:gd name="connsiteX34" fmla="*/ 16780 w 492210"/>
              <a:gd name="connsiteY34" fmla="*/ 16780 h 316735"/>
              <a:gd name="connsiteX35" fmla="*/ 302038 w 492210"/>
              <a:gd name="connsiteY35" fmla="*/ 16780 h 316735"/>
              <a:gd name="connsiteX36" fmla="*/ 302038 w 492210"/>
              <a:gd name="connsiteY36" fmla="*/ 262885 h 316735"/>
              <a:gd name="connsiteX37" fmla="*/ 161199 w 492210"/>
              <a:gd name="connsiteY37" fmla="*/ 262885 h 316735"/>
              <a:gd name="connsiteX38" fmla="*/ 119920 w 492210"/>
              <a:gd name="connsiteY38" fmla="*/ 230612 h 316735"/>
              <a:gd name="connsiteX39" fmla="*/ 391531 w 492210"/>
              <a:gd name="connsiteY39" fmla="*/ 299241 h 316735"/>
              <a:gd name="connsiteX40" fmla="*/ 365578 w 492210"/>
              <a:gd name="connsiteY40" fmla="*/ 273289 h 316735"/>
              <a:gd name="connsiteX41" fmla="*/ 391531 w 492210"/>
              <a:gd name="connsiteY41" fmla="*/ 247336 h 316735"/>
              <a:gd name="connsiteX42" fmla="*/ 417484 w 492210"/>
              <a:gd name="connsiteY42" fmla="*/ 273289 h 316735"/>
              <a:gd name="connsiteX43" fmla="*/ 417484 w 492210"/>
              <a:gd name="connsiteY43" fmla="*/ 273344 h 316735"/>
              <a:gd name="connsiteX44" fmla="*/ 391531 w 492210"/>
              <a:gd name="connsiteY44" fmla="*/ 299241 h 316735"/>
              <a:gd name="connsiteX45" fmla="*/ 432921 w 492210"/>
              <a:gd name="connsiteY45" fmla="*/ 262885 h 316735"/>
              <a:gd name="connsiteX46" fmla="*/ 381278 w 492210"/>
              <a:gd name="connsiteY46" fmla="*/ 231803 h 316735"/>
              <a:gd name="connsiteX47" fmla="*/ 350196 w 492210"/>
              <a:gd name="connsiteY47" fmla="*/ 262885 h 316735"/>
              <a:gd name="connsiteX48" fmla="*/ 318818 w 492210"/>
              <a:gd name="connsiteY48" fmla="*/ 262885 h 316735"/>
              <a:gd name="connsiteX49" fmla="*/ 318818 w 492210"/>
              <a:gd name="connsiteY49" fmla="*/ 167799 h 316735"/>
              <a:gd name="connsiteX50" fmla="*/ 475430 w 492210"/>
              <a:gd name="connsiteY50" fmla="*/ 167799 h 316735"/>
              <a:gd name="connsiteX51" fmla="*/ 475430 w 492210"/>
              <a:gd name="connsiteY51" fmla="*/ 262885 h 316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492210" h="316735">
                <a:moveTo>
                  <a:pt x="490700" y="153424"/>
                </a:moveTo>
                <a:lnTo>
                  <a:pt x="455686" y="102693"/>
                </a:lnTo>
                <a:cubicBezTo>
                  <a:pt x="445115" y="87422"/>
                  <a:pt x="427723" y="78308"/>
                  <a:pt x="409150" y="78306"/>
                </a:cubicBezTo>
                <a:lnTo>
                  <a:pt x="318818" y="78306"/>
                </a:lnTo>
                <a:lnTo>
                  <a:pt x="318818" y="8390"/>
                </a:lnTo>
                <a:cubicBezTo>
                  <a:pt x="318818" y="3756"/>
                  <a:pt x="315061" y="0"/>
                  <a:pt x="310428" y="0"/>
                </a:cubicBezTo>
                <a:lnTo>
                  <a:pt x="8390" y="0"/>
                </a:lnTo>
                <a:cubicBezTo>
                  <a:pt x="3756" y="0"/>
                  <a:pt x="0" y="3756"/>
                  <a:pt x="0" y="8390"/>
                </a:cubicBezTo>
                <a:lnTo>
                  <a:pt x="0" y="271275"/>
                </a:lnTo>
                <a:cubicBezTo>
                  <a:pt x="0" y="275908"/>
                  <a:pt x="3756" y="279665"/>
                  <a:pt x="8390" y="279665"/>
                </a:cubicBezTo>
                <a:lnTo>
                  <a:pt x="77691" y="279665"/>
                </a:lnTo>
                <a:cubicBezTo>
                  <a:pt x="80759" y="303003"/>
                  <a:pt x="102165" y="319435"/>
                  <a:pt x="125504" y="316367"/>
                </a:cubicBezTo>
                <a:cubicBezTo>
                  <a:pt x="144635" y="313852"/>
                  <a:pt x="159690" y="298797"/>
                  <a:pt x="162206" y="279665"/>
                </a:cubicBezTo>
                <a:lnTo>
                  <a:pt x="349469" y="279665"/>
                </a:lnTo>
                <a:cubicBezTo>
                  <a:pt x="352977" y="302972"/>
                  <a:pt x="374716" y="319022"/>
                  <a:pt x="398023" y="315514"/>
                </a:cubicBezTo>
                <a:cubicBezTo>
                  <a:pt x="416545" y="312726"/>
                  <a:pt x="431084" y="298187"/>
                  <a:pt x="433872" y="279665"/>
                </a:cubicBezTo>
                <a:lnTo>
                  <a:pt x="483820" y="279665"/>
                </a:lnTo>
                <a:cubicBezTo>
                  <a:pt x="488454" y="279665"/>
                  <a:pt x="492210" y="275908"/>
                  <a:pt x="492210" y="271275"/>
                </a:cubicBezTo>
                <a:lnTo>
                  <a:pt x="492210" y="158178"/>
                </a:lnTo>
                <a:cubicBezTo>
                  <a:pt x="492215" y="156475"/>
                  <a:pt x="491687" y="154812"/>
                  <a:pt x="490700" y="153424"/>
                </a:cubicBezTo>
                <a:close/>
                <a:moveTo>
                  <a:pt x="409150" y="95086"/>
                </a:moveTo>
                <a:cubicBezTo>
                  <a:pt x="422217" y="95078"/>
                  <a:pt x="434453" y="101499"/>
                  <a:pt x="441870" y="112257"/>
                </a:cubicBezTo>
                <a:lnTo>
                  <a:pt x="468662" y="151019"/>
                </a:lnTo>
                <a:lnTo>
                  <a:pt x="318818" y="151019"/>
                </a:lnTo>
                <a:lnTo>
                  <a:pt x="318818" y="95086"/>
                </a:lnTo>
                <a:close/>
                <a:moveTo>
                  <a:pt x="119920" y="299241"/>
                </a:moveTo>
                <a:cubicBezTo>
                  <a:pt x="105587" y="299303"/>
                  <a:pt x="93918" y="287734"/>
                  <a:pt x="93856" y="273400"/>
                </a:cubicBezTo>
                <a:cubicBezTo>
                  <a:pt x="93794" y="259068"/>
                  <a:pt x="105363" y="247398"/>
                  <a:pt x="119697" y="247336"/>
                </a:cubicBezTo>
                <a:cubicBezTo>
                  <a:pt x="134030" y="247275"/>
                  <a:pt x="145699" y="258844"/>
                  <a:pt x="145761" y="273177"/>
                </a:cubicBezTo>
                <a:cubicBezTo>
                  <a:pt x="145761" y="273233"/>
                  <a:pt x="145761" y="273289"/>
                  <a:pt x="145761" y="273344"/>
                </a:cubicBezTo>
                <a:cubicBezTo>
                  <a:pt x="145731" y="287612"/>
                  <a:pt x="134188" y="299180"/>
                  <a:pt x="119920" y="299241"/>
                </a:cubicBezTo>
                <a:close/>
                <a:moveTo>
                  <a:pt x="119920" y="230612"/>
                </a:moveTo>
                <a:cubicBezTo>
                  <a:pt x="100288" y="230548"/>
                  <a:pt x="83131" y="243854"/>
                  <a:pt x="78306" y="262885"/>
                </a:cubicBezTo>
                <a:lnTo>
                  <a:pt x="16780" y="262885"/>
                </a:lnTo>
                <a:lnTo>
                  <a:pt x="16780" y="16780"/>
                </a:lnTo>
                <a:lnTo>
                  <a:pt x="302038" y="16780"/>
                </a:lnTo>
                <a:lnTo>
                  <a:pt x="302038" y="262885"/>
                </a:lnTo>
                <a:lnTo>
                  <a:pt x="161199" y="262885"/>
                </a:lnTo>
                <a:cubicBezTo>
                  <a:pt x="156423" y="243964"/>
                  <a:pt x="139435" y="230682"/>
                  <a:pt x="119920" y="230612"/>
                </a:cubicBezTo>
                <a:close/>
                <a:moveTo>
                  <a:pt x="391531" y="299241"/>
                </a:moveTo>
                <a:cubicBezTo>
                  <a:pt x="377197" y="299241"/>
                  <a:pt x="365578" y="287622"/>
                  <a:pt x="365578" y="273289"/>
                </a:cubicBezTo>
                <a:cubicBezTo>
                  <a:pt x="365578" y="258955"/>
                  <a:pt x="377197" y="247336"/>
                  <a:pt x="391531" y="247336"/>
                </a:cubicBezTo>
                <a:cubicBezTo>
                  <a:pt x="405864" y="247336"/>
                  <a:pt x="417484" y="258955"/>
                  <a:pt x="417484" y="273289"/>
                </a:cubicBezTo>
                <a:cubicBezTo>
                  <a:pt x="417484" y="273307"/>
                  <a:pt x="417484" y="273326"/>
                  <a:pt x="417484" y="273344"/>
                </a:cubicBezTo>
                <a:cubicBezTo>
                  <a:pt x="417453" y="287656"/>
                  <a:pt x="405842" y="299241"/>
                  <a:pt x="391531" y="299241"/>
                </a:cubicBezTo>
                <a:close/>
                <a:moveTo>
                  <a:pt x="432921" y="262885"/>
                </a:moveTo>
                <a:cubicBezTo>
                  <a:pt x="427243" y="240041"/>
                  <a:pt x="404122" y="226125"/>
                  <a:pt x="381278" y="231803"/>
                </a:cubicBezTo>
                <a:cubicBezTo>
                  <a:pt x="365962" y="235610"/>
                  <a:pt x="354003" y="247569"/>
                  <a:pt x="350196" y="262885"/>
                </a:cubicBezTo>
                <a:lnTo>
                  <a:pt x="318818" y="262885"/>
                </a:lnTo>
                <a:lnTo>
                  <a:pt x="318818" y="167799"/>
                </a:lnTo>
                <a:lnTo>
                  <a:pt x="475430" y="167799"/>
                </a:lnTo>
                <a:lnTo>
                  <a:pt x="475430" y="262885"/>
                </a:lnTo>
                <a:close/>
              </a:path>
            </a:pathLst>
          </a:custGeom>
          <a:solidFill>
            <a:schemeClr val="tx1"/>
          </a:solidFill>
          <a:ln w="108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3C96"/>
              </a:solidFill>
              <a:effectLst/>
              <a:uLnTx/>
              <a:uFillTx/>
            </a:endParaRPr>
          </a:p>
        </p:txBody>
      </p:sp>
      <p:grpSp>
        <p:nvGrpSpPr>
          <p:cNvPr id="120" name="Рисунок 45">
            <a:extLst>
              <a:ext uri="{FF2B5EF4-FFF2-40B4-BE49-F238E27FC236}">
                <a16:creationId xmlns:a16="http://schemas.microsoft.com/office/drawing/2014/main" id="{888FAAE2-1412-4A8E-9F76-35DC83613272}"/>
              </a:ext>
            </a:extLst>
          </p:cNvPr>
          <p:cNvGrpSpPr/>
          <p:nvPr/>
        </p:nvGrpSpPr>
        <p:grpSpPr>
          <a:xfrm>
            <a:off x="5509731" y="5486624"/>
            <a:ext cx="1099752" cy="949886"/>
            <a:chOff x="6451669" y="4520762"/>
            <a:chExt cx="458152" cy="485833"/>
          </a:xfrm>
          <a:solidFill>
            <a:schemeClr val="tx1"/>
          </a:solidFill>
        </p:grpSpPr>
        <p:sp>
          <p:nvSpPr>
            <p:cNvPr id="121" name="Полилиния: фигура 176">
              <a:extLst>
                <a:ext uri="{FF2B5EF4-FFF2-40B4-BE49-F238E27FC236}">
                  <a16:creationId xmlns:a16="http://schemas.microsoft.com/office/drawing/2014/main" id="{2C2225AD-C97A-4255-8B38-90B537F23071}"/>
                </a:ext>
              </a:extLst>
            </p:cNvPr>
            <p:cNvSpPr/>
            <p:nvPr/>
          </p:nvSpPr>
          <p:spPr>
            <a:xfrm>
              <a:off x="6451669" y="4520762"/>
              <a:ext cx="458152" cy="485833"/>
            </a:xfrm>
            <a:custGeom>
              <a:avLst/>
              <a:gdLst>
                <a:gd name="connsiteX0" fmla="*/ 449114 w 458152"/>
                <a:gd name="connsiteY0" fmla="*/ 0 h 485833"/>
                <a:gd name="connsiteX1" fmla="*/ 440640 w 458152"/>
                <a:gd name="connsiteY1" fmla="*/ 8474 h 485833"/>
                <a:gd name="connsiteX2" fmla="*/ 440640 w 458152"/>
                <a:gd name="connsiteY2" fmla="*/ 168912 h 485833"/>
                <a:gd name="connsiteX3" fmla="*/ 389797 w 458152"/>
                <a:gd name="connsiteY3" fmla="*/ 168912 h 485833"/>
                <a:gd name="connsiteX4" fmla="*/ 389797 w 458152"/>
                <a:gd name="connsiteY4" fmla="*/ 85303 h 485833"/>
                <a:gd name="connsiteX5" fmla="*/ 381323 w 458152"/>
                <a:gd name="connsiteY5" fmla="*/ 76830 h 485833"/>
                <a:gd name="connsiteX6" fmla="*/ 237268 w 458152"/>
                <a:gd name="connsiteY6" fmla="*/ 76830 h 485833"/>
                <a:gd name="connsiteX7" fmla="*/ 237268 w 458152"/>
                <a:gd name="connsiteY7" fmla="*/ 35590 h 485833"/>
                <a:gd name="connsiteX8" fmla="*/ 228794 w 458152"/>
                <a:gd name="connsiteY8" fmla="*/ 27116 h 485833"/>
                <a:gd name="connsiteX9" fmla="*/ 176821 w 458152"/>
                <a:gd name="connsiteY9" fmla="*/ 27116 h 485833"/>
                <a:gd name="connsiteX10" fmla="*/ 128238 w 458152"/>
                <a:gd name="connsiteY10" fmla="*/ 27116 h 485833"/>
                <a:gd name="connsiteX11" fmla="*/ 75700 w 458152"/>
                <a:gd name="connsiteY11" fmla="*/ 27116 h 485833"/>
                <a:gd name="connsiteX12" fmla="*/ 67226 w 458152"/>
                <a:gd name="connsiteY12" fmla="*/ 35590 h 485833"/>
                <a:gd name="connsiteX13" fmla="*/ 67226 w 458152"/>
                <a:gd name="connsiteY13" fmla="*/ 168912 h 485833"/>
                <a:gd name="connsiteX14" fmla="*/ 16383 w 458152"/>
                <a:gd name="connsiteY14" fmla="*/ 168912 h 485833"/>
                <a:gd name="connsiteX15" fmla="*/ 16383 w 458152"/>
                <a:gd name="connsiteY15" fmla="*/ 8474 h 485833"/>
                <a:gd name="connsiteX16" fmla="*/ 7909 w 458152"/>
                <a:gd name="connsiteY16" fmla="*/ 0 h 485833"/>
                <a:gd name="connsiteX17" fmla="*/ 0 w 458152"/>
                <a:gd name="connsiteY17" fmla="*/ 8474 h 485833"/>
                <a:gd name="connsiteX18" fmla="*/ 0 w 458152"/>
                <a:gd name="connsiteY18" fmla="*/ 477360 h 485833"/>
                <a:gd name="connsiteX19" fmla="*/ 8474 w 458152"/>
                <a:gd name="connsiteY19" fmla="*/ 485834 h 485833"/>
                <a:gd name="connsiteX20" fmla="*/ 16948 w 458152"/>
                <a:gd name="connsiteY20" fmla="*/ 477360 h 485833"/>
                <a:gd name="connsiteX21" fmla="*/ 16948 w 458152"/>
                <a:gd name="connsiteY21" fmla="*/ 386972 h 485833"/>
                <a:gd name="connsiteX22" fmla="*/ 76265 w 458152"/>
                <a:gd name="connsiteY22" fmla="*/ 386972 h 485833"/>
                <a:gd name="connsiteX23" fmla="*/ 228794 w 458152"/>
                <a:gd name="connsiteY23" fmla="*/ 386972 h 485833"/>
                <a:gd name="connsiteX24" fmla="*/ 381888 w 458152"/>
                <a:gd name="connsiteY24" fmla="*/ 386972 h 485833"/>
                <a:gd name="connsiteX25" fmla="*/ 441205 w 458152"/>
                <a:gd name="connsiteY25" fmla="*/ 386972 h 485833"/>
                <a:gd name="connsiteX26" fmla="*/ 441205 w 458152"/>
                <a:gd name="connsiteY26" fmla="*/ 477360 h 485833"/>
                <a:gd name="connsiteX27" fmla="*/ 449679 w 458152"/>
                <a:gd name="connsiteY27" fmla="*/ 485834 h 485833"/>
                <a:gd name="connsiteX28" fmla="*/ 458153 w 458152"/>
                <a:gd name="connsiteY28" fmla="*/ 477360 h 485833"/>
                <a:gd name="connsiteX29" fmla="*/ 458153 w 458152"/>
                <a:gd name="connsiteY29" fmla="*/ 8474 h 485833"/>
                <a:gd name="connsiteX30" fmla="*/ 449114 w 458152"/>
                <a:gd name="connsiteY30" fmla="*/ 0 h 485833"/>
                <a:gd name="connsiteX31" fmla="*/ 372849 w 458152"/>
                <a:gd name="connsiteY31" fmla="*/ 93777 h 485833"/>
                <a:gd name="connsiteX32" fmla="*/ 372849 w 458152"/>
                <a:gd name="connsiteY32" fmla="*/ 168912 h 485833"/>
                <a:gd name="connsiteX33" fmla="*/ 237268 w 458152"/>
                <a:gd name="connsiteY33" fmla="*/ 168912 h 485833"/>
                <a:gd name="connsiteX34" fmla="*/ 237268 w 458152"/>
                <a:gd name="connsiteY34" fmla="*/ 93777 h 485833"/>
                <a:gd name="connsiteX35" fmla="*/ 372849 w 458152"/>
                <a:gd name="connsiteY35" fmla="*/ 93777 h 485833"/>
                <a:gd name="connsiteX36" fmla="*/ 168347 w 458152"/>
                <a:gd name="connsiteY36" fmla="*/ 44064 h 485833"/>
                <a:gd name="connsiteX37" fmla="*/ 168347 w 458152"/>
                <a:gd name="connsiteY37" fmla="*/ 87563 h 485833"/>
                <a:gd name="connsiteX38" fmla="*/ 136711 w 458152"/>
                <a:gd name="connsiteY38" fmla="*/ 87563 h 485833"/>
                <a:gd name="connsiteX39" fmla="*/ 136711 w 458152"/>
                <a:gd name="connsiteY39" fmla="*/ 44064 h 485833"/>
                <a:gd name="connsiteX40" fmla="*/ 168347 w 458152"/>
                <a:gd name="connsiteY40" fmla="*/ 44064 h 485833"/>
                <a:gd name="connsiteX41" fmla="*/ 84174 w 458152"/>
                <a:gd name="connsiteY41" fmla="*/ 44064 h 485833"/>
                <a:gd name="connsiteX42" fmla="*/ 119764 w 458152"/>
                <a:gd name="connsiteY42" fmla="*/ 44064 h 485833"/>
                <a:gd name="connsiteX43" fmla="*/ 119764 w 458152"/>
                <a:gd name="connsiteY43" fmla="*/ 96037 h 485833"/>
                <a:gd name="connsiteX44" fmla="*/ 128238 w 458152"/>
                <a:gd name="connsiteY44" fmla="*/ 104511 h 485833"/>
                <a:gd name="connsiteX45" fmla="*/ 176821 w 458152"/>
                <a:gd name="connsiteY45" fmla="*/ 104511 h 485833"/>
                <a:gd name="connsiteX46" fmla="*/ 185295 w 458152"/>
                <a:gd name="connsiteY46" fmla="*/ 96037 h 485833"/>
                <a:gd name="connsiteX47" fmla="*/ 185295 w 458152"/>
                <a:gd name="connsiteY47" fmla="*/ 44064 h 485833"/>
                <a:gd name="connsiteX48" fmla="*/ 220885 w 458152"/>
                <a:gd name="connsiteY48" fmla="*/ 44064 h 485833"/>
                <a:gd name="connsiteX49" fmla="*/ 220885 w 458152"/>
                <a:gd name="connsiteY49" fmla="*/ 85303 h 485833"/>
                <a:gd name="connsiteX50" fmla="*/ 220885 w 458152"/>
                <a:gd name="connsiteY50" fmla="*/ 168912 h 485833"/>
                <a:gd name="connsiteX51" fmla="*/ 84174 w 458152"/>
                <a:gd name="connsiteY51" fmla="*/ 168912 h 485833"/>
                <a:gd name="connsiteX52" fmla="*/ 84174 w 458152"/>
                <a:gd name="connsiteY52" fmla="*/ 44064 h 485833"/>
                <a:gd name="connsiteX53" fmla="*/ 219755 w 458152"/>
                <a:gd name="connsiteY53" fmla="*/ 370025 h 485833"/>
                <a:gd name="connsiteX54" fmla="*/ 84174 w 458152"/>
                <a:gd name="connsiteY54" fmla="*/ 370025 h 485833"/>
                <a:gd name="connsiteX55" fmla="*/ 84174 w 458152"/>
                <a:gd name="connsiteY55" fmla="*/ 294890 h 485833"/>
                <a:gd name="connsiteX56" fmla="*/ 219755 w 458152"/>
                <a:gd name="connsiteY56" fmla="*/ 294890 h 485833"/>
                <a:gd name="connsiteX57" fmla="*/ 219755 w 458152"/>
                <a:gd name="connsiteY57" fmla="*/ 370025 h 485833"/>
                <a:gd name="connsiteX58" fmla="*/ 236703 w 458152"/>
                <a:gd name="connsiteY58" fmla="*/ 370025 h 485833"/>
                <a:gd name="connsiteX59" fmla="*/ 236703 w 458152"/>
                <a:gd name="connsiteY59" fmla="*/ 286416 h 485833"/>
                <a:gd name="connsiteX60" fmla="*/ 236703 w 458152"/>
                <a:gd name="connsiteY60" fmla="*/ 245177 h 485833"/>
                <a:gd name="connsiteX61" fmla="*/ 272293 w 458152"/>
                <a:gd name="connsiteY61" fmla="*/ 245177 h 485833"/>
                <a:gd name="connsiteX62" fmla="*/ 272293 w 458152"/>
                <a:gd name="connsiteY62" fmla="*/ 297150 h 485833"/>
                <a:gd name="connsiteX63" fmla="*/ 280767 w 458152"/>
                <a:gd name="connsiteY63" fmla="*/ 305623 h 485833"/>
                <a:gd name="connsiteX64" fmla="*/ 329350 w 458152"/>
                <a:gd name="connsiteY64" fmla="*/ 305623 h 485833"/>
                <a:gd name="connsiteX65" fmla="*/ 337824 w 458152"/>
                <a:gd name="connsiteY65" fmla="*/ 297150 h 485833"/>
                <a:gd name="connsiteX66" fmla="*/ 337824 w 458152"/>
                <a:gd name="connsiteY66" fmla="*/ 245177 h 485833"/>
                <a:gd name="connsiteX67" fmla="*/ 373414 w 458152"/>
                <a:gd name="connsiteY67" fmla="*/ 245177 h 485833"/>
                <a:gd name="connsiteX68" fmla="*/ 373414 w 458152"/>
                <a:gd name="connsiteY68" fmla="*/ 370025 h 485833"/>
                <a:gd name="connsiteX69" fmla="*/ 236703 w 458152"/>
                <a:gd name="connsiteY69" fmla="*/ 370025 h 485833"/>
                <a:gd name="connsiteX70" fmla="*/ 289241 w 458152"/>
                <a:gd name="connsiteY70" fmla="*/ 245177 h 485833"/>
                <a:gd name="connsiteX71" fmla="*/ 320876 w 458152"/>
                <a:gd name="connsiteY71" fmla="*/ 245177 h 485833"/>
                <a:gd name="connsiteX72" fmla="*/ 320876 w 458152"/>
                <a:gd name="connsiteY72" fmla="*/ 288676 h 485833"/>
                <a:gd name="connsiteX73" fmla="*/ 289241 w 458152"/>
                <a:gd name="connsiteY73" fmla="*/ 288676 h 485833"/>
                <a:gd name="connsiteX74" fmla="*/ 289241 w 458152"/>
                <a:gd name="connsiteY74" fmla="*/ 245177 h 485833"/>
                <a:gd name="connsiteX75" fmla="*/ 389797 w 458152"/>
                <a:gd name="connsiteY75" fmla="*/ 370025 h 485833"/>
                <a:gd name="connsiteX76" fmla="*/ 389797 w 458152"/>
                <a:gd name="connsiteY76" fmla="*/ 236703 h 485833"/>
                <a:gd name="connsiteX77" fmla="*/ 381323 w 458152"/>
                <a:gd name="connsiteY77" fmla="*/ 228229 h 485833"/>
                <a:gd name="connsiteX78" fmla="*/ 328785 w 458152"/>
                <a:gd name="connsiteY78" fmla="*/ 228229 h 485833"/>
                <a:gd name="connsiteX79" fmla="*/ 280202 w 458152"/>
                <a:gd name="connsiteY79" fmla="*/ 228229 h 485833"/>
                <a:gd name="connsiteX80" fmla="*/ 227664 w 458152"/>
                <a:gd name="connsiteY80" fmla="*/ 228229 h 485833"/>
                <a:gd name="connsiteX81" fmla="*/ 219190 w 458152"/>
                <a:gd name="connsiteY81" fmla="*/ 236703 h 485833"/>
                <a:gd name="connsiteX82" fmla="*/ 219190 w 458152"/>
                <a:gd name="connsiteY82" fmla="*/ 277942 h 485833"/>
                <a:gd name="connsiteX83" fmla="*/ 75700 w 458152"/>
                <a:gd name="connsiteY83" fmla="*/ 277942 h 485833"/>
                <a:gd name="connsiteX84" fmla="*/ 67226 w 458152"/>
                <a:gd name="connsiteY84" fmla="*/ 286416 h 485833"/>
                <a:gd name="connsiteX85" fmla="*/ 67226 w 458152"/>
                <a:gd name="connsiteY85" fmla="*/ 370025 h 485833"/>
                <a:gd name="connsiteX86" fmla="*/ 16383 w 458152"/>
                <a:gd name="connsiteY86" fmla="*/ 370025 h 485833"/>
                <a:gd name="connsiteX87" fmla="*/ 16383 w 458152"/>
                <a:gd name="connsiteY87" fmla="*/ 185860 h 485833"/>
                <a:gd name="connsiteX88" fmla="*/ 75700 w 458152"/>
                <a:gd name="connsiteY88" fmla="*/ 185860 h 485833"/>
                <a:gd name="connsiteX89" fmla="*/ 228794 w 458152"/>
                <a:gd name="connsiteY89" fmla="*/ 185860 h 485833"/>
                <a:gd name="connsiteX90" fmla="*/ 381323 w 458152"/>
                <a:gd name="connsiteY90" fmla="*/ 185860 h 485833"/>
                <a:gd name="connsiteX91" fmla="*/ 440640 w 458152"/>
                <a:gd name="connsiteY91" fmla="*/ 185860 h 485833"/>
                <a:gd name="connsiteX92" fmla="*/ 440640 w 458152"/>
                <a:gd name="connsiteY92" fmla="*/ 370025 h 485833"/>
                <a:gd name="connsiteX93" fmla="*/ 389797 w 458152"/>
                <a:gd name="connsiteY93" fmla="*/ 370025 h 48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58152" h="485833">
                  <a:moveTo>
                    <a:pt x="449114" y="0"/>
                  </a:moveTo>
                  <a:cubicBezTo>
                    <a:pt x="444594" y="0"/>
                    <a:pt x="440640" y="3954"/>
                    <a:pt x="440640" y="8474"/>
                  </a:cubicBezTo>
                  <a:lnTo>
                    <a:pt x="440640" y="168912"/>
                  </a:lnTo>
                  <a:lnTo>
                    <a:pt x="389797" y="168912"/>
                  </a:lnTo>
                  <a:lnTo>
                    <a:pt x="389797" y="85303"/>
                  </a:lnTo>
                  <a:cubicBezTo>
                    <a:pt x="389797" y="80784"/>
                    <a:pt x="385842" y="76830"/>
                    <a:pt x="381323" y="76830"/>
                  </a:cubicBezTo>
                  <a:lnTo>
                    <a:pt x="237268" y="76830"/>
                  </a:lnTo>
                  <a:lnTo>
                    <a:pt x="237268" y="35590"/>
                  </a:lnTo>
                  <a:cubicBezTo>
                    <a:pt x="237268" y="31071"/>
                    <a:pt x="233313" y="27116"/>
                    <a:pt x="228794" y="27116"/>
                  </a:cubicBezTo>
                  <a:lnTo>
                    <a:pt x="176821" y="27116"/>
                  </a:lnTo>
                  <a:lnTo>
                    <a:pt x="128238" y="27116"/>
                  </a:lnTo>
                  <a:lnTo>
                    <a:pt x="75700" y="27116"/>
                  </a:lnTo>
                  <a:cubicBezTo>
                    <a:pt x="71180" y="27116"/>
                    <a:pt x="67226" y="31071"/>
                    <a:pt x="67226" y="35590"/>
                  </a:cubicBezTo>
                  <a:lnTo>
                    <a:pt x="67226" y="168912"/>
                  </a:lnTo>
                  <a:lnTo>
                    <a:pt x="16383" y="168912"/>
                  </a:lnTo>
                  <a:lnTo>
                    <a:pt x="16383" y="8474"/>
                  </a:lnTo>
                  <a:cubicBezTo>
                    <a:pt x="16383" y="3954"/>
                    <a:pt x="12428" y="0"/>
                    <a:pt x="7909" y="0"/>
                  </a:cubicBezTo>
                  <a:cubicBezTo>
                    <a:pt x="3390" y="0"/>
                    <a:pt x="0" y="3390"/>
                    <a:pt x="0" y="8474"/>
                  </a:cubicBezTo>
                  <a:lnTo>
                    <a:pt x="0" y="477360"/>
                  </a:lnTo>
                  <a:cubicBezTo>
                    <a:pt x="0" y="481879"/>
                    <a:pt x="3954" y="485834"/>
                    <a:pt x="8474" y="485834"/>
                  </a:cubicBezTo>
                  <a:cubicBezTo>
                    <a:pt x="12993" y="485834"/>
                    <a:pt x="16948" y="481879"/>
                    <a:pt x="16948" y="477360"/>
                  </a:cubicBezTo>
                  <a:lnTo>
                    <a:pt x="16948" y="386972"/>
                  </a:lnTo>
                  <a:lnTo>
                    <a:pt x="76265" y="386972"/>
                  </a:lnTo>
                  <a:lnTo>
                    <a:pt x="228794" y="386972"/>
                  </a:lnTo>
                  <a:lnTo>
                    <a:pt x="381888" y="386972"/>
                  </a:lnTo>
                  <a:lnTo>
                    <a:pt x="441205" y="386972"/>
                  </a:lnTo>
                  <a:lnTo>
                    <a:pt x="441205" y="477360"/>
                  </a:lnTo>
                  <a:cubicBezTo>
                    <a:pt x="441205" y="481879"/>
                    <a:pt x="445159" y="485834"/>
                    <a:pt x="449679" y="485834"/>
                  </a:cubicBezTo>
                  <a:cubicBezTo>
                    <a:pt x="454198" y="485834"/>
                    <a:pt x="458153" y="481879"/>
                    <a:pt x="458153" y="477360"/>
                  </a:cubicBezTo>
                  <a:lnTo>
                    <a:pt x="458153" y="8474"/>
                  </a:lnTo>
                  <a:cubicBezTo>
                    <a:pt x="457588" y="3390"/>
                    <a:pt x="453633" y="0"/>
                    <a:pt x="449114" y="0"/>
                  </a:cubicBezTo>
                  <a:close/>
                  <a:moveTo>
                    <a:pt x="372849" y="93777"/>
                  </a:moveTo>
                  <a:lnTo>
                    <a:pt x="372849" y="168912"/>
                  </a:lnTo>
                  <a:lnTo>
                    <a:pt x="237268" y="168912"/>
                  </a:lnTo>
                  <a:lnTo>
                    <a:pt x="237268" y="93777"/>
                  </a:lnTo>
                  <a:lnTo>
                    <a:pt x="372849" y="93777"/>
                  </a:lnTo>
                  <a:close/>
                  <a:moveTo>
                    <a:pt x="168347" y="44064"/>
                  </a:moveTo>
                  <a:lnTo>
                    <a:pt x="168347" y="87563"/>
                  </a:lnTo>
                  <a:lnTo>
                    <a:pt x="136711" y="87563"/>
                  </a:lnTo>
                  <a:lnTo>
                    <a:pt x="136711" y="44064"/>
                  </a:lnTo>
                  <a:lnTo>
                    <a:pt x="168347" y="44064"/>
                  </a:lnTo>
                  <a:close/>
                  <a:moveTo>
                    <a:pt x="84174" y="44064"/>
                  </a:moveTo>
                  <a:lnTo>
                    <a:pt x="119764" y="44064"/>
                  </a:lnTo>
                  <a:lnTo>
                    <a:pt x="119764" y="96037"/>
                  </a:lnTo>
                  <a:cubicBezTo>
                    <a:pt x="119764" y="100556"/>
                    <a:pt x="123718" y="104511"/>
                    <a:pt x="128238" y="104511"/>
                  </a:cubicBezTo>
                  <a:lnTo>
                    <a:pt x="176821" y="104511"/>
                  </a:lnTo>
                  <a:cubicBezTo>
                    <a:pt x="181340" y="104511"/>
                    <a:pt x="185295" y="100556"/>
                    <a:pt x="185295" y="96037"/>
                  </a:cubicBezTo>
                  <a:lnTo>
                    <a:pt x="185295" y="44064"/>
                  </a:lnTo>
                  <a:lnTo>
                    <a:pt x="220885" y="44064"/>
                  </a:lnTo>
                  <a:lnTo>
                    <a:pt x="220885" y="85303"/>
                  </a:lnTo>
                  <a:lnTo>
                    <a:pt x="220885" y="168912"/>
                  </a:lnTo>
                  <a:lnTo>
                    <a:pt x="84174" y="168912"/>
                  </a:lnTo>
                  <a:lnTo>
                    <a:pt x="84174" y="44064"/>
                  </a:lnTo>
                  <a:close/>
                  <a:moveTo>
                    <a:pt x="219755" y="370025"/>
                  </a:moveTo>
                  <a:lnTo>
                    <a:pt x="84174" y="370025"/>
                  </a:lnTo>
                  <a:lnTo>
                    <a:pt x="84174" y="294890"/>
                  </a:lnTo>
                  <a:lnTo>
                    <a:pt x="219755" y="294890"/>
                  </a:lnTo>
                  <a:lnTo>
                    <a:pt x="219755" y="370025"/>
                  </a:lnTo>
                  <a:close/>
                  <a:moveTo>
                    <a:pt x="236703" y="370025"/>
                  </a:moveTo>
                  <a:lnTo>
                    <a:pt x="236703" y="286416"/>
                  </a:lnTo>
                  <a:lnTo>
                    <a:pt x="236703" y="245177"/>
                  </a:lnTo>
                  <a:lnTo>
                    <a:pt x="272293" y="245177"/>
                  </a:lnTo>
                  <a:lnTo>
                    <a:pt x="272293" y="297150"/>
                  </a:lnTo>
                  <a:cubicBezTo>
                    <a:pt x="272293" y="301669"/>
                    <a:pt x="276247" y="305623"/>
                    <a:pt x="280767" y="305623"/>
                  </a:cubicBezTo>
                  <a:lnTo>
                    <a:pt x="329350" y="305623"/>
                  </a:lnTo>
                  <a:cubicBezTo>
                    <a:pt x="333870" y="305623"/>
                    <a:pt x="337824" y="301669"/>
                    <a:pt x="337824" y="297150"/>
                  </a:cubicBezTo>
                  <a:lnTo>
                    <a:pt x="337824" y="245177"/>
                  </a:lnTo>
                  <a:lnTo>
                    <a:pt x="373414" y="245177"/>
                  </a:lnTo>
                  <a:lnTo>
                    <a:pt x="373414" y="370025"/>
                  </a:lnTo>
                  <a:lnTo>
                    <a:pt x="236703" y="370025"/>
                  </a:lnTo>
                  <a:close/>
                  <a:moveTo>
                    <a:pt x="289241" y="245177"/>
                  </a:moveTo>
                  <a:lnTo>
                    <a:pt x="320876" y="245177"/>
                  </a:lnTo>
                  <a:lnTo>
                    <a:pt x="320876" y="288676"/>
                  </a:lnTo>
                  <a:lnTo>
                    <a:pt x="289241" y="288676"/>
                  </a:lnTo>
                  <a:lnTo>
                    <a:pt x="289241" y="245177"/>
                  </a:lnTo>
                  <a:close/>
                  <a:moveTo>
                    <a:pt x="389797" y="370025"/>
                  </a:moveTo>
                  <a:lnTo>
                    <a:pt x="389797" y="236703"/>
                  </a:lnTo>
                  <a:cubicBezTo>
                    <a:pt x="389797" y="232183"/>
                    <a:pt x="385842" y="228229"/>
                    <a:pt x="381323" y="228229"/>
                  </a:cubicBezTo>
                  <a:lnTo>
                    <a:pt x="328785" y="228229"/>
                  </a:lnTo>
                  <a:lnTo>
                    <a:pt x="280202" y="228229"/>
                  </a:lnTo>
                  <a:lnTo>
                    <a:pt x="227664" y="228229"/>
                  </a:lnTo>
                  <a:cubicBezTo>
                    <a:pt x="223145" y="228229"/>
                    <a:pt x="219190" y="232183"/>
                    <a:pt x="219190" y="236703"/>
                  </a:cubicBezTo>
                  <a:lnTo>
                    <a:pt x="219190" y="277942"/>
                  </a:lnTo>
                  <a:lnTo>
                    <a:pt x="75700" y="277942"/>
                  </a:lnTo>
                  <a:cubicBezTo>
                    <a:pt x="71180" y="277942"/>
                    <a:pt x="67226" y="281897"/>
                    <a:pt x="67226" y="286416"/>
                  </a:cubicBezTo>
                  <a:lnTo>
                    <a:pt x="67226" y="370025"/>
                  </a:lnTo>
                  <a:lnTo>
                    <a:pt x="16383" y="370025"/>
                  </a:lnTo>
                  <a:lnTo>
                    <a:pt x="16383" y="185860"/>
                  </a:lnTo>
                  <a:lnTo>
                    <a:pt x="75700" y="185860"/>
                  </a:lnTo>
                  <a:lnTo>
                    <a:pt x="228794" y="185860"/>
                  </a:lnTo>
                  <a:lnTo>
                    <a:pt x="381323" y="185860"/>
                  </a:lnTo>
                  <a:lnTo>
                    <a:pt x="440640" y="185860"/>
                  </a:lnTo>
                  <a:lnTo>
                    <a:pt x="440640" y="370025"/>
                  </a:lnTo>
                  <a:lnTo>
                    <a:pt x="389797" y="370025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Полилиния: фигура 177">
              <a:extLst>
                <a:ext uri="{FF2B5EF4-FFF2-40B4-BE49-F238E27FC236}">
                  <a16:creationId xmlns:a16="http://schemas.microsoft.com/office/drawing/2014/main" id="{931FDA6C-82E7-44DA-9B9E-7F5832539C54}"/>
                </a:ext>
              </a:extLst>
            </p:cNvPr>
            <p:cNvSpPr/>
            <p:nvPr/>
          </p:nvSpPr>
          <p:spPr>
            <a:xfrm>
              <a:off x="6730807" y="4625910"/>
              <a:ext cx="81913" cy="16947"/>
            </a:xfrm>
            <a:custGeom>
              <a:avLst/>
              <a:gdLst>
                <a:gd name="connsiteX0" fmla="*/ 8474 w 81913"/>
                <a:gd name="connsiteY0" fmla="*/ 16948 h 16947"/>
                <a:gd name="connsiteX1" fmla="*/ 73440 w 81913"/>
                <a:gd name="connsiteY1" fmla="*/ 16948 h 16947"/>
                <a:gd name="connsiteX2" fmla="*/ 81914 w 81913"/>
                <a:gd name="connsiteY2" fmla="*/ 8474 h 16947"/>
                <a:gd name="connsiteX3" fmla="*/ 73440 w 81913"/>
                <a:gd name="connsiteY3" fmla="*/ 0 h 16947"/>
                <a:gd name="connsiteX4" fmla="*/ 8474 w 81913"/>
                <a:gd name="connsiteY4" fmla="*/ 0 h 16947"/>
                <a:gd name="connsiteX5" fmla="*/ 0 w 81913"/>
                <a:gd name="connsiteY5" fmla="*/ 8474 h 16947"/>
                <a:gd name="connsiteX6" fmla="*/ 8474 w 81913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913" h="16947">
                  <a:moveTo>
                    <a:pt x="8474" y="16948"/>
                  </a:moveTo>
                  <a:lnTo>
                    <a:pt x="73440" y="16948"/>
                  </a:lnTo>
                  <a:cubicBezTo>
                    <a:pt x="77959" y="16948"/>
                    <a:pt x="81914" y="12993"/>
                    <a:pt x="81914" y="8474"/>
                  </a:cubicBezTo>
                  <a:cubicBezTo>
                    <a:pt x="81914" y="3954"/>
                    <a:pt x="77959" y="0"/>
                    <a:pt x="73440" y="0"/>
                  </a:cubicBezTo>
                  <a:lnTo>
                    <a:pt x="8474" y="0"/>
                  </a:lnTo>
                  <a:cubicBezTo>
                    <a:pt x="3954" y="0"/>
                    <a:pt x="0" y="3954"/>
                    <a:pt x="0" y="8474"/>
                  </a:cubicBezTo>
                  <a:cubicBezTo>
                    <a:pt x="0" y="12993"/>
                    <a:pt x="3954" y="16948"/>
                    <a:pt x="847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Полилиния: фигура 178">
              <a:extLst>
                <a:ext uri="{FF2B5EF4-FFF2-40B4-BE49-F238E27FC236}">
                  <a16:creationId xmlns:a16="http://schemas.microsoft.com/office/drawing/2014/main" id="{DA2B58CC-53DB-438B-9EAD-719F0383702C}"/>
                </a:ext>
              </a:extLst>
            </p:cNvPr>
            <p:cNvSpPr/>
            <p:nvPr/>
          </p:nvSpPr>
          <p:spPr>
            <a:xfrm>
              <a:off x="6578278" y="4827588"/>
              <a:ext cx="81913" cy="16947"/>
            </a:xfrm>
            <a:custGeom>
              <a:avLst/>
              <a:gdLst>
                <a:gd name="connsiteX0" fmla="*/ 8474 w 81913"/>
                <a:gd name="connsiteY0" fmla="*/ 16948 h 16947"/>
                <a:gd name="connsiteX1" fmla="*/ 73440 w 81913"/>
                <a:gd name="connsiteY1" fmla="*/ 16948 h 16947"/>
                <a:gd name="connsiteX2" fmla="*/ 81914 w 81913"/>
                <a:gd name="connsiteY2" fmla="*/ 8474 h 16947"/>
                <a:gd name="connsiteX3" fmla="*/ 73440 w 81913"/>
                <a:gd name="connsiteY3" fmla="*/ 0 h 16947"/>
                <a:gd name="connsiteX4" fmla="*/ 8474 w 81913"/>
                <a:gd name="connsiteY4" fmla="*/ 0 h 16947"/>
                <a:gd name="connsiteX5" fmla="*/ 0 w 81913"/>
                <a:gd name="connsiteY5" fmla="*/ 8474 h 16947"/>
                <a:gd name="connsiteX6" fmla="*/ 8474 w 81913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913" h="16947">
                  <a:moveTo>
                    <a:pt x="8474" y="16948"/>
                  </a:moveTo>
                  <a:lnTo>
                    <a:pt x="73440" y="16948"/>
                  </a:lnTo>
                  <a:cubicBezTo>
                    <a:pt x="77959" y="16948"/>
                    <a:pt x="81914" y="12993"/>
                    <a:pt x="81914" y="8474"/>
                  </a:cubicBezTo>
                  <a:cubicBezTo>
                    <a:pt x="81914" y="3954"/>
                    <a:pt x="77959" y="0"/>
                    <a:pt x="73440" y="0"/>
                  </a:cubicBezTo>
                  <a:lnTo>
                    <a:pt x="8474" y="0"/>
                  </a:lnTo>
                  <a:cubicBezTo>
                    <a:pt x="3954" y="0"/>
                    <a:pt x="0" y="3954"/>
                    <a:pt x="0" y="8474"/>
                  </a:cubicBezTo>
                  <a:cubicBezTo>
                    <a:pt x="0" y="12993"/>
                    <a:pt x="3390" y="16948"/>
                    <a:pt x="847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2" name="Группа 131">
            <a:extLst>
              <a:ext uri="{FF2B5EF4-FFF2-40B4-BE49-F238E27FC236}">
                <a16:creationId xmlns:a16="http://schemas.microsoft.com/office/drawing/2014/main" id="{EA11096D-D3C6-4919-B244-35638B96B7B6}"/>
              </a:ext>
            </a:extLst>
          </p:cNvPr>
          <p:cNvGrpSpPr/>
          <p:nvPr/>
        </p:nvGrpSpPr>
        <p:grpSpPr>
          <a:xfrm>
            <a:off x="9776102" y="5554912"/>
            <a:ext cx="769039" cy="881598"/>
            <a:chOff x="8780435" y="2337615"/>
            <a:chExt cx="481526" cy="472841"/>
          </a:xfrm>
          <a:solidFill>
            <a:schemeClr val="tx1"/>
          </a:solidFill>
        </p:grpSpPr>
        <p:sp>
          <p:nvSpPr>
            <p:cNvPr id="133" name="Полилиния: фигура 96">
              <a:extLst>
                <a:ext uri="{FF2B5EF4-FFF2-40B4-BE49-F238E27FC236}">
                  <a16:creationId xmlns:a16="http://schemas.microsoft.com/office/drawing/2014/main" id="{9744EF10-497B-4027-8368-E8CBE61013F5}"/>
                </a:ext>
              </a:extLst>
            </p:cNvPr>
            <p:cNvSpPr/>
            <p:nvPr/>
          </p:nvSpPr>
          <p:spPr>
            <a:xfrm>
              <a:off x="8997366" y="2664706"/>
              <a:ext cx="264595" cy="145750"/>
            </a:xfrm>
            <a:custGeom>
              <a:avLst/>
              <a:gdLst>
                <a:gd name="connsiteX0" fmla="*/ 221450 w 264595"/>
                <a:gd name="connsiteY0" fmla="*/ 145750 h 145750"/>
                <a:gd name="connsiteX1" fmla="*/ 42369 w 264595"/>
                <a:gd name="connsiteY1" fmla="*/ 145750 h 145750"/>
                <a:gd name="connsiteX2" fmla="*/ 34460 w 264595"/>
                <a:gd name="connsiteY2" fmla="*/ 139536 h 145750"/>
                <a:gd name="connsiteX3" fmla="*/ 0 w 264595"/>
                <a:gd name="connsiteY3" fmla="*/ 11298 h 145750"/>
                <a:gd name="connsiteX4" fmla="*/ 0 w 264595"/>
                <a:gd name="connsiteY4" fmla="*/ 9039 h 145750"/>
                <a:gd name="connsiteX5" fmla="*/ 0 w 264595"/>
                <a:gd name="connsiteY5" fmla="*/ 8474 h 145750"/>
                <a:gd name="connsiteX6" fmla="*/ 8474 w 264595"/>
                <a:gd name="connsiteY6" fmla="*/ 0 h 145750"/>
                <a:gd name="connsiteX7" fmla="*/ 255910 w 264595"/>
                <a:gd name="connsiteY7" fmla="*/ 0 h 145750"/>
                <a:gd name="connsiteX8" fmla="*/ 262689 w 264595"/>
                <a:gd name="connsiteY8" fmla="*/ 3390 h 145750"/>
                <a:gd name="connsiteX9" fmla="*/ 264384 w 264595"/>
                <a:gd name="connsiteY9" fmla="*/ 10734 h 145750"/>
                <a:gd name="connsiteX10" fmla="*/ 229924 w 264595"/>
                <a:gd name="connsiteY10" fmla="*/ 139536 h 145750"/>
                <a:gd name="connsiteX11" fmla="*/ 221450 w 264595"/>
                <a:gd name="connsiteY11" fmla="*/ 145750 h 145750"/>
                <a:gd name="connsiteX12" fmla="*/ 49148 w 264595"/>
                <a:gd name="connsiteY12" fmla="*/ 128802 h 145750"/>
                <a:gd name="connsiteX13" fmla="*/ 215236 w 264595"/>
                <a:gd name="connsiteY13" fmla="*/ 128802 h 145750"/>
                <a:gd name="connsiteX14" fmla="*/ 245177 w 264595"/>
                <a:gd name="connsiteY14" fmla="*/ 16948 h 145750"/>
                <a:gd name="connsiteX15" fmla="*/ 19207 w 264595"/>
                <a:gd name="connsiteY15" fmla="*/ 16948 h 145750"/>
                <a:gd name="connsiteX16" fmla="*/ 49148 w 264595"/>
                <a:gd name="connsiteY16" fmla="*/ 128802 h 14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4595" h="145750">
                  <a:moveTo>
                    <a:pt x="221450" y="145750"/>
                  </a:moveTo>
                  <a:lnTo>
                    <a:pt x="42369" y="145750"/>
                  </a:lnTo>
                  <a:cubicBezTo>
                    <a:pt x="38415" y="145750"/>
                    <a:pt x="35025" y="142926"/>
                    <a:pt x="34460" y="139536"/>
                  </a:cubicBezTo>
                  <a:cubicBezTo>
                    <a:pt x="23727" y="98862"/>
                    <a:pt x="2260" y="19772"/>
                    <a:pt x="0" y="11298"/>
                  </a:cubicBezTo>
                  <a:cubicBezTo>
                    <a:pt x="0" y="10734"/>
                    <a:pt x="0" y="10169"/>
                    <a:pt x="0" y="9039"/>
                  </a:cubicBezTo>
                  <a:lnTo>
                    <a:pt x="0" y="8474"/>
                  </a:lnTo>
                  <a:cubicBezTo>
                    <a:pt x="0" y="3954"/>
                    <a:pt x="3954" y="0"/>
                    <a:pt x="8474" y="0"/>
                  </a:cubicBezTo>
                  <a:lnTo>
                    <a:pt x="255910" y="0"/>
                  </a:lnTo>
                  <a:cubicBezTo>
                    <a:pt x="258735" y="0"/>
                    <a:pt x="260994" y="1130"/>
                    <a:pt x="262689" y="3390"/>
                  </a:cubicBezTo>
                  <a:cubicBezTo>
                    <a:pt x="264384" y="5649"/>
                    <a:pt x="264949" y="7909"/>
                    <a:pt x="264384" y="10734"/>
                  </a:cubicBezTo>
                  <a:cubicBezTo>
                    <a:pt x="264384" y="11863"/>
                    <a:pt x="241787" y="97732"/>
                    <a:pt x="229924" y="139536"/>
                  </a:cubicBezTo>
                  <a:cubicBezTo>
                    <a:pt x="228794" y="143490"/>
                    <a:pt x="225404" y="145750"/>
                    <a:pt x="221450" y="145750"/>
                  </a:cubicBezTo>
                  <a:close/>
                  <a:moveTo>
                    <a:pt x="49148" y="128802"/>
                  </a:moveTo>
                  <a:lnTo>
                    <a:pt x="215236" y="128802"/>
                  </a:lnTo>
                  <a:cubicBezTo>
                    <a:pt x="224274" y="94907"/>
                    <a:pt x="238962" y="40110"/>
                    <a:pt x="245177" y="16948"/>
                  </a:cubicBezTo>
                  <a:lnTo>
                    <a:pt x="19207" y="16948"/>
                  </a:lnTo>
                  <a:cubicBezTo>
                    <a:pt x="25422" y="40110"/>
                    <a:pt x="39545" y="94907"/>
                    <a:pt x="49148" y="128802"/>
                  </a:cubicBezTo>
                  <a:close/>
                </a:path>
              </a:pathLst>
            </a:custGeom>
            <a:grpFill/>
            <a:ln w="56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grpSp>
          <p:nvGrpSpPr>
            <p:cNvPr id="134" name="Рисунок 31">
              <a:extLst>
                <a:ext uri="{FF2B5EF4-FFF2-40B4-BE49-F238E27FC236}">
                  <a16:creationId xmlns:a16="http://schemas.microsoft.com/office/drawing/2014/main" id="{DA3DB205-C6A1-4E72-9242-B888B7DA9318}"/>
                </a:ext>
              </a:extLst>
            </p:cNvPr>
            <p:cNvGrpSpPr/>
            <p:nvPr/>
          </p:nvGrpSpPr>
          <p:grpSpPr>
            <a:xfrm>
              <a:off x="9042480" y="2586102"/>
              <a:ext cx="174080" cy="131141"/>
              <a:chOff x="9042480" y="2586102"/>
              <a:chExt cx="174080" cy="131141"/>
            </a:xfrm>
            <a:grpFill/>
          </p:grpSpPr>
          <p:sp>
            <p:nvSpPr>
              <p:cNvPr id="145" name="Полилиния: фигура 98">
                <a:extLst>
                  <a:ext uri="{FF2B5EF4-FFF2-40B4-BE49-F238E27FC236}">
                    <a16:creationId xmlns:a16="http://schemas.microsoft.com/office/drawing/2014/main" id="{B5A77361-E523-4C86-9A12-3C211D01BAAC}"/>
                  </a:ext>
                </a:extLst>
              </p:cNvPr>
              <p:cNvSpPr/>
              <p:nvPr/>
            </p:nvSpPr>
            <p:spPr>
              <a:xfrm>
                <a:off x="9042480" y="2586102"/>
                <a:ext cx="63995" cy="131141"/>
              </a:xfrm>
              <a:custGeom>
                <a:avLst/>
                <a:gdLst>
                  <a:gd name="connsiteX0" fmla="*/ 8554 w 63995"/>
                  <a:gd name="connsiteY0" fmla="*/ 131142 h 131141"/>
                  <a:gd name="connsiteX1" fmla="*/ 5164 w 63995"/>
                  <a:gd name="connsiteY1" fmla="*/ 130577 h 131141"/>
                  <a:gd name="connsiteX2" fmla="*/ 645 w 63995"/>
                  <a:gd name="connsiteY2" fmla="*/ 119278 h 131141"/>
                  <a:gd name="connsiteX3" fmla="*/ 47533 w 63995"/>
                  <a:gd name="connsiteY3" fmla="*/ 5164 h 131141"/>
                  <a:gd name="connsiteX4" fmla="*/ 58832 w 63995"/>
                  <a:gd name="connsiteY4" fmla="*/ 645 h 131141"/>
                  <a:gd name="connsiteX5" fmla="*/ 63351 w 63995"/>
                  <a:gd name="connsiteY5" fmla="*/ 11943 h 131141"/>
                  <a:gd name="connsiteX6" fmla="*/ 16463 w 63995"/>
                  <a:gd name="connsiteY6" fmla="*/ 126058 h 131141"/>
                  <a:gd name="connsiteX7" fmla="*/ 8554 w 63995"/>
                  <a:gd name="connsiteY7" fmla="*/ 131142 h 131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3995" h="131141">
                    <a:moveTo>
                      <a:pt x="8554" y="131142"/>
                    </a:moveTo>
                    <a:cubicBezTo>
                      <a:pt x="7424" y="131142"/>
                      <a:pt x="6294" y="131142"/>
                      <a:pt x="5164" y="130577"/>
                    </a:cubicBezTo>
                    <a:cubicBezTo>
                      <a:pt x="645" y="128882"/>
                      <a:pt x="-1050" y="123798"/>
                      <a:pt x="645" y="119278"/>
                    </a:cubicBezTo>
                    <a:lnTo>
                      <a:pt x="47533" y="5164"/>
                    </a:lnTo>
                    <a:cubicBezTo>
                      <a:pt x="49228" y="645"/>
                      <a:pt x="54312" y="-1050"/>
                      <a:pt x="58832" y="645"/>
                    </a:cubicBezTo>
                    <a:cubicBezTo>
                      <a:pt x="63351" y="2339"/>
                      <a:pt x="65046" y="7424"/>
                      <a:pt x="63351" y="11943"/>
                    </a:cubicBezTo>
                    <a:lnTo>
                      <a:pt x="16463" y="126058"/>
                    </a:lnTo>
                    <a:cubicBezTo>
                      <a:pt x="14768" y="129447"/>
                      <a:pt x="11378" y="131142"/>
                      <a:pt x="8554" y="131142"/>
                    </a:cubicBezTo>
                    <a:close/>
                  </a:path>
                </a:pathLst>
              </a:custGeom>
              <a:grpFill/>
              <a:ln w="5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Полилиния: фигура 99">
                <a:extLst>
                  <a:ext uri="{FF2B5EF4-FFF2-40B4-BE49-F238E27FC236}">
                    <a16:creationId xmlns:a16="http://schemas.microsoft.com/office/drawing/2014/main" id="{372C988F-CB20-4B6B-9C9D-3E3B131CD9C5}"/>
                  </a:ext>
                </a:extLst>
              </p:cNvPr>
              <p:cNvSpPr/>
              <p:nvPr/>
            </p:nvSpPr>
            <p:spPr>
              <a:xfrm>
                <a:off x="9152715" y="2586177"/>
                <a:ext cx="63845" cy="131066"/>
              </a:xfrm>
              <a:custGeom>
                <a:avLst/>
                <a:gdLst>
                  <a:gd name="connsiteX0" fmla="*/ 55367 w 63845"/>
                  <a:gd name="connsiteY0" fmla="*/ 131067 h 131066"/>
                  <a:gd name="connsiteX1" fmla="*/ 47458 w 63845"/>
                  <a:gd name="connsiteY1" fmla="*/ 125982 h 131066"/>
                  <a:gd name="connsiteX2" fmla="*/ 569 w 63845"/>
                  <a:gd name="connsiteY2" fmla="*/ 11868 h 131066"/>
                  <a:gd name="connsiteX3" fmla="*/ 5089 w 63845"/>
                  <a:gd name="connsiteY3" fmla="*/ 569 h 131066"/>
                  <a:gd name="connsiteX4" fmla="*/ 16387 w 63845"/>
                  <a:gd name="connsiteY4" fmla="*/ 5089 h 131066"/>
                  <a:gd name="connsiteX5" fmla="*/ 63276 w 63845"/>
                  <a:gd name="connsiteY5" fmla="*/ 119203 h 131066"/>
                  <a:gd name="connsiteX6" fmla="*/ 58756 w 63845"/>
                  <a:gd name="connsiteY6" fmla="*/ 130502 h 131066"/>
                  <a:gd name="connsiteX7" fmla="*/ 55367 w 63845"/>
                  <a:gd name="connsiteY7" fmla="*/ 131067 h 13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3845" h="131066">
                    <a:moveTo>
                      <a:pt x="55367" y="131067"/>
                    </a:moveTo>
                    <a:cubicBezTo>
                      <a:pt x="51977" y="131067"/>
                      <a:pt x="48588" y="128807"/>
                      <a:pt x="47458" y="125982"/>
                    </a:cubicBezTo>
                    <a:lnTo>
                      <a:pt x="569" y="11868"/>
                    </a:lnTo>
                    <a:cubicBezTo>
                      <a:pt x="-1125" y="7348"/>
                      <a:pt x="1134" y="2829"/>
                      <a:pt x="5089" y="569"/>
                    </a:cubicBezTo>
                    <a:cubicBezTo>
                      <a:pt x="9608" y="-1125"/>
                      <a:pt x="14127" y="1134"/>
                      <a:pt x="16387" y="5089"/>
                    </a:cubicBezTo>
                    <a:lnTo>
                      <a:pt x="63276" y="119203"/>
                    </a:lnTo>
                    <a:cubicBezTo>
                      <a:pt x="64971" y="123723"/>
                      <a:pt x="62711" y="128242"/>
                      <a:pt x="58756" y="130502"/>
                    </a:cubicBezTo>
                    <a:cubicBezTo>
                      <a:pt x="57627" y="131067"/>
                      <a:pt x="56497" y="131067"/>
                      <a:pt x="55367" y="131067"/>
                    </a:cubicBezTo>
                    <a:close/>
                  </a:path>
                </a:pathLst>
              </a:custGeom>
              <a:grpFill/>
              <a:ln w="5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5" name="Полилиния: фигура 100">
              <a:extLst>
                <a:ext uri="{FF2B5EF4-FFF2-40B4-BE49-F238E27FC236}">
                  <a16:creationId xmlns:a16="http://schemas.microsoft.com/office/drawing/2014/main" id="{9131A6B4-0231-4762-9006-908B563748B0}"/>
                </a:ext>
              </a:extLst>
            </p:cNvPr>
            <p:cNvSpPr/>
            <p:nvPr/>
          </p:nvSpPr>
          <p:spPr>
            <a:xfrm>
              <a:off x="8780435" y="2337615"/>
              <a:ext cx="449113" cy="472840"/>
            </a:xfrm>
            <a:custGeom>
              <a:avLst/>
              <a:gdLst>
                <a:gd name="connsiteX0" fmla="*/ 8474 w 449113"/>
                <a:gd name="connsiteY0" fmla="*/ 472841 h 472840"/>
                <a:gd name="connsiteX1" fmla="*/ 0 w 449113"/>
                <a:gd name="connsiteY1" fmla="*/ 464367 h 472840"/>
                <a:gd name="connsiteX2" fmla="*/ 0 w 449113"/>
                <a:gd name="connsiteY2" fmla="*/ 8474 h 472840"/>
                <a:gd name="connsiteX3" fmla="*/ 8474 w 449113"/>
                <a:gd name="connsiteY3" fmla="*/ 0 h 472840"/>
                <a:gd name="connsiteX4" fmla="*/ 440640 w 449113"/>
                <a:gd name="connsiteY4" fmla="*/ 0 h 472840"/>
                <a:gd name="connsiteX5" fmla="*/ 449114 w 449113"/>
                <a:gd name="connsiteY5" fmla="*/ 8474 h 472840"/>
                <a:gd name="connsiteX6" fmla="*/ 449114 w 449113"/>
                <a:gd name="connsiteY6" fmla="*/ 229359 h 472840"/>
                <a:gd name="connsiteX7" fmla="*/ 440640 w 449113"/>
                <a:gd name="connsiteY7" fmla="*/ 237833 h 472840"/>
                <a:gd name="connsiteX8" fmla="*/ 432166 w 449113"/>
                <a:gd name="connsiteY8" fmla="*/ 229359 h 472840"/>
                <a:gd name="connsiteX9" fmla="*/ 432166 w 449113"/>
                <a:gd name="connsiteY9" fmla="*/ 16948 h 472840"/>
                <a:gd name="connsiteX10" fmla="*/ 16948 w 449113"/>
                <a:gd name="connsiteY10" fmla="*/ 16948 h 472840"/>
                <a:gd name="connsiteX11" fmla="*/ 16948 w 449113"/>
                <a:gd name="connsiteY11" fmla="*/ 464932 h 472840"/>
                <a:gd name="connsiteX12" fmla="*/ 8474 w 449113"/>
                <a:gd name="connsiteY12" fmla="*/ 472841 h 47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9113" h="472840">
                  <a:moveTo>
                    <a:pt x="8474" y="472841"/>
                  </a:moveTo>
                  <a:cubicBezTo>
                    <a:pt x="3954" y="472841"/>
                    <a:pt x="0" y="468886"/>
                    <a:pt x="0" y="464367"/>
                  </a:cubicBezTo>
                  <a:lnTo>
                    <a:pt x="0" y="8474"/>
                  </a:lnTo>
                  <a:cubicBezTo>
                    <a:pt x="0" y="3954"/>
                    <a:pt x="3954" y="0"/>
                    <a:pt x="8474" y="0"/>
                  </a:cubicBezTo>
                  <a:lnTo>
                    <a:pt x="440640" y="0"/>
                  </a:lnTo>
                  <a:cubicBezTo>
                    <a:pt x="445159" y="0"/>
                    <a:pt x="449114" y="3954"/>
                    <a:pt x="449114" y="8474"/>
                  </a:cubicBezTo>
                  <a:lnTo>
                    <a:pt x="449114" y="229359"/>
                  </a:lnTo>
                  <a:cubicBezTo>
                    <a:pt x="449114" y="233878"/>
                    <a:pt x="445159" y="237833"/>
                    <a:pt x="440640" y="237833"/>
                  </a:cubicBezTo>
                  <a:cubicBezTo>
                    <a:pt x="436121" y="237833"/>
                    <a:pt x="432166" y="233878"/>
                    <a:pt x="432166" y="229359"/>
                  </a:cubicBezTo>
                  <a:lnTo>
                    <a:pt x="432166" y="16948"/>
                  </a:lnTo>
                  <a:lnTo>
                    <a:pt x="16948" y="16948"/>
                  </a:lnTo>
                  <a:lnTo>
                    <a:pt x="16948" y="464932"/>
                  </a:lnTo>
                  <a:cubicBezTo>
                    <a:pt x="16948" y="469451"/>
                    <a:pt x="12993" y="472841"/>
                    <a:pt x="8474" y="472841"/>
                  </a:cubicBezTo>
                  <a:close/>
                </a:path>
              </a:pathLst>
            </a:custGeom>
            <a:grpFill/>
            <a:ln w="56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Полилиния: фигура 101">
              <a:extLst>
                <a:ext uri="{FF2B5EF4-FFF2-40B4-BE49-F238E27FC236}">
                  <a16:creationId xmlns:a16="http://schemas.microsoft.com/office/drawing/2014/main" id="{46F8609E-0489-4FEE-9F93-5407047FCCAE}"/>
                </a:ext>
              </a:extLst>
            </p:cNvPr>
            <p:cNvSpPr/>
            <p:nvPr/>
          </p:nvSpPr>
          <p:spPr>
            <a:xfrm>
              <a:off x="8819980" y="2377160"/>
              <a:ext cx="259299" cy="198287"/>
            </a:xfrm>
            <a:custGeom>
              <a:avLst/>
              <a:gdLst>
                <a:gd name="connsiteX0" fmla="*/ 250826 w 259299"/>
                <a:gd name="connsiteY0" fmla="*/ 198288 h 198287"/>
                <a:gd name="connsiteX1" fmla="*/ 8474 w 259299"/>
                <a:gd name="connsiteY1" fmla="*/ 198288 h 198287"/>
                <a:gd name="connsiteX2" fmla="*/ 0 w 259299"/>
                <a:gd name="connsiteY2" fmla="*/ 189814 h 198287"/>
                <a:gd name="connsiteX3" fmla="*/ 0 w 259299"/>
                <a:gd name="connsiteY3" fmla="*/ 8474 h 198287"/>
                <a:gd name="connsiteX4" fmla="*/ 8474 w 259299"/>
                <a:gd name="connsiteY4" fmla="*/ 0 h 198287"/>
                <a:gd name="connsiteX5" fmla="*/ 250826 w 259299"/>
                <a:gd name="connsiteY5" fmla="*/ 0 h 198287"/>
                <a:gd name="connsiteX6" fmla="*/ 259300 w 259299"/>
                <a:gd name="connsiteY6" fmla="*/ 8474 h 198287"/>
                <a:gd name="connsiteX7" fmla="*/ 259300 w 259299"/>
                <a:gd name="connsiteY7" fmla="*/ 189814 h 198287"/>
                <a:gd name="connsiteX8" fmla="*/ 250826 w 259299"/>
                <a:gd name="connsiteY8" fmla="*/ 198288 h 198287"/>
                <a:gd name="connsiteX9" fmla="*/ 16948 w 259299"/>
                <a:gd name="connsiteY9" fmla="*/ 181340 h 198287"/>
                <a:gd name="connsiteX10" fmla="*/ 242352 w 259299"/>
                <a:gd name="connsiteY10" fmla="*/ 181340 h 198287"/>
                <a:gd name="connsiteX11" fmla="*/ 242352 w 259299"/>
                <a:gd name="connsiteY11" fmla="*/ 16948 h 198287"/>
                <a:gd name="connsiteX12" fmla="*/ 16948 w 259299"/>
                <a:gd name="connsiteY12" fmla="*/ 16948 h 198287"/>
                <a:gd name="connsiteX13" fmla="*/ 16948 w 259299"/>
                <a:gd name="connsiteY13" fmla="*/ 181340 h 198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9299" h="198287">
                  <a:moveTo>
                    <a:pt x="250826" y="198288"/>
                  </a:moveTo>
                  <a:lnTo>
                    <a:pt x="8474" y="198288"/>
                  </a:lnTo>
                  <a:cubicBezTo>
                    <a:pt x="3954" y="198288"/>
                    <a:pt x="0" y="194334"/>
                    <a:pt x="0" y="189814"/>
                  </a:cubicBezTo>
                  <a:lnTo>
                    <a:pt x="0" y="8474"/>
                  </a:lnTo>
                  <a:cubicBezTo>
                    <a:pt x="0" y="3954"/>
                    <a:pt x="3954" y="0"/>
                    <a:pt x="8474" y="0"/>
                  </a:cubicBezTo>
                  <a:lnTo>
                    <a:pt x="250826" y="0"/>
                  </a:lnTo>
                  <a:cubicBezTo>
                    <a:pt x="255345" y="0"/>
                    <a:pt x="259300" y="3954"/>
                    <a:pt x="259300" y="8474"/>
                  </a:cubicBezTo>
                  <a:lnTo>
                    <a:pt x="259300" y="189814"/>
                  </a:lnTo>
                  <a:cubicBezTo>
                    <a:pt x="259300" y="194334"/>
                    <a:pt x="255345" y="198288"/>
                    <a:pt x="250826" y="198288"/>
                  </a:cubicBezTo>
                  <a:close/>
                  <a:moveTo>
                    <a:pt x="16948" y="181340"/>
                  </a:moveTo>
                  <a:lnTo>
                    <a:pt x="242352" y="181340"/>
                  </a:lnTo>
                  <a:lnTo>
                    <a:pt x="242352" y="16948"/>
                  </a:lnTo>
                  <a:lnTo>
                    <a:pt x="16948" y="16948"/>
                  </a:lnTo>
                  <a:lnTo>
                    <a:pt x="16948" y="181340"/>
                  </a:lnTo>
                  <a:close/>
                </a:path>
              </a:pathLst>
            </a:custGeom>
            <a:grpFill/>
            <a:ln w="56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Полилиния: фигура 102">
              <a:extLst>
                <a:ext uri="{FF2B5EF4-FFF2-40B4-BE49-F238E27FC236}">
                  <a16:creationId xmlns:a16="http://schemas.microsoft.com/office/drawing/2014/main" id="{3F2B1A6A-ED69-4488-873D-AB1EF037E5E3}"/>
                </a:ext>
              </a:extLst>
            </p:cNvPr>
            <p:cNvSpPr/>
            <p:nvPr/>
          </p:nvSpPr>
          <p:spPr>
            <a:xfrm>
              <a:off x="9109785" y="2377160"/>
              <a:ext cx="79089" cy="111854"/>
            </a:xfrm>
            <a:custGeom>
              <a:avLst/>
              <a:gdLst>
                <a:gd name="connsiteX0" fmla="*/ 70615 w 79089"/>
                <a:gd name="connsiteY0" fmla="*/ 111855 h 111854"/>
                <a:gd name="connsiteX1" fmla="*/ 8474 w 79089"/>
                <a:gd name="connsiteY1" fmla="*/ 111855 h 111854"/>
                <a:gd name="connsiteX2" fmla="*/ 0 w 79089"/>
                <a:gd name="connsiteY2" fmla="*/ 103381 h 111854"/>
                <a:gd name="connsiteX3" fmla="*/ 0 w 79089"/>
                <a:gd name="connsiteY3" fmla="*/ 8474 h 111854"/>
                <a:gd name="connsiteX4" fmla="*/ 8474 w 79089"/>
                <a:gd name="connsiteY4" fmla="*/ 0 h 111854"/>
                <a:gd name="connsiteX5" fmla="*/ 70615 w 79089"/>
                <a:gd name="connsiteY5" fmla="*/ 0 h 111854"/>
                <a:gd name="connsiteX6" fmla="*/ 79089 w 79089"/>
                <a:gd name="connsiteY6" fmla="*/ 8474 h 111854"/>
                <a:gd name="connsiteX7" fmla="*/ 79089 w 79089"/>
                <a:gd name="connsiteY7" fmla="*/ 103946 h 111854"/>
                <a:gd name="connsiteX8" fmla="*/ 70615 w 79089"/>
                <a:gd name="connsiteY8" fmla="*/ 111855 h 111854"/>
                <a:gd name="connsiteX9" fmla="*/ 16948 w 79089"/>
                <a:gd name="connsiteY9" fmla="*/ 94907 h 111854"/>
                <a:gd name="connsiteX10" fmla="*/ 62142 w 79089"/>
                <a:gd name="connsiteY10" fmla="*/ 94907 h 111854"/>
                <a:gd name="connsiteX11" fmla="*/ 62142 w 79089"/>
                <a:gd name="connsiteY11" fmla="*/ 16948 h 111854"/>
                <a:gd name="connsiteX12" fmla="*/ 16948 w 79089"/>
                <a:gd name="connsiteY12" fmla="*/ 16948 h 111854"/>
                <a:gd name="connsiteX13" fmla="*/ 16948 w 79089"/>
                <a:gd name="connsiteY13" fmla="*/ 94907 h 11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089" h="111854">
                  <a:moveTo>
                    <a:pt x="70615" y="111855"/>
                  </a:moveTo>
                  <a:lnTo>
                    <a:pt x="8474" y="111855"/>
                  </a:lnTo>
                  <a:cubicBezTo>
                    <a:pt x="3954" y="111855"/>
                    <a:pt x="0" y="107900"/>
                    <a:pt x="0" y="103381"/>
                  </a:cubicBezTo>
                  <a:lnTo>
                    <a:pt x="0" y="8474"/>
                  </a:lnTo>
                  <a:cubicBezTo>
                    <a:pt x="0" y="3954"/>
                    <a:pt x="3954" y="0"/>
                    <a:pt x="8474" y="0"/>
                  </a:cubicBezTo>
                  <a:lnTo>
                    <a:pt x="70615" y="0"/>
                  </a:lnTo>
                  <a:cubicBezTo>
                    <a:pt x="75135" y="0"/>
                    <a:pt x="79089" y="3954"/>
                    <a:pt x="79089" y="8474"/>
                  </a:cubicBezTo>
                  <a:lnTo>
                    <a:pt x="79089" y="103946"/>
                  </a:lnTo>
                  <a:cubicBezTo>
                    <a:pt x="79089" y="108465"/>
                    <a:pt x="75135" y="111855"/>
                    <a:pt x="70615" y="111855"/>
                  </a:cubicBezTo>
                  <a:close/>
                  <a:moveTo>
                    <a:pt x="16948" y="94907"/>
                  </a:moveTo>
                  <a:lnTo>
                    <a:pt x="62142" y="94907"/>
                  </a:lnTo>
                  <a:lnTo>
                    <a:pt x="62142" y="16948"/>
                  </a:lnTo>
                  <a:lnTo>
                    <a:pt x="16948" y="16948"/>
                  </a:lnTo>
                  <a:lnTo>
                    <a:pt x="16948" y="94907"/>
                  </a:lnTo>
                  <a:close/>
                </a:path>
              </a:pathLst>
            </a:custGeom>
            <a:grpFill/>
            <a:ln w="56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grpSp>
          <p:nvGrpSpPr>
            <p:cNvPr id="138" name="Рисунок 31">
              <a:extLst>
                <a:ext uri="{FF2B5EF4-FFF2-40B4-BE49-F238E27FC236}">
                  <a16:creationId xmlns:a16="http://schemas.microsoft.com/office/drawing/2014/main" id="{A2F90BDC-B7C3-4ED1-B7C0-29272999DB6C}"/>
                </a:ext>
              </a:extLst>
            </p:cNvPr>
            <p:cNvGrpSpPr/>
            <p:nvPr/>
          </p:nvGrpSpPr>
          <p:grpSpPr>
            <a:xfrm>
              <a:off x="8857830" y="2410490"/>
              <a:ext cx="67790" cy="122023"/>
              <a:chOff x="8857830" y="2410490"/>
              <a:chExt cx="67790" cy="122023"/>
            </a:xfrm>
            <a:grpFill/>
          </p:grpSpPr>
          <p:sp>
            <p:nvSpPr>
              <p:cNvPr id="143" name="Полилиния: фигура 104">
                <a:extLst>
                  <a:ext uri="{FF2B5EF4-FFF2-40B4-BE49-F238E27FC236}">
                    <a16:creationId xmlns:a16="http://schemas.microsoft.com/office/drawing/2014/main" id="{10984140-9F55-4013-AFEA-6FFC72B5E45E}"/>
                  </a:ext>
                </a:extLst>
              </p:cNvPr>
              <p:cNvSpPr/>
              <p:nvPr/>
            </p:nvSpPr>
            <p:spPr>
              <a:xfrm>
                <a:off x="8861219" y="2415010"/>
                <a:ext cx="59881" cy="113549"/>
              </a:xfrm>
              <a:custGeom>
                <a:avLst/>
                <a:gdLst>
                  <a:gd name="connsiteX0" fmla="*/ 51408 w 59881"/>
                  <a:gd name="connsiteY0" fmla="*/ 35590 h 113549"/>
                  <a:gd name="connsiteX1" fmla="*/ 55362 w 59881"/>
                  <a:gd name="connsiteY1" fmla="*/ 40110 h 113549"/>
                  <a:gd name="connsiteX2" fmla="*/ 59882 w 59881"/>
                  <a:gd name="connsiteY2" fmla="*/ 35590 h 113549"/>
                  <a:gd name="connsiteX3" fmla="*/ 34460 w 59881"/>
                  <a:gd name="connsiteY3" fmla="*/ 10169 h 113549"/>
                  <a:gd name="connsiteX4" fmla="*/ 34460 w 59881"/>
                  <a:gd name="connsiteY4" fmla="*/ 4519 h 113549"/>
                  <a:gd name="connsiteX5" fmla="*/ 29941 w 59881"/>
                  <a:gd name="connsiteY5" fmla="*/ 0 h 113549"/>
                  <a:gd name="connsiteX6" fmla="*/ 25986 w 59881"/>
                  <a:gd name="connsiteY6" fmla="*/ 4519 h 113549"/>
                  <a:gd name="connsiteX7" fmla="*/ 25986 w 59881"/>
                  <a:gd name="connsiteY7" fmla="*/ 10169 h 113549"/>
                  <a:gd name="connsiteX8" fmla="*/ 565 w 59881"/>
                  <a:gd name="connsiteY8" fmla="*/ 35590 h 113549"/>
                  <a:gd name="connsiteX9" fmla="*/ 25986 w 59881"/>
                  <a:gd name="connsiteY9" fmla="*/ 60447 h 113549"/>
                  <a:gd name="connsiteX10" fmla="*/ 25986 w 59881"/>
                  <a:gd name="connsiteY10" fmla="*/ 94342 h 113549"/>
                  <a:gd name="connsiteX11" fmla="*/ 9039 w 59881"/>
                  <a:gd name="connsiteY11" fmla="*/ 77959 h 113549"/>
                  <a:gd name="connsiteX12" fmla="*/ 4519 w 59881"/>
                  <a:gd name="connsiteY12" fmla="*/ 73440 h 113549"/>
                  <a:gd name="connsiteX13" fmla="*/ 0 w 59881"/>
                  <a:gd name="connsiteY13" fmla="*/ 77959 h 113549"/>
                  <a:gd name="connsiteX14" fmla="*/ 25422 w 59881"/>
                  <a:gd name="connsiteY14" fmla="*/ 103381 h 113549"/>
                  <a:gd name="connsiteX15" fmla="*/ 25422 w 59881"/>
                  <a:gd name="connsiteY15" fmla="*/ 109030 h 113549"/>
                  <a:gd name="connsiteX16" fmla="*/ 29941 w 59881"/>
                  <a:gd name="connsiteY16" fmla="*/ 113550 h 113549"/>
                  <a:gd name="connsiteX17" fmla="*/ 34460 w 59881"/>
                  <a:gd name="connsiteY17" fmla="*/ 109030 h 113549"/>
                  <a:gd name="connsiteX18" fmla="*/ 34460 w 59881"/>
                  <a:gd name="connsiteY18" fmla="*/ 102816 h 113549"/>
                  <a:gd name="connsiteX19" fmla="*/ 59882 w 59881"/>
                  <a:gd name="connsiteY19" fmla="*/ 77394 h 113549"/>
                  <a:gd name="connsiteX20" fmla="*/ 34460 w 59881"/>
                  <a:gd name="connsiteY20" fmla="*/ 52538 h 113549"/>
                  <a:gd name="connsiteX21" fmla="*/ 34460 w 59881"/>
                  <a:gd name="connsiteY21" fmla="*/ 18642 h 113549"/>
                  <a:gd name="connsiteX22" fmla="*/ 51408 w 59881"/>
                  <a:gd name="connsiteY22" fmla="*/ 35590 h 113549"/>
                  <a:gd name="connsiteX23" fmla="*/ 9039 w 59881"/>
                  <a:gd name="connsiteY23" fmla="*/ 35590 h 113549"/>
                  <a:gd name="connsiteX24" fmla="*/ 25986 w 59881"/>
                  <a:gd name="connsiteY24" fmla="*/ 19207 h 113549"/>
                  <a:gd name="connsiteX25" fmla="*/ 25986 w 59881"/>
                  <a:gd name="connsiteY25" fmla="*/ 52538 h 113549"/>
                  <a:gd name="connsiteX26" fmla="*/ 9039 w 59881"/>
                  <a:gd name="connsiteY26" fmla="*/ 35590 h 113549"/>
                  <a:gd name="connsiteX27" fmla="*/ 51408 w 59881"/>
                  <a:gd name="connsiteY27" fmla="*/ 77959 h 113549"/>
                  <a:gd name="connsiteX28" fmla="*/ 34460 w 59881"/>
                  <a:gd name="connsiteY28" fmla="*/ 94342 h 113549"/>
                  <a:gd name="connsiteX29" fmla="*/ 34460 w 59881"/>
                  <a:gd name="connsiteY29" fmla="*/ 61012 h 113549"/>
                  <a:gd name="connsiteX30" fmla="*/ 51408 w 59881"/>
                  <a:gd name="connsiteY30" fmla="*/ 77959 h 113549"/>
                  <a:gd name="connsiteX31" fmla="*/ 51408 w 59881"/>
                  <a:gd name="connsiteY31" fmla="*/ 77959 h 113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9881" h="113549">
                    <a:moveTo>
                      <a:pt x="51408" y="35590"/>
                    </a:moveTo>
                    <a:cubicBezTo>
                      <a:pt x="51408" y="37850"/>
                      <a:pt x="53103" y="40110"/>
                      <a:pt x="55362" y="40110"/>
                    </a:cubicBezTo>
                    <a:cubicBezTo>
                      <a:pt x="57622" y="40110"/>
                      <a:pt x="59882" y="38415"/>
                      <a:pt x="59882" y="35590"/>
                    </a:cubicBezTo>
                    <a:cubicBezTo>
                      <a:pt x="59882" y="22597"/>
                      <a:pt x="48583" y="12428"/>
                      <a:pt x="34460" y="10169"/>
                    </a:cubicBezTo>
                    <a:lnTo>
                      <a:pt x="34460" y="4519"/>
                    </a:lnTo>
                    <a:cubicBezTo>
                      <a:pt x="34460" y="2260"/>
                      <a:pt x="32766" y="0"/>
                      <a:pt x="29941" y="0"/>
                    </a:cubicBezTo>
                    <a:cubicBezTo>
                      <a:pt x="27116" y="0"/>
                      <a:pt x="25986" y="1695"/>
                      <a:pt x="25986" y="4519"/>
                    </a:cubicBezTo>
                    <a:lnTo>
                      <a:pt x="25986" y="10169"/>
                    </a:lnTo>
                    <a:cubicBezTo>
                      <a:pt x="11863" y="11863"/>
                      <a:pt x="565" y="22597"/>
                      <a:pt x="565" y="35590"/>
                    </a:cubicBezTo>
                    <a:cubicBezTo>
                      <a:pt x="565" y="48583"/>
                      <a:pt x="11863" y="58752"/>
                      <a:pt x="25986" y="60447"/>
                    </a:cubicBezTo>
                    <a:lnTo>
                      <a:pt x="25986" y="94342"/>
                    </a:lnTo>
                    <a:cubicBezTo>
                      <a:pt x="16383" y="92647"/>
                      <a:pt x="9039" y="85868"/>
                      <a:pt x="9039" y="77959"/>
                    </a:cubicBezTo>
                    <a:cubicBezTo>
                      <a:pt x="9039" y="75700"/>
                      <a:pt x="7344" y="73440"/>
                      <a:pt x="4519" y="73440"/>
                    </a:cubicBezTo>
                    <a:cubicBezTo>
                      <a:pt x="1695" y="73440"/>
                      <a:pt x="0" y="75135"/>
                      <a:pt x="0" y="77959"/>
                    </a:cubicBezTo>
                    <a:cubicBezTo>
                      <a:pt x="0" y="90953"/>
                      <a:pt x="11298" y="101121"/>
                      <a:pt x="25422" y="103381"/>
                    </a:cubicBezTo>
                    <a:lnTo>
                      <a:pt x="25422" y="109030"/>
                    </a:lnTo>
                    <a:cubicBezTo>
                      <a:pt x="25422" y="111290"/>
                      <a:pt x="27116" y="113550"/>
                      <a:pt x="29941" y="113550"/>
                    </a:cubicBezTo>
                    <a:cubicBezTo>
                      <a:pt x="32766" y="113550"/>
                      <a:pt x="34460" y="111855"/>
                      <a:pt x="34460" y="109030"/>
                    </a:cubicBezTo>
                    <a:lnTo>
                      <a:pt x="34460" y="102816"/>
                    </a:lnTo>
                    <a:cubicBezTo>
                      <a:pt x="48583" y="101121"/>
                      <a:pt x="59882" y="90388"/>
                      <a:pt x="59882" y="77394"/>
                    </a:cubicBezTo>
                    <a:cubicBezTo>
                      <a:pt x="59882" y="64401"/>
                      <a:pt x="48583" y="54233"/>
                      <a:pt x="34460" y="52538"/>
                    </a:cubicBezTo>
                    <a:lnTo>
                      <a:pt x="34460" y="18642"/>
                    </a:lnTo>
                    <a:cubicBezTo>
                      <a:pt x="44064" y="20337"/>
                      <a:pt x="51408" y="27116"/>
                      <a:pt x="51408" y="35590"/>
                    </a:cubicBezTo>
                    <a:close/>
                    <a:moveTo>
                      <a:pt x="9039" y="35590"/>
                    </a:moveTo>
                    <a:cubicBezTo>
                      <a:pt x="9039" y="27116"/>
                      <a:pt x="16383" y="20337"/>
                      <a:pt x="25986" y="19207"/>
                    </a:cubicBezTo>
                    <a:lnTo>
                      <a:pt x="25986" y="52538"/>
                    </a:lnTo>
                    <a:cubicBezTo>
                      <a:pt x="16383" y="50278"/>
                      <a:pt x="9039" y="43499"/>
                      <a:pt x="9039" y="35590"/>
                    </a:cubicBezTo>
                    <a:close/>
                    <a:moveTo>
                      <a:pt x="51408" y="77959"/>
                    </a:moveTo>
                    <a:cubicBezTo>
                      <a:pt x="51408" y="86433"/>
                      <a:pt x="44064" y="93212"/>
                      <a:pt x="34460" y="94342"/>
                    </a:cubicBezTo>
                    <a:lnTo>
                      <a:pt x="34460" y="61012"/>
                    </a:lnTo>
                    <a:cubicBezTo>
                      <a:pt x="44064" y="62706"/>
                      <a:pt x="51408" y="69486"/>
                      <a:pt x="51408" y="77959"/>
                    </a:cubicBezTo>
                    <a:lnTo>
                      <a:pt x="51408" y="77959"/>
                    </a:lnTo>
                    <a:close/>
                  </a:path>
                </a:pathLst>
              </a:custGeom>
              <a:grpFill/>
              <a:ln w="5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" name="Полилиния: фигура 105">
                <a:extLst>
                  <a:ext uri="{FF2B5EF4-FFF2-40B4-BE49-F238E27FC236}">
                    <a16:creationId xmlns:a16="http://schemas.microsoft.com/office/drawing/2014/main" id="{CA96D377-09BF-47FE-864C-8B20C41818F5}"/>
                  </a:ext>
                </a:extLst>
              </p:cNvPr>
              <p:cNvSpPr/>
              <p:nvPr/>
            </p:nvSpPr>
            <p:spPr>
              <a:xfrm>
                <a:off x="8857830" y="2410490"/>
                <a:ext cx="67790" cy="122023"/>
              </a:xfrm>
              <a:custGeom>
                <a:avLst/>
                <a:gdLst>
                  <a:gd name="connsiteX0" fmla="*/ 33895 w 67790"/>
                  <a:gd name="connsiteY0" fmla="*/ 122023 h 122023"/>
                  <a:gd name="connsiteX1" fmla="*/ 25422 w 67790"/>
                  <a:gd name="connsiteY1" fmla="*/ 113550 h 122023"/>
                  <a:gd name="connsiteX2" fmla="*/ 25422 w 67790"/>
                  <a:gd name="connsiteY2" fmla="*/ 111290 h 122023"/>
                  <a:gd name="connsiteX3" fmla="*/ 0 w 67790"/>
                  <a:gd name="connsiteY3" fmla="*/ 82479 h 122023"/>
                  <a:gd name="connsiteX4" fmla="*/ 8474 w 67790"/>
                  <a:gd name="connsiteY4" fmla="*/ 74005 h 122023"/>
                  <a:gd name="connsiteX5" fmla="*/ 16948 w 67790"/>
                  <a:gd name="connsiteY5" fmla="*/ 82479 h 122023"/>
                  <a:gd name="connsiteX6" fmla="*/ 25422 w 67790"/>
                  <a:gd name="connsiteY6" fmla="*/ 93212 h 122023"/>
                  <a:gd name="connsiteX7" fmla="*/ 25422 w 67790"/>
                  <a:gd name="connsiteY7" fmla="*/ 68356 h 122023"/>
                  <a:gd name="connsiteX8" fmla="*/ 0 w 67790"/>
                  <a:gd name="connsiteY8" fmla="*/ 39545 h 122023"/>
                  <a:gd name="connsiteX9" fmla="*/ 25422 w 67790"/>
                  <a:gd name="connsiteY9" fmla="*/ 10734 h 122023"/>
                  <a:gd name="connsiteX10" fmla="*/ 25422 w 67790"/>
                  <a:gd name="connsiteY10" fmla="*/ 8474 h 122023"/>
                  <a:gd name="connsiteX11" fmla="*/ 33895 w 67790"/>
                  <a:gd name="connsiteY11" fmla="*/ 0 h 122023"/>
                  <a:gd name="connsiteX12" fmla="*/ 42369 w 67790"/>
                  <a:gd name="connsiteY12" fmla="*/ 8474 h 122023"/>
                  <a:gd name="connsiteX13" fmla="*/ 42369 w 67790"/>
                  <a:gd name="connsiteY13" fmla="*/ 10734 h 122023"/>
                  <a:gd name="connsiteX14" fmla="*/ 67791 w 67790"/>
                  <a:gd name="connsiteY14" fmla="*/ 39545 h 122023"/>
                  <a:gd name="connsiteX15" fmla="*/ 59317 w 67790"/>
                  <a:gd name="connsiteY15" fmla="*/ 48018 h 122023"/>
                  <a:gd name="connsiteX16" fmla="*/ 50843 w 67790"/>
                  <a:gd name="connsiteY16" fmla="*/ 39545 h 122023"/>
                  <a:gd name="connsiteX17" fmla="*/ 42369 w 67790"/>
                  <a:gd name="connsiteY17" fmla="*/ 28811 h 122023"/>
                  <a:gd name="connsiteX18" fmla="*/ 42369 w 67790"/>
                  <a:gd name="connsiteY18" fmla="*/ 53668 h 122023"/>
                  <a:gd name="connsiteX19" fmla="*/ 67791 w 67790"/>
                  <a:gd name="connsiteY19" fmla="*/ 82479 h 122023"/>
                  <a:gd name="connsiteX20" fmla="*/ 42369 w 67790"/>
                  <a:gd name="connsiteY20" fmla="*/ 111290 h 122023"/>
                  <a:gd name="connsiteX21" fmla="*/ 42369 w 67790"/>
                  <a:gd name="connsiteY21" fmla="*/ 113550 h 122023"/>
                  <a:gd name="connsiteX22" fmla="*/ 33895 w 67790"/>
                  <a:gd name="connsiteY22" fmla="*/ 122023 h 122023"/>
                  <a:gd name="connsiteX23" fmla="*/ 33895 w 67790"/>
                  <a:gd name="connsiteY23" fmla="*/ 103946 h 122023"/>
                  <a:gd name="connsiteX24" fmla="*/ 33895 w 67790"/>
                  <a:gd name="connsiteY24" fmla="*/ 113550 h 122023"/>
                  <a:gd name="connsiteX25" fmla="*/ 33895 w 67790"/>
                  <a:gd name="connsiteY25" fmla="*/ 103946 h 122023"/>
                  <a:gd name="connsiteX26" fmla="*/ 42369 w 67790"/>
                  <a:gd name="connsiteY26" fmla="*/ 71180 h 122023"/>
                  <a:gd name="connsiteX27" fmla="*/ 42369 w 67790"/>
                  <a:gd name="connsiteY27" fmla="*/ 93212 h 122023"/>
                  <a:gd name="connsiteX28" fmla="*/ 50843 w 67790"/>
                  <a:gd name="connsiteY28" fmla="*/ 82479 h 122023"/>
                  <a:gd name="connsiteX29" fmla="*/ 50843 w 67790"/>
                  <a:gd name="connsiteY29" fmla="*/ 82479 h 122023"/>
                  <a:gd name="connsiteX30" fmla="*/ 42369 w 67790"/>
                  <a:gd name="connsiteY30" fmla="*/ 71180 h 122023"/>
                  <a:gd name="connsiteX31" fmla="*/ 8474 w 67790"/>
                  <a:gd name="connsiteY31" fmla="*/ 82479 h 122023"/>
                  <a:gd name="connsiteX32" fmla="*/ 8474 w 67790"/>
                  <a:gd name="connsiteY32" fmla="*/ 82479 h 122023"/>
                  <a:gd name="connsiteX33" fmla="*/ 8474 w 67790"/>
                  <a:gd name="connsiteY33" fmla="*/ 82479 h 122023"/>
                  <a:gd name="connsiteX34" fmla="*/ 33895 w 67790"/>
                  <a:gd name="connsiteY34" fmla="*/ 60447 h 122023"/>
                  <a:gd name="connsiteX35" fmla="*/ 33895 w 67790"/>
                  <a:gd name="connsiteY35" fmla="*/ 18078 h 122023"/>
                  <a:gd name="connsiteX36" fmla="*/ 33895 w 67790"/>
                  <a:gd name="connsiteY36" fmla="*/ 60447 h 122023"/>
                  <a:gd name="connsiteX37" fmla="*/ 25422 w 67790"/>
                  <a:gd name="connsiteY37" fmla="*/ 28811 h 122023"/>
                  <a:gd name="connsiteX38" fmla="*/ 16948 w 67790"/>
                  <a:gd name="connsiteY38" fmla="*/ 39545 h 122023"/>
                  <a:gd name="connsiteX39" fmla="*/ 25422 w 67790"/>
                  <a:gd name="connsiteY39" fmla="*/ 50278 h 122023"/>
                  <a:gd name="connsiteX40" fmla="*/ 25422 w 67790"/>
                  <a:gd name="connsiteY40" fmla="*/ 28811 h 122023"/>
                  <a:gd name="connsiteX41" fmla="*/ 8474 w 67790"/>
                  <a:gd name="connsiteY41" fmla="*/ 40110 h 122023"/>
                  <a:gd name="connsiteX42" fmla="*/ 8474 w 67790"/>
                  <a:gd name="connsiteY42" fmla="*/ 40110 h 122023"/>
                  <a:gd name="connsiteX43" fmla="*/ 8474 w 67790"/>
                  <a:gd name="connsiteY43" fmla="*/ 40110 h 122023"/>
                  <a:gd name="connsiteX44" fmla="*/ 59317 w 67790"/>
                  <a:gd name="connsiteY44" fmla="*/ 39545 h 122023"/>
                  <a:gd name="connsiteX45" fmla="*/ 59317 w 67790"/>
                  <a:gd name="connsiteY45" fmla="*/ 39545 h 122023"/>
                  <a:gd name="connsiteX46" fmla="*/ 59317 w 67790"/>
                  <a:gd name="connsiteY46" fmla="*/ 39545 h 122023"/>
                  <a:gd name="connsiteX47" fmla="*/ 59317 w 67790"/>
                  <a:gd name="connsiteY47" fmla="*/ 39545 h 122023"/>
                  <a:gd name="connsiteX48" fmla="*/ 8474 w 67790"/>
                  <a:gd name="connsiteY48" fmla="*/ 40110 h 122023"/>
                  <a:gd name="connsiteX49" fmla="*/ 8474 w 67790"/>
                  <a:gd name="connsiteY49" fmla="*/ 40110 h 122023"/>
                  <a:gd name="connsiteX50" fmla="*/ 8474 w 67790"/>
                  <a:gd name="connsiteY50" fmla="*/ 40110 h 12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67790" h="122023">
                    <a:moveTo>
                      <a:pt x="33895" y="122023"/>
                    </a:moveTo>
                    <a:cubicBezTo>
                      <a:pt x="29376" y="122023"/>
                      <a:pt x="25422" y="118069"/>
                      <a:pt x="25422" y="113550"/>
                    </a:cubicBezTo>
                    <a:lnTo>
                      <a:pt x="25422" y="111290"/>
                    </a:lnTo>
                    <a:cubicBezTo>
                      <a:pt x="10734" y="107900"/>
                      <a:pt x="0" y="96037"/>
                      <a:pt x="0" y="82479"/>
                    </a:cubicBezTo>
                    <a:cubicBezTo>
                      <a:pt x="0" y="77959"/>
                      <a:pt x="3954" y="74005"/>
                      <a:pt x="8474" y="74005"/>
                    </a:cubicBezTo>
                    <a:cubicBezTo>
                      <a:pt x="12993" y="74005"/>
                      <a:pt x="16948" y="77959"/>
                      <a:pt x="16948" y="82479"/>
                    </a:cubicBezTo>
                    <a:cubicBezTo>
                      <a:pt x="16948" y="86998"/>
                      <a:pt x="20337" y="90953"/>
                      <a:pt x="25422" y="93212"/>
                    </a:cubicBezTo>
                    <a:lnTo>
                      <a:pt x="25422" y="68356"/>
                    </a:lnTo>
                    <a:cubicBezTo>
                      <a:pt x="10734" y="64966"/>
                      <a:pt x="0" y="53103"/>
                      <a:pt x="0" y="39545"/>
                    </a:cubicBezTo>
                    <a:cubicBezTo>
                      <a:pt x="0" y="25986"/>
                      <a:pt x="10734" y="14123"/>
                      <a:pt x="25422" y="10734"/>
                    </a:cubicBezTo>
                    <a:lnTo>
                      <a:pt x="25422" y="8474"/>
                    </a:lnTo>
                    <a:cubicBezTo>
                      <a:pt x="25422" y="3954"/>
                      <a:pt x="29376" y="0"/>
                      <a:pt x="33895" y="0"/>
                    </a:cubicBezTo>
                    <a:cubicBezTo>
                      <a:pt x="38415" y="0"/>
                      <a:pt x="42369" y="3954"/>
                      <a:pt x="42369" y="8474"/>
                    </a:cubicBezTo>
                    <a:lnTo>
                      <a:pt x="42369" y="10734"/>
                    </a:lnTo>
                    <a:cubicBezTo>
                      <a:pt x="57057" y="14123"/>
                      <a:pt x="67791" y="25986"/>
                      <a:pt x="67791" y="39545"/>
                    </a:cubicBezTo>
                    <a:cubicBezTo>
                      <a:pt x="67791" y="44064"/>
                      <a:pt x="63836" y="48018"/>
                      <a:pt x="59317" y="48018"/>
                    </a:cubicBezTo>
                    <a:cubicBezTo>
                      <a:pt x="54798" y="48018"/>
                      <a:pt x="50843" y="44064"/>
                      <a:pt x="50843" y="39545"/>
                    </a:cubicBezTo>
                    <a:cubicBezTo>
                      <a:pt x="50843" y="35025"/>
                      <a:pt x="47454" y="31071"/>
                      <a:pt x="42369" y="28811"/>
                    </a:cubicBezTo>
                    <a:lnTo>
                      <a:pt x="42369" y="53668"/>
                    </a:lnTo>
                    <a:cubicBezTo>
                      <a:pt x="57057" y="57057"/>
                      <a:pt x="67791" y="68921"/>
                      <a:pt x="67791" y="82479"/>
                    </a:cubicBezTo>
                    <a:cubicBezTo>
                      <a:pt x="67791" y="96037"/>
                      <a:pt x="57057" y="107900"/>
                      <a:pt x="42369" y="111290"/>
                    </a:cubicBezTo>
                    <a:lnTo>
                      <a:pt x="42369" y="113550"/>
                    </a:lnTo>
                    <a:cubicBezTo>
                      <a:pt x="42369" y="118069"/>
                      <a:pt x="38415" y="122023"/>
                      <a:pt x="33895" y="122023"/>
                    </a:cubicBezTo>
                    <a:close/>
                    <a:moveTo>
                      <a:pt x="33895" y="103946"/>
                    </a:moveTo>
                    <a:lnTo>
                      <a:pt x="33895" y="113550"/>
                    </a:lnTo>
                    <a:lnTo>
                      <a:pt x="33895" y="103946"/>
                    </a:lnTo>
                    <a:close/>
                    <a:moveTo>
                      <a:pt x="42369" y="71180"/>
                    </a:moveTo>
                    <a:lnTo>
                      <a:pt x="42369" y="93212"/>
                    </a:lnTo>
                    <a:cubicBezTo>
                      <a:pt x="47454" y="90953"/>
                      <a:pt x="50843" y="86998"/>
                      <a:pt x="50843" y="82479"/>
                    </a:cubicBezTo>
                    <a:lnTo>
                      <a:pt x="50843" y="82479"/>
                    </a:lnTo>
                    <a:cubicBezTo>
                      <a:pt x="50843" y="77959"/>
                      <a:pt x="47454" y="73440"/>
                      <a:pt x="42369" y="71180"/>
                    </a:cubicBezTo>
                    <a:close/>
                    <a:moveTo>
                      <a:pt x="8474" y="82479"/>
                    </a:moveTo>
                    <a:lnTo>
                      <a:pt x="8474" y="82479"/>
                    </a:lnTo>
                    <a:lnTo>
                      <a:pt x="8474" y="82479"/>
                    </a:lnTo>
                    <a:close/>
                    <a:moveTo>
                      <a:pt x="33895" y="60447"/>
                    </a:moveTo>
                    <a:lnTo>
                      <a:pt x="33895" y="18078"/>
                    </a:lnTo>
                    <a:lnTo>
                      <a:pt x="33895" y="60447"/>
                    </a:lnTo>
                    <a:close/>
                    <a:moveTo>
                      <a:pt x="25422" y="28811"/>
                    </a:moveTo>
                    <a:cubicBezTo>
                      <a:pt x="20337" y="31071"/>
                      <a:pt x="16948" y="35025"/>
                      <a:pt x="16948" y="39545"/>
                    </a:cubicBezTo>
                    <a:cubicBezTo>
                      <a:pt x="16948" y="44064"/>
                      <a:pt x="20337" y="48018"/>
                      <a:pt x="25422" y="50278"/>
                    </a:cubicBezTo>
                    <a:lnTo>
                      <a:pt x="25422" y="28811"/>
                    </a:lnTo>
                    <a:close/>
                    <a:moveTo>
                      <a:pt x="8474" y="40110"/>
                    </a:moveTo>
                    <a:lnTo>
                      <a:pt x="8474" y="40110"/>
                    </a:lnTo>
                    <a:lnTo>
                      <a:pt x="8474" y="40110"/>
                    </a:lnTo>
                    <a:close/>
                    <a:moveTo>
                      <a:pt x="59317" y="39545"/>
                    </a:moveTo>
                    <a:cubicBezTo>
                      <a:pt x="59317" y="39545"/>
                      <a:pt x="59317" y="39545"/>
                      <a:pt x="59317" y="39545"/>
                    </a:cubicBezTo>
                    <a:lnTo>
                      <a:pt x="59317" y="39545"/>
                    </a:lnTo>
                    <a:cubicBezTo>
                      <a:pt x="59317" y="39545"/>
                      <a:pt x="59317" y="39545"/>
                      <a:pt x="59317" y="39545"/>
                    </a:cubicBezTo>
                    <a:close/>
                    <a:moveTo>
                      <a:pt x="8474" y="40110"/>
                    </a:moveTo>
                    <a:cubicBezTo>
                      <a:pt x="8474" y="40110"/>
                      <a:pt x="8474" y="40110"/>
                      <a:pt x="8474" y="40110"/>
                    </a:cubicBezTo>
                    <a:cubicBezTo>
                      <a:pt x="8474" y="40110"/>
                      <a:pt x="8474" y="40110"/>
                      <a:pt x="8474" y="40110"/>
                    </a:cubicBezTo>
                    <a:close/>
                  </a:path>
                </a:pathLst>
              </a:custGeom>
              <a:grpFill/>
              <a:ln w="5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9" name="Полилиния: фигура 106">
              <a:extLst>
                <a:ext uri="{FF2B5EF4-FFF2-40B4-BE49-F238E27FC236}">
                  <a16:creationId xmlns:a16="http://schemas.microsoft.com/office/drawing/2014/main" id="{86548F9E-5415-4395-8C06-155DE066B9FF}"/>
                </a:ext>
              </a:extLst>
            </p:cNvPr>
            <p:cNvSpPr/>
            <p:nvPr/>
          </p:nvSpPr>
          <p:spPr>
            <a:xfrm>
              <a:off x="8943133" y="2425743"/>
              <a:ext cx="69485" cy="16947"/>
            </a:xfrm>
            <a:custGeom>
              <a:avLst/>
              <a:gdLst>
                <a:gd name="connsiteX0" fmla="*/ 61012 w 69485"/>
                <a:gd name="connsiteY0" fmla="*/ 16948 h 16947"/>
                <a:gd name="connsiteX1" fmla="*/ 8474 w 69485"/>
                <a:gd name="connsiteY1" fmla="*/ 16948 h 16947"/>
                <a:gd name="connsiteX2" fmla="*/ 0 w 69485"/>
                <a:gd name="connsiteY2" fmla="*/ 8474 h 16947"/>
                <a:gd name="connsiteX3" fmla="*/ 8474 w 69485"/>
                <a:gd name="connsiteY3" fmla="*/ 0 h 16947"/>
                <a:gd name="connsiteX4" fmla="*/ 61012 w 69485"/>
                <a:gd name="connsiteY4" fmla="*/ 0 h 16947"/>
                <a:gd name="connsiteX5" fmla="*/ 69486 w 69485"/>
                <a:gd name="connsiteY5" fmla="*/ 8474 h 16947"/>
                <a:gd name="connsiteX6" fmla="*/ 61012 w 69485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485" h="16947">
                  <a:moveTo>
                    <a:pt x="61012" y="16948"/>
                  </a:moveTo>
                  <a:lnTo>
                    <a:pt x="8474" y="16948"/>
                  </a:lnTo>
                  <a:cubicBezTo>
                    <a:pt x="3954" y="16948"/>
                    <a:pt x="0" y="12993"/>
                    <a:pt x="0" y="8474"/>
                  </a:cubicBezTo>
                  <a:cubicBezTo>
                    <a:pt x="0" y="3954"/>
                    <a:pt x="3954" y="0"/>
                    <a:pt x="8474" y="0"/>
                  </a:cubicBezTo>
                  <a:lnTo>
                    <a:pt x="61012" y="0"/>
                  </a:lnTo>
                  <a:cubicBezTo>
                    <a:pt x="65531" y="0"/>
                    <a:pt x="69486" y="3954"/>
                    <a:pt x="69486" y="8474"/>
                  </a:cubicBezTo>
                  <a:cubicBezTo>
                    <a:pt x="69486" y="12993"/>
                    <a:pt x="65531" y="16948"/>
                    <a:pt x="61012" y="16948"/>
                  </a:cubicBezTo>
                  <a:close/>
                </a:path>
              </a:pathLst>
            </a:custGeom>
            <a:grpFill/>
            <a:ln w="56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Полилиния: фигура 107">
              <a:extLst>
                <a:ext uri="{FF2B5EF4-FFF2-40B4-BE49-F238E27FC236}">
                  <a16:creationId xmlns:a16="http://schemas.microsoft.com/office/drawing/2014/main" id="{3C3E83F8-9E48-47D3-BE8D-F2D212D3042D}"/>
                </a:ext>
              </a:extLst>
            </p:cNvPr>
            <p:cNvSpPr/>
            <p:nvPr/>
          </p:nvSpPr>
          <p:spPr>
            <a:xfrm>
              <a:off x="8943698" y="2463028"/>
              <a:ext cx="97731" cy="16947"/>
            </a:xfrm>
            <a:custGeom>
              <a:avLst/>
              <a:gdLst>
                <a:gd name="connsiteX0" fmla="*/ 89258 w 97731"/>
                <a:gd name="connsiteY0" fmla="*/ 16948 h 16947"/>
                <a:gd name="connsiteX1" fmla="*/ 8474 w 97731"/>
                <a:gd name="connsiteY1" fmla="*/ 16948 h 16947"/>
                <a:gd name="connsiteX2" fmla="*/ 0 w 97731"/>
                <a:gd name="connsiteY2" fmla="*/ 8474 h 16947"/>
                <a:gd name="connsiteX3" fmla="*/ 8474 w 97731"/>
                <a:gd name="connsiteY3" fmla="*/ 0 h 16947"/>
                <a:gd name="connsiteX4" fmla="*/ 89258 w 97731"/>
                <a:gd name="connsiteY4" fmla="*/ 0 h 16947"/>
                <a:gd name="connsiteX5" fmla="*/ 97732 w 97731"/>
                <a:gd name="connsiteY5" fmla="*/ 8474 h 16947"/>
                <a:gd name="connsiteX6" fmla="*/ 89258 w 97731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731" h="16947">
                  <a:moveTo>
                    <a:pt x="89258" y="16948"/>
                  </a:moveTo>
                  <a:lnTo>
                    <a:pt x="8474" y="16948"/>
                  </a:lnTo>
                  <a:cubicBezTo>
                    <a:pt x="3954" y="16948"/>
                    <a:pt x="0" y="12993"/>
                    <a:pt x="0" y="8474"/>
                  </a:cubicBezTo>
                  <a:cubicBezTo>
                    <a:pt x="0" y="3954"/>
                    <a:pt x="3954" y="0"/>
                    <a:pt x="8474" y="0"/>
                  </a:cubicBezTo>
                  <a:lnTo>
                    <a:pt x="89258" y="0"/>
                  </a:lnTo>
                  <a:cubicBezTo>
                    <a:pt x="93777" y="0"/>
                    <a:pt x="97732" y="3954"/>
                    <a:pt x="97732" y="8474"/>
                  </a:cubicBezTo>
                  <a:cubicBezTo>
                    <a:pt x="97732" y="12993"/>
                    <a:pt x="93777" y="16948"/>
                    <a:pt x="89258" y="16948"/>
                  </a:cubicBezTo>
                  <a:close/>
                </a:path>
              </a:pathLst>
            </a:custGeom>
            <a:grpFill/>
            <a:ln w="56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Полилиния: фигура 108">
              <a:extLst>
                <a:ext uri="{FF2B5EF4-FFF2-40B4-BE49-F238E27FC236}">
                  <a16:creationId xmlns:a16="http://schemas.microsoft.com/office/drawing/2014/main" id="{E502F596-B9FE-4693-956A-41A2D622C40B}"/>
                </a:ext>
              </a:extLst>
            </p:cNvPr>
            <p:cNvSpPr/>
            <p:nvPr/>
          </p:nvSpPr>
          <p:spPr>
            <a:xfrm>
              <a:off x="8782130" y="2632505"/>
              <a:ext cx="218060" cy="16947"/>
            </a:xfrm>
            <a:custGeom>
              <a:avLst/>
              <a:gdLst>
                <a:gd name="connsiteX0" fmla="*/ 210151 w 218060"/>
                <a:gd name="connsiteY0" fmla="*/ 16948 h 16947"/>
                <a:gd name="connsiteX1" fmla="*/ 8474 w 218060"/>
                <a:gd name="connsiteY1" fmla="*/ 16948 h 16947"/>
                <a:gd name="connsiteX2" fmla="*/ 0 w 218060"/>
                <a:gd name="connsiteY2" fmla="*/ 8474 h 16947"/>
                <a:gd name="connsiteX3" fmla="*/ 8474 w 218060"/>
                <a:gd name="connsiteY3" fmla="*/ 0 h 16947"/>
                <a:gd name="connsiteX4" fmla="*/ 209586 w 218060"/>
                <a:gd name="connsiteY4" fmla="*/ 0 h 16947"/>
                <a:gd name="connsiteX5" fmla="*/ 218060 w 218060"/>
                <a:gd name="connsiteY5" fmla="*/ 8474 h 16947"/>
                <a:gd name="connsiteX6" fmla="*/ 210151 w 218060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060" h="16947">
                  <a:moveTo>
                    <a:pt x="210151" y="16948"/>
                  </a:moveTo>
                  <a:lnTo>
                    <a:pt x="8474" y="16948"/>
                  </a:lnTo>
                  <a:cubicBezTo>
                    <a:pt x="3954" y="16948"/>
                    <a:pt x="0" y="12993"/>
                    <a:pt x="0" y="8474"/>
                  </a:cubicBezTo>
                  <a:cubicBezTo>
                    <a:pt x="0" y="3954"/>
                    <a:pt x="3954" y="0"/>
                    <a:pt x="8474" y="0"/>
                  </a:cubicBezTo>
                  <a:lnTo>
                    <a:pt x="209586" y="0"/>
                  </a:lnTo>
                  <a:cubicBezTo>
                    <a:pt x="214106" y="0"/>
                    <a:pt x="218060" y="3954"/>
                    <a:pt x="218060" y="8474"/>
                  </a:cubicBezTo>
                  <a:cubicBezTo>
                    <a:pt x="218060" y="12993"/>
                    <a:pt x="214671" y="16948"/>
                    <a:pt x="210151" y="16948"/>
                  </a:cubicBezTo>
                  <a:close/>
                </a:path>
              </a:pathLst>
            </a:custGeom>
            <a:grpFill/>
            <a:ln w="56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Полилиния: фигура 109">
              <a:extLst>
                <a:ext uri="{FF2B5EF4-FFF2-40B4-BE49-F238E27FC236}">
                  <a16:creationId xmlns:a16="http://schemas.microsoft.com/office/drawing/2014/main" id="{17F3EC00-C781-40F8-AC93-C51A57B5346F}"/>
                </a:ext>
              </a:extLst>
            </p:cNvPr>
            <p:cNvSpPr/>
            <p:nvPr/>
          </p:nvSpPr>
          <p:spPr>
            <a:xfrm>
              <a:off x="8781000" y="2756788"/>
              <a:ext cx="220319" cy="16947"/>
            </a:xfrm>
            <a:custGeom>
              <a:avLst/>
              <a:gdLst>
                <a:gd name="connsiteX0" fmla="*/ 211846 w 220319"/>
                <a:gd name="connsiteY0" fmla="*/ 16948 h 16947"/>
                <a:gd name="connsiteX1" fmla="*/ 8474 w 220319"/>
                <a:gd name="connsiteY1" fmla="*/ 16948 h 16947"/>
                <a:gd name="connsiteX2" fmla="*/ 0 w 220319"/>
                <a:gd name="connsiteY2" fmla="*/ 8474 h 16947"/>
                <a:gd name="connsiteX3" fmla="*/ 8474 w 220319"/>
                <a:gd name="connsiteY3" fmla="*/ 0 h 16947"/>
                <a:gd name="connsiteX4" fmla="*/ 211846 w 220319"/>
                <a:gd name="connsiteY4" fmla="*/ 0 h 16947"/>
                <a:gd name="connsiteX5" fmla="*/ 220320 w 220319"/>
                <a:gd name="connsiteY5" fmla="*/ 8474 h 16947"/>
                <a:gd name="connsiteX6" fmla="*/ 211846 w 220319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19" h="16947">
                  <a:moveTo>
                    <a:pt x="211846" y="16948"/>
                  </a:moveTo>
                  <a:lnTo>
                    <a:pt x="8474" y="16948"/>
                  </a:lnTo>
                  <a:cubicBezTo>
                    <a:pt x="3954" y="16948"/>
                    <a:pt x="0" y="12993"/>
                    <a:pt x="0" y="8474"/>
                  </a:cubicBezTo>
                  <a:cubicBezTo>
                    <a:pt x="0" y="3954"/>
                    <a:pt x="3954" y="0"/>
                    <a:pt x="8474" y="0"/>
                  </a:cubicBezTo>
                  <a:lnTo>
                    <a:pt x="211846" y="0"/>
                  </a:lnTo>
                  <a:cubicBezTo>
                    <a:pt x="216366" y="0"/>
                    <a:pt x="220320" y="3954"/>
                    <a:pt x="220320" y="8474"/>
                  </a:cubicBezTo>
                  <a:cubicBezTo>
                    <a:pt x="220320" y="12993"/>
                    <a:pt x="216366" y="16948"/>
                    <a:pt x="211846" y="16948"/>
                  </a:cubicBezTo>
                  <a:close/>
                </a:path>
              </a:pathLst>
            </a:custGeom>
            <a:grpFill/>
            <a:ln w="56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0" name="Группа 149"/>
          <p:cNvGrpSpPr/>
          <p:nvPr/>
        </p:nvGrpSpPr>
        <p:grpSpPr>
          <a:xfrm>
            <a:off x="3406174" y="5492578"/>
            <a:ext cx="911353" cy="943932"/>
            <a:chOff x="6445842" y="4353826"/>
            <a:chExt cx="483063" cy="580280"/>
          </a:xfrm>
        </p:grpSpPr>
        <p:sp>
          <p:nvSpPr>
            <p:cNvPr id="151" name="Полилиния: фигура 153">
              <a:extLst>
                <a:ext uri="{FF2B5EF4-FFF2-40B4-BE49-F238E27FC236}">
                  <a16:creationId xmlns:a16="http://schemas.microsoft.com/office/drawing/2014/main" id="{53455C08-BAED-458A-8746-EA7B118977B7}"/>
                </a:ext>
              </a:extLst>
            </p:cNvPr>
            <p:cNvSpPr/>
            <p:nvPr/>
          </p:nvSpPr>
          <p:spPr>
            <a:xfrm>
              <a:off x="6451402" y="4711937"/>
              <a:ext cx="477503" cy="222169"/>
            </a:xfrm>
            <a:custGeom>
              <a:avLst/>
              <a:gdLst>
                <a:gd name="connsiteX0" fmla="*/ 472184 w 477503"/>
                <a:gd name="connsiteY0" fmla="*/ 52748 h 222169"/>
                <a:gd name="connsiteX1" fmla="*/ 438624 w 477503"/>
                <a:gd name="connsiteY1" fmla="*/ 42457 h 222169"/>
                <a:gd name="connsiteX2" fmla="*/ 433702 w 477503"/>
                <a:gd name="connsiteY2" fmla="*/ 28977 h 222169"/>
                <a:gd name="connsiteX3" fmla="*/ 394046 w 477503"/>
                <a:gd name="connsiteY3" fmla="*/ 21817 h 222169"/>
                <a:gd name="connsiteX4" fmla="*/ 389347 w 477503"/>
                <a:gd name="connsiteY4" fmla="*/ 24894 h 222169"/>
                <a:gd name="connsiteX5" fmla="*/ 384537 w 477503"/>
                <a:gd name="connsiteY5" fmla="*/ 12141 h 222169"/>
                <a:gd name="connsiteX6" fmla="*/ 344657 w 477503"/>
                <a:gd name="connsiteY6" fmla="*/ 5149 h 222169"/>
                <a:gd name="connsiteX7" fmla="*/ 344265 w 477503"/>
                <a:gd name="connsiteY7" fmla="*/ 5485 h 222169"/>
                <a:gd name="connsiteX8" fmla="*/ 344265 w 477503"/>
                <a:gd name="connsiteY8" fmla="*/ 5485 h 222169"/>
                <a:gd name="connsiteX9" fmla="*/ 248844 w 477503"/>
                <a:gd name="connsiteY9" fmla="*/ 69528 h 222169"/>
                <a:gd name="connsiteX10" fmla="*/ 192407 w 477503"/>
                <a:gd name="connsiteY10" fmla="*/ 42792 h 222169"/>
                <a:gd name="connsiteX11" fmla="*/ 125288 w 477503"/>
                <a:gd name="connsiteY11" fmla="*/ 12141 h 222169"/>
                <a:gd name="connsiteX12" fmla="*/ 4025 w 477503"/>
                <a:gd name="connsiteY12" fmla="*/ 64550 h 222169"/>
                <a:gd name="connsiteX13" fmla="*/ 1117 w 477503"/>
                <a:gd name="connsiteY13" fmla="*/ 75681 h 222169"/>
                <a:gd name="connsiteX14" fmla="*/ 12247 w 477503"/>
                <a:gd name="connsiteY14" fmla="*/ 78589 h 222169"/>
                <a:gd name="connsiteX15" fmla="*/ 124113 w 477503"/>
                <a:gd name="connsiteY15" fmla="*/ 28250 h 222169"/>
                <a:gd name="connsiteX16" fmla="*/ 184745 w 477503"/>
                <a:gd name="connsiteY16" fmla="*/ 56887 h 222169"/>
                <a:gd name="connsiteX17" fmla="*/ 247445 w 477503"/>
                <a:gd name="connsiteY17" fmla="*/ 85525 h 222169"/>
                <a:gd name="connsiteX18" fmla="*/ 249067 w 477503"/>
                <a:gd name="connsiteY18" fmla="*/ 85525 h 222169"/>
                <a:gd name="connsiteX19" fmla="*/ 305000 w 477503"/>
                <a:gd name="connsiteY19" fmla="*/ 85525 h 222169"/>
                <a:gd name="connsiteX20" fmla="*/ 323458 w 477503"/>
                <a:gd name="connsiteY20" fmla="*/ 103983 h 222169"/>
                <a:gd name="connsiteX21" fmla="*/ 305000 w 477503"/>
                <a:gd name="connsiteY21" fmla="*/ 122441 h 222169"/>
                <a:gd name="connsiteX22" fmla="*/ 304441 w 477503"/>
                <a:gd name="connsiteY22" fmla="*/ 122441 h 222169"/>
                <a:gd name="connsiteX23" fmla="*/ 226918 w 477503"/>
                <a:gd name="connsiteY23" fmla="*/ 122441 h 222169"/>
                <a:gd name="connsiteX24" fmla="*/ 178648 w 477503"/>
                <a:gd name="connsiteY24" fmla="*/ 94810 h 222169"/>
                <a:gd name="connsiteX25" fmla="*/ 167182 w 477503"/>
                <a:gd name="connsiteY25" fmla="*/ 95425 h 222169"/>
                <a:gd name="connsiteX26" fmla="*/ 167797 w 477503"/>
                <a:gd name="connsiteY26" fmla="*/ 106891 h 222169"/>
                <a:gd name="connsiteX27" fmla="*/ 224233 w 477503"/>
                <a:gd name="connsiteY27" fmla="*/ 138494 h 222169"/>
                <a:gd name="connsiteX28" fmla="*/ 256898 w 477503"/>
                <a:gd name="connsiteY28" fmla="*/ 140339 h 222169"/>
                <a:gd name="connsiteX29" fmla="*/ 305560 w 477503"/>
                <a:gd name="connsiteY29" fmla="*/ 138549 h 222169"/>
                <a:gd name="connsiteX30" fmla="*/ 305560 w 477503"/>
                <a:gd name="connsiteY30" fmla="*/ 138549 h 222169"/>
                <a:gd name="connsiteX31" fmla="*/ 336175 w 477503"/>
                <a:gd name="connsiteY31" fmla="*/ 100236 h 222169"/>
                <a:gd name="connsiteX32" fmla="*/ 304609 w 477503"/>
                <a:gd name="connsiteY32" fmla="*/ 69528 h 222169"/>
                <a:gd name="connsiteX33" fmla="*/ 285592 w 477503"/>
                <a:gd name="connsiteY33" fmla="*/ 69528 h 222169"/>
                <a:gd name="connsiteX34" fmla="*/ 354054 w 477503"/>
                <a:gd name="connsiteY34" fmla="*/ 18629 h 222169"/>
                <a:gd name="connsiteX35" fmla="*/ 371247 w 477503"/>
                <a:gd name="connsiteY35" fmla="*/ 21786 h 222169"/>
                <a:gd name="connsiteX36" fmla="*/ 373239 w 477503"/>
                <a:gd name="connsiteY36" fmla="*/ 30990 h 222169"/>
                <a:gd name="connsiteX37" fmla="*/ 368149 w 477503"/>
                <a:gd name="connsiteY37" fmla="*/ 38989 h 222169"/>
                <a:gd name="connsiteX38" fmla="*/ 367589 w 477503"/>
                <a:gd name="connsiteY38" fmla="*/ 39436 h 222169"/>
                <a:gd name="connsiteX39" fmla="*/ 366974 w 477503"/>
                <a:gd name="connsiteY39" fmla="*/ 39940 h 222169"/>
                <a:gd name="connsiteX40" fmla="*/ 366471 w 477503"/>
                <a:gd name="connsiteY40" fmla="*/ 40555 h 222169"/>
                <a:gd name="connsiteX41" fmla="*/ 365967 w 477503"/>
                <a:gd name="connsiteY41" fmla="*/ 41226 h 222169"/>
                <a:gd name="connsiteX42" fmla="*/ 365632 w 477503"/>
                <a:gd name="connsiteY42" fmla="*/ 41897 h 222169"/>
                <a:gd name="connsiteX43" fmla="*/ 365240 w 477503"/>
                <a:gd name="connsiteY43" fmla="*/ 42624 h 222169"/>
                <a:gd name="connsiteX44" fmla="*/ 365240 w 477503"/>
                <a:gd name="connsiteY44" fmla="*/ 43352 h 222169"/>
                <a:gd name="connsiteX45" fmla="*/ 365240 w 477503"/>
                <a:gd name="connsiteY45" fmla="*/ 44135 h 222169"/>
                <a:gd name="connsiteX46" fmla="*/ 365240 w 477503"/>
                <a:gd name="connsiteY46" fmla="*/ 44862 h 222169"/>
                <a:gd name="connsiteX47" fmla="*/ 365240 w 477503"/>
                <a:gd name="connsiteY47" fmla="*/ 45701 h 222169"/>
                <a:gd name="connsiteX48" fmla="*/ 365240 w 477503"/>
                <a:gd name="connsiteY48" fmla="*/ 46484 h 222169"/>
                <a:gd name="connsiteX49" fmla="*/ 365240 w 477503"/>
                <a:gd name="connsiteY49" fmla="*/ 47267 h 222169"/>
                <a:gd name="connsiteX50" fmla="*/ 365240 w 477503"/>
                <a:gd name="connsiteY50" fmla="*/ 48050 h 222169"/>
                <a:gd name="connsiteX51" fmla="*/ 365240 w 477503"/>
                <a:gd name="connsiteY51" fmla="*/ 48777 h 222169"/>
                <a:gd name="connsiteX52" fmla="*/ 365632 w 477503"/>
                <a:gd name="connsiteY52" fmla="*/ 49560 h 222169"/>
                <a:gd name="connsiteX53" fmla="*/ 365911 w 477503"/>
                <a:gd name="connsiteY53" fmla="*/ 50119 h 222169"/>
                <a:gd name="connsiteX54" fmla="*/ 365911 w 477503"/>
                <a:gd name="connsiteY54" fmla="*/ 50119 h 222169"/>
                <a:gd name="connsiteX55" fmla="*/ 366191 w 477503"/>
                <a:gd name="connsiteY55" fmla="*/ 50455 h 222169"/>
                <a:gd name="connsiteX56" fmla="*/ 367086 w 477503"/>
                <a:gd name="connsiteY56" fmla="*/ 51462 h 222169"/>
                <a:gd name="connsiteX57" fmla="*/ 367589 w 477503"/>
                <a:gd name="connsiteY57" fmla="*/ 51853 h 222169"/>
                <a:gd name="connsiteX58" fmla="*/ 368596 w 477503"/>
                <a:gd name="connsiteY58" fmla="*/ 52525 h 222169"/>
                <a:gd name="connsiteX59" fmla="*/ 369100 w 477503"/>
                <a:gd name="connsiteY59" fmla="*/ 52748 h 222169"/>
                <a:gd name="connsiteX60" fmla="*/ 370330 w 477503"/>
                <a:gd name="connsiteY60" fmla="*/ 53196 h 222169"/>
                <a:gd name="connsiteX61" fmla="*/ 370778 w 477503"/>
                <a:gd name="connsiteY61" fmla="*/ 53196 h 222169"/>
                <a:gd name="connsiteX62" fmla="*/ 372512 w 477503"/>
                <a:gd name="connsiteY62" fmla="*/ 53196 h 222169"/>
                <a:gd name="connsiteX63" fmla="*/ 372512 w 477503"/>
                <a:gd name="connsiteY63" fmla="*/ 53196 h 222169"/>
                <a:gd name="connsiteX64" fmla="*/ 374469 w 477503"/>
                <a:gd name="connsiteY64" fmla="*/ 52916 h 222169"/>
                <a:gd name="connsiteX65" fmla="*/ 374973 w 477503"/>
                <a:gd name="connsiteY65" fmla="*/ 52916 h 222169"/>
                <a:gd name="connsiteX66" fmla="*/ 376818 w 477503"/>
                <a:gd name="connsiteY66" fmla="*/ 52021 h 222169"/>
                <a:gd name="connsiteX67" fmla="*/ 402715 w 477503"/>
                <a:gd name="connsiteY67" fmla="*/ 35241 h 222169"/>
                <a:gd name="connsiteX68" fmla="*/ 419999 w 477503"/>
                <a:gd name="connsiteY68" fmla="*/ 38262 h 222169"/>
                <a:gd name="connsiteX69" fmla="*/ 416988 w 477503"/>
                <a:gd name="connsiteY69" fmla="*/ 55482 h 222169"/>
                <a:gd name="connsiteX70" fmla="*/ 416978 w 477503"/>
                <a:gd name="connsiteY70" fmla="*/ 55489 h 222169"/>
                <a:gd name="connsiteX71" fmla="*/ 408644 w 477503"/>
                <a:gd name="connsiteY71" fmla="*/ 61082 h 222169"/>
                <a:gd name="connsiteX72" fmla="*/ 406491 w 477503"/>
                <a:gd name="connsiteY72" fmla="*/ 72968 h 222169"/>
                <a:gd name="connsiteX73" fmla="*/ 418377 w 477503"/>
                <a:gd name="connsiteY73" fmla="*/ 75121 h 222169"/>
                <a:gd name="connsiteX74" fmla="*/ 426599 w 477503"/>
                <a:gd name="connsiteY74" fmla="*/ 69528 h 222169"/>
                <a:gd name="connsiteX75" fmla="*/ 441812 w 477503"/>
                <a:gd name="connsiteY75" fmla="*/ 59292 h 222169"/>
                <a:gd name="connsiteX76" fmla="*/ 459193 w 477503"/>
                <a:gd name="connsiteY76" fmla="*/ 61166 h 222169"/>
                <a:gd name="connsiteX77" fmla="*/ 457320 w 477503"/>
                <a:gd name="connsiteY77" fmla="*/ 78546 h 222169"/>
                <a:gd name="connsiteX78" fmla="*/ 455796 w 477503"/>
                <a:gd name="connsiteY78" fmla="*/ 79596 h 222169"/>
                <a:gd name="connsiteX79" fmla="*/ 455796 w 477503"/>
                <a:gd name="connsiteY79" fmla="*/ 79596 h 222169"/>
                <a:gd name="connsiteX80" fmla="*/ 252759 w 477503"/>
                <a:gd name="connsiteY80" fmla="*/ 205893 h 222169"/>
                <a:gd name="connsiteX81" fmla="*/ 196267 w 477503"/>
                <a:gd name="connsiteY81" fmla="*/ 178765 h 222169"/>
                <a:gd name="connsiteX82" fmla="*/ 133398 w 477503"/>
                <a:gd name="connsiteY82" fmla="*/ 148729 h 222169"/>
                <a:gd name="connsiteX83" fmla="*/ 46422 w 477503"/>
                <a:gd name="connsiteY83" fmla="*/ 185869 h 222169"/>
                <a:gd name="connsiteX84" fmla="*/ 44940 w 477503"/>
                <a:gd name="connsiteY84" fmla="*/ 197251 h 222169"/>
                <a:gd name="connsiteX85" fmla="*/ 56322 w 477503"/>
                <a:gd name="connsiteY85" fmla="*/ 198733 h 222169"/>
                <a:gd name="connsiteX86" fmla="*/ 131273 w 477503"/>
                <a:gd name="connsiteY86" fmla="*/ 164782 h 222169"/>
                <a:gd name="connsiteX87" fmla="*/ 187989 w 477503"/>
                <a:gd name="connsiteY87" fmla="*/ 192748 h 222169"/>
                <a:gd name="connsiteX88" fmla="*/ 252759 w 477503"/>
                <a:gd name="connsiteY88" fmla="*/ 222169 h 222169"/>
                <a:gd name="connsiteX89" fmla="*/ 465304 w 477503"/>
                <a:gd name="connsiteY89" fmla="*/ 92908 h 222169"/>
                <a:gd name="connsiteX90" fmla="*/ 466031 w 477503"/>
                <a:gd name="connsiteY90" fmla="*/ 92293 h 222169"/>
                <a:gd name="connsiteX91" fmla="*/ 472184 w 477503"/>
                <a:gd name="connsiteY91" fmla="*/ 52748 h 222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77503" h="222169">
                  <a:moveTo>
                    <a:pt x="472184" y="52748"/>
                  </a:moveTo>
                  <a:cubicBezTo>
                    <a:pt x="464645" y="42077"/>
                    <a:pt x="450850" y="37847"/>
                    <a:pt x="438624" y="42457"/>
                  </a:cubicBezTo>
                  <a:cubicBezTo>
                    <a:pt x="438171" y="37614"/>
                    <a:pt x="436476" y="32971"/>
                    <a:pt x="433702" y="28977"/>
                  </a:cubicBezTo>
                  <a:cubicBezTo>
                    <a:pt x="424682" y="16120"/>
                    <a:pt x="406991" y="12926"/>
                    <a:pt x="394046" y="21817"/>
                  </a:cubicBezTo>
                  <a:lnTo>
                    <a:pt x="389347" y="24894"/>
                  </a:lnTo>
                  <a:cubicBezTo>
                    <a:pt x="388805" y="20315"/>
                    <a:pt x="387154" y="15938"/>
                    <a:pt x="384537" y="12141"/>
                  </a:cubicBezTo>
                  <a:cubicBezTo>
                    <a:pt x="375417" y="-742"/>
                    <a:pt x="357615" y="-3863"/>
                    <a:pt x="344657" y="5149"/>
                  </a:cubicBezTo>
                  <a:lnTo>
                    <a:pt x="344265" y="5485"/>
                  </a:lnTo>
                  <a:lnTo>
                    <a:pt x="344265" y="5485"/>
                  </a:lnTo>
                  <a:cubicBezTo>
                    <a:pt x="306455" y="37255"/>
                    <a:pt x="260590" y="69528"/>
                    <a:pt x="248844" y="69528"/>
                  </a:cubicBezTo>
                  <a:cubicBezTo>
                    <a:pt x="240174" y="69528"/>
                    <a:pt x="213662" y="54706"/>
                    <a:pt x="192407" y="42792"/>
                  </a:cubicBezTo>
                  <a:cubicBezTo>
                    <a:pt x="165336" y="27634"/>
                    <a:pt x="139718" y="13316"/>
                    <a:pt x="125288" y="12141"/>
                  </a:cubicBezTo>
                  <a:cubicBezTo>
                    <a:pt x="97657" y="10015"/>
                    <a:pt x="13422" y="58957"/>
                    <a:pt x="4025" y="64550"/>
                  </a:cubicBezTo>
                  <a:cubicBezTo>
                    <a:pt x="148" y="66820"/>
                    <a:pt x="-1154" y="71804"/>
                    <a:pt x="1117" y="75681"/>
                  </a:cubicBezTo>
                  <a:cubicBezTo>
                    <a:pt x="3387" y="79557"/>
                    <a:pt x="8370" y="80860"/>
                    <a:pt x="12247" y="78589"/>
                  </a:cubicBezTo>
                  <a:cubicBezTo>
                    <a:pt x="46534" y="58453"/>
                    <a:pt x="107333" y="27299"/>
                    <a:pt x="124113" y="28250"/>
                  </a:cubicBezTo>
                  <a:cubicBezTo>
                    <a:pt x="135300" y="29089"/>
                    <a:pt x="161532" y="43855"/>
                    <a:pt x="184745" y="56887"/>
                  </a:cubicBezTo>
                  <a:cubicBezTo>
                    <a:pt x="215396" y="74059"/>
                    <a:pt x="235084" y="84854"/>
                    <a:pt x="247445" y="85525"/>
                  </a:cubicBezTo>
                  <a:cubicBezTo>
                    <a:pt x="247985" y="85579"/>
                    <a:pt x="248528" y="85579"/>
                    <a:pt x="249067" y="85525"/>
                  </a:cubicBezTo>
                  <a:lnTo>
                    <a:pt x="305000" y="85525"/>
                  </a:lnTo>
                  <a:cubicBezTo>
                    <a:pt x="315194" y="85525"/>
                    <a:pt x="323458" y="93789"/>
                    <a:pt x="323458" y="103983"/>
                  </a:cubicBezTo>
                  <a:cubicBezTo>
                    <a:pt x="323458" y="114177"/>
                    <a:pt x="315194" y="122441"/>
                    <a:pt x="305000" y="122441"/>
                  </a:cubicBezTo>
                  <a:lnTo>
                    <a:pt x="304441" y="122441"/>
                  </a:lnTo>
                  <a:cubicBezTo>
                    <a:pt x="303882" y="122441"/>
                    <a:pt x="249347" y="126244"/>
                    <a:pt x="226918" y="122441"/>
                  </a:cubicBezTo>
                  <a:cubicBezTo>
                    <a:pt x="205831" y="118917"/>
                    <a:pt x="178927" y="95034"/>
                    <a:pt x="178648" y="94810"/>
                  </a:cubicBezTo>
                  <a:cubicBezTo>
                    <a:pt x="175311" y="91814"/>
                    <a:pt x="170178" y="92089"/>
                    <a:pt x="167182" y="95425"/>
                  </a:cubicBezTo>
                  <a:cubicBezTo>
                    <a:pt x="164185" y="98762"/>
                    <a:pt x="164460" y="103895"/>
                    <a:pt x="167797" y="106891"/>
                  </a:cubicBezTo>
                  <a:cubicBezTo>
                    <a:pt x="169027" y="108010"/>
                    <a:pt x="198504" y="134187"/>
                    <a:pt x="224233" y="138494"/>
                  </a:cubicBezTo>
                  <a:cubicBezTo>
                    <a:pt x="235061" y="139919"/>
                    <a:pt x="245979" y="140536"/>
                    <a:pt x="256898" y="140339"/>
                  </a:cubicBezTo>
                  <a:cubicBezTo>
                    <a:pt x="280110" y="140339"/>
                    <a:pt x="304050" y="138661"/>
                    <a:pt x="305560" y="138549"/>
                  </a:cubicBezTo>
                  <a:lnTo>
                    <a:pt x="305560" y="138549"/>
                  </a:lnTo>
                  <a:cubicBezTo>
                    <a:pt x="324594" y="136423"/>
                    <a:pt x="338301" y="119270"/>
                    <a:pt x="336175" y="100236"/>
                  </a:cubicBezTo>
                  <a:cubicBezTo>
                    <a:pt x="334336" y="83775"/>
                    <a:pt x="321114" y="70912"/>
                    <a:pt x="304609" y="69528"/>
                  </a:cubicBezTo>
                  <a:lnTo>
                    <a:pt x="285592" y="69528"/>
                  </a:lnTo>
                  <a:cubicBezTo>
                    <a:pt x="309378" y="53900"/>
                    <a:pt x="332237" y="36906"/>
                    <a:pt x="354054" y="18629"/>
                  </a:cubicBezTo>
                  <a:cubicBezTo>
                    <a:pt x="359673" y="14753"/>
                    <a:pt x="367371" y="16166"/>
                    <a:pt x="371247" y="21786"/>
                  </a:cubicBezTo>
                  <a:cubicBezTo>
                    <a:pt x="373100" y="24471"/>
                    <a:pt x="373815" y="27780"/>
                    <a:pt x="373239" y="30990"/>
                  </a:cubicBezTo>
                  <a:cubicBezTo>
                    <a:pt x="372678" y="34229"/>
                    <a:pt x="370845" y="37109"/>
                    <a:pt x="368149" y="38989"/>
                  </a:cubicBezTo>
                  <a:lnTo>
                    <a:pt x="367589" y="39436"/>
                  </a:lnTo>
                  <a:lnTo>
                    <a:pt x="366974" y="39940"/>
                  </a:lnTo>
                  <a:lnTo>
                    <a:pt x="366471" y="40555"/>
                  </a:lnTo>
                  <a:lnTo>
                    <a:pt x="365967" y="41226"/>
                  </a:lnTo>
                  <a:lnTo>
                    <a:pt x="365632" y="41897"/>
                  </a:lnTo>
                  <a:lnTo>
                    <a:pt x="365240" y="42624"/>
                  </a:lnTo>
                  <a:cubicBezTo>
                    <a:pt x="365240" y="42624"/>
                    <a:pt x="365240" y="43072"/>
                    <a:pt x="365240" y="43352"/>
                  </a:cubicBezTo>
                  <a:cubicBezTo>
                    <a:pt x="365228" y="43612"/>
                    <a:pt x="365228" y="43874"/>
                    <a:pt x="365240" y="44135"/>
                  </a:cubicBezTo>
                  <a:cubicBezTo>
                    <a:pt x="365240" y="44135"/>
                    <a:pt x="365240" y="44638"/>
                    <a:pt x="365240" y="44862"/>
                  </a:cubicBezTo>
                  <a:cubicBezTo>
                    <a:pt x="365226" y="45141"/>
                    <a:pt x="365226" y="45421"/>
                    <a:pt x="365240" y="45701"/>
                  </a:cubicBezTo>
                  <a:cubicBezTo>
                    <a:pt x="365240" y="45701"/>
                    <a:pt x="365240" y="46204"/>
                    <a:pt x="365240" y="46484"/>
                  </a:cubicBezTo>
                  <a:cubicBezTo>
                    <a:pt x="365227" y="46744"/>
                    <a:pt x="365227" y="47006"/>
                    <a:pt x="365240" y="47267"/>
                  </a:cubicBezTo>
                  <a:cubicBezTo>
                    <a:pt x="365228" y="47527"/>
                    <a:pt x="365228" y="47789"/>
                    <a:pt x="365240" y="48050"/>
                  </a:cubicBezTo>
                  <a:cubicBezTo>
                    <a:pt x="365240" y="48050"/>
                    <a:pt x="365240" y="48553"/>
                    <a:pt x="365240" y="48777"/>
                  </a:cubicBezTo>
                  <a:cubicBezTo>
                    <a:pt x="365357" y="49045"/>
                    <a:pt x="365487" y="49306"/>
                    <a:pt x="365632" y="49560"/>
                  </a:cubicBezTo>
                  <a:lnTo>
                    <a:pt x="365911" y="50119"/>
                  </a:lnTo>
                  <a:lnTo>
                    <a:pt x="365911" y="50119"/>
                  </a:lnTo>
                  <a:lnTo>
                    <a:pt x="366191" y="50455"/>
                  </a:lnTo>
                  <a:cubicBezTo>
                    <a:pt x="366461" y="50815"/>
                    <a:pt x="366760" y="51151"/>
                    <a:pt x="367086" y="51462"/>
                  </a:cubicBezTo>
                  <a:lnTo>
                    <a:pt x="367589" y="51853"/>
                  </a:lnTo>
                  <a:lnTo>
                    <a:pt x="368596" y="52525"/>
                  </a:lnTo>
                  <a:lnTo>
                    <a:pt x="369100" y="52748"/>
                  </a:lnTo>
                  <a:lnTo>
                    <a:pt x="370330" y="53196"/>
                  </a:lnTo>
                  <a:lnTo>
                    <a:pt x="370778" y="53196"/>
                  </a:lnTo>
                  <a:cubicBezTo>
                    <a:pt x="371354" y="53258"/>
                    <a:pt x="371935" y="53258"/>
                    <a:pt x="372512" y="53196"/>
                  </a:cubicBezTo>
                  <a:lnTo>
                    <a:pt x="372512" y="53196"/>
                  </a:lnTo>
                  <a:cubicBezTo>
                    <a:pt x="373173" y="53183"/>
                    <a:pt x="373830" y="53089"/>
                    <a:pt x="374469" y="52916"/>
                  </a:cubicBezTo>
                  <a:lnTo>
                    <a:pt x="374973" y="52916"/>
                  </a:lnTo>
                  <a:cubicBezTo>
                    <a:pt x="375624" y="52697"/>
                    <a:pt x="376244" y="52397"/>
                    <a:pt x="376818" y="52021"/>
                  </a:cubicBezTo>
                  <a:lnTo>
                    <a:pt x="402715" y="35241"/>
                  </a:lnTo>
                  <a:cubicBezTo>
                    <a:pt x="408323" y="31309"/>
                    <a:pt x="416056" y="32660"/>
                    <a:pt x="419999" y="38262"/>
                  </a:cubicBezTo>
                  <a:cubicBezTo>
                    <a:pt x="423923" y="43848"/>
                    <a:pt x="422575" y="51558"/>
                    <a:pt x="416988" y="55482"/>
                  </a:cubicBezTo>
                  <a:cubicBezTo>
                    <a:pt x="416985" y="55485"/>
                    <a:pt x="416982" y="55487"/>
                    <a:pt x="416978" y="55489"/>
                  </a:cubicBezTo>
                  <a:lnTo>
                    <a:pt x="408644" y="61082"/>
                  </a:lnTo>
                  <a:cubicBezTo>
                    <a:pt x="404767" y="63770"/>
                    <a:pt x="403803" y="69091"/>
                    <a:pt x="406491" y="72968"/>
                  </a:cubicBezTo>
                  <a:cubicBezTo>
                    <a:pt x="409178" y="76845"/>
                    <a:pt x="414500" y="77809"/>
                    <a:pt x="418377" y="75121"/>
                  </a:cubicBezTo>
                  <a:lnTo>
                    <a:pt x="426599" y="69528"/>
                  </a:lnTo>
                  <a:lnTo>
                    <a:pt x="441812" y="59292"/>
                  </a:lnTo>
                  <a:cubicBezTo>
                    <a:pt x="447129" y="55010"/>
                    <a:pt x="454911" y="55849"/>
                    <a:pt x="459193" y="61166"/>
                  </a:cubicBezTo>
                  <a:cubicBezTo>
                    <a:pt x="463475" y="66483"/>
                    <a:pt x="462637" y="74264"/>
                    <a:pt x="457320" y="78546"/>
                  </a:cubicBezTo>
                  <a:cubicBezTo>
                    <a:pt x="456839" y="78934"/>
                    <a:pt x="456329" y="79285"/>
                    <a:pt x="455796" y="79596"/>
                  </a:cubicBezTo>
                  <a:lnTo>
                    <a:pt x="455796" y="79596"/>
                  </a:lnTo>
                  <a:cubicBezTo>
                    <a:pt x="367589" y="141514"/>
                    <a:pt x="267525" y="205725"/>
                    <a:pt x="252759" y="205893"/>
                  </a:cubicBezTo>
                  <a:cubicBezTo>
                    <a:pt x="241572" y="205893"/>
                    <a:pt x="217633" y="191462"/>
                    <a:pt x="196267" y="178765"/>
                  </a:cubicBezTo>
                  <a:cubicBezTo>
                    <a:pt x="172160" y="164390"/>
                    <a:pt x="149451" y="150799"/>
                    <a:pt x="133398" y="148729"/>
                  </a:cubicBezTo>
                  <a:cubicBezTo>
                    <a:pt x="101404" y="144478"/>
                    <a:pt x="51960" y="181394"/>
                    <a:pt x="46422" y="185869"/>
                  </a:cubicBezTo>
                  <a:cubicBezTo>
                    <a:pt x="42870" y="188603"/>
                    <a:pt x="42206" y="193699"/>
                    <a:pt x="44940" y="197251"/>
                  </a:cubicBezTo>
                  <a:cubicBezTo>
                    <a:pt x="47674" y="200803"/>
                    <a:pt x="52770" y="201467"/>
                    <a:pt x="56322" y="198733"/>
                  </a:cubicBezTo>
                  <a:cubicBezTo>
                    <a:pt x="69858" y="188330"/>
                    <a:pt x="109682" y="161929"/>
                    <a:pt x="131273" y="164782"/>
                  </a:cubicBezTo>
                  <a:cubicBezTo>
                    <a:pt x="144025" y="166460"/>
                    <a:pt x="167349" y="180387"/>
                    <a:pt x="187989" y="192748"/>
                  </a:cubicBezTo>
                  <a:cubicBezTo>
                    <a:pt x="213382" y="207906"/>
                    <a:pt x="237377" y="222169"/>
                    <a:pt x="252759" y="222169"/>
                  </a:cubicBezTo>
                  <a:cubicBezTo>
                    <a:pt x="279663" y="222169"/>
                    <a:pt x="434373" y="114498"/>
                    <a:pt x="465304" y="92908"/>
                  </a:cubicBezTo>
                  <a:lnTo>
                    <a:pt x="466031" y="92293"/>
                  </a:lnTo>
                  <a:cubicBezTo>
                    <a:pt x="478480" y="82969"/>
                    <a:pt x="481212" y="65414"/>
                    <a:pt x="472184" y="52748"/>
                  </a:cubicBezTo>
                  <a:close/>
                </a:path>
              </a:pathLst>
            </a:custGeom>
            <a:solidFill>
              <a:schemeClr val="tx1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pic>
          <p:nvPicPr>
            <p:cNvPr id="152" name="Рисунок 15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445842" y="4353826"/>
              <a:ext cx="451295" cy="370537"/>
            </a:xfrm>
            <a:prstGeom prst="rect">
              <a:avLst/>
            </a:prstGeom>
          </p:spPr>
        </p:pic>
      </p:grpSp>
      <p:grpSp>
        <p:nvGrpSpPr>
          <p:cNvPr id="162" name="Группа 161"/>
          <p:cNvGrpSpPr/>
          <p:nvPr/>
        </p:nvGrpSpPr>
        <p:grpSpPr>
          <a:xfrm>
            <a:off x="7332252" y="2269714"/>
            <a:ext cx="2095458" cy="2938355"/>
            <a:chOff x="5051625" y="2269714"/>
            <a:chExt cx="2095458" cy="3016900"/>
          </a:xfrm>
        </p:grpSpPr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CAA36BFD-4929-2D9E-D470-F5DEA2D7BFA6}"/>
                </a:ext>
              </a:extLst>
            </p:cNvPr>
            <p:cNvSpPr txBox="1"/>
            <p:nvPr/>
          </p:nvSpPr>
          <p:spPr>
            <a:xfrm>
              <a:off x="5172311" y="2993950"/>
              <a:ext cx="1846819" cy="20540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spcAft>
                  <a:spcPts val="1000"/>
                </a:spcAft>
                <a:buClr>
                  <a:srgbClr val="2FCBFF"/>
                </a:buClr>
                <a:defRPr/>
              </a:pPr>
              <a:r>
                <a:rPr lang="ru-RU" sz="1300" b="1" dirty="0">
                  <a:cs typeface="Calibri" panose="020F0502020204030204" pitchFamily="34" charset="0"/>
                </a:rPr>
                <a:t>Проверка наличия у Водителя </a:t>
              </a:r>
              <a:r>
                <a:rPr lang="ru-RU" sz="1300" b="1" dirty="0" smtClean="0">
                  <a:cs typeface="Calibri" panose="020F0502020204030204" pitchFamily="34" charset="0"/>
                </a:rPr>
                <a:t>ЛМК и </a:t>
              </a:r>
              <a:r>
                <a:rPr lang="ru-RU" sz="1300" b="1" dirty="0">
                  <a:cs typeface="Calibri" panose="020F0502020204030204" pitchFamily="34" charset="0"/>
                </a:rPr>
                <a:t>перечня актуальных на дату </a:t>
              </a:r>
              <a:r>
                <a:rPr lang="ru-RU" sz="1300" b="1" dirty="0" smtClean="0">
                  <a:cs typeface="Calibri" panose="020F0502020204030204" pitchFamily="34" charset="0"/>
                </a:rPr>
                <a:t>поставки товара лабораторных исследований, не реже одного раза в год</a:t>
              </a:r>
              <a:endParaRPr lang="ru-RU" sz="1300" b="1" kern="1200" dirty="0">
                <a:cs typeface="Calibri" panose="020F0502020204030204" pitchFamily="34" charset="0"/>
              </a:endParaRPr>
            </a:p>
          </p:txBody>
        </p:sp>
        <p:grpSp>
          <p:nvGrpSpPr>
            <p:cNvPr id="164" name="Группа 163"/>
            <p:cNvGrpSpPr/>
            <p:nvPr/>
          </p:nvGrpSpPr>
          <p:grpSpPr>
            <a:xfrm>
              <a:off x="5051625" y="2269714"/>
              <a:ext cx="2095458" cy="3016900"/>
              <a:chOff x="5051625" y="2269714"/>
              <a:chExt cx="2095458" cy="3016900"/>
            </a:xfrm>
          </p:grpSpPr>
          <p:grpSp>
            <p:nvGrpSpPr>
              <p:cNvPr id="165" name="Группа 164">
                <a:extLst>
                  <a:ext uri="{FF2B5EF4-FFF2-40B4-BE49-F238E27FC236}">
                    <a16:creationId xmlns:a16="http://schemas.microsoft.com/office/drawing/2014/main" id="{9E37940C-E2B8-BEC0-BB7B-F08FEF070149}"/>
                  </a:ext>
                </a:extLst>
              </p:cNvPr>
              <p:cNvGrpSpPr/>
              <p:nvPr/>
            </p:nvGrpSpPr>
            <p:grpSpPr>
              <a:xfrm>
                <a:off x="5051625" y="2576357"/>
                <a:ext cx="2095458" cy="2710257"/>
                <a:chOff x="571500" y="1195342"/>
                <a:chExt cx="11058716" cy="2076165"/>
              </a:xfrm>
            </p:grpSpPr>
            <p:sp>
              <p:nvSpPr>
                <p:cNvPr id="167" name="Прямоугольник 36">
                  <a:extLst>
                    <a:ext uri="{FF2B5EF4-FFF2-40B4-BE49-F238E27FC236}">
                      <a16:creationId xmlns:a16="http://schemas.microsoft.com/office/drawing/2014/main" id="{D78938C7-119D-0C5A-3A0C-2054B3259218}"/>
                    </a:ext>
                  </a:extLst>
                </p:cNvPr>
                <p:cNvSpPr/>
                <p:nvPr/>
              </p:nvSpPr>
              <p:spPr>
                <a:xfrm>
                  <a:off x="571500" y="1195342"/>
                  <a:ext cx="11058711" cy="2076165"/>
                </a:xfrm>
                <a:prstGeom prst="rect">
                  <a:avLst/>
                </a:prstGeom>
                <a:noFill/>
                <a:ln w="12700"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txBody>
      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68" name="Прямая соединительная линия 167">
                  <a:extLst>
                    <a:ext uri="{FF2B5EF4-FFF2-40B4-BE49-F238E27FC236}">
                      <a16:creationId xmlns:a16="http://schemas.microsoft.com/office/drawing/2014/main" id="{20BFE763-C2FB-5836-7D77-E1FDF18E30E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1500" y="1198562"/>
                  <a:ext cx="11058716" cy="0"/>
                </a:xfrm>
                <a:prstGeom prst="line">
                  <a:avLst/>
                </a:prstGeom>
                <a:ln w="2857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66" name="Овал 165">
                <a:extLst>
                  <a:ext uri="{FF2B5EF4-FFF2-40B4-BE49-F238E27FC236}">
                    <a16:creationId xmlns:a16="http://schemas.microsoft.com/office/drawing/2014/main" id="{9B68B848-1D39-3236-D4C4-C93EFAF8BBF5}"/>
                  </a:ext>
                </a:extLst>
              </p:cNvPr>
              <p:cNvSpPr/>
              <p:nvPr/>
            </p:nvSpPr>
            <p:spPr>
              <a:xfrm>
                <a:off x="5759493" y="2269714"/>
                <a:ext cx="630628" cy="632176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grpSp>
        <p:nvGrpSpPr>
          <p:cNvPr id="169" name="Рисунок 27">
            <a:extLst>
              <a:ext uri="{FF2B5EF4-FFF2-40B4-BE49-F238E27FC236}">
                <a16:creationId xmlns:a16="http://schemas.microsoft.com/office/drawing/2014/main" id="{E5BEEFF9-C3C6-4349-8820-531C47D4397D}"/>
              </a:ext>
            </a:extLst>
          </p:cNvPr>
          <p:cNvGrpSpPr/>
          <p:nvPr/>
        </p:nvGrpSpPr>
        <p:grpSpPr>
          <a:xfrm>
            <a:off x="7868190" y="5498757"/>
            <a:ext cx="1065164" cy="937755"/>
            <a:chOff x="8786582" y="3436508"/>
            <a:chExt cx="455519" cy="425090"/>
          </a:xfrm>
          <a:solidFill>
            <a:schemeClr val="tx1"/>
          </a:solidFill>
        </p:grpSpPr>
        <p:sp>
          <p:nvSpPr>
            <p:cNvPr id="170" name="Полилиния: фигура 118">
              <a:extLst>
                <a:ext uri="{FF2B5EF4-FFF2-40B4-BE49-F238E27FC236}">
                  <a16:creationId xmlns:a16="http://schemas.microsoft.com/office/drawing/2014/main" id="{B9301100-4143-463B-A241-51B18ACBC547}"/>
                </a:ext>
              </a:extLst>
            </p:cNvPr>
            <p:cNvSpPr/>
            <p:nvPr/>
          </p:nvSpPr>
          <p:spPr>
            <a:xfrm>
              <a:off x="8836586" y="3713790"/>
              <a:ext cx="102100" cy="102100"/>
            </a:xfrm>
            <a:custGeom>
              <a:avLst/>
              <a:gdLst>
                <a:gd name="connsiteX0" fmla="*/ 0 w 102100"/>
                <a:gd name="connsiteY0" fmla="*/ 51050 h 102100"/>
                <a:gd name="connsiteX1" fmla="*/ 51050 w 102100"/>
                <a:gd name="connsiteY1" fmla="*/ 102100 h 102100"/>
                <a:gd name="connsiteX2" fmla="*/ 102100 w 102100"/>
                <a:gd name="connsiteY2" fmla="*/ 51050 h 102100"/>
                <a:gd name="connsiteX3" fmla="*/ 51050 w 102100"/>
                <a:gd name="connsiteY3" fmla="*/ 0 h 102100"/>
                <a:gd name="connsiteX4" fmla="*/ 0 w 102100"/>
                <a:gd name="connsiteY4" fmla="*/ 51050 h 102100"/>
                <a:gd name="connsiteX5" fmla="*/ 85320 w 102100"/>
                <a:gd name="connsiteY5" fmla="*/ 51050 h 102100"/>
                <a:gd name="connsiteX6" fmla="*/ 51050 w 102100"/>
                <a:gd name="connsiteY6" fmla="*/ 85320 h 102100"/>
                <a:gd name="connsiteX7" fmla="*/ 16780 w 102100"/>
                <a:gd name="connsiteY7" fmla="*/ 51050 h 102100"/>
                <a:gd name="connsiteX8" fmla="*/ 51050 w 102100"/>
                <a:gd name="connsiteY8" fmla="*/ 16780 h 102100"/>
                <a:gd name="connsiteX9" fmla="*/ 85320 w 102100"/>
                <a:gd name="connsiteY9" fmla="*/ 51050 h 10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100" h="102100">
                  <a:moveTo>
                    <a:pt x="0" y="51050"/>
                  </a:moveTo>
                  <a:cubicBezTo>
                    <a:pt x="0" y="79195"/>
                    <a:pt x="22899" y="102100"/>
                    <a:pt x="51050" y="102100"/>
                  </a:cubicBezTo>
                  <a:cubicBezTo>
                    <a:pt x="79201" y="102100"/>
                    <a:pt x="102100" y="79195"/>
                    <a:pt x="102100" y="51050"/>
                  </a:cubicBezTo>
                  <a:cubicBezTo>
                    <a:pt x="102100" y="22905"/>
                    <a:pt x="79201" y="0"/>
                    <a:pt x="51050" y="0"/>
                  </a:cubicBezTo>
                  <a:cubicBezTo>
                    <a:pt x="22899" y="0"/>
                    <a:pt x="0" y="22899"/>
                    <a:pt x="0" y="51050"/>
                  </a:cubicBezTo>
                  <a:close/>
                  <a:moveTo>
                    <a:pt x="85320" y="51050"/>
                  </a:moveTo>
                  <a:cubicBezTo>
                    <a:pt x="85320" y="69944"/>
                    <a:pt x="69944" y="85320"/>
                    <a:pt x="51050" y="85320"/>
                  </a:cubicBezTo>
                  <a:cubicBezTo>
                    <a:pt x="32156" y="85320"/>
                    <a:pt x="16780" y="69944"/>
                    <a:pt x="16780" y="51050"/>
                  </a:cubicBezTo>
                  <a:cubicBezTo>
                    <a:pt x="16780" y="32156"/>
                    <a:pt x="32156" y="16780"/>
                    <a:pt x="51050" y="16780"/>
                  </a:cubicBezTo>
                  <a:cubicBezTo>
                    <a:pt x="69944" y="16780"/>
                    <a:pt x="85320" y="32156"/>
                    <a:pt x="85320" y="5105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Полилиния: фигура 119">
              <a:extLst>
                <a:ext uri="{FF2B5EF4-FFF2-40B4-BE49-F238E27FC236}">
                  <a16:creationId xmlns:a16="http://schemas.microsoft.com/office/drawing/2014/main" id="{0652B0BF-C398-4BFF-BCF3-082DF966FF64}"/>
                </a:ext>
              </a:extLst>
            </p:cNvPr>
            <p:cNvSpPr/>
            <p:nvPr/>
          </p:nvSpPr>
          <p:spPr>
            <a:xfrm>
              <a:off x="9028534" y="3572068"/>
              <a:ext cx="213567" cy="159888"/>
            </a:xfrm>
            <a:custGeom>
              <a:avLst/>
              <a:gdLst>
                <a:gd name="connsiteX0" fmla="*/ 210764 w 213567"/>
                <a:gd name="connsiteY0" fmla="*/ 2130 h 159888"/>
                <a:gd name="connsiteX1" fmla="*/ 198917 w 213567"/>
                <a:gd name="connsiteY1" fmla="*/ 2801 h 159888"/>
                <a:gd name="connsiteX2" fmla="*/ 77056 w 213567"/>
                <a:gd name="connsiteY2" fmla="*/ 139294 h 159888"/>
                <a:gd name="connsiteX3" fmla="*/ 14322 w 213567"/>
                <a:gd name="connsiteY3" fmla="*/ 76560 h 159888"/>
                <a:gd name="connsiteX4" fmla="*/ 2458 w 213567"/>
                <a:gd name="connsiteY4" fmla="*/ 76560 h 159888"/>
                <a:gd name="connsiteX5" fmla="*/ 2458 w 213567"/>
                <a:gd name="connsiteY5" fmla="*/ 88423 h 159888"/>
                <a:gd name="connsiteX6" fmla="*/ 71474 w 213567"/>
                <a:gd name="connsiteY6" fmla="*/ 157433 h 159888"/>
                <a:gd name="connsiteX7" fmla="*/ 77408 w 213567"/>
                <a:gd name="connsiteY7" fmla="*/ 159889 h 159888"/>
                <a:gd name="connsiteX8" fmla="*/ 77643 w 213567"/>
                <a:gd name="connsiteY8" fmla="*/ 159883 h 159888"/>
                <a:gd name="connsiteX9" fmla="*/ 83667 w 213567"/>
                <a:gd name="connsiteY9" fmla="*/ 157086 h 159888"/>
                <a:gd name="connsiteX10" fmla="*/ 211441 w 213567"/>
                <a:gd name="connsiteY10" fmla="*/ 13971 h 159888"/>
                <a:gd name="connsiteX11" fmla="*/ 210764 w 213567"/>
                <a:gd name="connsiteY11" fmla="*/ 2130 h 15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567" h="159888">
                  <a:moveTo>
                    <a:pt x="210764" y="2130"/>
                  </a:moveTo>
                  <a:cubicBezTo>
                    <a:pt x="207307" y="-952"/>
                    <a:pt x="202010" y="-656"/>
                    <a:pt x="198917" y="2801"/>
                  </a:cubicBezTo>
                  <a:lnTo>
                    <a:pt x="77056" y="139294"/>
                  </a:lnTo>
                  <a:lnTo>
                    <a:pt x="14322" y="76560"/>
                  </a:lnTo>
                  <a:cubicBezTo>
                    <a:pt x="11044" y="73282"/>
                    <a:pt x="5736" y="73282"/>
                    <a:pt x="2458" y="76560"/>
                  </a:cubicBezTo>
                  <a:cubicBezTo>
                    <a:pt x="-819" y="79837"/>
                    <a:pt x="-819" y="85145"/>
                    <a:pt x="2458" y="88423"/>
                  </a:cubicBezTo>
                  <a:lnTo>
                    <a:pt x="71474" y="157433"/>
                  </a:lnTo>
                  <a:cubicBezTo>
                    <a:pt x="73051" y="159011"/>
                    <a:pt x="75182" y="159889"/>
                    <a:pt x="77408" y="159889"/>
                  </a:cubicBezTo>
                  <a:cubicBezTo>
                    <a:pt x="77487" y="159889"/>
                    <a:pt x="77565" y="159889"/>
                    <a:pt x="77643" y="159883"/>
                  </a:cubicBezTo>
                  <a:cubicBezTo>
                    <a:pt x="79948" y="159816"/>
                    <a:pt x="82129" y="158809"/>
                    <a:pt x="83667" y="157086"/>
                  </a:cubicBezTo>
                  <a:lnTo>
                    <a:pt x="211441" y="13971"/>
                  </a:lnTo>
                  <a:cubicBezTo>
                    <a:pt x="214523" y="10520"/>
                    <a:pt x="214220" y="5212"/>
                    <a:pt x="210764" y="213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Полилиния: фигура 120">
              <a:extLst>
                <a:ext uri="{FF2B5EF4-FFF2-40B4-BE49-F238E27FC236}">
                  <a16:creationId xmlns:a16="http://schemas.microsoft.com/office/drawing/2014/main" id="{97FDB61E-B7AA-4C1E-A264-E1A2743D4984}"/>
                </a:ext>
              </a:extLst>
            </p:cNvPr>
            <p:cNvSpPr/>
            <p:nvPr/>
          </p:nvSpPr>
          <p:spPr>
            <a:xfrm>
              <a:off x="8786582" y="3436508"/>
              <a:ext cx="330642" cy="425090"/>
            </a:xfrm>
            <a:custGeom>
              <a:avLst/>
              <a:gdLst>
                <a:gd name="connsiteX0" fmla="*/ 322252 w 330642"/>
                <a:gd name="connsiteY0" fmla="*/ 316430 h 425090"/>
                <a:gd name="connsiteX1" fmla="*/ 313862 w 330642"/>
                <a:gd name="connsiteY1" fmla="*/ 324820 h 425090"/>
                <a:gd name="connsiteX2" fmla="*/ 313862 w 330642"/>
                <a:gd name="connsiteY2" fmla="*/ 408311 h 425090"/>
                <a:gd name="connsiteX3" fmla="*/ 16780 w 330642"/>
                <a:gd name="connsiteY3" fmla="*/ 408311 h 425090"/>
                <a:gd name="connsiteX4" fmla="*/ 16780 w 330642"/>
                <a:gd name="connsiteY4" fmla="*/ 16780 h 425090"/>
                <a:gd name="connsiteX5" fmla="*/ 313862 w 330642"/>
                <a:gd name="connsiteY5" fmla="*/ 16780 h 425090"/>
                <a:gd name="connsiteX6" fmla="*/ 313862 w 330642"/>
                <a:gd name="connsiteY6" fmla="*/ 192560 h 425090"/>
                <a:gd name="connsiteX7" fmla="*/ 322252 w 330642"/>
                <a:gd name="connsiteY7" fmla="*/ 200950 h 425090"/>
                <a:gd name="connsiteX8" fmla="*/ 330642 w 330642"/>
                <a:gd name="connsiteY8" fmla="*/ 192560 h 425090"/>
                <a:gd name="connsiteX9" fmla="*/ 330642 w 330642"/>
                <a:gd name="connsiteY9" fmla="*/ 8390 h 425090"/>
                <a:gd name="connsiteX10" fmla="*/ 322252 w 330642"/>
                <a:gd name="connsiteY10" fmla="*/ 0 h 425090"/>
                <a:gd name="connsiteX11" fmla="*/ 8390 w 330642"/>
                <a:gd name="connsiteY11" fmla="*/ 0 h 425090"/>
                <a:gd name="connsiteX12" fmla="*/ 0 w 330642"/>
                <a:gd name="connsiteY12" fmla="*/ 8390 h 425090"/>
                <a:gd name="connsiteX13" fmla="*/ 0 w 330642"/>
                <a:gd name="connsiteY13" fmla="*/ 416701 h 425090"/>
                <a:gd name="connsiteX14" fmla="*/ 8390 w 330642"/>
                <a:gd name="connsiteY14" fmla="*/ 425091 h 425090"/>
                <a:gd name="connsiteX15" fmla="*/ 322252 w 330642"/>
                <a:gd name="connsiteY15" fmla="*/ 425091 h 425090"/>
                <a:gd name="connsiteX16" fmla="*/ 330642 w 330642"/>
                <a:gd name="connsiteY16" fmla="*/ 416701 h 425090"/>
                <a:gd name="connsiteX17" fmla="*/ 330642 w 330642"/>
                <a:gd name="connsiteY17" fmla="*/ 324820 h 425090"/>
                <a:gd name="connsiteX18" fmla="*/ 322252 w 330642"/>
                <a:gd name="connsiteY18" fmla="*/ 316430 h 425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0642" h="425090">
                  <a:moveTo>
                    <a:pt x="322252" y="316430"/>
                  </a:moveTo>
                  <a:cubicBezTo>
                    <a:pt x="317615" y="316430"/>
                    <a:pt x="313862" y="320188"/>
                    <a:pt x="313862" y="324820"/>
                  </a:cubicBezTo>
                  <a:lnTo>
                    <a:pt x="313862" y="408311"/>
                  </a:lnTo>
                  <a:lnTo>
                    <a:pt x="16780" y="408311"/>
                  </a:lnTo>
                  <a:lnTo>
                    <a:pt x="16780" y="16780"/>
                  </a:lnTo>
                  <a:lnTo>
                    <a:pt x="313862" y="16780"/>
                  </a:lnTo>
                  <a:lnTo>
                    <a:pt x="313862" y="192560"/>
                  </a:lnTo>
                  <a:cubicBezTo>
                    <a:pt x="313862" y="197192"/>
                    <a:pt x="317615" y="200950"/>
                    <a:pt x="322252" y="200950"/>
                  </a:cubicBezTo>
                  <a:cubicBezTo>
                    <a:pt x="326889" y="200950"/>
                    <a:pt x="330642" y="197192"/>
                    <a:pt x="330642" y="192560"/>
                  </a:cubicBezTo>
                  <a:lnTo>
                    <a:pt x="330642" y="8390"/>
                  </a:lnTo>
                  <a:cubicBezTo>
                    <a:pt x="330642" y="3759"/>
                    <a:pt x="326889" y="0"/>
                    <a:pt x="322252" y="0"/>
                  </a:cubicBezTo>
                  <a:lnTo>
                    <a:pt x="8390" y="0"/>
                  </a:lnTo>
                  <a:cubicBezTo>
                    <a:pt x="3753" y="0"/>
                    <a:pt x="0" y="3759"/>
                    <a:pt x="0" y="8390"/>
                  </a:cubicBezTo>
                  <a:lnTo>
                    <a:pt x="0" y="416701"/>
                  </a:lnTo>
                  <a:cubicBezTo>
                    <a:pt x="0" y="421332"/>
                    <a:pt x="3753" y="425091"/>
                    <a:pt x="8390" y="425091"/>
                  </a:cubicBezTo>
                  <a:lnTo>
                    <a:pt x="322252" y="425091"/>
                  </a:lnTo>
                  <a:cubicBezTo>
                    <a:pt x="326889" y="425091"/>
                    <a:pt x="330642" y="421332"/>
                    <a:pt x="330642" y="416701"/>
                  </a:cubicBezTo>
                  <a:lnTo>
                    <a:pt x="330642" y="324820"/>
                  </a:lnTo>
                  <a:cubicBezTo>
                    <a:pt x="330642" y="320188"/>
                    <a:pt x="326889" y="316430"/>
                    <a:pt x="322252" y="31643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Полилиния: фигура 121">
              <a:extLst>
                <a:ext uri="{FF2B5EF4-FFF2-40B4-BE49-F238E27FC236}">
                  <a16:creationId xmlns:a16="http://schemas.microsoft.com/office/drawing/2014/main" id="{BD811F0C-0511-4956-AFFC-F5B84F012864}"/>
                </a:ext>
              </a:extLst>
            </p:cNvPr>
            <p:cNvSpPr/>
            <p:nvPr/>
          </p:nvSpPr>
          <p:spPr>
            <a:xfrm>
              <a:off x="8833812" y="3532852"/>
              <a:ext cx="185339" cy="16779"/>
            </a:xfrm>
            <a:custGeom>
              <a:avLst/>
              <a:gdLst>
                <a:gd name="connsiteX0" fmla="*/ 176950 w 185339"/>
                <a:gd name="connsiteY0" fmla="*/ 16780 h 16779"/>
                <a:gd name="connsiteX1" fmla="*/ 185339 w 185339"/>
                <a:gd name="connsiteY1" fmla="*/ 8390 h 16779"/>
                <a:gd name="connsiteX2" fmla="*/ 176950 w 185339"/>
                <a:gd name="connsiteY2" fmla="*/ 0 h 16779"/>
                <a:gd name="connsiteX3" fmla="*/ 8390 w 185339"/>
                <a:gd name="connsiteY3" fmla="*/ 0 h 16779"/>
                <a:gd name="connsiteX4" fmla="*/ 0 w 185339"/>
                <a:gd name="connsiteY4" fmla="*/ 8390 h 16779"/>
                <a:gd name="connsiteX5" fmla="*/ 8390 w 185339"/>
                <a:gd name="connsiteY5" fmla="*/ 16780 h 16779"/>
                <a:gd name="connsiteX6" fmla="*/ 176950 w 185339"/>
                <a:gd name="connsiteY6" fmla="*/ 1678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339" h="16779">
                  <a:moveTo>
                    <a:pt x="176950" y="16780"/>
                  </a:moveTo>
                  <a:cubicBezTo>
                    <a:pt x="181586" y="16780"/>
                    <a:pt x="185339" y="13021"/>
                    <a:pt x="185339" y="8390"/>
                  </a:cubicBezTo>
                  <a:cubicBezTo>
                    <a:pt x="185339" y="3759"/>
                    <a:pt x="181586" y="0"/>
                    <a:pt x="176950" y="0"/>
                  </a:cubicBezTo>
                  <a:lnTo>
                    <a:pt x="8390" y="0"/>
                  </a:lnTo>
                  <a:cubicBezTo>
                    <a:pt x="3753" y="0"/>
                    <a:pt x="0" y="3759"/>
                    <a:pt x="0" y="8390"/>
                  </a:cubicBezTo>
                  <a:cubicBezTo>
                    <a:pt x="0" y="13021"/>
                    <a:pt x="3753" y="16780"/>
                    <a:pt x="8390" y="16780"/>
                  </a:cubicBezTo>
                  <a:lnTo>
                    <a:pt x="176950" y="16780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Полилиния: фигура 122">
              <a:extLst>
                <a:ext uri="{FF2B5EF4-FFF2-40B4-BE49-F238E27FC236}">
                  <a16:creationId xmlns:a16="http://schemas.microsoft.com/office/drawing/2014/main" id="{CA4F924D-5A1C-4399-A853-D9ADFA07BCF3}"/>
                </a:ext>
              </a:extLst>
            </p:cNvPr>
            <p:cNvSpPr/>
            <p:nvPr/>
          </p:nvSpPr>
          <p:spPr>
            <a:xfrm>
              <a:off x="8835921" y="3607489"/>
              <a:ext cx="185294" cy="16779"/>
            </a:xfrm>
            <a:custGeom>
              <a:avLst/>
              <a:gdLst>
                <a:gd name="connsiteX0" fmla="*/ 185295 w 185294"/>
                <a:gd name="connsiteY0" fmla="*/ 8390 h 16779"/>
                <a:gd name="connsiteX1" fmla="*/ 176905 w 185294"/>
                <a:gd name="connsiteY1" fmla="*/ 0 h 16779"/>
                <a:gd name="connsiteX2" fmla="*/ 8390 w 185294"/>
                <a:gd name="connsiteY2" fmla="*/ 0 h 16779"/>
                <a:gd name="connsiteX3" fmla="*/ 0 w 185294"/>
                <a:gd name="connsiteY3" fmla="*/ 8390 h 16779"/>
                <a:gd name="connsiteX4" fmla="*/ 8390 w 185294"/>
                <a:gd name="connsiteY4" fmla="*/ 16780 h 16779"/>
                <a:gd name="connsiteX5" fmla="*/ 176905 w 185294"/>
                <a:gd name="connsiteY5" fmla="*/ 16780 h 16779"/>
                <a:gd name="connsiteX6" fmla="*/ 185295 w 185294"/>
                <a:gd name="connsiteY6" fmla="*/ 839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294" h="16779">
                  <a:moveTo>
                    <a:pt x="185295" y="8390"/>
                  </a:moveTo>
                  <a:cubicBezTo>
                    <a:pt x="185295" y="3759"/>
                    <a:pt x="181542" y="0"/>
                    <a:pt x="176905" y="0"/>
                  </a:cubicBezTo>
                  <a:lnTo>
                    <a:pt x="8390" y="0"/>
                  </a:lnTo>
                  <a:cubicBezTo>
                    <a:pt x="3753" y="0"/>
                    <a:pt x="0" y="3759"/>
                    <a:pt x="0" y="8390"/>
                  </a:cubicBezTo>
                  <a:cubicBezTo>
                    <a:pt x="0" y="13021"/>
                    <a:pt x="3753" y="16780"/>
                    <a:pt x="8390" y="16780"/>
                  </a:cubicBezTo>
                  <a:lnTo>
                    <a:pt x="176905" y="16780"/>
                  </a:lnTo>
                  <a:cubicBezTo>
                    <a:pt x="181542" y="16780"/>
                    <a:pt x="185295" y="13021"/>
                    <a:pt x="185295" y="839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8092592" y="2440739"/>
            <a:ext cx="499086" cy="370350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178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9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92" name="Группа 191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3579142" y="2422163"/>
            <a:ext cx="462797" cy="377676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193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4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98" name="Группа 197">
            <a:extLst>
              <a:ext uri="{FF2B5EF4-FFF2-40B4-BE49-F238E27FC236}">
                <a16:creationId xmlns:a16="http://schemas.microsoft.com/office/drawing/2014/main" id="{866BE9F4-3F5F-4DB1-B9F5-F54E0A130EEB}"/>
              </a:ext>
            </a:extLst>
          </p:cNvPr>
          <p:cNvGrpSpPr/>
          <p:nvPr/>
        </p:nvGrpSpPr>
        <p:grpSpPr>
          <a:xfrm>
            <a:off x="10654483" y="5492950"/>
            <a:ext cx="967604" cy="943558"/>
            <a:chOff x="640095" y="5590209"/>
            <a:chExt cx="508434" cy="469836"/>
          </a:xfrm>
          <a:solidFill>
            <a:schemeClr val="tx1"/>
          </a:solidFill>
        </p:grpSpPr>
        <p:sp>
          <p:nvSpPr>
            <p:cNvPr id="199" name="Полилиния: фигура 74">
              <a:extLst>
                <a:ext uri="{FF2B5EF4-FFF2-40B4-BE49-F238E27FC236}">
                  <a16:creationId xmlns:a16="http://schemas.microsoft.com/office/drawing/2014/main" id="{08873C61-3D99-4A84-B75A-0F9E15306E79}"/>
                </a:ext>
              </a:extLst>
            </p:cNvPr>
            <p:cNvSpPr/>
            <p:nvPr/>
          </p:nvSpPr>
          <p:spPr>
            <a:xfrm>
              <a:off x="640095" y="5800405"/>
              <a:ext cx="167239" cy="158961"/>
            </a:xfrm>
            <a:custGeom>
              <a:avLst/>
              <a:gdLst>
                <a:gd name="connsiteX0" fmla="*/ 158850 w 167239"/>
                <a:gd name="connsiteY0" fmla="*/ 158961 h 158961"/>
                <a:gd name="connsiteX1" fmla="*/ 8390 w 167239"/>
                <a:gd name="connsiteY1" fmla="*/ 158961 h 158961"/>
                <a:gd name="connsiteX2" fmla="*/ 0 w 167239"/>
                <a:gd name="connsiteY2" fmla="*/ 150572 h 158961"/>
                <a:gd name="connsiteX3" fmla="*/ 147607 w 167239"/>
                <a:gd name="connsiteY3" fmla="*/ 0 h 158961"/>
                <a:gd name="connsiteX4" fmla="*/ 155997 w 167239"/>
                <a:gd name="connsiteY4" fmla="*/ 8390 h 158961"/>
                <a:gd name="connsiteX5" fmla="*/ 147607 w 167239"/>
                <a:gd name="connsiteY5" fmla="*/ 16780 h 158961"/>
                <a:gd name="connsiteX6" fmla="*/ 17004 w 167239"/>
                <a:gd name="connsiteY6" fmla="*/ 142182 h 158961"/>
                <a:gd name="connsiteX7" fmla="*/ 158850 w 167239"/>
                <a:gd name="connsiteY7" fmla="*/ 142182 h 158961"/>
                <a:gd name="connsiteX8" fmla="*/ 167240 w 167239"/>
                <a:gd name="connsiteY8" fmla="*/ 150572 h 158961"/>
                <a:gd name="connsiteX9" fmla="*/ 158850 w 167239"/>
                <a:gd name="connsiteY9" fmla="*/ 158961 h 158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7239" h="158961">
                  <a:moveTo>
                    <a:pt x="158850" y="158961"/>
                  </a:moveTo>
                  <a:lnTo>
                    <a:pt x="8390" y="158961"/>
                  </a:lnTo>
                  <a:cubicBezTo>
                    <a:pt x="3756" y="158961"/>
                    <a:pt x="0" y="155205"/>
                    <a:pt x="0" y="150572"/>
                  </a:cubicBezTo>
                  <a:cubicBezTo>
                    <a:pt x="0" y="67567"/>
                    <a:pt x="66225" y="0"/>
                    <a:pt x="147607" y="0"/>
                  </a:cubicBezTo>
                  <a:cubicBezTo>
                    <a:pt x="152241" y="0"/>
                    <a:pt x="155997" y="3756"/>
                    <a:pt x="155997" y="8390"/>
                  </a:cubicBezTo>
                  <a:cubicBezTo>
                    <a:pt x="155997" y="13023"/>
                    <a:pt x="152241" y="16780"/>
                    <a:pt x="147607" y="16780"/>
                  </a:cubicBezTo>
                  <a:cubicBezTo>
                    <a:pt x="77804" y="17571"/>
                    <a:pt x="20630" y="72468"/>
                    <a:pt x="17004" y="142182"/>
                  </a:cubicBezTo>
                  <a:lnTo>
                    <a:pt x="158850" y="142182"/>
                  </a:lnTo>
                  <a:cubicBezTo>
                    <a:pt x="163483" y="142182"/>
                    <a:pt x="167240" y="145938"/>
                    <a:pt x="167240" y="150572"/>
                  </a:cubicBezTo>
                  <a:cubicBezTo>
                    <a:pt x="167240" y="155205"/>
                    <a:pt x="163483" y="158961"/>
                    <a:pt x="158850" y="158961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Полилиния: фигура 75">
              <a:extLst>
                <a:ext uri="{FF2B5EF4-FFF2-40B4-BE49-F238E27FC236}">
                  <a16:creationId xmlns:a16="http://schemas.microsoft.com/office/drawing/2014/main" id="{6FDFC034-54A6-4CDB-A803-8532BC412F74}"/>
                </a:ext>
              </a:extLst>
            </p:cNvPr>
            <p:cNvSpPr/>
            <p:nvPr/>
          </p:nvSpPr>
          <p:spPr>
            <a:xfrm>
              <a:off x="695468" y="5590209"/>
              <a:ext cx="184578" cy="184578"/>
            </a:xfrm>
            <a:custGeom>
              <a:avLst/>
              <a:gdLst>
                <a:gd name="connsiteX0" fmla="*/ 92289 w 184578"/>
                <a:gd name="connsiteY0" fmla="*/ 184579 h 184578"/>
                <a:gd name="connsiteX1" fmla="*/ 0 w 184578"/>
                <a:gd name="connsiteY1" fmla="*/ 92289 h 184578"/>
                <a:gd name="connsiteX2" fmla="*/ 92289 w 184578"/>
                <a:gd name="connsiteY2" fmla="*/ 0 h 184578"/>
                <a:gd name="connsiteX3" fmla="*/ 184579 w 184578"/>
                <a:gd name="connsiteY3" fmla="*/ 92289 h 184578"/>
                <a:gd name="connsiteX4" fmla="*/ 92289 w 184578"/>
                <a:gd name="connsiteY4" fmla="*/ 184579 h 184578"/>
                <a:gd name="connsiteX5" fmla="*/ 92289 w 184578"/>
                <a:gd name="connsiteY5" fmla="*/ 16780 h 184578"/>
                <a:gd name="connsiteX6" fmla="*/ 16780 w 184578"/>
                <a:gd name="connsiteY6" fmla="*/ 92289 h 184578"/>
                <a:gd name="connsiteX7" fmla="*/ 92289 w 184578"/>
                <a:gd name="connsiteY7" fmla="*/ 167799 h 184578"/>
                <a:gd name="connsiteX8" fmla="*/ 167799 w 184578"/>
                <a:gd name="connsiteY8" fmla="*/ 92289 h 184578"/>
                <a:gd name="connsiteX9" fmla="*/ 92289 w 184578"/>
                <a:gd name="connsiteY9" fmla="*/ 16780 h 18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4578" h="184578">
                  <a:moveTo>
                    <a:pt x="92289" y="184579"/>
                  </a:moveTo>
                  <a:cubicBezTo>
                    <a:pt x="41319" y="184579"/>
                    <a:pt x="0" y="143259"/>
                    <a:pt x="0" y="92289"/>
                  </a:cubicBezTo>
                  <a:cubicBezTo>
                    <a:pt x="0" y="41319"/>
                    <a:pt x="41319" y="0"/>
                    <a:pt x="92289" y="0"/>
                  </a:cubicBezTo>
                  <a:cubicBezTo>
                    <a:pt x="143259" y="0"/>
                    <a:pt x="184579" y="41319"/>
                    <a:pt x="184579" y="92289"/>
                  </a:cubicBezTo>
                  <a:cubicBezTo>
                    <a:pt x="184517" y="143234"/>
                    <a:pt x="143234" y="184517"/>
                    <a:pt x="92289" y="184579"/>
                  </a:cubicBezTo>
                  <a:close/>
                  <a:moveTo>
                    <a:pt x="92289" y="16780"/>
                  </a:moveTo>
                  <a:cubicBezTo>
                    <a:pt x="50587" y="16780"/>
                    <a:pt x="16780" y="50587"/>
                    <a:pt x="16780" y="92289"/>
                  </a:cubicBezTo>
                  <a:cubicBezTo>
                    <a:pt x="16780" y="133992"/>
                    <a:pt x="50587" y="167799"/>
                    <a:pt x="92289" y="167799"/>
                  </a:cubicBezTo>
                  <a:cubicBezTo>
                    <a:pt x="133992" y="167799"/>
                    <a:pt x="167799" y="133992"/>
                    <a:pt x="167799" y="92289"/>
                  </a:cubicBezTo>
                  <a:cubicBezTo>
                    <a:pt x="167737" y="50612"/>
                    <a:pt x="133967" y="16841"/>
                    <a:pt x="92289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Полилиния: фигура 76">
              <a:extLst>
                <a:ext uri="{FF2B5EF4-FFF2-40B4-BE49-F238E27FC236}">
                  <a16:creationId xmlns:a16="http://schemas.microsoft.com/office/drawing/2014/main" id="{08313B57-58CA-4F38-ACC2-88B8040AA392}"/>
                </a:ext>
              </a:extLst>
            </p:cNvPr>
            <p:cNvSpPr/>
            <p:nvPr/>
          </p:nvSpPr>
          <p:spPr>
            <a:xfrm>
              <a:off x="699434" y="5831330"/>
              <a:ext cx="96769" cy="38935"/>
            </a:xfrm>
            <a:custGeom>
              <a:avLst/>
              <a:gdLst>
                <a:gd name="connsiteX0" fmla="*/ 88212 w 96769"/>
                <a:gd name="connsiteY0" fmla="*/ 38935 h 38935"/>
                <a:gd name="connsiteX1" fmla="*/ 4033 w 96769"/>
                <a:gd name="connsiteY1" fmla="*/ 15611 h 38935"/>
                <a:gd name="connsiteX2" fmla="*/ 1236 w 96769"/>
                <a:gd name="connsiteY2" fmla="*/ 4033 h 38935"/>
                <a:gd name="connsiteX3" fmla="*/ 12814 w 96769"/>
                <a:gd name="connsiteY3" fmla="*/ 1236 h 38935"/>
                <a:gd name="connsiteX4" fmla="*/ 88380 w 96769"/>
                <a:gd name="connsiteY4" fmla="*/ 22155 h 38935"/>
                <a:gd name="connsiteX5" fmla="*/ 96770 w 96769"/>
                <a:gd name="connsiteY5" fmla="*/ 30545 h 38935"/>
                <a:gd name="connsiteX6" fmla="*/ 88380 w 96769"/>
                <a:gd name="connsiteY6" fmla="*/ 38935 h 38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769" h="38935">
                  <a:moveTo>
                    <a:pt x="88212" y="38935"/>
                  </a:moveTo>
                  <a:cubicBezTo>
                    <a:pt x="58554" y="38956"/>
                    <a:pt x="29451" y="30892"/>
                    <a:pt x="4033" y="15611"/>
                  </a:cubicBezTo>
                  <a:cubicBezTo>
                    <a:pt x="63" y="13186"/>
                    <a:pt x="-1189" y="8002"/>
                    <a:pt x="1236" y="4033"/>
                  </a:cubicBezTo>
                  <a:cubicBezTo>
                    <a:pt x="3661" y="63"/>
                    <a:pt x="8845" y="-1189"/>
                    <a:pt x="12814" y="1236"/>
                  </a:cubicBezTo>
                  <a:cubicBezTo>
                    <a:pt x="35632" y="14951"/>
                    <a:pt x="61758" y="22184"/>
                    <a:pt x="88380" y="22155"/>
                  </a:cubicBezTo>
                  <a:cubicBezTo>
                    <a:pt x="93013" y="22155"/>
                    <a:pt x="96770" y="25912"/>
                    <a:pt x="96770" y="30545"/>
                  </a:cubicBezTo>
                  <a:cubicBezTo>
                    <a:pt x="96770" y="35179"/>
                    <a:pt x="93013" y="38935"/>
                    <a:pt x="88380" y="38935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Полилиния: фигура 77">
              <a:extLst>
                <a:ext uri="{FF2B5EF4-FFF2-40B4-BE49-F238E27FC236}">
                  <a16:creationId xmlns:a16="http://schemas.microsoft.com/office/drawing/2014/main" id="{4A141182-E9E7-402D-9DDA-A11FECC1920B}"/>
                </a:ext>
              </a:extLst>
            </p:cNvPr>
            <p:cNvSpPr/>
            <p:nvPr/>
          </p:nvSpPr>
          <p:spPr>
            <a:xfrm>
              <a:off x="706429" y="5632488"/>
              <a:ext cx="162375" cy="38432"/>
            </a:xfrm>
            <a:custGeom>
              <a:avLst/>
              <a:gdLst>
                <a:gd name="connsiteX0" fmla="*/ 153985 w 162375"/>
                <a:gd name="connsiteY0" fmla="*/ 38152 h 38432"/>
                <a:gd name="connsiteX1" fmla="*/ 105435 w 162375"/>
                <a:gd name="connsiteY1" fmla="*/ 19247 h 38432"/>
                <a:gd name="connsiteX2" fmla="*/ 3246 w 162375"/>
                <a:gd name="connsiteY2" fmla="*/ 19750 h 38432"/>
                <a:gd name="connsiteX3" fmla="*/ 1764 w 162375"/>
                <a:gd name="connsiteY3" fmla="*/ 7977 h 38432"/>
                <a:gd name="connsiteX4" fmla="*/ 13537 w 162375"/>
                <a:gd name="connsiteY4" fmla="*/ 6494 h 38432"/>
                <a:gd name="connsiteX5" fmla="*/ 102639 w 162375"/>
                <a:gd name="connsiteY5" fmla="*/ 1404 h 38432"/>
                <a:gd name="connsiteX6" fmla="*/ 114270 w 162375"/>
                <a:gd name="connsiteY6" fmla="*/ 3745 h 38432"/>
                <a:gd name="connsiteX7" fmla="*/ 114385 w 162375"/>
                <a:gd name="connsiteY7" fmla="*/ 3921 h 38432"/>
                <a:gd name="connsiteX8" fmla="*/ 153985 w 162375"/>
                <a:gd name="connsiteY8" fmla="*/ 21652 h 38432"/>
                <a:gd name="connsiteX9" fmla="*/ 162375 w 162375"/>
                <a:gd name="connsiteY9" fmla="*/ 30042 h 38432"/>
                <a:gd name="connsiteX10" fmla="*/ 153985 w 162375"/>
                <a:gd name="connsiteY10" fmla="*/ 38432 h 38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2375" h="38432">
                  <a:moveTo>
                    <a:pt x="153985" y="38152"/>
                  </a:moveTo>
                  <a:cubicBezTo>
                    <a:pt x="135899" y="38749"/>
                    <a:pt x="118356" y="31917"/>
                    <a:pt x="105435" y="19247"/>
                  </a:cubicBezTo>
                  <a:cubicBezTo>
                    <a:pt x="88655" y="28644"/>
                    <a:pt x="41448" y="49451"/>
                    <a:pt x="3246" y="19750"/>
                  </a:cubicBezTo>
                  <a:cubicBezTo>
                    <a:pt x="-415" y="16908"/>
                    <a:pt x="-1078" y="11637"/>
                    <a:pt x="1764" y="7977"/>
                  </a:cubicBezTo>
                  <a:cubicBezTo>
                    <a:pt x="4605" y="4316"/>
                    <a:pt x="9877" y="3652"/>
                    <a:pt x="13537" y="6494"/>
                  </a:cubicBezTo>
                  <a:cubicBezTo>
                    <a:pt x="50565" y="35300"/>
                    <a:pt x="102135" y="1740"/>
                    <a:pt x="102639" y="1404"/>
                  </a:cubicBezTo>
                  <a:cubicBezTo>
                    <a:pt x="106497" y="-1161"/>
                    <a:pt x="111705" y="-113"/>
                    <a:pt x="114270" y="3745"/>
                  </a:cubicBezTo>
                  <a:cubicBezTo>
                    <a:pt x="114310" y="3803"/>
                    <a:pt x="114347" y="3862"/>
                    <a:pt x="114385" y="3921"/>
                  </a:cubicBezTo>
                  <a:cubicBezTo>
                    <a:pt x="114832" y="4593"/>
                    <a:pt x="126410" y="21652"/>
                    <a:pt x="153985" y="21652"/>
                  </a:cubicBezTo>
                  <a:cubicBezTo>
                    <a:pt x="158619" y="21652"/>
                    <a:pt x="162375" y="25409"/>
                    <a:pt x="162375" y="30042"/>
                  </a:cubicBezTo>
                  <a:cubicBezTo>
                    <a:pt x="162375" y="34676"/>
                    <a:pt x="158619" y="38432"/>
                    <a:pt x="153985" y="3843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Полилиния: фигура 78">
              <a:extLst>
                <a:ext uri="{FF2B5EF4-FFF2-40B4-BE49-F238E27FC236}">
                  <a16:creationId xmlns:a16="http://schemas.microsoft.com/office/drawing/2014/main" id="{D4C7D8F0-B1F0-4593-8B74-F41A1D863239}"/>
                </a:ext>
              </a:extLst>
            </p:cNvPr>
            <p:cNvSpPr/>
            <p:nvPr/>
          </p:nvSpPr>
          <p:spPr>
            <a:xfrm>
              <a:off x="975850" y="5781052"/>
              <a:ext cx="172679" cy="116788"/>
            </a:xfrm>
            <a:custGeom>
              <a:avLst/>
              <a:gdLst>
                <a:gd name="connsiteX0" fmla="*/ 164285 w 172679"/>
                <a:gd name="connsiteY0" fmla="*/ 116788 h 116788"/>
                <a:gd name="connsiteX1" fmla="*/ 13266 w 172679"/>
                <a:gd name="connsiteY1" fmla="*/ 116788 h 116788"/>
                <a:gd name="connsiteX2" fmla="*/ 4876 w 172679"/>
                <a:gd name="connsiteY2" fmla="*/ 108398 h 116788"/>
                <a:gd name="connsiteX3" fmla="*/ 13266 w 172679"/>
                <a:gd name="connsiteY3" fmla="*/ 100008 h 116788"/>
                <a:gd name="connsiteX4" fmla="*/ 155504 w 172679"/>
                <a:gd name="connsiteY4" fmla="*/ 100008 h 116788"/>
                <a:gd name="connsiteX5" fmla="*/ 66402 w 172679"/>
                <a:gd name="connsiteY5" fmla="*/ 16780 h 116788"/>
                <a:gd name="connsiteX6" fmla="*/ 13210 w 172679"/>
                <a:gd name="connsiteY6" fmla="*/ 34679 h 116788"/>
                <a:gd name="connsiteX7" fmla="*/ 1523 w 172679"/>
                <a:gd name="connsiteY7" fmla="*/ 32631 h 116788"/>
                <a:gd name="connsiteX8" fmla="*/ 3086 w 172679"/>
                <a:gd name="connsiteY8" fmla="*/ 21311 h 116788"/>
                <a:gd name="connsiteX9" fmla="*/ 66402 w 172679"/>
                <a:gd name="connsiteY9" fmla="*/ 0 h 116788"/>
                <a:gd name="connsiteX10" fmla="*/ 172675 w 172679"/>
                <a:gd name="connsiteY10" fmla="*/ 108398 h 116788"/>
                <a:gd name="connsiteX11" fmla="*/ 164285 w 172679"/>
                <a:gd name="connsiteY11" fmla="*/ 116788 h 11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679" h="116788">
                  <a:moveTo>
                    <a:pt x="164285" y="116788"/>
                  </a:moveTo>
                  <a:lnTo>
                    <a:pt x="13266" y="116788"/>
                  </a:lnTo>
                  <a:cubicBezTo>
                    <a:pt x="8632" y="116788"/>
                    <a:pt x="4876" y="113032"/>
                    <a:pt x="4876" y="108398"/>
                  </a:cubicBezTo>
                  <a:cubicBezTo>
                    <a:pt x="4876" y="103765"/>
                    <a:pt x="8632" y="100008"/>
                    <a:pt x="13266" y="100008"/>
                  </a:cubicBezTo>
                  <a:lnTo>
                    <a:pt x="155504" y="100008"/>
                  </a:lnTo>
                  <a:cubicBezTo>
                    <a:pt x="151777" y="53407"/>
                    <a:pt x="113149" y="17325"/>
                    <a:pt x="66402" y="16780"/>
                  </a:cubicBezTo>
                  <a:cubicBezTo>
                    <a:pt x="47187" y="16738"/>
                    <a:pt x="28492" y="23028"/>
                    <a:pt x="13210" y="34679"/>
                  </a:cubicBezTo>
                  <a:cubicBezTo>
                    <a:pt x="9417" y="37341"/>
                    <a:pt x="4185" y="36424"/>
                    <a:pt x="1523" y="32631"/>
                  </a:cubicBezTo>
                  <a:cubicBezTo>
                    <a:pt x="-1004" y="29031"/>
                    <a:pt x="-321" y="24091"/>
                    <a:pt x="3086" y="21311"/>
                  </a:cubicBezTo>
                  <a:cubicBezTo>
                    <a:pt x="21275" y="7440"/>
                    <a:pt x="43528" y="-50"/>
                    <a:pt x="66402" y="0"/>
                  </a:cubicBezTo>
                  <a:cubicBezTo>
                    <a:pt x="125657" y="646"/>
                    <a:pt x="173203" y="49142"/>
                    <a:pt x="172675" y="108398"/>
                  </a:cubicBezTo>
                  <a:cubicBezTo>
                    <a:pt x="172675" y="113032"/>
                    <a:pt x="168918" y="116788"/>
                    <a:pt x="164285" y="11678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Полилиния: фигура 79">
              <a:extLst>
                <a:ext uri="{FF2B5EF4-FFF2-40B4-BE49-F238E27FC236}">
                  <a16:creationId xmlns:a16="http://schemas.microsoft.com/office/drawing/2014/main" id="{FC7C3A73-5E62-48BA-B42A-3728B677866C}"/>
                </a:ext>
              </a:extLst>
            </p:cNvPr>
            <p:cNvSpPr/>
            <p:nvPr/>
          </p:nvSpPr>
          <p:spPr>
            <a:xfrm>
              <a:off x="969540" y="5618175"/>
              <a:ext cx="145425" cy="145425"/>
            </a:xfrm>
            <a:custGeom>
              <a:avLst/>
              <a:gdLst>
                <a:gd name="connsiteX0" fmla="*/ 72713 w 145425"/>
                <a:gd name="connsiteY0" fmla="*/ 145426 h 145425"/>
                <a:gd name="connsiteX1" fmla="*/ 0 w 145425"/>
                <a:gd name="connsiteY1" fmla="*/ 72713 h 145425"/>
                <a:gd name="connsiteX2" fmla="*/ 72713 w 145425"/>
                <a:gd name="connsiteY2" fmla="*/ 0 h 145425"/>
                <a:gd name="connsiteX3" fmla="*/ 145426 w 145425"/>
                <a:gd name="connsiteY3" fmla="*/ 72713 h 145425"/>
                <a:gd name="connsiteX4" fmla="*/ 72713 w 145425"/>
                <a:gd name="connsiteY4" fmla="*/ 145426 h 145425"/>
                <a:gd name="connsiteX5" fmla="*/ 72713 w 145425"/>
                <a:gd name="connsiteY5" fmla="*/ 16780 h 145425"/>
                <a:gd name="connsiteX6" fmla="*/ 16780 w 145425"/>
                <a:gd name="connsiteY6" fmla="*/ 72713 h 145425"/>
                <a:gd name="connsiteX7" fmla="*/ 72713 w 145425"/>
                <a:gd name="connsiteY7" fmla="*/ 128646 h 145425"/>
                <a:gd name="connsiteX8" fmla="*/ 128646 w 145425"/>
                <a:gd name="connsiteY8" fmla="*/ 72713 h 145425"/>
                <a:gd name="connsiteX9" fmla="*/ 72713 w 145425"/>
                <a:gd name="connsiteY9" fmla="*/ 16780 h 14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5425" h="145425">
                  <a:moveTo>
                    <a:pt x="72713" y="145426"/>
                  </a:moveTo>
                  <a:cubicBezTo>
                    <a:pt x="32555" y="145426"/>
                    <a:pt x="0" y="112871"/>
                    <a:pt x="0" y="72713"/>
                  </a:cubicBezTo>
                  <a:cubicBezTo>
                    <a:pt x="0" y="32555"/>
                    <a:pt x="32555" y="0"/>
                    <a:pt x="72713" y="0"/>
                  </a:cubicBezTo>
                  <a:cubicBezTo>
                    <a:pt x="112871" y="0"/>
                    <a:pt x="145426" y="32555"/>
                    <a:pt x="145426" y="72713"/>
                  </a:cubicBezTo>
                  <a:cubicBezTo>
                    <a:pt x="145426" y="112871"/>
                    <a:pt x="112871" y="145426"/>
                    <a:pt x="72713" y="145426"/>
                  </a:cubicBezTo>
                  <a:close/>
                  <a:moveTo>
                    <a:pt x="72713" y="16780"/>
                  </a:moveTo>
                  <a:cubicBezTo>
                    <a:pt x="41822" y="16780"/>
                    <a:pt x="16780" y="41822"/>
                    <a:pt x="16780" y="72713"/>
                  </a:cubicBezTo>
                  <a:cubicBezTo>
                    <a:pt x="16780" y="103604"/>
                    <a:pt x="41822" y="128646"/>
                    <a:pt x="72713" y="128646"/>
                  </a:cubicBezTo>
                  <a:cubicBezTo>
                    <a:pt x="103604" y="128646"/>
                    <a:pt x="128646" y="103604"/>
                    <a:pt x="128646" y="72713"/>
                  </a:cubicBezTo>
                  <a:cubicBezTo>
                    <a:pt x="128646" y="41822"/>
                    <a:pt x="103604" y="16780"/>
                    <a:pt x="72713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Полилиния: фигура 80">
              <a:extLst>
                <a:ext uri="{FF2B5EF4-FFF2-40B4-BE49-F238E27FC236}">
                  <a16:creationId xmlns:a16="http://schemas.microsoft.com/office/drawing/2014/main" id="{C1D09905-1430-4CAA-B232-7F2C91AD0142}"/>
                </a:ext>
              </a:extLst>
            </p:cNvPr>
            <p:cNvSpPr/>
            <p:nvPr/>
          </p:nvSpPr>
          <p:spPr>
            <a:xfrm>
              <a:off x="1014195" y="5627481"/>
              <a:ext cx="100802" cy="71239"/>
            </a:xfrm>
            <a:custGeom>
              <a:avLst/>
              <a:gdLst>
                <a:gd name="connsiteX0" fmla="*/ 71349 w 100802"/>
                <a:gd name="connsiteY0" fmla="*/ 71238 h 71239"/>
                <a:gd name="connsiteX1" fmla="*/ 91 w 100802"/>
                <a:gd name="connsiteY1" fmla="*/ 9711 h 71239"/>
                <a:gd name="connsiteX2" fmla="*/ 7250 w 100802"/>
                <a:gd name="connsiteY2" fmla="*/ 91 h 71239"/>
                <a:gd name="connsiteX3" fmla="*/ 16871 w 100802"/>
                <a:gd name="connsiteY3" fmla="*/ 7250 h 71239"/>
                <a:gd name="connsiteX4" fmla="*/ 80026 w 100802"/>
                <a:gd name="connsiteY4" fmla="*/ 53820 h 71239"/>
                <a:gd name="connsiteX5" fmla="*/ 89584 w 100802"/>
                <a:gd name="connsiteY5" fmla="*/ 51493 h 71239"/>
                <a:gd name="connsiteX6" fmla="*/ 100323 w 100802"/>
                <a:gd name="connsiteY6" fmla="*/ 56639 h 71239"/>
                <a:gd name="connsiteX7" fmla="*/ 95177 w 100802"/>
                <a:gd name="connsiteY7" fmla="*/ 67378 h 71239"/>
                <a:gd name="connsiteX8" fmla="*/ 71349 w 100802"/>
                <a:gd name="connsiteY8" fmla="*/ 71238 h 71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802" h="71239">
                  <a:moveTo>
                    <a:pt x="71349" y="71238"/>
                  </a:moveTo>
                  <a:cubicBezTo>
                    <a:pt x="35734" y="70949"/>
                    <a:pt x="5570" y="44904"/>
                    <a:pt x="91" y="9711"/>
                  </a:cubicBezTo>
                  <a:cubicBezTo>
                    <a:pt x="-589" y="5078"/>
                    <a:pt x="2617" y="770"/>
                    <a:pt x="7250" y="91"/>
                  </a:cubicBezTo>
                  <a:cubicBezTo>
                    <a:pt x="11884" y="-589"/>
                    <a:pt x="16191" y="2617"/>
                    <a:pt x="16871" y="7250"/>
                  </a:cubicBezTo>
                  <a:cubicBezTo>
                    <a:pt x="21451" y="37550"/>
                    <a:pt x="49726" y="58400"/>
                    <a:pt x="80026" y="53820"/>
                  </a:cubicBezTo>
                  <a:cubicBezTo>
                    <a:pt x="83274" y="53329"/>
                    <a:pt x="86473" y="52550"/>
                    <a:pt x="89584" y="51493"/>
                  </a:cubicBezTo>
                  <a:cubicBezTo>
                    <a:pt x="93970" y="49949"/>
                    <a:pt x="98778" y="52253"/>
                    <a:pt x="100323" y="56639"/>
                  </a:cubicBezTo>
                  <a:cubicBezTo>
                    <a:pt x="101867" y="61025"/>
                    <a:pt x="99563" y="65834"/>
                    <a:pt x="95177" y="67378"/>
                  </a:cubicBezTo>
                  <a:cubicBezTo>
                    <a:pt x="87508" y="69995"/>
                    <a:pt x="79452" y="71300"/>
                    <a:pt x="71349" y="7123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Полилиния: фигура 81">
              <a:extLst>
                <a:ext uri="{FF2B5EF4-FFF2-40B4-BE49-F238E27FC236}">
                  <a16:creationId xmlns:a16="http://schemas.microsoft.com/office/drawing/2014/main" id="{079399BF-1A03-4576-A7DC-EC05E3B1ED18}"/>
                </a:ext>
              </a:extLst>
            </p:cNvPr>
            <p:cNvSpPr/>
            <p:nvPr/>
          </p:nvSpPr>
          <p:spPr>
            <a:xfrm>
              <a:off x="1098186" y="5685295"/>
              <a:ext cx="45210" cy="151019"/>
            </a:xfrm>
            <a:custGeom>
              <a:avLst/>
              <a:gdLst>
                <a:gd name="connsiteX0" fmla="*/ 25170 w 45210"/>
                <a:gd name="connsiteY0" fmla="*/ 151019 h 151019"/>
                <a:gd name="connsiteX1" fmla="*/ 16780 w 45210"/>
                <a:gd name="connsiteY1" fmla="*/ 142629 h 151019"/>
                <a:gd name="connsiteX2" fmla="*/ 18458 w 45210"/>
                <a:gd name="connsiteY2" fmla="*/ 137595 h 151019"/>
                <a:gd name="connsiteX3" fmla="*/ 15382 w 45210"/>
                <a:gd name="connsiteY3" fmla="*/ 64882 h 151019"/>
                <a:gd name="connsiteX4" fmla="*/ 0 w 45210"/>
                <a:gd name="connsiteY4" fmla="*/ 8390 h 151019"/>
                <a:gd name="connsiteX5" fmla="*/ 8390 w 45210"/>
                <a:gd name="connsiteY5" fmla="*/ 0 h 151019"/>
                <a:gd name="connsiteX6" fmla="*/ 16780 w 45210"/>
                <a:gd name="connsiteY6" fmla="*/ 8390 h 151019"/>
                <a:gd name="connsiteX7" fmla="*/ 30819 w 45210"/>
                <a:gd name="connsiteY7" fmla="*/ 58226 h 151019"/>
                <a:gd name="connsiteX8" fmla="*/ 31882 w 45210"/>
                <a:gd name="connsiteY8" fmla="*/ 147719 h 151019"/>
                <a:gd name="connsiteX9" fmla="*/ 25170 w 45210"/>
                <a:gd name="connsiteY9" fmla="*/ 151019 h 151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210" h="151019">
                  <a:moveTo>
                    <a:pt x="25170" y="151019"/>
                  </a:moveTo>
                  <a:cubicBezTo>
                    <a:pt x="20536" y="151019"/>
                    <a:pt x="16780" y="147263"/>
                    <a:pt x="16780" y="142629"/>
                  </a:cubicBezTo>
                  <a:cubicBezTo>
                    <a:pt x="16780" y="140813"/>
                    <a:pt x="17369" y="139047"/>
                    <a:pt x="18458" y="137595"/>
                  </a:cubicBezTo>
                  <a:cubicBezTo>
                    <a:pt x="36245" y="113935"/>
                    <a:pt x="26568" y="91115"/>
                    <a:pt x="15382" y="64882"/>
                  </a:cubicBezTo>
                  <a:cubicBezTo>
                    <a:pt x="7831" y="46984"/>
                    <a:pt x="0" y="28638"/>
                    <a:pt x="0" y="8390"/>
                  </a:cubicBezTo>
                  <a:cubicBezTo>
                    <a:pt x="0" y="3756"/>
                    <a:pt x="3756" y="0"/>
                    <a:pt x="8390" y="0"/>
                  </a:cubicBezTo>
                  <a:cubicBezTo>
                    <a:pt x="13023" y="0"/>
                    <a:pt x="16780" y="3756"/>
                    <a:pt x="16780" y="8390"/>
                  </a:cubicBezTo>
                  <a:cubicBezTo>
                    <a:pt x="16780" y="25170"/>
                    <a:pt x="23883" y="41950"/>
                    <a:pt x="30819" y="58226"/>
                  </a:cubicBezTo>
                  <a:cubicBezTo>
                    <a:pt x="42957" y="86752"/>
                    <a:pt x="55485" y="116229"/>
                    <a:pt x="31882" y="147719"/>
                  </a:cubicBezTo>
                  <a:cubicBezTo>
                    <a:pt x="30285" y="149810"/>
                    <a:pt x="27801" y="151032"/>
                    <a:pt x="25170" y="151019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Полилиния: фигура 82">
              <a:extLst>
                <a:ext uri="{FF2B5EF4-FFF2-40B4-BE49-F238E27FC236}">
                  <a16:creationId xmlns:a16="http://schemas.microsoft.com/office/drawing/2014/main" id="{3E34C79A-66E4-4759-899A-2FCB2E44B706}"/>
                </a:ext>
              </a:extLst>
            </p:cNvPr>
            <p:cNvSpPr/>
            <p:nvPr/>
          </p:nvSpPr>
          <p:spPr>
            <a:xfrm>
              <a:off x="945394" y="5685519"/>
              <a:ext cx="41037" cy="94247"/>
            </a:xfrm>
            <a:custGeom>
              <a:avLst/>
              <a:gdLst>
                <a:gd name="connsiteX0" fmla="*/ 8597 w 41037"/>
                <a:gd name="connsiteY0" fmla="*/ 94247 h 94247"/>
                <a:gd name="connsiteX1" fmla="*/ 5968 w 41037"/>
                <a:gd name="connsiteY1" fmla="*/ 93800 h 94247"/>
                <a:gd name="connsiteX2" fmla="*/ 332 w 41037"/>
                <a:gd name="connsiteY2" fmla="*/ 83539 h 94247"/>
                <a:gd name="connsiteX3" fmla="*/ 375 w 41037"/>
                <a:gd name="connsiteY3" fmla="*/ 83396 h 94247"/>
                <a:gd name="connsiteX4" fmla="*/ 2724 w 41037"/>
                <a:gd name="connsiteY4" fmla="*/ 77803 h 94247"/>
                <a:gd name="connsiteX5" fmla="*/ 24258 w 41037"/>
                <a:gd name="connsiteY5" fmla="*/ 8390 h 94247"/>
                <a:gd name="connsiteX6" fmla="*/ 32648 w 41037"/>
                <a:gd name="connsiteY6" fmla="*/ 0 h 94247"/>
                <a:gd name="connsiteX7" fmla="*/ 41038 w 41037"/>
                <a:gd name="connsiteY7" fmla="*/ 8390 h 94247"/>
                <a:gd name="connsiteX8" fmla="*/ 18217 w 41037"/>
                <a:gd name="connsiteY8" fmla="*/ 84291 h 94247"/>
                <a:gd name="connsiteX9" fmla="*/ 16371 w 41037"/>
                <a:gd name="connsiteY9" fmla="*/ 88766 h 94247"/>
                <a:gd name="connsiteX10" fmla="*/ 8597 w 41037"/>
                <a:gd name="connsiteY10" fmla="*/ 94247 h 94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7" h="94247">
                  <a:moveTo>
                    <a:pt x="8597" y="94247"/>
                  </a:moveTo>
                  <a:cubicBezTo>
                    <a:pt x="7702" y="94243"/>
                    <a:pt x="6814" y="94092"/>
                    <a:pt x="5968" y="93800"/>
                  </a:cubicBezTo>
                  <a:cubicBezTo>
                    <a:pt x="1578" y="92523"/>
                    <a:pt x="-945" y="87928"/>
                    <a:pt x="332" y="83539"/>
                  </a:cubicBezTo>
                  <a:cubicBezTo>
                    <a:pt x="346" y="83491"/>
                    <a:pt x="360" y="83444"/>
                    <a:pt x="375" y="83396"/>
                  </a:cubicBezTo>
                  <a:cubicBezTo>
                    <a:pt x="375" y="82725"/>
                    <a:pt x="1437" y="80655"/>
                    <a:pt x="2724" y="77803"/>
                  </a:cubicBezTo>
                  <a:cubicBezTo>
                    <a:pt x="8317" y="65106"/>
                    <a:pt x="24258" y="26512"/>
                    <a:pt x="24258" y="8390"/>
                  </a:cubicBezTo>
                  <a:cubicBezTo>
                    <a:pt x="24258" y="3756"/>
                    <a:pt x="28014" y="0"/>
                    <a:pt x="32648" y="0"/>
                  </a:cubicBezTo>
                  <a:cubicBezTo>
                    <a:pt x="37281" y="0"/>
                    <a:pt x="41038" y="3756"/>
                    <a:pt x="41038" y="8390"/>
                  </a:cubicBezTo>
                  <a:cubicBezTo>
                    <a:pt x="41038" y="27631"/>
                    <a:pt x="28006" y="60911"/>
                    <a:pt x="18217" y="84291"/>
                  </a:cubicBezTo>
                  <a:cubicBezTo>
                    <a:pt x="17266" y="86584"/>
                    <a:pt x="16595" y="88150"/>
                    <a:pt x="16371" y="88766"/>
                  </a:cubicBezTo>
                  <a:cubicBezTo>
                    <a:pt x="15140" y="92008"/>
                    <a:pt x="12064" y="94177"/>
                    <a:pt x="8597" y="9424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Полилиния: фигура 83">
              <a:extLst>
                <a:ext uri="{FF2B5EF4-FFF2-40B4-BE49-F238E27FC236}">
                  <a16:creationId xmlns:a16="http://schemas.microsoft.com/office/drawing/2014/main" id="{FDC09BAD-1E51-47CA-80FD-F65BA66697D4}"/>
                </a:ext>
              </a:extLst>
            </p:cNvPr>
            <p:cNvSpPr/>
            <p:nvPr/>
          </p:nvSpPr>
          <p:spPr>
            <a:xfrm>
              <a:off x="786192" y="5945383"/>
              <a:ext cx="212545" cy="114662"/>
            </a:xfrm>
            <a:custGeom>
              <a:avLst/>
              <a:gdLst>
                <a:gd name="connsiteX0" fmla="*/ 204155 w 212545"/>
                <a:gd name="connsiteY0" fmla="*/ 114663 h 114662"/>
                <a:gd name="connsiteX1" fmla="*/ 8390 w 212545"/>
                <a:gd name="connsiteY1" fmla="*/ 114663 h 114662"/>
                <a:gd name="connsiteX2" fmla="*/ 0 w 212545"/>
                <a:gd name="connsiteY2" fmla="*/ 106273 h 114662"/>
                <a:gd name="connsiteX3" fmla="*/ 106273 w 212545"/>
                <a:gd name="connsiteY3" fmla="*/ 0 h 114662"/>
                <a:gd name="connsiteX4" fmla="*/ 212545 w 212545"/>
                <a:gd name="connsiteY4" fmla="*/ 106273 h 114662"/>
                <a:gd name="connsiteX5" fmla="*/ 204155 w 212545"/>
                <a:gd name="connsiteY5" fmla="*/ 114663 h 114662"/>
                <a:gd name="connsiteX6" fmla="*/ 17115 w 212545"/>
                <a:gd name="connsiteY6" fmla="*/ 97883 h 114662"/>
                <a:gd name="connsiteX7" fmla="*/ 195374 w 212545"/>
                <a:gd name="connsiteY7" fmla="*/ 97883 h 114662"/>
                <a:gd name="connsiteX8" fmla="*/ 98186 w 212545"/>
                <a:gd name="connsiteY8" fmla="*/ 16812 h 114662"/>
                <a:gd name="connsiteX9" fmla="*/ 17115 w 212545"/>
                <a:gd name="connsiteY9" fmla="*/ 97883 h 114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2545" h="114662">
                  <a:moveTo>
                    <a:pt x="204155" y="114663"/>
                  </a:moveTo>
                  <a:lnTo>
                    <a:pt x="8390" y="114663"/>
                  </a:lnTo>
                  <a:cubicBezTo>
                    <a:pt x="3756" y="114663"/>
                    <a:pt x="0" y="110906"/>
                    <a:pt x="0" y="106273"/>
                  </a:cubicBezTo>
                  <a:cubicBezTo>
                    <a:pt x="0" y="47580"/>
                    <a:pt x="47580" y="0"/>
                    <a:pt x="106273" y="0"/>
                  </a:cubicBezTo>
                  <a:cubicBezTo>
                    <a:pt x="164965" y="0"/>
                    <a:pt x="212545" y="47580"/>
                    <a:pt x="212545" y="106273"/>
                  </a:cubicBezTo>
                  <a:cubicBezTo>
                    <a:pt x="212545" y="110906"/>
                    <a:pt x="208789" y="114663"/>
                    <a:pt x="204155" y="114663"/>
                  </a:cubicBezTo>
                  <a:close/>
                  <a:moveTo>
                    <a:pt x="17115" y="97883"/>
                  </a:moveTo>
                  <a:lnTo>
                    <a:pt x="195374" y="97883"/>
                  </a:lnTo>
                  <a:cubicBezTo>
                    <a:pt x="190923" y="48658"/>
                    <a:pt x="147411" y="12361"/>
                    <a:pt x="98186" y="16812"/>
                  </a:cubicBezTo>
                  <a:cubicBezTo>
                    <a:pt x="55128" y="20705"/>
                    <a:pt x="21008" y="54824"/>
                    <a:pt x="17115" y="9788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Полилиния: фигура 84">
              <a:extLst>
                <a:ext uri="{FF2B5EF4-FFF2-40B4-BE49-F238E27FC236}">
                  <a16:creationId xmlns:a16="http://schemas.microsoft.com/office/drawing/2014/main" id="{6B23BED4-86F4-4902-B4DB-CB0C22B52663}"/>
                </a:ext>
              </a:extLst>
            </p:cNvPr>
            <p:cNvSpPr/>
            <p:nvPr/>
          </p:nvSpPr>
          <p:spPr>
            <a:xfrm>
              <a:off x="818521" y="5780381"/>
              <a:ext cx="145425" cy="145425"/>
            </a:xfrm>
            <a:custGeom>
              <a:avLst/>
              <a:gdLst>
                <a:gd name="connsiteX0" fmla="*/ 72713 w 145425"/>
                <a:gd name="connsiteY0" fmla="*/ 145426 h 145425"/>
                <a:gd name="connsiteX1" fmla="*/ 0 w 145425"/>
                <a:gd name="connsiteY1" fmla="*/ 72713 h 145425"/>
                <a:gd name="connsiteX2" fmla="*/ 72713 w 145425"/>
                <a:gd name="connsiteY2" fmla="*/ 0 h 145425"/>
                <a:gd name="connsiteX3" fmla="*/ 145426 w 145425"/>
                <a:gd name="connsiteY3" fmla="*/ 72713 h 145425"/>
                <a:gd name="connsiteX4" fmla="*/ 72713 w 145425"/>
                <a:gd name="connsiteY4" fmla="*/ 145426 h 145425"/>
                <a:gd name="connsiteX5" fmla="*/ 72713 w 145425"/>
                <a:gd name="connsiteY5" fmla="*/ 16780 h 145425"/>
                <a:gd name="connsiteX6" fmla="*/ 16780 w 145425"/>
                <a:gd name="connsiteY6" fmla="*/ 72713 h 145425"/>
                <a:gd name="connsiteX7" fmla="*/ 72713 w 145425"/>
                <a:gd name="connsiteY7" fmla="*/ 128646 h 145425"/>
                <a:gd name="connsiteX8" fmla="*/ 128646 w 145425"/>
                <a:gd name="connsiteY8" fmla="*/ 72713 h 145425"/>
                <a:gd name="connsiteX9" fmla="*/ 72713 w 145425"/>
                <a:gd name="connsiteY9" fmla="*/ 16780 h 14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5425" h="145425">
                  <a:moveTo>
                    <a:pt x="72713" y="145426"/>
                  </a:moveTo>
                  <a:cubicBezTo>
                    <a:pt x="32555" y="145426"/>
                    <a:pt x="0" y="112871"/>
                    <a:pt x="0" y="72713"/>
                  </a:cubicBezTo>
                  <a:cubicBezTo>
                    <a:pt x="0" y="32555"/>
                    <a:pt x="32555" y="0"/>
                    <a:pt x="72713" y="0"/>
                  </a:cubicBezTo>
                  <a:cubicBezTo>
                    <a:pt x="112871" y="0"/>
                    <a:pt x="145426" y="32555"/>
                    <a:pt x="145426" y="72713"/>
                  </a:cubicBezTo>
                  <a:cubicBezTo>
                    <a:pt x="145426" y="112871"/>
                    <a:pt x="112871" y="145426"/>
                    <a:pt x="72713" y="145426"/>
                  </a:cubicBezTo>
                  <a:close/>
                  <a:moveTo>
                    <a:pt x="72713" y="16780"/>
                  </a:moveTo>
                  <a:cubicBezTo>
                    <a:pt x="41822" y="16780"/>
                    <a:pt x="16780" y="41822"/>
                    <a:pt x="16780" y="72713"/>
                  </a:cubicBezTo>
                  <a:cubicBezTo>
                    <a:pt x="16780" y="103604"/>
                    <a:pt x="41822" y="128646"/>
                    <a:pt x="72713" y="128646"/>
                  </a:cubicBezTo>
                  <a:cubicBezTo>
                    <a:pt x="103604" y="128646"/>
                    <a:pt x="128646" y="103604"/>
                    <a:pt x="128646" y="72713"/>
                  </a:cubicBezTo>
                  <a:cubicBezTo>
                    <a:pt x="128646" y="41822"/>
                    <a:pt x="103604" y="16780"/>
                    <a:pt x="72713" y="167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Полилиния: фигура 85">
              <a:extLst>
                <a:ext uri="{FF2B5EF4-FFF2-40B4-BE49-F238E27FC236}">
                  <a16:creationId xmlns:a16="http://schemas.microsoft.com/office/drawing/2014/main" id="{26F92225-D6DC-4DCF-8DC4-C556AB6BB959}"/>
                </a:ext>
              </a:extLst>
            </p:cNvPr>
            <p:cNvSpPr/>
            <p:nvPr/>
          </p:nvSpPr>
          <p:spPr>
            <a:xfrm>
              <a:off x="826878" y="5968171"/>
              <a:ext cx="130892" cy="32363"/>
            </a:xfrm>
            <a:custGeom>
              <a:avLst/>
              <a:gdLst>
                <a:gd name="connsiteX0" fmla="*/ 65586 w 130892"/>
                <a:gd name="connsiteY0" fmla="*/ 32362 h 32363"/>
                <a:gd name="connsiteX1" fmla="*/ 4060 w 130892"/>
                <a:gd name="connsiteY1" fmla="*/ 15582 h 32363"/>
                <a:gd name="connsiteX2" fmla="*/ 1207 w 130892"/>
                <a:gd name="connsiteY2" fmla="*/ 4060 h 32363"/>
                <a:gd name="connsiteX3" fmla="*/ 12729 w 130892"/>
                <a:gd name="connsiteY3" fmla="*/ 1207 h 32363"/>
                <a:gd name="connsiteX4" fmla="*/ 118163 w 130892"/>
                <a:gd name="connsiteY4" fmla="*/ 1207 h 32363"/>
                <a:gd name="connsiteX5" fmla="*/ 129685 w 130892"/>
                <a:gd name="connsiteY5" fmla="*/ 4060 h 32363"/>
                <a:gd name="connsiteX6" fmla="*/ 126833 w 130892"/>
                <a:gd name="connsiteY6" fmla="*/ 15582 h 32363"/>
                <a:gd name="connsiteX7" fmla="*/ 65586 w 130892"/>
                <a:gd name="connsiteY7" fmla="*/ 32362 h 32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892" h="32363">
                  <a:moveTo>
                    <a:pt x="65586" y="32362"/>
                  </a:moveTo>
                  <a:cubicBezTo>
                    <a:pt x="43932" y="32478"/>
                    <a:pt x="22657" y="26676"/>
                    <a:pt x="4060" y="15582"/>
                  </a:cubicBezTo>
                  <a:cubicBezTo>
                    <a:pt x="90" y="13188"/>
                    <a:pt x="-1187" y="8029"/>
                    <a:pt x="1207" y="4060"/>
                  </a:cubicBezTo>
                  <a:cubicBezTo>
                    <a:pt x="3601" y="90"/>
                    <a:pt x="8760" y="-1187"/>
                    <a:pt x="12729" y="1207"/>
                  </a:cubicBezTo>
                  <a:cubicBezTo>
                    <a:pt x="45174" y="20687"/>
                    <a:pt x="85718" y="20687"/>
                    <a:pt x="118163" y="1207"/>
                  </a:cubicBezTo>
                  <a:cubicBezTo>
                    <a:pt x="122133" y="-1187"/>
                    <a:pt x="127291" y="90"/>
                    <a:pt x="129685" y="4060"/>
                  </a:cubicBezTo>
                  <a:cubicBezTo>
                    <a:pt x="132079" y="8029"/>
                    <a:pt x="130802" y="13188"/>
                    <a:pt x="126833" y="15582"/>
                  </a:cubicBezTo>
                  <a:cubicBezTo>
                    <a:pt x="108316" y="26624"/>
                    <a:pt x="87145" y="32424"/>
                    <a:pt x="65586" y="3236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Полилиния: фигура 86">
              <a:extLst>
                <a:ext uri="{FF2B5EF4-FFF2-40B4-BE49-F238E27FC236}">
                  <a16:creationId xmlns:a16="http://schemas.microsoft.com/office/drawing/2014/main" id="{60641139-4047-4D4E-88CC-1B7B6446D542}"/>
                </a:ext>
              </a:extLst>
            </p:cNvPr>
            <p:cNvSpPr/>
            <p:nvPr/>
          </p:nvSpPr>
          <p:spPr>
            <a:xfrm>
              <a:off x="837762" y="5825127"/>
              <a:ext cx="110132" cy="13486"/>
            </a:xfrm>
            <a:custGeom>
              <a:avLst/>
              <a:gdLst>
                <a:gd name="connsiteX0" fmla="*/ 0 w 110132"/>
                <a:gd name="connsiteY0" fmla="*/ 3356 h 13486"/>
                <a:gd name="connsiteX1" fmla="*/ 68238 w 110132"/>
                <a:gd name="connsiteY1" fmla="*/ 0 h 13486"/>
                <a:gd name="connsiteX2" fmla="*/ 110132 w 110132"/>
                <a:gd name="connsiteY2" fmla="*/ 2181 h 13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0132" h="13486">
                  <a:moveTo>
                    <a:pt x="0" y="3356"/>
                  </a:moveTo>
                  <a:cubicBezTo>
                    <a:pt x="31826" y="27966"/>
                    <a:pt x="68238" y="0"/>
                    <a:pt x="68238" y="0"/>
                  </a:cubicBezTo>
                  <a:cubicBezTo>
                    <a:pt x="68238" y="0"/>
                    <a:pt x="92233" y="26065"/>
                    <a:pt x="110132" y="2181"/>
                  </a:cubicBezTo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212" name="Полилиния: фигура 87">
              <a:extLst>
                <a:ext uri="{FF2B5EF4-FFF2-40B4-BE49-F238E27FC236}">
                  <a16:creationId xmlns:a16="http://schemas.microsoft.com/office/drawing/2014/main" id="{A9378859-AB01-45CC-9F76-242F21DFE733}"/>
                </a:ext>
              </a:extLst>
            </p:cNvPr>
            <p:cNvSpPr/>
            <p:nvPr/>
          </p:nvSpPr>
          <p:spPr>
            <a:xfrm>
              <a:off x="829370" y="5816658"/>
              <a:ext cx="126858" cy="30284"/>
            </a:xfrm>
            <a:custGeom>
              <a:avLst/>
              <a:gdLst>
                <a:gd name="connsiteX0" fmla="*/ 37645 w 126858"/>
                <a:gd name="connsiteY0" fmla="*/ 30283 h 30284"/>
                <a:gd name="connsiteX1" fmla="*/ 3246 w 126858"/>
                <a:gd name="connsiteY1" fmla="*/ 18482 h 30284"/>
                <a:gd name="connsiteX2" fmla="*/ 1764 w 126858"/>
                <a:gd name="connsiteY2" fmla="*/ 6708 h 30284"/>
                <a:gd name="connsiteX3" fmla="*/ 13537 w 126858"/>
                <a:gd name="connsiteY3" fmla="*/ 5225 h 30284"/>
                <a:gd name="connsiteX4" fmla="*/ 71540 w 126858"/>
                <a:gd name="connsiteY4" fmla="*/ 1702 h 30284"/>
                <a:gd name="connsiteX5" fmla="*/ 82726 w 126858"/>
                <a:gd name="connsiteY5" fmla="*/ 2652 h 30284"/>
                <a:gd name="connsiteX6" fmla="*/ 101352 w 126858"/>
                <a:gd name="connsiteY6" fmla="*/ 12217 h 30284"/>
                <a:gd name="connsiteX7" fmla="*/ 111756 w 126858"/>
                <a:gd name="connsiteY7" fmla="*/ 5505 h 30284"/>
                <a:gd name="connsiteX8" fmla="*/ 123502 w 126858"/>
                <a:gd name="connsiteY8" fmla="*/ 3827 h 30284"/>
                <a:gd name="connsiteX9" fmla="*/ 125180 w 126858"/>
                <a:gd name="connsiteY9" fmla="*/ 15573 h 30284"/>
                <a:gd name="connsiteX10" fmla="*/ 102135 w 126858"/>
                <a:gd name="connsiteY10" fmla="*/ 28997 h 30284"/>
                <a:gd name="connsiteX11" fmla="*/ 75791 w 126858"/>
                <a:gd name="connsiteY11" fmla="*/ 19041 h 30284"/>
                <a:gd name="connsiteX12" fmla="*/ 37645 w 126858"/>
                <a:gd name="connsiteY12" fmla="*/ 30283 h 3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858" h="30284">
                  <a:moveTo>
                    <a:pt x="37645" y="30283"/>
                  </a:moveTo>
                  <a:cubicBezTo>
                    <a:pt x="25169" y="30378"/>
                    <a:pt x="13035" y="26215"/>
                    <a:pt x="3246" y="18482"/>
                  </a:cubicBezTo>
                  <a:cubicBezTo>
                    <a:pt x="-415" y="15640"/>
                    <a:pt x="-1078" y="10368"/>
                    <a:pt x="1764" y="6708"/>
                  </a:cubicBezTo>
                  <a:cubicBezTo>
                    <a:pt x="4605" y="3047"/>
                    <a:pt x="9877" y="2383"/>
                    <a:pt x="13537" y="5225"/>
                  </a:cubicBezTo>
                  <a:cubicBezTo>
                    <a:pt x="39490" y="25585"/>
                    <a:pt x="70253" y="2876"/>
                    <a:pt x="71540" y="1702"/>
                  </a:cubicBezTo>
                  <a:cubicBezTo>
                    <a:pt x="74963" y="-890"/>
                    <a:pt x="79790" y="-480"/>
                    <a:pt x="82726" y="2652"/>
                  </a:cubicBezTo>
                  <a:cubicBezTo>
                    <a:pt x="85299" y="5449"/>
                    <a:pt x="93633" y="12664"/>
                    <a:pt x="101352" y="12217"/>
                  </a:cubicBezTo>
                  <a:cubicBezTo>
                    <a:pt x="105664" y="11688"/>
                    <a:pt x="109497" y="9215"/>
                    <a:pt x="111756" y="5505"/>
                  </a:cubicBezTo>
                  <a:cubicBezTo>
                    <a:pt x="114536" y="1798"/>
                    <a:pt x="119795" y="1047"/>
                    <a:pt x="123502" y="3827"/>
                  </a:cubicBezTo>
                  <a:cubicBezTo>
                    <a:pt x="127208" y="6607"/>
                    <a:pt x="127960" y="11866"/>
                    <a:pt x="125180" y="15573"/>
                  </a:cubicBezTo>
                  <a:cubicBezTo>
                    <a:pt x="119978" y="23361"/>
                    <a:pt x="111475" y="28315"/>
                    <a:pt x="102135" y="28997"/>
                  </a:cubicBezTo>
                  <a:cubicBezTo>
                    <a:pt x="92450" y="28912"/>
                    <a:pt x="83111" y="25383"/>
                    <a:pt x="75791" y="19041"/>
                  </a:cubicBezTo>
                  <a:cubicBezTo>
                    <a:pt x="64300" y="26112"/>
                    <a:pt x="51133" y="29993"/>
                    <a:pt x="37645" y="3028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3" name="Группа 212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5761794" y="2425476"/>
            <a:ext cx="462797" cy="377676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214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5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16" name="Группа 215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10268325" y="2440739"/>
            <a:ext cx="499086" cy="370350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217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8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19" name="Группа 218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3575170" y="2424393"/>
            <a:ext cx="462797" cy="377676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220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1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22" name="Группа 221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1242787" y="2422163"/>
            <a:ext cx="524644" cy="374012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223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4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4073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94</a:t>
            </a:fld>
            <a:endParaRPr lang="en-US" dirty="0"/>
          </a:p>
        </p:txBody>
      </p:sp>
      <p:graphicFrame>
        <p:nvGraphicFramePr>
          <p:cNvPr id="4" name="Таблица 5">
            <a:extLst>
              <a:ext uri="{FF2B5EF4-FFF2-40B4-BE49-F238E27FC236}">
                <a16:creationId xmlns:a16="http://schemas.microsoft.com/office/drawing/2014/main" id="{15334CA2-11EE-49E1-979E-ADA3F09E652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94154" y="3329470"/>
          <a:ext cx="2933284" cy="3538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33284">
                  <a:extLst>
                    <a:ext uri="{9D8B030D-6E8A-4147-A177-3AD203B41FA5}">
                      <a16:colId xmlns:a16="http://schemas.microsoft.com/office/drawing/2014/main" val="3450824149"/>
                    </a:ext>
                  </a:extLst>
                </a:gridCol>
              </a:tblGrid>
              <a:tr h="3146105">
                <a:tc>
                  <a:txBody>
                    <a:bodyPr/>
                    <a:lstStyle/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/>
                        <a:t>Продукция упакована в транспортную упаковку</a:t>
                      </a:r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endParaRPr lang="ru-RU" sz="1100" b="0" dirty="0" smtClean="0"/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/>
                        <a:t>Транспортная</a:t>
                      </a:r>
                      <a:r>
                        <a:rPr lang="ru-RU" sz="1100" b="0" baseline="0" dirty="0" smtClean="0"/>
                        <a:t> тара чистая, без повреждений</a:t>
                      </a: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endParaRPr lang="ru-RU" sz="1100" b="0" dirty="0" smtClean="0"/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/>
                        <a:t>Отсутствует посторонний запах,</a:t>
                      </a:r>
                      <a:r>
                        <a:rPr lang="ru-RU" sz="1100" b="0" baseline="0" dirty="0" smtClean="0"/>
                        <a:t> не свойственный продукту</a:t>
                      </a:r>
                      <a:r>
                        <a:rPr lang="ru-RU" sz="1100" b="0" dirty="0" smtClean="0"/>
                        <a:t> </a:t>
                      </a:r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endParaRPr lang="ru-RU" sz="1100" b="0" dirty="0" smtClean="0"/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/>
                        <a:t>Наличие маркировки от производителя с полной информацией о товаре,</a:t>
                      </a:r>
                      <a:r>
                        <a:rPr lang="ru-RU" sz="1100" b="0" baseline="0" dirty="0" smtClean="0"/>
                        <a:t> согласно ТР ТС 022/2011</a:t>
                      </a: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endParaRPr lang="ru-RU" sz="1100" b="0" dirty="0" smtClean="0"/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/>
                        <a:t>Весь товар покрыт от внешних загрязнений</a:t>
                      </a: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endParaRPr lang="ru-RU" sz="1000" b="0" dirty="0" smtClean="0"/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/>
                        <a:t>Товар размещен на паллетах</a:t>
                      </a:r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endParaRPr lang="ru-RU" sz="1000" b="0" dirty="0" smtClean="0"/>
                    </a:p>
                  </a:txBody>
                  <a:tcPr marL="216000" marR="216000" marT="108000" marB="10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069870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9A599377-64EB-D762-8EBA-1D53AFE1B00A}"/>
              </a:ext>
            </a:extLst>
          </p:cNvPr>
          <p:cNvSpPr txBox="1"/>
          <p:nvPr/>
        </p:nvSpPr>
        <p:spPr>
          <a:xfrm>
            <a:off x="700352" y="2255153"/>
            <a:ext cx="308812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844083">
              <a:defRPr/>
            </a:pPr>
            <a:r>
              <a:rPr lang="ru-RU" dirty="0" smtClean="0"/>
              <a:t>Приемка товара</a:t>
            </a:r>
            <a:endParaRPr lang="ru-RU" dirty="0">
              <a:solidFill>
                <a:schemeClr val="tx2"/>
              </a:solidFill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625862" y="1522443"/>
            <a:ext cx="2904977" cy="1233743"/>
            <a:chOff x="567690" y="1198563"/>
            <a:chExt cx="3524250" cy="3338710"/>
          </a:xfrm>
        </p:grpSpPr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60EA166F-E096-4E1C-8EF6-1F6149C14C3E}"/>
                </a:ext>
              </a:extLst>
            </p:cNvPr>
            <p:cNvSpPr/>
            <p:nvPr/>
          </p:nvSpPr>
          <p:spPr>
            <a:xfrm>
              <a:off x="571501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89FF7DA5-FD96-4AAB-A99C-B407016E3A8B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65749E22-72EC-7C98-13C2-65A309BBAC81}"/>
              </a:ext>
            </a:extLst>
          </p:cNvPr>
          <p:cNvCxnSpPr>
            <a:cxnSpLocks/>
            <a:stCxn id="23" idx="1"/>
            <a:endCxn id="23" idx="3"/>
          </p:cNvCxnSpPr>
          <p:nvPr/>
        </p:nvCxnSpPr>
        <p:spPr>
          <a:xfrm>
            <a:off x="629003" y="2139315"/>
            <a:ext cx="2898434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B1FB0563-7BB9-1EC4-A8C6-4DA6EAB5419D}"/>
              </a:ext>
            </a:extLst>
          </p:cNvPr>
          <p:cNvSpPr txBox="1"/>
          <p:nvPr/>
        </p:nvSpPr>
        <p:spPr>
          <a:xfrm>
            <a:off x="9073674" y="2175787"/>
            <a:ext cx="268290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844083">
              <a:defRPr/>
            </a:pPr>
            <a:r>
              <a:rPr lang="ru-RU" sz="1200" dirty="0" smtClean="0"/>
              <a:t>Проверка температурных режимов транспортировки и продукции</a:t>
            </a:r>
            <a:endParaRPr lang="ru-RU" sz="1200" dirty="0"/>
          </a:p>
        </p:txBody>
      </p:sp>
      <p:grpSp>
        <p:nvGrpSpPr>
          <p:cNvPr id="32" name="Группа 31"/>
          <p:cNvGrpSpPr/>
          <p:nvPr/>
        </p:nvGrpSpPr>
        <p:grpSpPr>
          <a:xfrm>
            <a:off x="9158747" y="1528009"/>
            <a:ext cx="2650423" cy="1233743"/>
            <a:chOff x="8097838" y="1198563"/>
            <a:chExt cx="3524250" cy="3338710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5F8F9EBA-9210-317F-7743-2B7FAC5A456A}"/>
                </a:ext>
              </a:extLst>
            </p:cNvPr>
            <p:cNvSpPr/>
            <p:nvPr/>
          </p:nvSpPr>
          <p:spPr>
            <a:xfrm>
              <a:off x="8101649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197C3C89-99FF-8E43-EDD8-7C5512CD0E27}"/>
                </a:ext>
              </a:extLst>
            </p:cNvPr>
            <p:cNvCxnSpPr>
              <a:cxnSpLocks/>
            </p:cNvCxnSpPr>
            <p:nvPr/>
          </p:nvCxnSpPr>
          <p:spPr>
            <a:xfrm>
              <a:off x="8097838" y="1198563"/>
              <a:ext cx="35242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D44FB996-B33A-DBD7-B5C2-6E65BD8721BE}"/>
              </a:ext>
            </a:extLst>
          </p:cNvPr>
          <p:cNvCxnSpPr>
            <a:cxnSpLocks/>
            <a:stCxn id="33" idx="1"/>
            <a:endCxn id="33" idx="3"/>
          </p:cNvCxnSpPr>
          <p:nvPr/>
        </p:nvCxnSpPr>
        <p:spPr>
          <a:xfrm>
            <a:off x="9161613" y="2144881"/>
            <a:ext cx="264445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Группа 35"/>
          <p:cNvGrpSpPr/>
          <p:nvPr/>
        </p:nvGrpSpPr>
        <p:grpSpPr>
          <a:xfrm>
            <a:off x="3632094" y="1522442"/>
            <a:ext cx="2586206" cy="1233743"/>
            <a:chOff x="4332764" y="1198563"/>
            <a:chExt cx="3524250" cy="3338710"/>
          </a:xfrm>
        </p:grpSpPr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DB08BC07-F988-740D-200F-51890DF9FB35}"/>
                </a:ext>
              </a:extLst>
            </p:cNvPr>
            <p:cNvSpPr/>
            <p:nvPr/>
          </p:nvSpPr>
          <p:spPr>
            <a:xfrm>
              <a:off x="4336575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A48682A4-9DB5-6EF5-51D2-E0BFC6F95111}"/>
                </a:ext>
              </a:extLst>
            </p:cNvPr>
            <p:cNvCxnSpPr>
              <a:cxnSpLocks/>
            </p:cNvCxnSpPr>
            <p:nvPr/>
          </p:nvCxnSpPr>
          <p:spPr>
            <a:xfrm>
              <a:off x="4332764" y="1198563"/>
              <a:ext cx="35242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4A1D073B-AEFA-ECE2-750E-92DA83287462}"/>
              </a:ext>
            </a:extLst>
          </p:cNvPr>
          <p:cNvCxnSpPr>
            <a:cxnSpLocks/>
            <a:stCxn id="37" idx="1"/>
            <a:endCxn id="37" idx="3"/>
          </p:cNvCxnSpPr>
          <p:nvPr/>
        </p:nvCxnSpPr>
        <p:spPr>
          <a:xfrm>
            <a:off x="3634891" y="2139314"/>
            <a:ext cx="258038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Группа 39"/>
          <p:cNvGrpSpPr/>
          <p:nvPr/>
        </p:nvGrpSpPr>
        <p:grpSpPr>
          <a:xfrm rot="5400000">
            <a:off x="4765609" y="2766493"/>
            <a:ext cx="327483" cy="489098"/>
            <a:chOff x="1988287" y="4667693"/>
            <a:chExt cx="1541722" cy="1222744"/>
          </a:xfrm>
        </p:grpSpPr>
        <p:sp>
          <p:nvSpPr>
            <p:cNvPr id="41" name="Шеврон 40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2" name="Шеврон 41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43" name="Группа 42"/>
          <p:cNvGrpSpPr/>
          <p:nvPr/>
        </p:nvGrpSpPr>
        <p:grpSpPr>
          <a:xfrm rot="5400000">
            <a:off x="2043612" y="2781240"/>
            <a:ext cx="327483" cy="489098"/>
            <a:chOff x="1988287" y="4667693"/>
            <a:chExt cx="1541722" cy="1222744"/>
          </a:xfrm>
        </p:grpSpPr>
        <p:sp>
          <p:nvSpPr>
            <p:cNvPr id="44" name="Шеврон 43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5" name="Шеврон 44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46" name="Группа 45"/>
          <p:cNvGrpSpPr/>
          <p:nvPr/>
        </p:nvGrpSpPr>
        <p:grpSpPr>
          <a:xfrm rot="5400000">
            <a:off x="10168030" y="2781440"/>
            <a:ext cx="327483" cy="489098"/>
            <a:chOff x="1988287" y="4667693"/>
            <a:chExt cx="1541722" cy="1222744"/>
          </a:xfrm>
        </p:grpSpPr>
        <p:sp>
          <p:nvSpPr>
            <p:cNvPr id="47" name="Шеврон 46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8" name="Шеврон 47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49" name="Заголовок 2"/>
          <p:cNvSpPr>
            <a:spLocks noGrp="1"/>
          </p:cNvSpPr>
          <p:nvPr>
            <p:ph type="title"/>
          </p:nvPr>
        </p:nvSpPr>
        <p:spPr>
          <a:xfrm>
            <a:off x="-366075" y="734512"/>
            <a:ext cx="10002539" cy="369332"/>
          </a:xfrm>
        </p:spPr>
        <p:txBody>
          <a:bodyPr/>
          <a:lstStyle/>
          <a:p>
            <a:pPr algn="ctr"/>
            <a:r>
              <a:rPr lang="ru-RU" dirty="0" smtClean="0"/>
              <a:t>Требования к приемке товара</a:t>
            </a:r>
            <a:endParaRPr lang="ru-RU" dirty="0"/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id="{92F02FC5-A218-465F-894E-52EB0D0FC73F}"/>
              </a:ext>
            </a:extLst>
          </p:cNvPr>
          <p:cNvSpPr/>
          <p:nvPr/>
        </p:nvSpPr>
        <p:spPr>
          <a:xfrm>
            <a:off x="848370" y="574030"/>
            <a:ext cx="790114" cy="784800"/>
          </a:xfrm>
          <a:prstGeom prst="ellipse">
            <a:avLst/>
          </a:prstGeom>
          <a:noFill/>
          <a:ln w="152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28328" y="3462464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60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1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28328" y="3984338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63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4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28328" y="4477192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83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4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51325" y="5075355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86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7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8" name="Группа 87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46982" y="6362130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89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0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45459" y="5878156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93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4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733297" y="2177276"/>
            <a:ext cx="24361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44083">
              <a:defRPr/>
            </a:pPr>
            <a:r>
              <a:rPr lang="ru-RU" dirty="0"/>
              <a:t>Санитарная</a:t>
            </a:r>
            <a:r>
              <a:rPr lang="ru-RU" sz="1400" dirty="0"/>
              <a:t> </a:t>
            </a:r>
            <a:r>
              <a:rPr lang="ru-RU" dirty="0" smtClean="0"/>
              <a:t>одежда </a:t>
            </a:r>
            <a:r>
              <a:rPr lang="ru-RU" dirty="0"/>
              <a:t>водителя</a:t>
            </a:r>
          </a:p>
        </p:txBody>
      </p:sp>
      <p:graphicFrame>
        <p:nvGraphicFramePr>
          <p:cNvPr id="95" name="Таблица 5">
            <a:extLst>
              <a:ext uri="{FF2B5EF4-FFF2-40B4-BE49-F238E27FC236}">
                <a16:creationId xmlns:a16="http://schemas.microsoft.com/office/drawing/2014/main" id="{15334CA2-11EE-49E1-979E-ADA3F09E652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645498" y="3333542"/>
          <a:ext cx="2595292" cy="22276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292">
                  <a:extLst>
                    <a:ext uri="{9D8B030D-6E8A-4147-A177-3AD203B41FA5}">
                      <a16:colId xmlns:a16="http://schemas.microsoft.com/office/drawing/2014/main" val="3450824149"/>
                    </a:ext>
                  </a:extLst>
                </a:gridCol>
              </a:tblGrid>
              <a:tr h="1953353">
                <a:tc>
                  <a:txBody>
                    <a:bodyPr/>
                    <a:lstStyle/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dirty="0" smtClean="0"/>
                        <a:t>Наличие чистого санитарного халата или одноразового халата,</a:t>
                      </a:r>
                      <a:r>
                        <a:rPr lang="ru-RU" sz="1400" b="0" baseline="0" dirty="0" smtClean="0"/>
                        <a:t> е</a:t>
                      </a:r>
                      <a:r>
                        <a:rPr lang="ru-RU" sz="1400" b="0" dirty="0" smtClean="0">
                          <a:solidFill>
                            <a:schemeClr val="accent1"/>
                          </a:solidFill>
                        </a:rPr>
                        <a:t>сли Водитель находится в помещении грузовой зоны торгового комплекса</a:t>
                      </a: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endParaRPr lang="ru-RU" sz="1000" b="0" dirty="0" smtClean="0"/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endParaRPr lang="ru-RU" sz="1000" b="0" dirty="0" smtClean="0"/>
                    </a:p>
                  </a:txBody>
                  <a:tcPr marL="216000" marR="216000" marT="108000" marB="10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069870"/>
                  </a:ext>
                </a:extLst>
              </a:tr>
            </a:tbl>
          </a:graphicData>
        </a:graphic>
      </p:graphicFrame>
      <p:grpSp>
        <p:nvGrpSpPr>
          <p:cNvPr id="96" name="Группа 95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3655664" y="3446517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97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8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99" name="Таблица 5">
            <a:extLst>
              <a:ext uri="{FF2B5EF4-FFF2-40B4-BE49-F238E27FC236}">
                <a16:creationId xmlns:a16="http://schemas.microsoft.com/office/drawing/2014/main" id="{15334CA2-11EE-49E1-979E-ADA3F09E652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13899" y="3329470"/>
          <a:ext cx="2592168" cy="3690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2168">
                  <a:extLst>
                    <a:ext uri="{9D8B030D-6E8A-4147-A177-3AD203B41FA5}">
                      <a16:colId xmlns:a16="http://schemas.microsoft.com/office/drawing/2014/main" val="3450824149"/>
                    </a:ext>
                  </a:extLst>
                </a:gridCol>
              </a:tblGrid>
              <a:tr h="3265831">
                <a:tc>
                  <a:txBody>
                    <a:bodyPr/>
                    <a:lstStyle/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solidFill>
                            <a:schemeClr val="dk1"/>
                          </a:solidFill>
                        </a:rPr>
                        <a:t>Определены</a:t>
                      </a:r>
                      <a:r>
                        <a:rPr lang="ru-RU" sz="1200" b="0" baseline="0" dirty="0" smtClean="0">
                          <a:solidFill>
                            <a:schemeClr val="dk1"/>
                          </a:solidFill>
                        </a:rPr>
                        <a:t> Требования к проверке температурных режимов транспортировки продукции и температуры продукции при приемке, требующей особых условий хранения</a:t>
                      </a:r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endParaRPr lang="ru-RU" sz="1200" b="0" baseline="0" dirty="0" smtClean="0">
                        <a:solidFill>
                          <a:schemeClr val="dk1"/>
                        </a:solidFill>
                      </a:endParaRPr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baseline="0" dirty="0" smtClean="0">
                          <a:solidFill>
                            <a:schemeClr val="dk1"/>
                          </a:solidFill>
                        </a:rPr>
                        <a:t>Время приемки товаров с особыми условиями хранения не более 30 минут после открытия дверей машины</a:t>
                      </a: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endParaRPr lang="ru-RU" sz="1200" b="0" baseline="0" dirty="0" smtClean="0">
                        <a:solidFill>
                          <a:schemeClr val="dk1"/>
                        </a:solidFill>
                      </a:endParaRP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endParaRPr lang="ru-RU" sz="1200" b="0" baseline="0" dirty="0" smtClean="0">
                        <a:solidFill>
                          <a:schemeClr val="dk1"/>
                        </a:solidFill>
                      </a:endParaRP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endParaRPr lang="ru-RU" sz="1200" b="0" dirty="0" smtClean="0"/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endParaRPr lang="ru-RU" sz="1200" b="0" dirty="0" smtClean="0"/>
                    </a:p>
                  </a:txBody>
                  <a:tcPr marL="216000" marR="216000" marT="108000" marB="10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069870"/>
                  </a:ext>
                </a:extLst>
              </a:tr>
            </a:tbl>
          </a:graphicData>
        </a:graphic>
      </p:graphicFrame>
      <p:grpSp>
        <p:nvGrpSpPr>
          <p:cNvPr id="100" name="Группа 99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9248852" y="3454800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101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2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9248852" y="5245075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104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5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06" name="Рисунок 44">
            <a:extLst>
              <a:ext uri="{FF2B5EF4-FFF2-40B4-BE49-F238E27FC236}">
                <a16:creationId xmlns:a16="http://schemas.microsoft.com/office/drawing/2014/main" id="{9261E249-5B05-4C76-BA3D-71C4BA3B0B20}"/>
              </a:ext>
            </a:extLst>
          </p:cNvPr>
          <p:cNvSpPr/>
          <p:nvPr/>
        </p:nvSpPr>
        <p:spPr>
          <a:xfrm>
            <a:off x="1962805" y="1673971"/>
            <a:ext cx="402731" cy="414114"/>
          </a:xfrm>
          <a:custGeom>
            <a:avLst/>
            <a:gdLst>
              <a:gd name="connsiteX0" fmla="*/ 394327 w 402731"/>
              <a:gd name="connsiteY0" fmla="*/ 117459 h 414114"/>
              <a:gd name="connsiteX1" fmla="*/ 363564 w 402731"/>
              <a:gd name="connsiteY1" fmla="*/ 117459 h 414114"/>
              <a:gd name="connsiteX2" fmla="*/ 363564 w 402731"/>
              <a:gd name="connsiteY2" fmla="*/ 8390 h 414114"/>
              <a:gd name="connsiteX3" fmla="*/ 355174 w 402731"/>
              <a:gd name="connsiteY3" fmla="*/ 0 h 414114"/>
              <a:gd name="connsiteX4" fmla="*/ 220935 w 402731"/>
              <a:gd name="connsiteY4" fmla="*/ 0 h 414114"/>
              <a:gd name="connsiteX5" fmla="*/ 212545 w 402731"/>
              <a:gd name="connsiteY5" fmla="*/ 8390 h 414114"/>
              <a:gd name="connsiteX6" fmla="*/ 212545 w 402731"/>
              <a:gd name="connsiteY6" fmla="*/ 72713 h 414114"/>
              <a:gd name="connsiteX7" fmla="*/ 159409 w 402731"/>
              <a:gd name="connsiteY7" fmla="*/ 72713 h 414114"/>
              <a:gd name="connsiteX8" fmla="*/ 151019 w 402731"/>
              <a:gd name="connsiteY8" fmla="*/ 81103 h 414114"/>
              <a:gd name="connsiteX9" fmla="*/ 151019 w 402731"/>
              <a:gd name="connsiteY9" fmla="*/ 190172 h 414114"/>
              <a:gd name="connsiteX10" fmla="*/ 95086 w 402731"/>
              <a:gd name="connsiteY10" fmla="*/ 190172 h 414114"/>
              <a:gd name="connsiteX11" fmla="*/ 95086 w 402731"/>
              <a:gd name="connsiteY11" fmla="*/ 75510 h 414114"/>
              <a:gd name="connsiteX12" fmla="*/ 86696 w 402731"/>
              <a:gd name="connsiteY12" fmla="*/ 67120 h 414114"/>
              <a:gd name="connsiteX13" fmla="*/ 8390 w 402731"/>
              <a:gd name="connsiteY13" fmla="*/ 67120 h 414114"/>
              <a:gd name="connsiteX14" fmla="*/ 0 w 402731"/>
              <a:gd name="connsiteY14" fmla="*/ 75510 h 414114"/>
              <a:gd name="connsiteX15" fmla="*/ 8390 w 402731"/>
              <a:gd name="connsiteY15" fmla="*/ 83899 h 414114"/>
              <a:gd name="connsiteX16" fmla="*/ 78306 w 402731"/>
              <a:gd name="connsiteY16" fmla="*/ 83899 h 414114"/>
              <a:gd name="connsiteX17" fmla="*/ 78306 w 402731"/>
              <a:gd name="connsiteY17" fmla="*/ 360768 h 414114"/>
              <a:gd name="connsiteX18" fmla="*/ 78306 w 402731"/>
              <a:gd name="connsiteY18" fmla="*/ 361719 h 414114"/>
              <a:gd name="connsiteX19" fmla="*/ 78306 w 402731"/>
              <a:gd name="connsiteY19" fmla="*/ 363564 h 414114"/>
              <a:gd name="connsiteX20" fmla="*/ 128439 w 402731"/>
              <a:gd name="connsiteY20" fmla="*/ 414110 h 414114"/>
              <a:gd name="connsiteX21" fmla="*/ 178984 w 402731"/>
              <a:gd name="connsiteY21" fmla="*/ 363977 h 414114"/>
              <a:gd name="connsiteX22" fmla="*/ 178650 w 402731"/>
              <a:gd name="connsiteY22" fmla="*/ 357971 h 414114"/>
              <a:gd name="connsiteX23" fmla="*/ 302374 w 402731"/>
              <a:gd name="connsiteY23" fmla="*/ 357971 h 414114"/>
              <a:gd name="connsiteX24" fmla="*/ 346579 w 402731"/>
              <a:gd name="connsiteY24" fmla="*/ 413775 h 414114"/>
              <a:gd name="connsiteX25" fmla="*/ 402382 w 402731"/>
              <a:gd name="connsiteY25" fmla="*/ 369570 h 414114"/>
              <a:gd name="connsiteX26" fmla="*/ 402717 w 402731"/>
              <a:gd name="connsiteY26" fmla="*/ 363564 h 414114"/>
              <a:gd name="connsiteX27" fmla="*/ 402717 w 402731"/>
              <a:gd name="connsiteY27" fmla="*/ 361719 h 414114"/>
              <a:gd name="connsiteX28" fmla="*/ 402717 w 402731"/>
              <a:gd name="connsiteY28" fmla="*/ 360768 h 414114"/>
              <a:gd name="connsiteX29" fmla="*/ 402717 w 402731"/>
              <a:gd name="connsiteY29" fmla="*/ 125849 h 414114"/>
              <a:gd name="connsiteX30" fmla="*/ 394327 w 402731"/>
              <a:gd name="connsiteY30" fmla="*/ 117459 h 414114"/>
              <a:gd name="connsiteX31" fmla="*/ 385938 w 402731"/>
              <a:gd name="connsiteY31" fmla="*/ 190172 h 414114"/>
              <a:gd name="connsiteX32" fmla="*/ 285258 w 402731"/>
              <a:gd name="connsiteY32" fmla="*/ 190172 h 414114"/>
              <a:gd name="connsiteX33" fmla="*/ 285258 w 402731"/>
              <a:gd name="connsiteY33" fmla="*/ 134239 h 414114"/>
              <a:gd name="connsiteX34" fmla="*/ 385938 w 402731"/>
              <a:gd name="connsiteY34" fmla="*/ 134239 h 414114"/>
              <a:gd name="connsiteX35" fmla="*/ 229325 w 402731"/>
              <a:gd name="connsiteY35" fmla="*/ 16780 h 414114"/>
              <a:gd name="connsiteX36" fmla="*/ 346784 w 402731"/>
              <a:gd name="connsiteY36" fmla="*/ 16780 h 414114"/>
              <a:gd name="connsiteX37" fmla="*/ 346784 w 402731"/>
              <a:gd name="connsiteY37" fmla="*/ 117459 h 414114"/>
              <a:gd name="connsiteX38" fmla="*/ 285258 w 402731"/>
              <a:gd name="connsiteY38" fmla="*/ 117459 h 414114"/>
              <a:gd name="connsiteX39" fmla="*/ 285258 w 402731"/>
              <a:gd name="connsiteY39" fmla="*/ 81103 h 414114"/>
              <a:gd name="connsiteX40" fmla="*/ 276868 w 402731"/>
              <a:gd name="connsiteY40" fmla="*/ 72713 h 414114"/>
              <a:gd name="connsiteX41" fmla="*/ 229325 w 402731"/>
              <a:gd name="connsiteY41" fmla="*/ 72713 h 414114"/>
              <a:gd name="connsiteX42" fmla="*/ 167799 w 402731"/>
              <a:gd name="connsiteY42" fmla="*/ 89493 h 414114"/>
              <a:gd name="connsiteX43" fmla="*/ 268478 w 402731"/>
              <a:gd name="connsiteY43" fmla="*/ 89493 h 414114"/>
              <a:gd name="connsiteX44" fmla="*/ 268478 w 402731"/>
              <a:gd name="connsiteY44" fmla="*/ 190172 h 414114"/>
              <a:gd name="connsiteX45" fmla="*/ 167799 w 402731"/>
              <a:gd name="connsiteY45" fmla="*/ 190172 h 414114"/>
              <a:gd name="connsiteX46" fmla="*/ 128646 w 402731"/>
              <a:gd name="connsiteY46" fmla="*/ 397124 h 414114"/>
              <a:gd name="connsiteX47" fmla="*/ 95086 w 402731"/>
              <a:gd name="connsiteY47" fmla="*/ 363564 h 414114"/>
              <a:gd name="connsiteX48" fmla="*/ 128646 w 402731"/>
              <a:gd name="connsiteY48" fmla="*/ 330005 h 414114"/>
              <a:gd name="connsiteX49" fmla="*/ 162206 w 402731"/>
              <a:gd name="connsiteY49" fmla="*/ 363564 h 414114"/>
              <a:gd name="connsiteX50" fmla="*/ 128646 w 402731"/>
              <a:gd name="connsiteY50" fmla="*/ 397124 h 414114"/>
              <a:gd name="connsiteX51" fmla="*/ 176189 w 402731"/>
              <a:gd name="connsiteY51" fmla="*/ 341191 h 414114"/>
              <a:gd name="connsiteX52" fmla="*/ 173840 w 402731"/>
              <a:gd name="connsiteY52" fmla="*/ 341583 h 414114"/>
              <a:gd name="connsiteX53" fmla="*/ 106505 w 402731"/>
              <a:gd name="connsiteY53" fmla="*/ 318469 h 414114"/>
              <a:gd name="connsiteX54" fmla="*/ 95086 w 402731"/>
              <a:gd name="connsiteY54" fmla="*/ 326145 h 414114"/>
              <a:gd name="connsiteX55" fmla="*/ 95086 w 402731"/>
              <a:gd name="connsiteY55" fmla="*/ 206952 h 414114"/>
              <a:gd name="connsiteX56" fmla="*/ 385938 w 402731"/>
              <a:gd name="connsiteY56" fmla="*/ 206952 h 414114"/>
              <a:gd name="connsiteX57" fmla="*/ 385938 w 402731"/>
              <a:gd name="connsiteY57" fmla="*/ 326145 h 414114"/>
              <a:gd name="connsiteX58" fmla="*/ 314858 w 402731"/>
              <a:gd name="connsiteY58" fmla="*/ 330130 h 414114"/>
              <a:gd name="connsiteX59" fmla="*/ 307352 w 402731"/>
              <a:gd name="connsiteY59" fmla="*/ 341191 h 414114"/>
              <a:gd name="connsiteX60" fmla="*/ 352378 w 402731"/>
              <a:gd name="connsiteY60" fmla="*/ 397124 h 414114"/>
              <a:gd name="connsiteX61" fmla="*/ 318818 w 402731"/>
              <a:gd name="connsiteY61" fmla="*/ 363564 h 414114"/>
              <a:gd name="connsiteX62" fmla="*/ 352378 w 402731"/>
              <a:gd name="connsiteY62" fmla="*/ 330005 h 414114"/>
              <a:gd name="connsiteX63" fmla="*/ 385938 w 402731"/>
              <a:gd name="connsiteY63" fmla="*/ 363564 h 414114"/>
              <a:gd name="connsiteX64" fmla="*/ 352378 w 402731"/>
              <a:gd name="connsiteY64" fmla="*/ 397124 h 414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402731" h="414114">
                <a:moveTo>
                  <a:pt x="394327" y="117459"/>
                </a:moveTo>
                <a:lnTo>
                  <a:pt x="363564" y="117459"/>
                </a:lnTo>
                <a:lnTo>
                  <a:pt x="363564" y="8390"/>
                </a:lnTo>
                <a:cubicBezTo>
                  <a:pt x="363564" y="3756"/>
                  <a:pt x="359808" y="0"/>
                  <a:pt x="355174" y="0"/>
                </a:cubicBezTo>
                <a:lnTo>
                  <a:pt x="220935" y="0"/>
                </a:lnTo>
                <a:cubicBezTo>
                  <a:pt x="216302" y="0"/>
                  <a:pt x="212545" y="3756"/>
                  <a:pt x="212545" y="8390"/>
                </a:cubicBezTo>
                <a:lnTo>
                  <a:pt x="212545" y="72713"/>
                </a:lnTo>
                <a:lnTo>
                  <a:pt x="159409" y="72713"/>
                </a:lnTo>
                <a:cubicBezTo>
                  <a:pt x="154775" y="72713"/>
                  <a:pt x="151019" y="76469"/>
                  <a:pt x="151019" y="81103"/>
                </a:cubicBezTo>
                <a:lnTo>
                  <a:pt x="151019" y="190172"/>
                </a:lnTo>
                <a:lnTo>
                  <a:pt x="95086" y="190172"/>
                </a:lnTo>
                <a:lnTo>
                  <a:pt x="95086" y="75510"/>
                </a:lnTo>
                <a:cubicBezTo>
                  <a:pt x="95086" y="70876"/>
                  <a:pt x="91330" y="67120"/>
                  <a:pt x="86696" y="67120"/>
                </a:cubicBezTo>
                <a:lnTo>
                  <a:pt x="8390" y="67120"/>
                </a:lnTo>
                <a:cubicBezTo>
                  <a:pt x="3756" y="67120"/>
                  <a:pt x="0" y="70876"/>
                  <a:pt x="0" y="75510"/>
                </a:cubicBezTo>
                <a:cubicBezTo>
                  <a:pt x="0" y="80143"/>
                  <a:pt x="3756" y="83899"/>
                  <a:pt x="8390" y="83899"/>
                </a:cubicBezTo>
                <a:lnTo>
                  <a:pt x="78306" y="83899"/>
                </a:lnTo>
                <a:lnTo>
                  <a:pt x="78306" y="360768"/>
                </a:lnTo>
                <a:cubicBezTo>
                  <a:pt x="78288" y="361084"/>
                  <a:pt x="78288" y="361402"/>
                  <a:pt x="78306" y="361719"/>
                </a:cubicBezTo>
                <a:cubicBezTo>
                  <a:pt x="78306" y="362334"/>
                  <a:pt x="78306" y="362949"/>
                  <a:pt x="78306" y="363564"/>
                </a:cubicBezTo>
                <a:cubicBezTo>
                  <a:pt x="78193" y="391366"/>
                  <a:pt x="100638" y="413996"/>
                  <a:pt x="128439" y="414110"/>
                </a:cubicBezTo>
                <a:cubicBezTo>
                  <a:pt x="156241" y="414223"/>
                  <a:pt x="178871" y="391778"/>
                  <a:pt x="178984" y="363977"/>
                </a:cubicBezTo>
                <a:cubicBezTo>
                  <a:pt x="178993" y="361970"/>
                  <a:pt x="178881" y="359964"/>
                  <a:pt x="178650" y="357971"/>
                </a:cubicBezTo>
                <a:lnTo>
                  <a:pt x="302374" y="357971"/>
                </a:lnTo>
                <a:cubicBezTo>
                  <a:pt x="299171" y="385588"/>
                  <a:pt x="318962" y="410572"/>
                  <a:pt x="346579" y="413775"/>
                </a:cubicBezTo>
                <a:cubicBezTo>
                  <a:pt x="374196" y="416978"/>
                  <a:pt x="399180" y="397187"/>
                  <a:pt x="402382" y="369570"/>
                </a:cubicBezTo>
                <a:cubicBezTo>
                  <a:pt x="402614" y="367576"/>
                  <a:pt x="402726" y="365571"/>
                  <a:pt x="402717" y="363564"/>
                </a:cubicBezTo>
                <a:cubicBezTo>
                  <a:pt x="402717" y="362949"/>
                  <a:pt x="402717" y="362334"/>
                  <a:pt x="402717" y="361719"/>
                </a:cubicBezTo>
                <a:cubicBezTo>
                  <a:pt x="402736" y="361402"/>
                  <a:pt x="402736" y="361084"/>
                  <a:pt x="402717" y="360768"/>
                </a:cubicBezTo>
                <a:lnTo>
                  <a:pt x="402717" y="125849"/>
                </a:lnTo>
                <a:cubicBezTo>
                  <a:pt x="402717" y="121216"/>
                  <a:pt x="398961" y="117459"/>
                  <a:pt x="394327" y="117459"/>
                </a:cubicBezTo>
                <a:close/>
                <a:moveTo>
                  <a:pt x="385938" y="190172"/>
                </a:moveTo>
                <a:lnTo>
                  <a:pt x="285258" y="190172"/>
                </a:lnTo>
                <a:lnTo>
                  <a:pt x="285258" y="134239"/>
                </a:lnTo>
                <a:lnTo>
                  <a:pt x="385938" y="134239"/>
                </a:lnTo>
                <a:close/>
                <a:moveTo>
                  <a:pt x="229325" y="16780"/>
                </a:moveTo>
                <a:lnTo>
                  <a:pt x="346784" y="16780"/>
                </a:lnTo>
                <a:lnTo>
                  <a:pt x="346784" y="117459"/>
                </a:lnTo>
                <a:lnTo>
                  <a:pt x="285258" y="117459"/>
                </a:lnTo>
                <a:lnTo>
                  <a:pt x="285258" y="81103"/>
                </a:lnTo>
                <a:cubicBezTo>
                  <a:pt x="285258" y="76469"/>
                  <a:pt x="281502" y="72713"/>
                  <a:pt x="276868" y="72713"/>
                </a:cubicBezTo>
                <a:lnTo>
                  <a:pt x="229325" y="72713"/>
                </a:lnTo>
                <a:close/>
                <a:moveTo>
                  <a:pt x="167799" y="89493"/>
                </a:moveTo>
                <a:lnTo>
                  <a:pt x="268478" y="89493"/>
                </a:lnTo>
                <a:lnTo>
                  <a:pt x="268478" y="190172"/>
                </a:lnTo>
                <a:lnTo>
                  <a:pt x="167799" y="190172"/>
                </a:lnTo>
                <a:close/>
                <a:moveTo>
                  <a:pt x="128646" y="397124"/>
                </a:moveTo>
                <a:cubicBezTo>
                  <a:pt x="110111" y="397124"/>
                  <a:pt x="95086" y="382099"/>
                  <a:pt x="95086" y="363564"/>
                </a:cubicBezTo>
                <a:cubicBezTo>
                  <a:pt x="95086" y="345030"/>
                  <a:pt x="110111" y="330005"/>
                  <a:pt x="128646" y="330005"/>
                </a:cubicBezTo>
                <a:cubicBezTo>
                  <a:pt x="147180" y="330005"/>
                  <a:pt x="162206" y="345030"/>
                  <a:pt x="162206" y="363564"/>
                </a:cubicBezTo>
                <a:cubicBezTo>
                  <a:pt x="162206" y="382099"/>
                  <a:pt x="147180" y="397124"/>
                  <a:pt x="128646" y="397124"/>
                </a:cubicBezTo>
                <a:close/>
                <a:moveTo>
                  <a:pt x="176189" y="341191"/>
                </a:moveTo>
                <a:cubicBezTo>
                  <a:pt x="175391" y="341208"/>
                  <a:pt x="174600" y="341339"/>
                  <a:pt x="173840" y="341583"/>
                </a:cubicBezTo>
                <a:cubicBezTo>
                  <a:pt x="161628" y="316606"/>
                  <a:pt x="131482" y="306258"/>
                  <a:pt x="106505" y="318469"/>
                </a:cubicBezTo>
                <a:cubicBezTo>
                  <a:pt x="102366" y="320493"/>
                  <a:pt x="98523" y="323076"/>
                  <a:pt x="95086" y="326145"/>
                </a:cubicBezTo>
                <a:lnTo>
                  <a:pt x="95086" y="206952"/>
                </a:lnTo>
                <a:lnTo>
                  <a:pt x="385938" y="206952"/>
                </a:lnTo>
                <a:lnTo>
                  <a:pt x="385938" y="326145"/>
                </a:lnTo>
                <a:cubicBezTo>
                  <a:pt x="365209" y="307617"/>
                  <a:pt x="333386" y="309402"/>
                  <a:pt x="314858" y="330130"/>
                </a:cubicBezTo>
                <a:cubicBezTo>
                  <a:pt x="311876" y="333467"/>
                  <a:pt x="309351" y="337187"/>
                  <a:pt x="307352" y="341191"/>
                </a:cubicBezTo>
                <a:close/>
                <a:moveTo>
                  <a:pt x="352378" y="397124"/>
                </a:moveTo>
                <a:cubicBezTo>
                  <a:pt x="333843" y="397124"/>
                  <a:pt x="318818" y="382099"/>
                  <a:pt x="318818" y="363564"/>
                </a:cubicBezTo>
                <a:cubicBezTo>
                  <a:pt x="318818" y="345030"/>
                  <a:pt x="333843" y="330005"/>
                  <a:pt x="352378" y="330005"/>
                </a:cubicBezTo>
                <a:cubicBezTo>
                  <a:pt x="370912" y="330005"/>
                  <a:pt x="385938" y="345030"/>
                  <a:pt x="385938" y="363564"/>
                </a:cubicBezTo>
                <a:cubicBezTo>
                  <a:pt x="385938" y="382099"/>
                  <a:pt x="370912" y="397124"/>
                  <a:pt x="352378" y="397124"/>
                </a:cubicBezTo>
                <a:close/>
              </a:path>
            </a:pathLst>
          </a:custGeom>
          <a:solidFill>
            <a:schemeClr val="tx1"/>
          </a:solidFill>
          <a:ln w="108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3C96"/>
              </a:solidFill>
              <a:effectLst/>
              <a:uLnTx/>
              <a:uFillTx/>
            </a:endParaRPr>
          </a:p>
        </p:txBody>
      </p: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08833CCF-3C7F-4BBB-989D-C7889CE42605}"/>
              </a:ext>
            </a:extLst>
          </p:cNvPr>
          <p:cNvGrpSpPr/>
          <p:nvPr/>
        </p:nvGrpSpPr>
        <p:grpSpPr>
          <a:xfrm>
            <a:off x="4663630" y="1753232"/>
            <a:ext cx="647615" cy="265286"/>
            <a:chOff x="1769471" y="5702075"/>
            <a:chExt cx="559873" cy="251698"/>
          </a:xfrm>
          <a:solidFill>
            <a:schemeClr val="tx1"/>
          </a:solidFill>
        </p:grpSpPr>
        <p:sp>
          <p:nvSpPr>
            <p:cNvPr id="108" name="Полилиния: фигура 517">
              <a:extLst>
                <a:ext uri="{FF2B5EF4-FFF2-40B4-BE49-F238E27FC236}">
                  <a16:creationId xmlns:a16="http://schemas.microsoft.com/office/drawing/2014/main" id="{8BCB398C-8379-4280-84EC-75E793808E3C}"/>
                </a:ext>
              </a:extLst>
            </p:cNvPr>
            <p:cNvSpPr/>
            <p:nvPr/>
          </p:nvSpPr>
          <p:spPr>
            <a:xfrm>
              <a:off x="1895864" y="5875467"/>
              <a:ext cx="302038" cy="16779"/>
            </a:xfrm>
            <a:custGeom>
              <a:avLst/>
              <a:gdLst>
                <a:gd name="connsiteX0" fmla="*/ 293648 w 302038"/>
                <a:gd name="connsiteY0" fmla="*/ 0 h 16779"/>
                <a:gd name="connsiteX1" fmla="*/ 8390 w 302038"/>
                <a:gd name="connsiteY1" fmla="*/ 0 h 16779"/>
                <a:gd name="connsiteX2" fmla="*/ 0 w 302038"/>
                <a:gd name="connsiteY2" fmla="*/ 8390 h 16779"/>
                <a:gd name="connsiteX3" fmla="*/ 8390 w 302038"/>
                <a:gd name="connsiteY3" fmla="*/ 16780 h 16779"/>
                <a:gd name="connsiteX4" fmla="*/ 293648 w 302038"/>
                <a:gd name="connsiteY4" fmla="*/ 16780 h 16779"/>
                <a:gd name="connsiteX5" fmla="*/ 302038 w 302038"/>
                <a:gd name="connsiteY5" fmla="*/ 8390 h 16779"/>
                <a:gd name="connsiteX6" fmla="*/ 293648 w 302038"/>
                <a:gd name="connsiteY6" fmla="*/ 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2038" h="16779">
                  <a:moveTo>
                    <a:pt x="293648" y="0"/>
                  </a:moveTo>
                  <a:lnTo>
                    <a:pt x="8390" y="0"/>
                  </a:lnTo>
                  <a:cubicBezTo>
                    <a:pt x="3756" y="0"/>
                    <a:pt x="0" y="3756"/>
                    <a:pt x="0" y="8390"/>
                  </a:cubicBezTo>
                  <a:cubicBezTo>
                    <a:pt x="0" y="13023"/>
                    <a:pt x="3756" y="16780"/>
                    <a:pt x="8390" y="16780"/>
                  </a:cubicBezTo>
                  <a:lnTo>
                    <a:pt x="293648" y="16780"/>
                  </a:lnTo>
                  <a:cubicBezTo>
                    <a:pt x="298282" y="16780"/>
                    <a:pt x="302038" y="13023"/>
                    <a:pt x="302038" y="8390"/>
                  </a:cubicBezTo>
                  <a:cubicBezTo>
                    <a:pt x="302038" y="3756"/>
                    <a:pt x="298282" y="0"/>
                    <a:pt x="29364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Полилиния: фигура 518">
              <a:extLst>
                <a:ext uri="{FF2B5EF4-FFF2-40B4-BE49-F238E27FC236}">
                  <a16:creationId xmlns:a16="http://schemas.microsoft.com/office/drawing/2014/main" id="{B1418E8C-82BB-4ED2-850D-7CD5FD5D52C7}"/>
                </a:ext>
              </a:extLst>
            </p:cNvPr>
            <p:cNvSpPr/>
            <p:nvPr/>
          </p:nvSpPr>
          <p:spPr>
            <a:xfrm>
              <a:off x="1895864" y="5819534"/>
              <a:ext cx="302038" cy="16779"/>
            </a:xfrm>
            <a:custGeom>
              <a:avLst/>
              <a:gdLst>
                <a:gd name="connsiteX0" fmla="*/ 293648 w 302038"/>
                <a:gd name="connsiteY0" fmla="*/ 0 h 16779"/>
                <a:gd name="connsiteX1" fmla="*/ 8390 w 302038"/>
                <a:gd name="connsiteY1" fmla="*/ 0 h 16779"/>
                <a:gd name="connsiteX2" fmla="*/ 0 w 302038"/>
                <a:gd name="connsiteY2" fmla="*/ 8390 h 16779"/>
                <a:gd name="connsiteX3" fmla="*/ 8390 w 302038"/>
                <a:gd name="connsiteY3" fmla="*/ 16780 h 16779"/>
                <a:gd name="connsiteX4" fmla="*/ 293648 w 302038"/>
                <a:gd name="connsiteY4" fmla="*/ 16780 h 16779"/>
                <a:gd name="connsiteX5" fmla="*/ 302038 w 302038"/>
                <a:gd name="connsiteY5" fmla="*/ 8390 h 16779"/>
                <a:gd name="connsiteX6" fmla="*/ 293648 w 302038"/>
                <a:gd name="connsiteY6" fmla="*/ 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2038" h="16779">
                  <a:moveTo>
                    <a:pt x="293648" y="0"/>
                  </a:moveTo>
                  <a:lnTo>
                    <a:pt x="8390" y="0"/>
                  </a:lnTo>
                  <a:cubicBezTo>
                    <a:pt x="3756" y="0"/>
                    <a:pt x="0" y="3756"/>
                    <a:pt x="0" y="8390"/>
                  </a:cubicBezTo>
                  <a:cubicBezTo>
                    <a:pt x="0" y="13023"/>
                    <a:pt x="3756" y="16780"/>
                    <a:pt x="8390" y="16780"/>
                  </a:cubicBezTo>
                  <a:lnTo>
                    <a:pt x="293648" y="16780"/>
                  </a:lnTo>
                  <a:cubicBezTo>
                    <a:pt x="298282" y="16780"/>
                    <a:pt x="302038" y="13023"/>
                    <a:pt x="302038" y="8390"/>
                  </a:cubicBezTo>
                  <a:cubicBezTo>
                    <a:pt x="302038" y="3756"/>
                    <a:pt x="298282" y="0"/>
                    <a:pt x="29364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Полилиния: фигура 519">
              <a:extLst>
                <a:ext uri="{FF2B5EF4-FFF2-40B4-BE49-F238E27FC236}">
                  <a16:creationId xmlns:a16="http://schemas.microsoft.com/office/drawing/2014/main" id="{78E1D861-5370-4E8D-B75F-C03EF302B479}"/>
                </a:ext>
              </a:extLst>
            </p:cNvPr>
            <p:cNvSpPr/>
            <p:nvPr/>
          </p:nvSpPr>
          <p:spPr>
            <a:xfrm>
              <a:off x="1769471" y="5702075"/>
              <a:ext cx="559873" cy="251698"/>
            </a:xfrm>
            <a:custGeom>
              <a:avLst/>
              <a:gdLst>
                <a:gd name="connsiteX0" fmla="*/ 558867 w 559873"/>
                <a:gd name="connsiteY0" fmla="*/ 107951 h 251698"/>
                <a:gd name="connsiteX1" fmla="*/ 484364 w 559873"/>
                <a:gd name="connsiteY1" fmla="*/ 44746 h 251698"/>
                <a:gd name="connsiteX2" fmla="*/ 484364 w 559873"/>
                <a:gd name="connsiteY2" fmla="*/ 8390 h 251698"/>
                <a:gd name="connsiteX3" fmla="*/ 475974 w 559873"/>
                <a:gd name="connsiteY3" fmla="*/ 0 h 251698"/>
                <a:gd name="connsiteX4" fmla="*/ 84444 w 559873"/>
                <a:gd name="connsiteY4" fmla="*/ 0 h 251698"/>
                <a:gd name="connsiteX5" fmla="*/ 76054 w 559873"/>
                <a:gd name="connsiteY5" fmla="*/ 8390 h 251698"/>
                <a:gd name="connsiteX6" fmla="*/ 76054 w 559873"/>
                <a:gd name="connsiteY6" fmla="*/ 44746 h 251698"/>
                <a:gd name="connsiteX7" fmla="*/ 73705 w 559873"/>
                <a:gd name="connsiteY7" fmla="*/ 44746 h 251698"/>
                <a:gd name="connsiteX8" fmla="*/ 18331 w 559873"/>
                <a:gd name="connsiteY8" fmla="*/ 70420 h 251698"/>
                <a:gd name="connsiteX9" fmla="*/ 992 w 559873"/>
                <a:gd name="connsiteY9" fmla="*/ 132561 h 251698"/>
                <a:gd name="connsiteX10" fmla="*/ 75550 w 559873"/>
                <a:gd name="connsiteY10" fmla="*/ 195765 h 251698"/>
                <a:gd name="connsiteX11" fmla="*/ 76054 w 559873"/>
                <a:gd name="connsiteY11" fmla="*/ 195765 h 251698"/>
                <a:gd name="connsiteX12" fmla="*/ 76054 w 559873"/>
                <a:gd name="connsiteY12" fmla="*/ 243308 h 251698"/>
                <a:gd name="connsiteX13" fmla="*/ 84444 w 559873"/>
                <a:gd name="connsiteY13" fmla="*/ 251698 h 251698"/>
                <a:gd name="connsiteX14" fmla="*/ 475974 w 559873"/>
                <a:gd name="connsiteY14" fmla="*/ 251698 h 251698"/>
                <a:gd name="connsiteX15" fmla="*/ 484364 w 559873"/>
                <a:gd name="connsiteY15" fmla="*/ 243308 h 251698"/>
                <a:gd name="connsiteX16" fmla="*/ 484364 w 559873"/>
                <a:gd name="connsiteY16" fmla="*/ 195765 h 251698"/>
                <a:gd name="connsiteX17" fmla="*/ 559874 w 559873"/>
                <a:gd name="connsiteY17" fmla="*/ 120259 h 251698"/>
                <a:gd name="connsiteX18" fmla="*/ 558867 w 559873"/>
                <a:gd name="connsiteY18" fmla="*/ 107951 h 251698"/>
                <a:gd name="connsiteX19" fmla="*/ 75550 w 559873"/>
                <a:gd name="connsiteY19" fmla="*/ 178986 h 251698"/>
                <a:gd name="connsiteX20" fmla="*/ 17548 w 559873"/>
                <a:gd name="connsiteY20" fmla="*/ 129988 h 251698"/>
                <a:gd name="connsiteX21" fmla="*/ 31307 w 559873"/>
                <a:gd name="connsiteY21" fmla="*/ 81382 h 251698"/>
                <a:gd name="connsiteX22" fmla="*/ 73705 w 559873"/>
                <a:gd name="connsiteY22" fmla="*/ 61526 h 251698"/>
                <a:gd name="connsiteX23" fmla="*/ 76054 w 559873"/>
                <a:gd name="connsiteY23" fmla="*/ 61526 h 251698"/>
                <a:gd name="connsiteX24" fmla="*/ 76054 w 559873"/>
                <a:gd name="connsiteY24" fmla="*/ 178986 h 251698"/>
                <a:gd name="connsiteX25" fmla="*/ 467584 w 559873"/>
                <a:gd name="connsiteY25" fmla="*/ 234918 h 251698"/>
                <a:gd name="connsiteX26" fmla="*/ 92834 w 559873"/>
                <a:gd name="connsiteY26" fmla="*/ 234918 h 251698"/>
                <a:gd name="connsiteX27" fmla="*/ 92834 w 559873"/>
                <a:gd name="connsiteY27" fmla="*/ 16780 h 251698"/>
                <a:gd name="connsiteX28" fmla="*/ 467584 w 559873"/>
                <a:gd name="connsiteY28" fmla="*/ 16780 h 251698"/>
                <a:gd name="connsiteX29" fmla="*/ 529111 w 559873"/>
                <a:gd name="connsiteY29" fmla="*/ 158346 h 251698"/>
                <a:gd name="connsiteX30" fmla="*/ 484364 w 559873"/>
                <a:gd name="connsiteY30" fmla="*/ 178986 h 251698"/>
                <a:gd name="connsiteX31" fmla="*/ 484364 w 559873"/>
                <a:gd name="connsiteY31" fmla="*/ 61526 h 251698"/>
                <a:gd name="connsiteX32" fmla="*/ 542311 w 559873"/>
                <a:gd name="connsiteY32" fmla="*/ 110524 h 251698"/>
                <a:gd name="connsiteX33" fmla="*/ 529111 w 559873"/>
                <a:gd name="connsiteY33" fmla="*/ 158346 h 251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9873" h="251698">
                  <a:moveTo>
                    <a:pt x="558867" y="107951"/>
                  </a:moveTo>
                  <a:cubicBezTo>
                    <a:pt x="552384" y="71753"/>
                    <a:pt x="521135" y="45242"/>
                    <a:pt x="484364" y="44746"/>
                  </a:cubicBezTo>
                  <a:lnTo>
                    <a:pt x="484364" y="8390"/>
                  </a:lnTo>
                  <a:cubicBezTo>
                    <a:pt x="484364" y="3756"/>
                    <a:pt x="480608" y="0"/>
                    <a:pt x="475974" y="0"/>
                  </a:cubicBezTo>
                  <a:lnTo>
                    <a:pt x="84444" y="0"/>
                  </a:lnTo>
                  <a:cubicBezTo>
                    <a:pt x="79810" y="0"/>
                    <a:pt x="76054" y="3756"/>
                    <a:pt x="76054" y="8390"/>
                  </a:cubicBezTo>
                  <a:lnTo>
                    <a:pt x="76054" y="44746"/>
                  </a:lnTo>
                  <a:lnTo>
                    <a:pt x="73705" y="44746"/>
                  </a:lnTo>
                  <a:cubicBezTo>
                    <a:pt x="52374" y="44768"/>
                    <a:pt x="32130" y="54154"/>
                    <a:pt x="18331" y="70420"/>
                  </a:cubicBezTo>
                  <a:cubicBezTo>
                    <a:pt x="3723" y="87591"/>
                    <a:pt x="-2616" y="110307"/>
                    <a:pt x="992" y="132561"/>
                  </a:cubicBezTo>
                  <a:cubicBezTo>
                    <a:pt x="7060" y="169018"/>
                    <a:pt x="38592" y="195748"/>
                    <a:pt x="75550" y="195765"/>
                  </a:cubicBezTo>
                  <a:lnTo>
                    <a:pt x="76054" y="195765"/>
                  </a:lnTo>
                  <a:lnTo>
                    <a:pt x="76054" y="243308"/>
                  </a:lnTo>
                  <a:cubicBezTo>
                    <a:pt x="76054" y="247942"/>
                    <a:pt x="79810" y="251698"/>
                    <a:pt x="84444" y="251698"/>
                  </a:cubicBezTo>
                  <a:lnTo>
                    <a:pt x="475974" y="251698"/>
                  </a:lnTo>
                  <a:cubicBezTo>
                    <a:pt x="480608" y="251698"/>
                    <a:pt x="484364" y="247942"/>
                    <a:pt x="484364" y="243308"/>
                  </a:cubicBezTo>
                  <a:lnTo>
                    <a:pt x="484364" y="195765"/>
                  </a:lnTo>
                  <a:cubicBezTo>
                    <a:pt x="526067" y="195767"/>
                    <a:pt x="559874" y="161961"/>
                    <a:pt x="559874" y="120259"/>
                  </a:cubicBezTo>
                  <a:cubicBezTo>
                    <a:pt x="559874" y="116135"/>
                    <a:pt x="559538" y="112019"/>
                    <a:pt x="558867" y="107951"/>
                  </a:cubicBezTo>
                  <a:close/>
                  <a:moveTo>
                    <a:pt x="75550" y="178986"/>
                  </a:moveTo>
                  <a:cubicBezTo>
                    <a:pt x="46847" y="179004"/>
                    <a:pt x="22327" y="158291"/>
                    <a:pt x="17548" y="129988"/>
                  </a:cubicBezTo>
                  <a:cubicBezTo>
                    <a:pt x="14784" y="112552"/>
                    <a:pt x="19814" y="94782"/>
                    <a:pt x="31307" y="81382"/>
                  </a:cubicBezTo>
                  <a:cubicBezTo>
                    <a:pt x="41857" y="68883"/>
                    <a:pt x="57349" y="61628"/>
                    <a:pt x="73705" y="61526"/>
                  </a:cubicBezTo>
                  <a:lnTo>
                    <a:pt x="76054" y="61526"/>
                  </a:lnTo>
                  <a:lnTo>
                    <a:pt x="76054" y="178986"/>
                  </a:lnTo>
                  <a:close/>
                  <a:moveTo>
                    <a:pt x="467584" y="234918"/>
                  </a:moveTo>
                  <a:lnTo>
                    <a:pt x="92834" y="234918"/>
                  </a:lnTo>
                  <a:lnTo>
                    <a:pt x="92834" y="16780"/>
                  </a:lnTo>
                  <a:lnTo>
                    <a:pt x="467584" y="16780"/>
                  </a:lnTo>
                  <a:close/>
                  <a:moveTo>
                    <a:pt x="529111" y="158346"/>
                  </a:moveTo>
                  <a:cubicBezTo>
                    <a:pt x="517957" y="171472"/>
                    <a:pt x="501589" y="179021"/>
                    <a:pt x="484364" y="178986"/>
                  </a:cubicBezTo>
                  <a:lnTo>
                    <a:pt x="484364" y="61526"/>
                  </a:lnTo>
                  <a:cubicBezTo>
                    <a:pt x="512864" y="62025"/>
                    <a:pt x="537082" y="82503"/>
                    <a:pt x="542311" y="110524"/>
                  </a:cubicBezTo>
                  <a:cubicBezTo>
                    <a:pt x="545262" y="127635"/>
                    <a:pt x="540422" y="145171"/>
                    <a:pt x="529111" y="158346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1" name="Рисунок 55">
            <a:extLst>
              <a:ext uri="{FF2B5EF4-FFF2-40B4-BE49-F238E27FC236}">
                <a16:creationId xmlns:a16="http://schemas.microsoft.com/office/drawing/2014/main" id="{BE302F53-1E50-4E33-8830-AAD91F85E202}"/>
              </a:ext>
            </a:extLst>
          </p:cNvPr>
          <p:cNvGrpSpPr/>
          <p:nvPr/>
        </p:nvGrpSpPr>
        <p:grpSpPr>
          <a:xfrm>
            <a:off x="10083090" y="1599754"/>
            <a:ext cx="474586" cy="515735"/>
            <a:chOff x="2975435" y="2316798"/>
            <a:chExt cx="474586" cy="515735"/>
          </a:xfrm>
          <a:solidFill>
            <a:schemeClr val="tx2"/>
          </a:solidFill>
        </p:grpSpPr>
        <p:sp>
          <p:nvSpPr>
            <p:cNvPr id="112" name="Полилиния: фигура 237">
              <a:extLst>
                <a:ext uri="{FF2B5EF4-FFF2-40B4-BE49-F238E27FC236}">
                  <a16:creationId xmlns:a16="http://schemas.microsoft.com/office/drawing/2014/main" id="{A14DF56C-E9C0-4DEB-BF1C-6390EA9724CE}"/>
                </a:ext>
              </a:extLst>
            </p:cNvPr>
            <p:cNvSpPr/>
            <p:nvPr/>
          </p:nvSpPr>
          <p:spPr>
            <a:xfrm>
              <a:off x="2975435" y="2528616"/>
              <a:ext cx="248682" cy="178685"/>
            </a:xfrm>
            <a:custGeom>
              <a:avLst/>
              <a:gdLst>
                <a:gd name="connsiteX0" fmla="*/ 170217 w 248682"/>
                <a:gd name="connsiteY0" fmla="*/ 16948 h 178685"/>
                <a:gd name="connsiteX1" fmla="*/ 236533 w 248682"/>
                <a:gd name="connsiteY1" fmla="*/ 31997 h 178685"/>
                <a:gd name="connsiteX2" fmla="*/ 247843 w 248682"/>
                <a:gd name="connsiteY2" fmla="*/ 28037 h 178685"/>
                <a:gd name="connsiteX3" fmla="*/ 243883 w 248682"/>
                <a:gd name="connsiteY3" fmla="*/ 16727 h 178685"/>
                <a:gd name="connsiteX4" fmla="*/ 170217 w 248682"/>
                <a:gd name="connsiteY4" fmla="*/ 0 h 178685"/>
                <a:gd name="connsiteX5" fmla="*/ 0 w 248682"/>
                <a:gd name="connsiteY5" fmla="*/ 170211 h 178685"/>
                <a:gd name="connsiteX6" fmla="*/ 8474 w 248682"/>
                <a:gd name="connsiteY6" fmla="*/ 178685 h 178685"/>
                <a:gd name="connsiteX7" fmla="*/ 155405 w 248682"/>
                <a:gd name="connsiteY7" fmla="*/ 178685 h 178685"/>
                <a:gd name="connsiteX8" fmla="*/ 163879 w 248682"/>
                <a:gd name="connsiteY8" fmla="*/ 170211 h 178685"/>
                <a:gd name="connsiteX9" fmla="*/ 155405 w 248682"/>
                <a:gd name="connsiteY9" fmla="*/ 161737 h 178685"/>
                <a:gd name="connsiteX10" fmla="*/ 17179 w 248682"/>
                <a:gd name="connsiteY10" fmla="*/ 161737 h 178685"/>
                <a:gd name="connsiteX11" fmla="*/ 170217 w 248682"/>
                <a:gd name="connsiteY11" fmla="*/ 16948 h 17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82" h="178685">
                  <a:moveTo>
                    <a:pt x="170217" y="16948"/>
                  </a:moveTo>
                  <a:cubicBezTo>
                    <a:pt x="193452" y="16948"/>
                    <a:pt x="215761" y="22009"/>
                    <a:pt x="236533" y="31997"/>
                  </a:cubicBezTo>
                  <a:cubicBezTo>
                    <a:pt x="240759" y="34020"/>
                    <a:pt x="245821" y="32251"/>
                    <a:pt x="247843" y="28037"/>
                  </a:cubicBezTo>
                  <a:cubicBezTo>
                    <a:pt x="249871" y="23817"/>
                    <a:pt x="248097" y="18750"/>
                    <a:pt x="243883" y="16727"/>
                  </a:cubicBezTo>
                  <a:cubicBezTo>
                    <a:pt x="220800" y="5627"/>
                    <a:pt x="196017" y="0"/>
                    <a:pt x="170217" y="0"/>
                  </a:cubicBezTo>
                  <a:cubicBezTo>
                    <a:pt x="76361" y="0"/>
                    <a:pt x="0" y="76361"/>
                    <a:pt x="0" y="170211"/>
                  </a:cubicBezTo>
                  <a:cubicBezTo>
                    <a:pt x="0" y="174889"/>
                    <a:pt x="3796" y="178685"/>
                    <a:pt x="8474" y="178685"/>
                  </a:cubicBezTo>
                  <a:lnTo>
                    <a:pt x="155405" y="178685"/>
                  </a:lnTo>
                  <a:cubicBezTo>
                    <a:pt x="160082" y="178685"/>
                    <a:pt x="163879" y="174889"/>
                    <a:pt x="163879" y="170211"/>
                  </a:cubicBezTo>
                  <a:cubicBezTo>
                    <a:pt x="163879" y="165534"/>
                    <a:pt x="160082" y="161737"/>
                    <a:pt x="155405" y="161737"/>
                  </a:cubicBezTo>
                  <a:lnTo>
                    <a:pt x="17179" y="161737"/>
                  </a:lnTo>
                  <a:cubicBezTo>
                    <a:pt x="21591" y="81151"/>
                    <a:pt x="88546" y="16948"/>
                    <a:pt x="170217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" name="Полилиния: фигура 238">
              <a:extLst>
                <a:ext uri="{FF2B5EF4-FFF2-40B4-BE49-F238E27FC236}">
                  <a16:creationId xmlns:a16="http://schemas.microsoft.com/office/drawing/2014/main" id="{C9F5BC05-B7A8-45A7-9EFA-ACB070E0A99C}"/>
                </a:ext>
              </a:extLst>
            </p:cNvPr>
            <p:cNvSpPr/>
            <p:nvPr/>
          </p:nvSpPr>
          <p:spPr>
            <a:xfrm>
              <a:off x="3044282" y="2316798"/>
              <a:ext cx="197107" cy="197112"/>
            </a:xfrm>
            <a:custGeom>
              <a:avLst/>
              <a:gdLst>
                <a:gd name="connsiteX0" fmla="*/ 98534 w 197107"/>
                <a:gd name="connsiteY0" fmla="*/ 197113 h 197112"/>
                <a:gd name="connsiteX1" fmla="*/ 197107 w 197107"/>
                <a:gd name="connsiteY1" fmla="*/ 98551 h 197112"/>
                <a:gd name="connsiteX2" fmla="*/ 98534 w 197107"/>
                <a:gd name="connsiteY2" fmla="*/ 0 h 197112"/>
                <a:gd name="connsiteX3" fmla="*/ 0 w 197107"/>
                <a:gd name="connsiteY3" fmla="*/ 98551 h 197112"/>
                <a:gd name="connsiteX4" fmla="*/ 98534 w 197107"/>
                <a:gd name="connsiteY4" fmla="*/ 197113 h 197112"/>
                <a:gd name="connsiteX5" fmla="*/ 98534 w 197107"/>
                <a:gd name="connsiteY5" fmla="*/ 16948 h 197112"/>
                <a:gd name="connsiteX6" fmla="*/ 180160 w 197107"/>
                <a:gd name="connsiteY6" fmla="*/ 98551 h 197112"/>
                <a:gd name="connsiteX7" fmla="*/ 98534 w 197107"/>
                <a:gd name="connsiteY7" fmla="*/ 180165 h 197112"/>
                <a:gd name="connsiteX8" fmla="*/ 16948 w 197107"/>
                <a:gd name="connsiteY8" fmla="*/ 98551 h 197112"/>
                <a:gd name="connsiteX9" fmla="*/ 98534 w 197107"/>
                <a:gd name="connsiteY9" fmla="*/ 16948 h 19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07" h="197112">
                  <a:moveTo>
                    <a:pt x="98534" y="197113"/>
                  </a:moveTo>
                  <a:cubicBezTo>
                    <a:pt x="152885" y="197113"/>
                    <a:pt x="197107" y="152896"/>
                    <a:pt x="197107" y="98551"/>
                  </a:cubicBezTo>
                  <a:cubicBezTo>
                    <a:pt x="197107" y="44211"/>
                    <a:pt x="152885" y="0"/>
                    <a:pt x="98534" y="0"/>
                  </a:cubicBezTo>
                  <a:cubicBezTo>
                    <a:pt x="44200" y="0"/>
                    <a:pt x="0" y="44211"/>
                    <a:pt x="0" y="98551"/>
                  </a:cubicBezTo>
                  <a:cubicBezTo>
                    <a:pt x="-6" y="152896"/>
                    <a:pt x="44200" y="197113"/>
                    <a:pt x="98534" y="197113"/>
                  </a:cubicBezTo>
                  <a:close/>
                  <a:moveTo>
                    <a:pt x="98534" y="16948"/>
                  </a:moveTo>
                  <a:cubicBezTo>
                    <a:pt x="143547" y="16948"/>
                    <a:pt x="180160" y="53555"/>
                    <a:pt x="180160" y="98551"/>
                  </a:cubicBezTo>
                  <a:cubicBezTo>
                    <a:pt x="180160" y="143553"/>
                    <a:pt x="143547" y="180165"/>
                    <a:pt x="98534" y="180165"/>
                  </a:cubicBezTo>
                  <a:cubicBezTo>
                    <a:pt x="53543" y="180165"/>
                    <a:pt x="16948" y="143553"/>
                    <a:pt x="16948" y="98551"/>
                  </a:cubicBezTo>
                  <a:cubicBezTo>
                    <a:pt x="16942" y="53555"/>
                    <a:pt x="53543" y="16948"/>
                    <a:pt x="9853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" name="Полилиния: фигура 239">
              <a:extLst>
                <a:ext uri="{FF2B5EF4-FFF2-40B4-BE49-F238E27FC236}">
                  <a16:creationId xmlns:a16="http://schemas.microsoft.com/office/drawing/2014/main" id="{2E361D31-713B-4C9C-BECD-763152EE2FC3}"/>
                </a:ext>
              </a:extLst>
            </p:cNvPr>
            <p:cNvSpPr/>
            <p:nvPr/>
          </p:nvSpPr>
          <p:spPr>
            <a:xfrm>
              <a:off x="3190151" y="2594316"/>
              <a:ext cx="259870" cy="238216"/>
            </a:xfrm>
            <a:custGeom>
              <a:avLst/>
              <a:gdLst>
                <a:gd name="connsiteX0" fmla="*/ 230805 w 259870"/>
                <a:gd name="connsiteY0" fmla="*/ 0 h 238216"/>
                <a:gd name="connsiteX1" fmla="*/ 29071 w 259870"/>
                <a:gd name="connsiteY1" fmla="*/ 0 h 238216"/>
                <a:gd name="connsiteX2" fmla="*/ 0 w 259870"/>
                <a:gd name="connsiteY2" fmla="*/ 29071 h 238216"/>
                <a:gd name="connsiteX3" fmla="*/ 0 w 259870"/>
                <a:gd name="connsiteY3" fmla="*/ 151716 h 238216"/>
                <a:gd name="connsiteX4" fmla="*/ 29065 w 259870"/>
                <a:gd name="connsiteY4" fmla="*/ 180781 h 238216"/>
                <a:gd name="connsiteX5" fmla="*/ 50843 w 259870"/>
                <a:gd name="connsiteY5" fmla="*/ 180781 h 238216"/>
                <a:gd name="connsiteX6" fmla="*/ 50843 w 259870"/>
                <a:gd name="connsiteY6" fmla="*/ 229743 h 238216"/>
                <a:gd name="connsiteX7" fmla="*/ 55899 w 259870"/>
                <a:gd name="connsiteY7" fmla="*/ 237494 h 238216"/>
                <a:gd name="connsiteX8" fmla="*/ 59317 w 259870"/>
                <a:gd name="connsiteY8" fmla="*/ 238217 h 238216"/>
                <a:gd name="connsiteX9" fmla="*/ 65034 w 259870"/>
                <a:gd name="connsiteY9" fmla="*/ 235997 h 238216"/>
                <a:gd name="connsiteX10" fmla="*/ 125475 w 259870"/>
                <a:gd name="connsiteY10" fmla="*/ 180781 h 238216"/>
                <a:gd name="connsiteX11" fmla="*/ 230811 w 259870"/>
                <a:gd name="connsiteY11" fmla="*/ 180781 h 238216"/>
                <a:gd name="connsiteX12" fmla="*/ 259870 w 259870"/>
                <a:gd name="connsiteY12" fmla="*/ 151721 h 238216"/>
                <a:gd name="connsiteX13" fmla="*/ 259870 w 259870"/>
                <a:gd name="connsiteY13" fmla="*/ 29065 h 238216"/>
                <a:gd name="connsiteX14" fmla="*/ 230805 w 259870"/>
                <a:gd name="connsiteY14" fmla="*/ 0 h 238216"/>
                <a:gd name="connsiteX15" fmla="*/ 242923 w 259870"/>
                <a:gd name="connsiteY15" fmla="*/ 151716 h 238216"/>
                <a:gd name="connsiteX16" fmla="*/ 230811 w 259870"/>
                <a:gd name="connsiteY16" fmla="*/ 163828 h 238216"/>
                <a:gd name="connsiteX17" fmla="*/ 122187 w 259870"/>
                <a:gd name="connsiteY17" fmla="*/ 163828 h 238216"/>
                <a:gd name="connsiteX18" fmla="*/ 116470 w 259870"/>
                <a:gd name="connsiteY18" fmla="*/ 166048 h 238216"/>
                <a:gd name="connsiteX19" fmla="*/ 67791 w 259870"/>
                <a:gd name="connsiteY19" fmla="*/ 210519 h 238216"/>
                <a:gd name="connsiteX20" fmla="*/ 67791 w 259870"/>
                <a:gd name="connsiteY20" fmla="*/ 172302 h 238216"/>
                <a:gd name="connsiteX21" fmla="*/ 59317 w 259870"/>
                <a:gd name="connsiteY21" fmla="*/ 163828 h 238216"/>
                <a:gd name="connsiteX22" fmla="*/ 29065 w 259870"/>
                <a:gd name="connsiteY22" fmla="*/ 163828 h 238216"/>
                <a:gd name="connsiteX23" fmla="*/ 16948 w 259870"/>
                <a:gd name="connsiteY23" fmla="*/ 151710 h 238216"/>
                <a:gd name="connsiteX24" fmla="*/ 16948 w 259870"/>
                <a:gd name="connsiteY24" fmla="*/ 29065 h 238216"/>
                <a:gd name="connsiteX25" fmla="*/ 29071 w 259870"/>
                <a:gd name="connsiteY25" fmla="*/ 16942 h 238216"/>
                <a:gd name="connsiteX26" fmla="*/ 230805 w 259870"/>
                <a:gd name="connsiteY26" fmla="*/ 16942 h 238216"/>
                <a:gd name="connsiteX27" fmla="*/ 242923 w 259870"/>
                <a:gd name="connsiteY27" fmla="*/ 29060 h 238216"/>
                <a:gd name="connsiteX28" fmla="*/ 242923 w 259870"/>
                <a:gd name="connsiteY28" fmla="*/ 151716 h 238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9870" h="238216">
                  <a:moveTo>
                    <a:pt x="230805" y="0"/>
                  </a:moveTo>
                  <a:lnTo>
                    <a:pt x="29071" y="0"/>
                  </a:lnTo>
                  <a:cubicBezTo>
                    <a:pt x="13044" y="0"/>
                    <a:pt x="0" y="13044"/>
                    <a:pt x="0" y="29071"/>
                  </a:cubicBezTo>
                  <a:lnTo>
                    <a:pt x="0" y="151716"/>
                  </a:lnTo>
                  <a:cubicBezTo>
                    <a:pt x="0" y="167743"/>
                    <a:pt x="13038" y="180781"/>
                    <a:pt x="29065" y="180781"/>
                  </a:cubicBezTo>
                  <a:lnTo>
                    <a:pt x="50843" y="180781"/>
                  </a:lnTo>
                  <a:lnTo>
                    <a:pt x="50843" y="229743"/>
                  </a:lnTo>
                  <a:cubicBezTo>
                    <a:pt x="50843" y="233104"/>
                    <a:pt x="52826" y="236143"/>
                    <a:pt x="55899" y="237494"/>
                  </a:cubicBezTo>
                  <a:cubicBezTo>
                    <a:pt x="56995" y="237979"/>
                    <a:pt x="58159" y="238217"/>
                    <a:pt x="59317" y="238217"/>
                  </a:cubicBezTo>
                  <a:cubicBezTo>
                    <a:pt x="61390" y="238217"/>
                    <a:pt x="63435" y="237454"/>
                    <a:pt x="65034" y="235997"/>
                  </a:cubicBezTo>
                  <a:lnTo>
                    <a:pt x="125475" y="180781"/>
                  </a:lnTo>
                  <a:lnTo>
                    <a:pt x="230811" y="180781"/>
                  </a:lnTo>
                  <a:cubicBezTo>
                    <a:pt x="246832" y="180781"/>
                    <a:pt x="259870" y="167743"/>
                    <a:pt x="259870" y="151721"/>
                  </a:cubicBezTo>
                  <a:lnTo>
                    <a:pt x="259870" y="29065"/>
                  </a:lnTo>
                  <a:cubicBezTo>
                    <a:pt x="259870" y="13033"/>
                    <a:pt x="246832" y="0"/>
                    <a:pt x="230805" y="0"/>
                  </a:cubicBezTo>
                  <a:close/>
                  <a:moveTo>
                    <a:pt x="242923" y="151716"/>
                  </a:moveTo>
                  <a:cubicBezTo>
                    <a:pt x="242923" y="158393"/>
                    <a:pt x="237488" y="163828"/>
                    <a:pt x="230811" y="163828"/>
                  </a:cubicBezTo>
                  <a:lnTo>
                    <a:pt x="122187" y="163828"/>
                  </a:lnTo>
                  <a:cubicBezTo>
                    <a:pt x="120074" y="163828"/>
                    <a:pt x="118035" y="164619"/>
                    <a:pt x="116470" y="166048"/>
                  </a:cubicBezTo>
                  <a:lnTo>
                    <a:pt x="67791" y="210519"/>
                  </a:lnTo>
                  <a:lnTo>
                    <a:pt x="67791" y="172302"/>
                  </a:lnTo>
                  <a:cubicBezTo>
                    <a:pt x="67791" y="167624"/>
                    <a:pt x="63994" y="163828"/>
                    <a:pt x="59317" y="163828"/>
                  </a:cubicBezTo>
                  <a:lnTo>
                    <a:pt x="29065" y="163828"/>
                  </a:lnTo>
                  <a:cubicBezTo>
                    <a:pt x="22382" y="163828"/>
                    <a:pt x="16948" y="158393"/>
                    <a:pt x="16948" y="151710"/>
                  </a:cubicBezTo>
                  <a:lnTo>
                    <a:pt x="16948" y="29065"/>
                  </a:lnTo>
                  <a:cubicBezTo>
                    <a:pt x="16948" y="22382"/>
                    <a:pt x="22388" y="16942"/>
                    <a:pt x="29071" y="16942"/>
                  </a:cubicBezTo>
                  <a:lnTo>
                    <a:pt x="230805" y="16942"/>
                  </a:lnTo>
                  <a:cubicBezTo>
                    <a:pt x="237488" y="16942"/>
                    <a:pt x="242923" y="22377"/>
                    <a:pt x="242923" y="29060"/>
                  </a:cubicBezTo>
                  <a:lnTo>
                    <a:pt x="242923" y="151716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" name="Полилиния: фигура 240">
              <a:extLst>
                <a:ext uri="{FF2B5EF4-FFF2-40B4-BE49-F238E27FC236}">
                  <a16:creationId xmlns:a16="http://schemas.microsoft.com/office/drawing/2014/main" id="{2FF80F6D-33C9-46F0-8C02-319D570839F3}"/>
                </a:ext>
              </a:extLst>
            </p:cNvPr>
            <p:cNvSpPr/>
            <p:nvPr/>
          </p:nvSpPr>
          <p:spPr>
            <a:xfrm>
              <a:off x="3257947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Полилиния: фигура 241">
              <a:extLst>
                <a:ext uri="{FF2B5EF4-FFF2-40B4-BE49-F238E27FC236}">
                  <a16:creationId xmlns:a16="http://schemas.microsoft.com/office/drawing/2014/main" id="{4DC2F4AF-C375-4EDD-82C3-9C83C16E7694}"/>
                </a:ext>
              </a:extLst>
            </p:cNvPr>
            <p:cNvSpPr/>
            <p:nvPr/>
          </p:nvSpPr>
          <p:spPr>
            <a:xfrm>
              <a:off x="3314439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: фигура 242">
              <a:extLst>
                <a:ext uri="{FF2B5EF4-FFF2-40B4-BE49-F238E27FC236}">
                  <a16:creationId xmlns:a16="http://schemas.microsoft.com/office/drawing/2014/main" id="{32B07BA9-C378-40FB-A27E-D5D3BCB79FAD}"/>
                </a:ext>
              </a:extLst>
            </p:cNvPr>
            <p:cNvSpPr/>
            <p:nvPr/>
          </p:nvSpPr>
          <p:spPr>
            <a:xfrm>
              <a:off x="3365283" y="2668361"/>
              <a:ext cx="22596" cy="22596"/>
            </a:xfrm>
            <a:custGeom>
              <a:avLst/>
              <a:gdLst>
                <a:gd name="connsiteX0" fmla="*/ 11298 w 22596"/>
                <a:gd name="connsiteY0" fmla="*/ 0 h 22596"/>
                <a:gd name="connsiteX1" fmla="*/ 0 w 22596"/>
                <a:gd name="connsiteY1" fmla="*/ 11298 h 22596"/>
                <a:gd name="connsiteX2" fmla="*/ 11298 w 22596"/>
                <a:gd name="connsiteY2" fmla="*/ 22597 h 22596"/>
                <a:gd name="connsiteX3" fmla="*/ 22597 w 22596"/>
                <a:gd name="connsiteY3" fmla="*/ 11298 h 22596"/>
                <a:gd name="connsiteX4" fmla="*/ 11298 w 22596"/>
                <a:gd name="connsiteY4" fmla="*/ 0 h 2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6" h="22596">
                  <a:moveTo>
                    <a:pt x="11298" y="0"/>
                  </a:moveTo>
                  <a:cubicBezTo>
                    <a:pt x="5056" y="0"/>
                    <a:pt x="0" y="5062"/>
                    <a:pt x="0" y="11298"/>
                  </a:cubicBezTo>
                  <a:cubicBezTo>
                    <a:pt x="0" y="17541"/>
                    <a:pt x="5056" y="22597"/>
                    <a:pt x="11298" y="22597"/>
                  </a:cubicBezTo>
                  <a:cubicBezTo>
                    <a:pt x="17535" y="22597"/>
                    <a:pt x="22597" y="17535"/>
                    <a:pt x="22597" y="11298"/>
                  </a:cubicBezTo>
                  <a:cubicBezTo>
                    <a:pt x="22591" y="5062"/>
                    <a:pt x="17535" y="0"/>
                    <a:pt x="11298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118" name="Рисунок 1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1734" y="1816978"/>
            <a:ext cx="386330" cy="295936"/>
          </a:xfrm>
          <a:prstGeom prst="rect">
            <a:avLst/>
          </a:prstGeom>
        </p:spPr>
      </p:pic>
      <p:grpSp>
        <p:nvGrpSpPr>
          <p:cNvPr id="120" name="Группа 119"/>
          <p:cNvGrpSpPr/>
          <p:nvPr/>
        </p:nvGrpSpPr>
        <p:grpSpPr>
          <a:xfrm>
            <a:off x="6307557" y="1522443"/>
            <a:ext cx="2642286" cy="1233743"/>
            <a:chOff x="4332764" y="1198563"/>
            <a:chExt cx="3524250" cy="3338710"/>
          </a:xfrm>
        </p:grpSpPr>
        <p:sp>
          <p:nvSpPr>
            <p:cNvPr id="121" name="Прямоугольник 120">
              <a:extLst>
                <a:ext uri="{FF2B5EF4-FFF2-40B4-BE49-F238E27FC236}">
                  <a16:creationId xmlns:a16="http://schemas.microsoft.com/office/drawing/2014/main" id="{DB08BC07-F988-740D-200F-51890DF9FB35}"/>
                </a:ext>
              </a:extLst>
            </p:cNvPr>
            <p:cNvSpPr/>
            <p:nvPr/>
          </p:nvSpPr>
          <p:spPr>
            <a:xfrm>
              <a:off x="4336575" y="1198563"/>
              <a:ext cx="3516312" cy="333871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122" name="Прямая соединительная линия 121">
              <a:extLst>
                <a:ext uri="{FF2B5EF4-FFF2-40B4-BE49-F238E27FC236}">
                  <a16:creationId xmlns:a16="http://schemas.microsoft.com/office/drawing/2014/main" id="{A48682A4-9DB5-6EF5-51D2-E0BFC6F95111}"/>
                </a:ext>
              </a:extLst>
            </p:cNvPr>
            <p:cNvCxnSpPr>
              <a:cxnSpLocks/>
            </p:cNvCxnSpPr>
            <p:nvPr/>
          </p:nvCxnSpPr>
          <p:spPr>
            <a:xfrm>
              <a:off x="4332764" y="1198563"/>
              <a:ext cx="35242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3" name="Прямая соединительная линия 122">
            <a:extLst>
              <a:ext uri="{FF2B5EF4-FFF2-40B4-BE49-F238E27FC236}">
                <a16:creationId xmlns:a16="http://schemas.microsoft.com/office/drawing/2014/main" id="{D44FB996-B33A-DBD7-B5C2-6E65BD8721BE}"/>
              </a:ext>
            </a:extLst>
          </p:cNvPr>
          <p:cNvCxnSpPr>
            <a:cxnSpLocks/>
            <a:stCxn id="121" idx="1"/>
            <a:endCxn id="121" idx="3"/>
          </p:cNvCxnSpPr>
          <p:nvPr/>
        </p:nvCxnSpPr>
        <p:spPr>
          <a:xfrm>
            <a:off x="6310414" y="2139315"/>
            <a:ext cx="263633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Прямоугольник 123"/>
          <p:cNvSpPr/>
          <p:nvPr/>
        </p:nvSpPr>
        <p:spPr>
          <a:xfrm>
            <a:off x="6381396" y="2175787"/>
            <a:ext cx="24361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44083">
              <a:defRPr/>
            </a:pPr>
            <a:r>
              <a:rPr lang="ru-RU" sz="1750" dirty="0" smtClean="0"/>
              <a:t>Сопроводительные</a:t>
            </a:r>
            <a:r>
              <a:rPr lang="ru-RU" dirty="0" smtClean="0"/>
              <a:t> документы</a:t>
            </a:r>
            <a:endParaRPr lang="ru-RU" dirty="0"/>
          </a:p>
        </p:txBody>
      </p:sp>
      <p:graphicFrame>
        <p:nvGraphicFramePr>
          <p:cNvPr id="125" name="Таблица 5">
            <a:extLst>
              <a:ext uri="{FF2B5EF4-FFF2-40B4-BE49-F238E27FC236}">
                <a16:creationId xmlns:a16="http://schemas.microsoft.com/office/drawing/2014/main" id="{15334CA2-11EE-49E1-979E-ADA3F09E652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307557" y="3329470"/>
          <a:ext cx="2766117" cy="40031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66117">
                  <a:extLst>
                    <a:ext uri="{9D8B030D-6E8A-4147-A177-3AD203B41FA5}">
                      <a16:colId xmlns:a16="http://schemas.microsoft.com/office/drawing/2014/main" val="3450824149"/>
                    </a:ext>
                  </a:extLst>
                </a:gridCol>
              </a:tblGrid>
              <a:tr h="746906">
                <a:tc>
                  <a:txBody>
                    <a:bodyPr/>
                    <a:lstStyle/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/>
                        <a:t>Товарно- транспортная накладная</a:t>
                      </a:r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/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/>
                        <a:t>Реестр (опись), который содержит следующие сведения</a:t>
                      </a:r>
                      <a:r>
                        <a:rPr lang="ru-RU" sz="1100" b="0" dirty="0" smtClean="0"/>
                        <a:t>:</a:t>
                      </a: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r>
                        <a:rPr lang="ru-RU" sz="900" b="0" dirty="0" smtClean="0">
                          <a:solidFill>
                            <a:srgbClr val="00B050"/>
                          </a:solidFill>
                        </a:rPr>
                        <a:t>    •</a:t>
                      </a:r>
                      <a:r>
                        <a:rPr lang="ru-RU" sz="800" b="0" dirty="0" smtClean="0"/>
                        <a:t>номер</a:t>
                      </a:r>
                      <a:r>
                        <a:rPr lang="ru-RU" sz="800" b="0" baseline="0" dirty="0" smtClean="0"/>
                        <a:t> </a:t>
                      </a:r>
                      <a:r>
                        <a:rPr lang="ru-RU" sz="800" b="0" dirty="0" smtClean="0"/>
                        <a:t>документа, подтверждающего соответствие;</a:t>
                      </a: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r>
                        <a:rPr lang="ru-RU" sz="800" b="0" dirty="0" smtClean="0">
                          <a:solidFill>
                            <a:srgbClr val="00B050"/>
                          </a:solidFill>
                        </a:rPr>
                        <a:t>    •</a:t>
                      </a:r>
                      <a:r>
                        <a:rPr lang="ru-RU" sz="800" b="0" dirty="0" smtClean="0"/>
                        <a:t>срок действия документа;</a:t>
                      </a: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r>
                        <a:rPr lang="ru-RU" sz="800" b="0" dirty="0" smtClean="0">
                          <a:solidFill>
                            <a:srgbClr val="00B050"/>
                          </a:solidFill>
                        </a:rPr>
                        <a:t>    •</a:t>
                      </a:r>
                      <a:r>
                        <a:rPr lang="ru-RU" sz="800" b="0" dirty="0" smtClean="0"/>
                        <a:t>сведения об организации, выдавшей документ</a:t>
                      </a:r>
                    </a:p>
                    <a:p>
                      <a:pPr marL="0" indent="0" algn="l" defTabSz="685800">
                        <a:buFont typeface="Arial" panose="020B0604020202020204" pitchFamily="34" charset="0"/>
                        <a:buNone/>
                      </a:pPr>
                      <a:endParaRPr lang="ru-RU" sz="900" b="0" dirty="0" smtClean="0"/>
                    </a:p>
                    <a:p>
                      <a:pPr marL="171450" indent="-171450" algn="l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/>
                        <a:t>Декларации о соответствии (копии) для свежих фруктов и овощей с каждой поставкой продукции</a:t>
                      </a: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endParaRPr lang="ru-RU" sz="1050" b="0" dirty="0" smtClean="0"/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/>
                        <a:t>Список реквизитов документов о показателях сортовых и посевных (посадочных) качеств для семян с\х растений</a:t>
                      </a:r>
                      <a:endParaRPr lang="ru-RU" sz="1050" b="0" dirty="0" smtClean="0">
                        <a:solidFill>
                          <a:schemeClr val="accent1"/>
                        </a:solidFill>
                      </a:endParaRP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endParaRPr lang="ru-RU" sz="1000" b="0" dirty="0" smtClean="0">
                        <a:solidFill>
                          <a:schemeClr val="accent1"/>
                        </a:solidFill>
                      </a:endParaRPr>
                    </a:p>
                    <a:p>
                      <a:pPr marL="0" indent="0" algn="just" defTabSz="685800">
                        <a:buFont typeface="Arial" panose="020B0604020202020204" pitchFamily="34" charset="0"/>
                        <a:buNone/>
                      </a:pPr>
                      <a:endParaRPr lang="ru-RU" sz="1000" b="0" dirty="0" smtClean="0"/>
                    </a:p>
                    <a:p>
                      <a:pPr marL="171450" indent="-171450" algn="just" defTabSz="685800">
                        <a:buFont typeface="Arial" panose="020B0604020202020204" pitchFamily="34" charset="0"/>
                        <a:buChar char="•"/>
                      </a:pPr>
                      <a:endParaRPr lang="ru-RU" sz="1000" b="0" dirty="0" smtClean="0"/>
                    </a:p>
                  </a:txBody>
                  <a:tcPr marL="216000" marR="216000" marT="108000" marB="10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069870"/>
                  </a:ext>
                </a:extLst>
              </a:tr>
            </a:tbl>
          </a:graphicData>
        </a:graphic>
      </p:graphicFrame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358850" y="3446517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127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8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29" name="Рисунок 13">
            <a:extLst>
              <a:ext uri="{FF2B5EF4-FFF2-40B4-BE49-F238E27FC236}">
                <a16:creationId xmlns:a16="http://schemas.microsoft.com/office/drawing/2014/main" id="{FCEEEA77-6F69-403B-941A-F828CCE693AA}"/>
              </a:ext>
            </a:extLst>
          </p:cNvPr>
          <p:cNvGrpSpPr/>
          <p:nvPr/>
        </p:nvGrpSpPr>
        <p:grpSpPr>
          <a:xfrm>
            <a:off x="7408412" y="1592277"/>
            <a:ext cx="395765" cy="513160"/>
            <a:chOff x="696928" y="4475641"/>
            <a:chExt cx="385277" cy="540066"/>
          </a:xfrm>
          <a:solidFill>
            <a:schemeClr val="tx1"/>
          </a:solidFill>
        </p:grpSpPr>
        <p:sp>
          <p:nvSpPr>
            <p:cNvPr id="130" name="Полилиния: фигура 49">
              <a:extLst>
                <a:ext uri="{FF2B5EF4-FFF2-40B4-BE49-F238E27FC236}">
                  <a16:creationId xmlns:a16="http://schemas.microsoft.com/office/drawing/2014/main" id="{AFE2D5A1-56E9-4C4C-9000-94F8EF259AD8}"/>
                </a:ext>
              </a:extLst>
            </p:cNvPr>
            <p:cNvSpPr/>
            <p:nvPr/>
          </p:nvSpPr>
          <p:spPr>
            <a:xfrm>
              <a:off x="696928" y="4475641"/>
              <a:ext cx="385277" cy="540066"/>
            </a:xfrm>
            <a:custGeom>
              <a:avLst/>
              <a:gdLst>
                <a:gd name="connsiteX0" fmla="*/ 376804 w 385277"/>
                <a:gd name="connsiteY0" fmla="*/ 104511 h 540066"/>
                <a:gd name="connsiteX1" fmla="*/ 346298 w 385277"/>
                <a:gd name="connsiteY1" fmla="*/ 104511 h 540066"/>
                <a:gd name="connsiteX2" fmla="*/ 346298 w 385277"/>
                <a:gd name="connsiteY2" fmla="*/ 74005 h 540066"/>
                <a:gd name="connsiteX3" fmla="*/ 337824 w 385277"/>
                <a:gd name="connsiteY3" fmla="*/ 65531 h 540066"/>
                <a:gd name="connsiteX4" fmla="*/ 307318 w 385277"/>
                <a:gd name="connsiteY4" fmla="*/ 65531 h 540066"/>
                <a:gd name="connsiteX5" fmla="*/ 307318 w 385277"/>
                <a:gd name="connsiteY5" fmla="*/ 34460 h 540066"/>
                <a:gd name="connsiteX6" fmla="*/ 298844 w 385277"/>
                <a:gd name="connsiteY6" fmla="*/ 25986 h 540066"/>
                <a:gd name="connsiteX7" fmla="*/ 98297 w 385277"/>
                <a:gd name="connsiteY7" fmla="*/ 25986 h 540066"/>
                <a:gd name="connsiteX8" fmla="*/ 70050 w 385277"/>
                <a:gd name="connsiteY8" fmla="*/ 0 h 540066"/>
                <a:gd name="connsiteX9" fmla="*/ 41804 w 385277"/>
                <a:gd name="connsiteY9" fmla="*/ 25986 h 540066"/>
                <a:gd name="connsiteX10" fmla="*/ 8474 w 385277"/>
                <a:gd name="connsiteY10" fmla="*/ 25986 h 540066"/>
                <a:gd name="connsiteX11" fmla="*/ 0 w 385277"/>
                <a:gd name="connsiteY11" fmla="*/ 34460 h 540066"/>
                <a:gd name="connsiteX12" fmla="*/ 0 w 385277"/>
                <a:gd name="connsiteY12" fmla="*/ 453633 h 540066"/>
                <a:gd name="connsiteX13" fmla="*/ 8474 w 385277"/>
                <a:gd name="connsiteY13" fmla="*/ 462107 h 540066"/>
                <a:gd name="connsiteX14" fmla="*/ 38980 w 385277"/>
                <a:gd name="connsiteY14" fmla="*/ 462107 h 540066"/>
                <a:gd name="connsiteX15" fmla="*/ 38980 w 385277"/>
                <a:gd name="connsiteY15" fmla="*/ 492613 h 540066"/>
                <a:gd name="connsiteX16" fmla="*/ 47454 w 385277"/>
                <a:gd name="connsiteY16" fmla="*/ 501087 h 540066"/>
                <a:gd name="connsiteX17" fmla="*/ 77959 w 385277"/>
                <a:gd name="connsiteY17" fmla="*/ 501087 h 540066"/>
                <a:gd name="connsiteX18" fmla="*/ 77959 w 385277"/>
                <a:gd name="connsiteY18" fmla="*/ 531593 h 540066"/>
                <a:gd name="connsiteX19" fmla="*/ 86433 w 385277"/>
                <a:gd name="connsiteY19" fmla="*/ 540066 h 540066"/>
                <a:gd name="connsiteX20" fmla="*/ 376804 w 385277"/>
                <a:gd name="connsiteY20" fmla="*/ 540066 h 540066"/>
                <a:gd name="connsiteX21" fmla="*/ 385278 w 385277"/>
                <a:gd name="connsiteY21" fmla="*/ 531593 h 540066"/>
                <a:gd name="connsiteX22" fmla="*/ 385278 w 385277"/>
                <a:gd name="connsiteY22" fmla="*/ 112985 h 540066"/>
                <a:gd name="connsiteX23" fmla="*/ 376804 w 385277"/>
                <a:gd name="connsiteY23" fmla="*/ 104511 h 540066"/>
                <a:gd name="connsiteX24" fmla="*/ 70050 w 385277"/>
                <a:gd name="connsiteY24" fmla="*/ 17513 h 540066"/>
                <a:gd name="connsiteX25" fmla="*/ 81349 w 385277"/>
                <a:gd name="connsiteY25" fmla="*/ 26551 h 540066"/>
                <a:gd name="connsiteX26" fmla="*/ 58752 w 385277"/>
                <a:gd name="connsiteY26" fmla="*/ 26551 h 540066"/>
                <a:gd name="connsiteX27" fmla="*/ 70050 w 385277"/>
                <a:gd name="connsiteY27" fmla="*/ 17513 h 540066"/>
                <a:gd name="connsiteX28" fmla="*/ 16948 w 385277"/>
                <a:gd name="connsiteY28" fmla="*/ 42934 h 540066"/>
                <a:gd name="connsiteX29" fmla="*/ 41804 w 385277"/>
                <a:gd name="connsiteY29" fmla="*/ 42934 h 540066"/>
                <a:gd name="connsiteX30" fmla="*/ 41804 w 385277"/>
                <a:gd name="connsiteY30" fmla="*/ 110725 h 540066"/>
                <a:gd name="connsiteX31" fmla="*/ 70050 w 385277"/>
                <a:gd name="connsiteY31" fmla="*/ 138971 h 540066"/>
                <a:gd name="connsiteX32" fmla="*/ 98297 w 385277"/>
                <a:gd name="connsiteY32" fmla="*/ 110725 h 540066"/>
                <a:gd name="connsiteX33" fmla="*/ 98297 w 385277"/>
                <a:gd name="connsiteY33" fmla="*/ 69486 h 540066"/>
                <a:gd name="connsiteX34" fmla="*/ 89823 w 385277"/>
                <a:gd name="connsiteY34" fmla="*/ 61012 h 540066"/>
                <a:gd name="connsiteX35" fmla="*/ 81349 w 385277"/>
                <a:gd name="connsiteY35" fmla="*/ 69486 h 540066"/>
                <a:gd name="connsiteX36" fmla="*/ 81349 w 385277"/>
                <a:gd name="connsiteY36" fmla="*/ 110725 h 540066"/>
                <a:gd name="connsiteX37" fmla="*/ 70050 w 385277"/>
                <a:gd name="connsiteY37" fmla="*/ 122023 h 540066"/>
                <a:gd name="connsiteX38" fmla="*/ 58752 w 385277"/>
                <a:gd name="connsiteY38" fmla="*/ 110725 h 540066"/>
                <a:gd name="connsiteX39" fmla="*/ 58752 w 385277"/>
                <a:gd name="connsiteY39" fmla="*/ 42934 h 540066"/>
                <a:gd name="connsiteX40" fmla="*/ 290370 w 385277"/>
                <a:gd name="connsiteY40" fmla="*/ 42934 h 540066"/>
                <a:gd name="connsiteX41" fmla="*/ 290370 w 385277"/>
                <a:gd name="connsiteY41" fmla="*/ 445159 h 540066"/>
                <a:gd name="connsiteX42" fmla="*/ 16948 w 385277"/>
                <a:gd name="connsiteY42" fmla="*/ 445159 h 540066"/>
                <a:gd name="connsiteX43" fmla="*/ 16948 w 385277"/>
                <a:gd name="connsiteY43" fmla="*/ 42934 h 540066"/>
                <a:gd name="connsiteX44" fmla="*/ 55927 w 385277"/>
                <a:gd name="connsiteY44" fmla="*/ 462672 h 540066"/>
                <a:gd name="connsiteX45" fmla="*/ 298844 w 385277"/>
                <a:gd name="connsiteY45" fmla="*/ 462672 h 540066"/>
                <a:gd name="connsiteX46" fmla="*/ 307318 w 385277"/>
                <a:gd name="connsiteY46" fmla="*/ 454198 h 540066"/>
                <a:gd name="connsiteX47" fmla="*/ 307318 w 385277"/>
                <a:gd name="connsiteY47" fmla="*/ 82479 h 540066"/>
                <a:gd name="connsiteX48" fmla="*/ 329350 w 385277"/>
                <a:gd name="connsiteY48" fmla="*/ 82479 h 540066"/>
                <a:gd name="connsiteX49" fmla="*/ 329350 w 385277"/>
                <a:gd name="connsiteY49" fmla="*/ 484704 h 540066"/>
                <a:gd name="connsiteX50" fmla="*/ 55927 w 385277"/>
                <a:gd name="connsiteY50" fmla="*/ 484704 h 540066"/>
                <a:gd name="connsiteX51" fmla="*/ 55927 w 385277"/>
                <a:gd name="connsiteY51" fmla="*/ 462672 h 540066"/>
                <a:gd name="connsiteX52" fmla="*/ 368330 w 385277"/>
                <a:gd name="connsiteY52" fmla="*/ 523684 h 540066"/>
                <a:gd name="connsiteX53" fmla="*/ 94907 w 385277"/>
                <a:gd name="connsiteY53" fmla="*/ 523684 h 540066"/>
                <a:gd name="connsiteX54" fmla="*/ 94907 w 385277"/>
                <a:gd name="connsiteY54" fmla="*/ 501652 h 540066"/>
                <a:gd name="connsiteX55" fmla="*/ 337824 w 385277"/>
                <a:gd name="connsiteY55" fmla="*/ 501652 h 540066"/>
                <a:gd name="connsiteX56" fmla="*/ 346298 w 385277"/>
                <a:gd name="connsiteY56" fmla="*/ 493178 h 540066"/>
                <a:gd name="connsiteX57" fmla="*/ 346298 w 385277"/>
                <a:gd name="connsiteY57" fmla="*/ 121458 h 540066"/>
                <a:gd name="connsiteX58" fmla="*/ 368330 w 385277"/>
                <a:gd name="connsiteY58" fmla="*/ 121458 h 540066"/>
                <a:gd name="connsiteX59" fmla="*/ 368330 w 385277"/>
                <a:gd name="connsiteY59" fmla="*/ 523684 h 54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85277" h="540066">
                  <a:moveTo>
                    <a:pt x="376804" y="104511"/>
                  </a:moveTo>
                  <a:lnTo>
                    <a:pt x="346298" y="104511"/>
                  </a:lnTo>
                  <a:lnTo>
                    <a:pt x="346298" y="74005"/>
                  </a:lnTo>
                  <a:cubicBezTo>
                    <a:pt x="346298" y="69486"/>
                    <a:pt x="342343" y="65531"/>
                    <a:pt x="337824" y="65531"/>
                  </a:cubicBezTo>
                  <a:lnTo>
                    <a:pt x="307318" y="65531"/>
                  </a:lnTo>
                  <a:lnTo>
                    <a:pt x="307318" y="34460"/>
                  </a:lnTo>
                  <a:cubicBezTo>
                    <a:pt x="307318" y="29941"/>
                    <a:pt x="303364" y="25986"/>
                    <a:pt x="298844" y="25986"/>
                  </a:cubicBezTo>
                  <a:lnTo>
                    <a:pt x="98297" y="25986"/>
                  </a:lnTo>
                  <a:cubicBezTo>
                    <a:pt x="97167" y="11298"/>
                    <a:pt x="84738" y="0"/>
                    <a:pt x="70050" y="0"/>
                  </a:cubicBezTo>
                  <a:cubicBezTo>
                    <a:pt x="55362" y="0"/>
                    <a:pt x="42934" y="11298"/>
                    <a:pt x="41804" y="25986"/>
                  </a:cubicBezTo>
                  <a:lnTo>
                    <a:pt x="8474" y="25986"/>
                  </a:lnTo>
                  <a:cubicBezTo>
                    <a:pt x="3954" y="25986"/>
                    <a:pt x="0" y="29941"/>
                    <a:pt x="0" y="34460"/>
                  </a:cubicBezTo>
                  <a:lnTo>
                    <a:pt x="0" y="453633"/>
                  </a:lnTo>
                  <a:cubicBezTo>
                    <a:pt x="0" y="458153"/>
                    <a:pt x="3954" y="462107"/>
                    <a:pt x="8474" y="462107"/>
                  </a:cubicBezTo>
                  <a:lnTo>
                    <a:pt x="38980" y="462107"/>
                  </a:lnTo>
                  <a:lnTo>
                    <a:pt x="38980" y="492613"/>
                  </a:lnTo>
                  <a:cubicBezTo>
                    <a:pt x="38980" y="497132"/>
                    <a:pt x="42934" y="501087"/>
                    <a:pt x="47454" y="501087"/>
                  </a:cubicBezTo>
                  <a:lnTo>
                    <a:pt x="77959" y="501087"/>
                  </a:lnTo>
                  <a:lnTo>
                    <a:pt x="77959" y="531593"/>
                  </a:lnTo>
                  <a:cubicBezTo>
                    <a:pt x="77959" y="536112"/>
                    <a:pt x="81914" y="540066"/>
                    <a:pt x="86433" y="540066"/>
                  </a:cubicBezTo>
                  <a:lnTo>
                    <a:pt x="376804" y="540066"/>
                  </a:lnTo>
                  <a:cubicBezTo>
                    <a:pt x="381323" y="540066"/>
                    <a:pt x="385278" y="536112"/>
                    <a:pt x="385278" y="531593"/>
                  </a:cubicBezTo>
                  <a:lnTo>
                    <a:pt x="385278" y="112985"/>
                  </a:lnTo>
                  <a:cubicBezTo>
                    <a:pt x="385278" y="108465"/>
                    <a:pt x="381323" y="104511"/>
                    <a:pt x="376804" y="104511"/>
                  </a:cubicBezTo>
                  <a:close/>
                  <a:moveTo>
                    <a:pt x="70050" y="17513"/>
                  </a:moveTo>
                  <a:cubicBezTo>
                    <a:pt x="75700" y="17513"/>
                    <a:pt x="80219" y="21467"/>
                    <a:pt x="81349" y="26551"/>
                  </a:cubicBezTo>
                  <a:lnTo>
                    <a:pt x="58752" y="26551"/>
                  </a:lnTo>
                  <a:cubicBezTo>
                    <a:pt x="59882" y="20902"/>
                    <a:pt x="64401" y="17513"/>
                    <a:pt x="70050" y="17513"/>
                  </a:cubicBezTo>
                  <a:close/>
                  <a:moveTo>
                    <a:pt x="16948" y="42934"/>
                  </a:moveTo>
                  <a:lnTo>
                    <a:pt x="41804" y="42934"/>
                  </a:lnTo>
                  <a:lnTo>
                    <a:pt x="41804" y="110725"/>
                  </a:lnTo>
                  <a:cubicBezTo>
                    <a:pt x="41804" y="126543"/>
                    <a:pt x="54798" y="138971"/>
                    <a:pt x="70050" y="138971"/>
                  </a:cubicBezTo>
                  <a:cubicBezTo>
                    <a:pt x="85303" y="138971"/>
                    <a:pt x="98297" y="125978"/>
                    <a:pt x="98297" y="110725"/>
                  </a:cubicBezTo>
                  <a:lnTo>
                    <a:pt x="98297" y="69486"/>
                  </a:lnTo>
                  <a:cubicBezTo>
                    <a:pt x="98297" y="64966"/>
                    <a:pt x="94342" y="61012"/>
                    <a:pt x="89823" y="61012"/>
                  </a:cubicBezTo>
                  <a:cubicBezTo>
                    <a:pt x="85303" y="61012"/>
                    <a:pt x="81349" y="64966"/>
                    <a:pt x="81349" y="69486"/>
                  </a:cubicBezTo>
                  <a:lnTo>
                    <a:pt x="81349" y="110725"/>
                  </a:lnTo>
                  <a:cubicBezTo>
                    <a:pt x="81349" y="116939"/>
                    <a:pt x="76265" y="122023"/>
                    <a:pt x="70050" y="122023"/>
                  </a:cubicBezTo>
                  <a:cubicBezTo>
                    <a:pt x="63836" y="122023"/>
                    <a:pt x="58752" y="116939"/>
                    <a:pt x="58752" y="110725"/>
                  </a:cubicBezTo>
                  <a:lnTo>
                    <a:pt x="58752" y="42934"/>
                  </a:lnTo>
                  <a:lnTo>
                    <a:pt x="290370" y="42934"/>
                  </a:lnTo>
                  <a:lnTo>
                    <a:pt x="290370" y="445159"/>
                  </a:lnTo>
                  <a:lnTo>
                    <a:pt x="16948" y="445159"/>
                  </a:lnTo>
                  <a:lnTo>
                    <a:pt x="16948" y="42934"/>
                  </a:lnTo>
                  <a:close/>
                  <a:moveTo>
                    <a:pt x="55927" y="462672"/>
                  </a:moveTo>
                  <a:lnTo>
                    <a:pt x="298844" y="462672"/>
                  </a:lnTo>
                  <a:cubicBezTo>
                    <a:pt x="303364" y="462672"/>
                    <a:pt x="307318" y="458717"/>
                    <a:pt x="307318" y="454198"/>
                  </a:cubicBezTo>
                  <a:lnTo>
                    <a:pt x="307318" y="82479"/>
                  </a:lnTo>
                  <a:lnTo>
                    <a:pt x="329350" y="82479"/>
                  </a:lnTo>
                  <a:lnTo>
                    <a:pt x="329350" y="484704"/>
                  </a:lnTo>
                  <a:lnTo>
                    <a:pt x="55927" y="484704"/>
                  </a:lnTo>
                  <a:lnTo>
                    <a:pt x="55927" y="462672"/>
                  </a:lnTo>
                  <a:close/>
                  <a:moveTo>
                    <a:pt x="368330" y="523684"/>
                  </a:moveTo>
                  <a:lnTo>
                    <a:pt x="94907" y="523684"/>
                  </a:lnTo>
                  <a:lnTo>
                    <a:pt x="94907" y="501652"/>
                  </a:lnTo>
                  <a:lnTo>
                    <a:pt x="337824" y="501652"/>
                  </a:lnTo>
                  <a:cubicBezTo>
                    <a:pt x="342343" y="501652"/>
                    <a:pt x="346298" y="497697"/>
                    <a:pt x="346298" y="493178"/>
                  </a:cubicBezTo>
                  <a:lnTo>
                    <a:pt x="346298" y="121458"/>
                  </a:lnTo>
                  <a:lnTo>
                    <a:pt x="368330" y="121458"/>
                  </a:lnTo>
                  <a:lnTo>
                    <a:pt x="368330" y="523684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Полилиния: фигура 60">
              <a:extLst>
                <a:ext uri="{FF2B5EF4-FFF2-40B4-BE49-F238E27FC236}">
                  <a16:creationId xmlns:a16="http://schemas.microsoft.com/office/drawing/2014/main" id="{6C2A42A3-96E8-497A-BCE2-62ECB425FF50}"/>
                </a:ext>
              </a:extLst>
            </p:cNvPr>
            <p:cNvSpPr/>
            <p:nvPr/>
          </p:nvSpPr>
          <p:spPr>
            <a:xfrm>
              <a:off x="782231" y="4660935"/>
              <a:ext cx="136146" cy="16947"/>
            </a:xfrm>
            <a:custGeom>
              <a:avLst/>
              <a:gdLst>
                <a:gd name="connsiteX0" fmla="*/ 8474 w 136146"/>
                <a:gd name="connsiteY0" fmla="*/ 16948 h 16947"/>
                <a:gd name="connsiteX1" fmla="*/ 127673 w 136146"/>
                <a:gd name="connsiteY1" fmla="*/ 16948 h 16947"/>
                <a:gd name="connsiteX2" fmla="*/ 136146 w 136146"/>
                <a:gd name="connsiteY2" fmla="*/ 8474 h 16947"/>
                <a:gd name="connsiteX3" fmla="*/ 127673 w 136146"/>
                <a:gd name="connsiteY3" fmla="*/ 0 h 16947"/>
                <a:gd name="connsiteX4" fmla="*/ 8474 w 136146"/>
                <a:gd name="connsiteY4" fmla="*/ 0 h 16947"/>
                <a:gd name="connsiteX5" fmla="*/ 0 w 136146"/>
                <a:gd name="connsiteY5" fmla="*/ 8474 h 16947"/>
                <a:gd name="connsiteX6" fmla="*/ 8474 w 136146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146" h="16947">
                  <a:moveTo>
                    <a:pt x="8474" y="16948"/>
                  </a:moveTo>
                  <a:lnTo>
                    <a:pt x="127673" y="16948"/>
                  </a:lnTo>
                  <a:cubicBezTo>
                    <a:pt x="132192" y="16948"/>
                    <a:pt x="136146" y="12993"/>
                    <a:pt x="136146" y="8474"/>
                  </a:cubicBezTo>
                  <a:cubicBezTo>
                    <a:pt x="136146" y="3954"/>
                    <a:pt x="132192" y="0"/>
                    <a:pt x="127673" y="0"/>
                  </a:cubicBezTo>
                  <a:lnTo>
                    <a:pt x="8474" y="0"/>
                  </a:lnTo>
                  <a:cubicBezTo>
                    <a:pt x="3954" y="0"/>
                    <a:pt x="0" y="3954"/>
                    <a:pt x="0" y="8474"/>
                  </a:cubicBezTo>
                  <a:cubicBezTo>
                    <a:pt x="0" y="12993"/>
                    <a:pt x="3954" y="16948"/>
                    <a:pt x="847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Полилиния: фигура 61">
              <a:extLst>
                <a:ext uri="{FF2B5EF4-FFF2-40B4-BE49-F238E27FC236}">
                  <a16:creationId xmlns:a16="http://schemas.microsoft.com/office/drawing/2014/main" id="{7D0EB6D2-BDB9-4E6C-8CB1-FBB3322AA02A}"/>
                </a:ext>
              </a:extLst>
            </p:cNvPr>
            <p:cNvSpPr/>
            <p:nvPr/>
          </p:nvSpPr>
          <p:spPr>
            <a:xfrm>
              <a:off x="782231" y="4705564"/>
              <a:ext cx="136146" cy="16947"/>
            </a:xfrm>
            <a:custGeom>
              <a:avLst/>
              <a:gdLst>
                <a:gd name="connsiteX0" fmla="*/ 8474 w 136146"/>
                <a:gd name="connsiteY0" fmla="*/ 16948 h 16947"/>
                <a:gd name="connsiteX1" fmla="*/ 127673 w 136146"/>
                <a:gd name="connsiteY1" fmla="*/ 16948 h 16947"/>
                <a:gd name="connsiteX2" fmla="*/ 136146 w 136146"/>
                <a:gd name="connsiteY2" fmla="*/ 8474 h 16947"/>
                <a:gd name="connsiteX3" fmla="*/ 127673 w 136146"/>
                <a:gd name="connsiteY3" fmla="*/ 0 h 16947"/>
                <a:gd name="connsiteX4" fmla="*/ 8474 w 136146"/>
                <a:gd name="connsiteY4" fmla="*/ 0 h 16947"/>
                <a:gd name="connsiteX5" fmla="*/ 0 w 136146"/>
                <a:gd name="connsiteY5" fmla="*/ 8474 h 16947"/>
                <a:gd name="connsiteX6" fmla="*/ 8474 w 136146"/>
                <a:gd name="connsiteY6" fmla="*/ 16948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146" h="16947">
                  <a:moveTo>
                    <a:pt x="8474" y="16948"/>
                  </a:moveTo>
                  <a:lnTo>
                    <a:pt x="127673" y="16948"/>
                  </a:lnTo>
                  <a:cubicBezTo>
                    <a:pt x="132192" y="16948"/>
                    <a:pt x="136146" y="12993"/>
                    <a:pt x="136146" y="8474"/>
                  </a:cubicBezTo>
                  <a:cubicBezTo>
                    <a:pt x="136146" y="3954"/>
                    <a:pt x="132192" y="0"/>
                    <a:pt x="127673" y="0"/>
                  </a:cubicBezTo>
                  <a:lnTo>
                    <a:pt x="8474" y="0"/>
                  </a:lnTo>
                  <a:cubicBezTo>
                    <a:pt x="3954" y="0"/>
                    <a:pt x="0" y="3954"/>
                    <a:pt x="0" y="8474"/>
                  </a:cubicBezTo>
                  <a:cubicBezTo>
                    <a:pt x="0" y="12993"/>
                    <a:pt x="3954" y="16948"/>
                    <a:pt x="8474" y="169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Полилиния: фигура 62">
              <a:extLst>
                <a:ext uri="{FF2B5EF4-FFF2-40B4-BE49-F238E27FC236}">
                  <a16:creationId xmlns:a16="http://schemas.microsoft.com/office/drawing/2014/main" id="{537089AA-3C77-425A-A164-147DACEFC335}"/>
                </a:ext>
              </a:extLst>
            </p:cNvPr>
            <p:cNvSpPr/>
            <p:nvPr/>
          </p:nvSpPr>
          <p:spPr>
            <a:xfrm>
              <a:off x="812737" y="4750193"/>
              <a:ext cx="75134" cy="16947"/>
            </a:xfrm>
            <a:custGeom>
              <a:avLst/>
              <a:gdLst>
                <a:gd name="connsiteX0" fmla="*/ 66661 w 75134"/>
                <a:gd name="connsiteY0" fmla="*/ 0 h 16947"/>
                <a:gd name="connsiteX1" fmla="*/ 8474 w 75134"/>
                <a:gd name="connsiteY1" fmla="*/ 0 h 16947"/>
                <a:gd name="connsiteX2" fmla="*/ 0 w 75134"/>
                <a:gd name="connsiteY2" fmla="*/ 8474 h 16947"/>
                <a:gd name="connsiteX3" fmla="*/ 8474 w 75134"/>
                <a:gd name="connsiteY3" fmla="*/ 16948 h 16947"/>
                <a:gd name="connsiteX4" fmla="*/ 66661 w 75134"/>
                <a:gd name="connsiteY4" fmla="*/ 16948 h 16947"/>
                <a:gd name="connsiteX5" fmla="*/ 75135 w 75134"/>
                <a:gd name="connsiteY5" fmla="*/ 8474 h 16947"/>
                <a:gd name="connsiteX6" fmla="*/ 66661 w 75134"/>
                <a:gd name="connsiteY6" fmla="*/ 0 h 1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134" h="16947">
                  <a:moveTo>
                    <a:pt x="66661" y="0"/>
                  </a:moveTo>
                  <a:lnTo>
                    <a:pt x="8474" y="0"/>
                  </a:lnTo>
                  <a:cubicBezTo>
                    <a:pt x="3954" y="0"/>
                    <a:pt x="0" y="3954"/>
                    <a:pt x="0" y="8474"/>
                  </a:cubicBezTo>
                  <a:cubicBezTo>
                    <a:pt x="0" y="12993"/>
                    <a:pt x="3954" y="16948"/>
                    <a:pt x="8474" y="16948"/>
                  </a:cubicBezTo>
                  <a:lnTo>
                    <a:pt x="66661" y="16948"/>
                  </a:lnTo>
                  <a:cubicBezTo>
                    <a:pt x="71180" y="16948"/>
                    <a:pt x="75135" y="12993"/>
                    <a:pt x="75135" y="8474"/>
                  </a:cubicBezTo>
                  <a:cubicBezTo>
                    <a:pt x="75135" y="3954"/>
                    <a:pt x="71180" y="0"/>
                    <a:pt x="66661" y="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4" name="Группа 133"/>
          <p:cNvGrpSpPr/>
          <p:nvPr/>
        </p:nvGrpSpPr>
        <p:grpSpPr>
          <a:xfrm rot="5400000">
            <a:off x="7487606" y="2815118"/>
            <a:ext cx="327483" cy="489098"/>
            <a:chOff x="1988287" y="4667693"/>
            <a:chExt cx="1541722" cy="1222744"/>
          </a:xfrm>
        </p:grpSpPr>
        <p:sp>
          <p:nvSpPr>
            <p:cNvPr id="135" name="Шеврон 134"/>
            <p:cNvSpPr/>
            <p:nvPr/>
          </p:nvSpPr>
          <p:spPr>
            <a:xfrm>
              <a:off x="2307265" y="4667693"/>
              <a:ext cx="1222744" cy="1222744"/>
            </a:xfrm>
            <a:prstGeom prst="chevron">
              <a:avLst>
                <a:gd name="adj" fmla="val 5260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36" name="Шеврон 135"/>
            <p:cNvSpPr/>
            <p:nvPr/>
          </p:nvSpPr>
          <p:spPr>
            <a:xfrm>
              <a:off x="1988287" y="4853762"/>
              <a:ext cx="850605" cy="850605"/>
            </a:xfrm>
            <a:prstGeom prst="chevron">
              <a:avLst>
                <a:gd name="adj" fmla="val 52609"/>
              </a:avLst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137" name="Группа 136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350264" y="3890891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138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9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350264" y="5148601"/>
            <a:ext cx="291611" cy="207681"/>
            <a:chOff x="571500" y="1701800"/>
            <a:chExt cx="863620" cy="524064"/>
          </a:xfrm>
          <a:solidFill>
            <a:srgbClr val="FFC000"/>
          </a:solidFill>
        </p:grpSpPr>
        <p:sp>
          <p:nvSpPr>
            <p:cNvPr id="141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2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43" name="Группа 142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350264" y="5929690"/>
            <a:ext cx="291611" cy="207681"/>
            <a:chOff x="571500" y="1701800"/>
            <a:chExt cx="863620" cy="524064"/>
          </a:xfrm>
          <a:solidFill>
            <a:srgbClr val="FFC000"/>
          </a:solidFill>
        </p:grpSpPr>
        <p:sp>
          <p:nvSpPr>
            <p:cNvPr id="144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5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46" name="Группа 145"/>
          <p:cNvGrpSpPr/>
          <p:nvPr/>
        </p:nvGrpSpPr>
        <p:grpSpPr>
          <a:xfrm>
            <a:off x="1007592" y="735232"/>
            <a:ext cx="471669" cy="444375"/>
            <a:chOff x="7753805" y="3477206"/>
            <a:chExt cx="471669" cy="444375"/>
          </a:xfrm>
        </p:grpSpPr>
        <p:sp>
          <p:nvSpPr>
            <p:cNvPr id="147" name="Полилиния: фигура 188">
              <a:extLst>
                <a:ext uri="{FF2B5EF4-FFF2-40B4-BE49-F238E27FC236}">
                  <a16:creationId xmlns:a16="http://schemas.microsoft.com/office/drawing/2014/main" id="{35976290-92C6-4EF6-A2EC-29413AE15550}"/>
                </a:ext>
              </a:extLst>
            </p:cNvPr>
            <p:cNvSpPr/>
            <p:nvPr/>
          </p:nvSpPr>
          <p:spPr>
            <a:xfrm>
              <a:off x="7753805" y="3701191"/>
              <a:ext cx="471669" cy="220390"/>
            </a:xfrm>
            <a:custGeom>
              <a:avLst/>
              <a:gdLst>
                <a:gd name="connsiteX0" fmla="*/ 463237 w 471669"/>
                <a:gd name="connsiteY0" fmla="*/ 11369 h 220390"/>
                <a:gd name="connsiteX1" fmla="*/ 440640 w 471669"/>
                <a:gd name="connsiteY1" fmla="*/ 71 h 220390"/>
                <a:gd name="connsiteX2" fmla="*/ 416913 w 471669"/>
                <a:gd name="connsiteY2" fmla="*/ 8544 h 220390"/>
                <a:gd name="connsiteX3" fmla="*/ 338389 w 471669"/>
                <a:gd name="connsiteY3" fmla="*/ 78595 h 220390"/>
                <a:gd name="connsiteX4" fmla="*/ 337259 w 471669"/>
                <a:gd name="connsiteY4" fmla="*/ 74076 h 220390"/>
                <a:gd name="connsiteX5" fmla="*/ 318617 w 471669"/>
                <a:gd name="connsiteY5" fmla="*/ 51479 h 220390"/>
                <a:gd name="connsiteX6" fmla="*/ 264384 w 471669"/>
                <a:gd name="connsiteY6" fmla="*/ 50914 h 220390"/>
                <a:gd name="connsiteX7" fmla="*/ 229924 w 471669"/>
                <a:gd name="connsiteY7" fmla="*/ 53173 h 220390"/>
                <a:gd name="connsiteX8" fmla="*/ 215236 w 471669"/>
                <a:gd name="connsiteY8" fmla="*/ 47524 h 220390"/>
                <a:gd name="connsiteX9" fmla="*/ 142361 w 471669"/>
                <a:gd name="connsiteY9" fmla="*/ 40180 h 220390"/>
                <a:gd name="connsiteX10" fmla="*/ 90388 w 471669"/>
                <a:gd name="connsiteY10" fmla="*/ 68991 h 220390"/>
                <a:gd name="connsiteX11" fmla="*/ 90388 w 471669"/>
                <a:gd name="connsiteY11" fmla="*/ 48089 h 220390"/>
                <a:gd name="connsiteX12" fmla="*/ 81914 w 471669"/>
                <a:gd name="connsiteY12" fmla="*/ 39615 h 220390"/>
                <a:gd name="connsiteX13" fmla="*/ 8474 w 471669"/>
                <a:gd name="connsiteY13" fmla="*/ 39615 h 220390"/>
                <a:gd name="connsiteX14" fmla="*/ 0 w 471669"/>
                <a:gd name="connsiteY14" fmla="*/ 48089 h 220390"/>
                <a:gd name="connsiteX15" fmla="*/ 0 w 471669"/>
                <a:gd name="connsiteY15" fmla="*/ 211917 h 220390"/>
                <a:gd name="connsiteX16" fmla="*/ 8474 w 471669"/>
                <a:gd name="connsiteY16" fmla="*/ 220391 h 220390"/>
                <a:gd name="connsiteX17" fmla="*/ 81914 w 471669"/>
                <a:gd name="connsiteY17" fmla="*/ 220391 h 220390"/>
                <a:gd name="connsiteX18" fmla="*/ 90388 w 471669"/>
                <a:gd name="connsiteY18" fmla="*/ 211917 h 220390"/>
                <a:gd name="connsiteX19" fmla="*/ 90388 w 471669"/>
                <a:gd name="connsiteY19" fmla="*/ 200053 h 220390"/>
                <a:gd name="connsiteX20" fmla="*/ 190944 w 471669"/>
                <a:gd name="connsiteY20" fmla="*/ 214741 h 220390"/>
                <a:gd name="connsiteX21" fmla="*/ 308448 w 471669"/>
                <a:gd name="connsiteY21" fmla="*/ 192709 h 220390"/>
                <a:gd name="connsiteX22" fmla="*/ 460977 w 471669"/>
                <a:gd name="connsiteY22" fmla="*/ 57693 h 220390"/>
                <a:gd name="connsiteX23" fmla="*/ 463237 w 471669"/>
                <a:gd name="connsiteY23" fmla="*/ 11369 h 220390"/>
                <a:gd name="connsiteX24" fmla="*/ 73440 w 471669"/>
                <a:gd name="connsiteY24" fmla="*/ 203443 h 220390"/>
                <a:gd name="connsiteX25" fmla="*/ 16948 w 471669"/>
                <a:gd name="connsiteY25" fmla="*/ 203443 h 220390"/>
                <a:gd name="connsiteX26" fmla="*/ 16948 w 471669"/>
                <a:gd name="connsiteY26" fmla="*/ 56563 h 220390"/>
                <a:gd name="connsiteX27" fmla="*/ 73440 w 471669"/>
                <a:gd name="connsiteY27" fmla="*/ 56563 h 220390"/>
                <a:gd name="connsiteX28" fmla="*/ 73440 w 471669"/>
                <a:gd name="connsiteY28" fmla="*/ 203443 h 220390"/>
                <a:gd name="connsiteX29" fmla="*/ 449114 w 471669"/>
                <a:gd name="connsiteY29" fmla="*/ 45829 h 220390"/>
                <a:gd name="connsiteX30" fmla="*/ 448549 w 471669"/>
                <a:gd name="connsiteY30" fmla="*/ 46394 h 220390"/>
                <a:gd name="connsiteX31" fmla="*/ 301669 w 471669"/>
                <a:gd name="connsiteY31" fmla="*/ 176892 h 220390"/>
                <a:gd name="connsiteX32" fmla="*/ 190944 w 471669"/>
                <a:gd name="connsiteY32" fmla="*/ 197794 h 220390"/>
                <a:gd name="connsiteX33" fmla="*/ 92647 w 471669"/>
                <a:gd name="connsiteY33" fmla="*/ 183106 h 220390"/>
                <a:gd name="connsiteX34" fmla="*/ 90388 w 471669"/>
                <a:gd name="connsiteY34" fmla="*/ 183106 h 220390"/>
                <a:gd name="connsiteX35" fmla="*/ 90388 w 471669"/>
                <a:gd name="connsiteY35" fmla="*/ 92718 h 220390"/>
                <a:gd name="connsiteX36" fmla="*/ 146315 w 471669"/>
                <a:gd name="connsiteY36" fmla="*/ 56563 h 220390"/>
                <a:gd name="connsiteX37" fmla="*/ 208457 w 471669"/>
                <a:gd name="connsiteY37" fmla="*/ 62777 h 220390"/>
                <a:gd name="connsiteX38" fmla="*/ 227099 w 471669"/>
                <a:gd name="connsiteY38" fmla="*/ 69556 h 220390"/>
                <a:gd name="connsiteX39" fmla="*/ 267209 w 471669"/>
                <a:gd name="connsiteY39" fmla="*/ 67296 h 220390"/>
                <a:gd name="connsiteX40" fmla="*/ 312402 w 471669"/>
                <a:gd name="connsiteY40" fmla="*/ 66732 h 220390"/>
                <a:gd name="connsiteX41" fmla="*/ 321441 w 471669"/>
                <a:gd name="connsiteY41" fmla="*/ 78595 h 220390"/>
                <a:gd name="connsiteX42" fmla="*/ 316922 w 471669"/>
                <a:gd name="connsiteY42" fmla="*/ 97802 h 220390"/>
                <a:gd name="connsiteX43" fmla="*/ 193769 w 471669"/>
                <a:gd name="connsiteY43" fmla="*/ 138477 h 220390"/>
                <a:gd name="connsiteX44" fmla="*/ 184730 w 471669"/>
                <a:gd name="connsiteY44" fmla="*/ 146386 h 220390"/>
                <a:gd name="connsiteX45" fmla="*/ 192639 w 471669"/>
                <a:gd name="connsiteY45" fmla="*/ 155424 h 220390"/>
                <a:gd name="connsiteX46" fmla="*/ 192639 w 471669"/>
                <a:gd name="connsiteY46" fmla="*/ 155424 h 220390"/>
                <a:gd name="connsiteX47" fmla="*/ 198288 w 471669"/>
                <a:gd name="connsiteY47" fmla="*/ 155424 h 220390"/>
                <a:gd name="connsiteX48" fmla="*/ 324831 w 471669"/>
                <a:gd name="connsiteY48" fmla="*/ 114185 h 220390"/>
                <a:gd name="connsiteX49" fmla="*/ 325396 w 471669"/>
                <a:gd name="connsiteY49" fmla="*/ 113620 h 220390"/>
                <a:gd name="connsiteX50" fmla="*/ 428212 w 471669"/>
                <a:gd name="connsiteY50" fmla="*/ 20973 h 220390"/>
                <a:gd name="connsiteX51" fmla="*/ 439510 w 471669"/>
                <a:gd name="connsiteY51" fmla="*/ 17018 h 220390"/>
                <a:gd name="connsiteX52" fmla="*/ 450809 w 471669"/>
                <a:gd name="connsiteY52" fmla="*/ 22668 h 220390"/>
                <a:gd name="connsiteX53" fmla="*/ 449114 w 471669"/>
                <a:gd name="connsiteY53" fmla="*/ 45829 h 22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71669" h="220390">
                  <a:moveTo>
                    <a:pt x="463237" y="11369"/>
                  </a:moveTo>
                  <a:cubicBezTo>
                    <a:pt x="457588" y="4590"/>
                    <a:pt x="449114" y="636"/>
                    <a:pt x="440640" y="71"/>
                  </a:cubicBezTo>
                  <a:cubicBezTo>
                    <a:pt x="432166" y="-494"/>
                    <a:pt x="423127" y="2330"/>
                    <a:pt x="416913" y="8544"/>
                  </a:cubicBezTo>
                  <a:lnTo>
                    <a:pt x="338389" y="78595"/>
                  </a:lnTo>
                  <a:cubicBezTo>
                    <a:pt x="338389" y="76900"/>
                    <a:pt x="337824" y="75205"/>
                    <a:pt x="337259" y="74076"/>
                  </a:cubicBezTo>
                  <a:cubicBezTo>
                    <a:pt x="334434" y="63907"/>
                    <a:pt x="327655" y="55998"/>
                    <a:pt x="318617" y="51479"/>
                  </a:cubicBezTo>
                  <a:cubicBezTo>
                    <a:pt x="303929" y="45264"/>
                    <a:pt x="284156" y="48089"/>
                    <a:pt x="264384" y="50914"/>
                  </a:cubicBezTo>
                  <a:cubicBezTo>
                    <a:pt x="253086" y="53173"/>
                    <a:pt x="241222" y="53738"/>
                    <a:pt x="229924" y="53173"/>
                  </a:cubicBezTo>
                  <a:cubicBezTo>
                    <a:pt x="224839" y="52044"/>
                    <a:pt x="219755" y="49784"/>
                    <a:pt x="215236" y="47524"/>
                  </a:cubicBezTo>
                  <a:cubicBezTo>
                    <a:pt x="200548" y="40745"/>
                    <a:pt x="180210" y="31706"/>
                    <a:pt x="142361" y="40180"/>
                  </a:cubicBezTo>
                  <a:cubicBezTo>
                    <a:pt x="123153" y="45264"/>
                    <a:pt x="105076" y="54868"/>
                    <a:pt x="90388" y="68991"/>
                  </a:cubicBezTo>
                  <a:lnTo>
                    <a:pt x="90388" y="48089"/>
                  </a:lnTo>
                  <a:cubicBezTo>
                    <a:pt x="90388" y="43570"/>
                    <a:pt x="86433" y="39615"/>
                    <a:pt x="81914" y="39615"/>
                  </a:cubicBezTo>
                  <a:lnTo>
                    <a:pt x="8474" y="39615"/>
                  </a:lnTo>
                  <a:cubicBezTo>
                    <a:pt x="3954" y="39615"/>
                    <a:pt x="0" y="43570"/>
                    <a:pt x="0" y="48089"/>
                  </a:cubicBezTo>
                  <a:lnTo>
                    <a:pt x="0" y="211917"/>
                  </a:lnTo>
                  <a:cubicBezTo>
                    <a:pt x="0" y="216436"/>
                    <a:pt x="3954" y="220391"/>
                    <a:pt x="8474" y="220391"/>
                  </a:cubicBezTo>
                  <a:lnTo>
                    <a:pt x="81914" y="220391"/>
                  </a:lnTo>
                  <a:cubicBezTo>
                    <a:pt x="86433" y="220391"/>
                    <a:pt x="90388" y="216436"/>
                    <a:pt x="90388" y="211917"/>
                  </a:cubicBezTo>
                  <a:lnTo>
                    <a:pt x="90388" y="200053"/>
                  </a:lnTo>
                  <a:cubicBezTo>
                    <a:pt x="101686" y="202878"/>
                    <a:pt x="153094" y="214741"/>
                    <a:pt x="190944" y="214741"/>
                  </a:cubicBezTo>
                  <a:cubicBezTo>
                    <a:pt x="230489" y="214741"/>
                    <a:pt x="279072" y="205703"/>
                    <a:pt x="308448" y="192709"/>
                  </a:cubicBezTo>
                  <a:cubicBezTo>
                    <a:pt x="363246" y="168983"/>
                    <a:pt x="453633" y="66167"/>
                    <a:pt x="460977" y="57693"/>
                  </a:cubicBezTo>
                  <a:cubicBezTo>
                    <a:pt x="474535" y="45829"/>
                    <a:pt x="475100" y="24927"/>
                    <a:pt x="463237" y="11369"/>
                  </a:cubicBezTo>
                  <a:close/>
                  <a:moveTo>
                    <a:pt x="73440" y="203443"/>
                  </a:moveTo>
                  <a:lnTo>
                    <a:pt x="16948" y="203443"/>
                  </a:lnTo>
                  <a:lnTo>
                    <a:pt x="16948" y="56563"/>
                  </a:lnTo>
                  <a:lnTo>
                    <a:pt x="73440" y="56563"/>
                  </a:lnTo>
                  <a:lnTo>
                    <a:pt x="73440" y="203443"/>
                  </a:lnTo>
                  <a:close/>
                  <a:moveTo>
                    <a:pt x="449114" y="45829"/>
                  </a:moveTo>
                  <a:lnTo>
                    <a:pt x="448549" y="46394"/>
                  </a:lnTo>
                  <a:cubicBezTo>
                    <a:pt x="447419" y="47524"/>
                    <a:pt x="354207" y="154295"/>
                    <a:pt x="301669" y="176892"/>
                  </a:cubicBezTo>
                  <a:cubicBezTo>
                    <a:pt x="273988" y="189320"/>
                    <a:pt x="228229" y="197794"/>
                    <a:pt x="190944" y="197794"/>
                  </a:cubicBezTo>
                  <a:cubicBezTo>
                    <a:pt x="151399" y="197794"/>
                    <a:pt x="93212" y="183106"/>
                    <a:pt x="92647" y="183106"/>
                  </a:cubicBezTo>
                  <a:cubicBezTo>
                    <a:pt x="92082" y="183106"/>
                    <a:pt x="91518" y="183106"/>
                    <a:pt x="90388" y="183106"/>
                  </a:cubicBezTo>
                  <a:lnTo>
                    <a:pt x="90388" y="92718"/>
                  </a:lnTo>
                  <a:cubicBezTo>
                    <a:pt x="96602" y="85939"/>
                    <a:pt x="118069" y="62777"/>
                    <a:pt x="146315" y="56563"/>
                  </a:cubicBezTo>
                  <a:cubicBezTo>
                    <a:pt x="178516" y="49784"/>
                    <a:pt x="194334" y="56563"/>
                    <a:pt x="208457" y="62777"/>
                  </a:cubicBezTo>
                  <a:cubicBezTo>
                    <a:pt x="214671" y="65602"/>
                    <a:pt x="220885" y="67861"/>
                    <a:pt x="227099" y="69556"/>
                  </a:cubicBezTo>
                  <a:cubicBezTo>
                    <a:pt x="240657" y="70686"/>
                    <a:pt x="253650" y="70121"/>
                    <a:pt x="267209" y="67296"/>
                  </a:cubicBezTo>
                  <a:cubicBezTo>
                    <a:pt x="283591" y="65037"/>
                    <a:pt x="302234" y="62212"/>
                    <a:pt x="312402" y="66732"/>
                  </a:cubicBezTo>
                  <a:cubicBezTo>
                    <a:pt x="316922" y="68991"/>
                    <a:pt x="319746" y="73511"/>
                    <a:pt x="321441" y="78595"/>
                  </a:cubicBezTo>
                  <a:cubicBezTo>
                    <a:pt x="323136" y="85374"/>
                    <a:pt x="321441" y="92718"/>
                    <a:pt x="316922" y="97802"/>
                  </a:cubicBezTo>
                  <a:cubicBezTo>
                    <a:pt x="303929" y="115315"/>
                    <a:pt x="225404" y="140736"/>
                    <a:pt x="193769" y="138477"/>
                  </a:cubicBezTo>
                  <a:cubicBezTo>
                    <a:pt x="189249" y="137912"/>
                    <a:pt x="184730" y="141866"/>
                    <a:pt x="184730" y="146386"/>
                  </a:cubicBezTo>
                  <a:cubicBezTo>
                    <a:pt x="184165" y="150905"/>
                    <a:pt x="188119" y="155424"/>
                    <a:pt x="192639" y="155424"/>
                  </a:cubicBezTo>
                  <a:lnTo>
                    <a:pt x="192639" y="155424"/>
                  </a:lnTo>
                  <a:cubicBezTo>
                    <a:pt x="194334" y="155424"/>
                    <a:pt x="196593" y="155424"/>
                    <a:pt x="198288" y="155424"/>
                  </a:cubicBezTo>
                  <a:cubicBezTo>
                    <a:pt x="233313" y="155424"/>
                    <a:pt x="300539" y="134522"/>
                    <a:pt x="324831" y="114185"/>
                  </a:cubicBezTo>
                  <a:lnTo>
                    <a:pt x="325396" y="113620"/>
                  </a:lnTo>
                  <a:lnTo>
                    <a:pt x="428212" y="20973"/>
                  </a:lnTo>
                  <a:cubicBezTo>
                    <a:pt x="431036" y="18148"/>
                    <a:pt x="435556" y="17018"/>
                    <a:pt x="439510" y="17018"/>
                  </a:cubicBezTo>
                  <a:cubicBezTo>
                    <a:pt x="444029" y="17018"/>
                    <a:pt x="447984" y="19278"/>
                    <a:pt x="450809" y="22668"/>
                  </a:cubicBezTo>
                  <a:cubicBezTo>
                    <a:pt x="456458" y="29447"/>
                    <a:pt x="455893" y="39615"/>
                    <a:pt x="449114" y="45829"/>
                  </a:cubicBezTo>
                  <a:close/>
                </a:path>
              </a:pathLst>
            </a:custGeom>
            <a:solidFill>
              <a:schemeClr val="tx1"/>
            </a:solidFill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grpSp>
          <p:nvGrpSpPr>
            <p:cNvPr id="148" name="Группа 147">
              <a:extLst>
                <a:ext uri="{FF2B5EF4-FFF2-40B4-BE49-F238E27FC236}">
                  <a16:creationId xmlns:a16="http://schemas.microsoft.com/office/drawing/2014/main" id="{A287763A-0DE0-4594-B857-6AA128FFBC01}"/>
                </a:ext>
              </a:extLst>
            </p:cNvPr>
            <p:cNvGrpSpPr/>
            <p:nvPr/>
          </p:nvGrpSpPr>
          <p:grpSpPr>
            <a:xfrm>
              <a:off x="7855420" y="3477206"/>
              <a:ext cx="291611" cy="207681"/>
              <a:chOff x="571500" y="1701800"/>
              <a:chExt cx="863620" cy="524064"/>
            </a:xfrm>
            <a:solidFill>
              <a:schemeClr val="accent2"/>
            </a:solidFill>
          </p:grpSpPr>
          <p:sp>
            <p:nvSpPr>
              <p:cNvPr id="149" name="Полилиния: фигура 74">
                <a:extLst>
                  <a:ext uri="{FF2B5EF4-FFF2-40B4-BE49-F238E27FC236}">
                    <a16:creationId xmlns:a16="http://schemas.microsoft.com/office/drawing/2014/main" id="{58D049C3-956D-4BD1-ABD3-40BA5A79EBED}"/>
                  </a:ext>
                </a:extLst>
              </p:cNvPr>
              <p:cNvSpPr/>
              <p:nvPr/>
            </p:nvSpPr>
            <p:spPr>
              <a:xfrm rot="5400000">
                <a:off x="910601" y="1701345"/>
                <a:ext cx="524063" cy="524974"/>
              </a:xfrm>
              <a:custGeom>
                <a:avLst/>
                <a:gdLst>
                  <a:gd name="connsiteX0" fmla="*/ -310 w 489857"/>
                  <a:gd name="connsiteY0" fmla="*/ -240 h 489857"/>
                  <a:gd name="connsiteX1" fmla="*/ 489547 w 489857"/>
                  <a:gd name="connsiteY1" fmla="*/ 489617 h 489857"/>
                  <a:gd name="connsiteX2" fmla="*/ -310 w 489857"/>
                  <a:gd name="connsiteY2" fmla="*/ -240 h 489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9857" h="489857">
                    <a:moveTo>
                      <a:pt x="-310" y="-240"/>
                    </a:moveTo>
                    <a:cubicBezTo>
                      <a:pt x="-310" y="270298"/>
                      <a:pt x="219048" y="489617"/>
                      <a:pt x="489547" y="489617"/>
                    </a:cubicBezTo>
                    <a:cubicBezTo>
                      <a:pt x="489547" y="219079"/>
                      <a:pt x="270189" y="-240"/>
                      <a:pt x="-310" y="-240"/>
                    </a:cubicBezTo>
                    <a:close/>
                  </a:path>
                </a:pathLst>
              </a:custGeom>
              <a:grpFill/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50" name="Полилиния: фигура 75">
                <a:extLst>
                  <a:ext uri="{FF2B5EF4-FFF2-40B4-BE49-F238E27FC236}">
                    <a16:creationId xmlns:a16="http://schemas.microsoft.com/office/drawing/2014/main" id="{C7019FD3-105E-4C1C-A280-78E2D28FF13C}"/>
                  </a:ext>
                </a:extLst>
              </p:cNvPr>
              <p:cNvSpPr/>
              <p:nvPr/>
            </p:nvSpPr>
            <p:spPr>
              <a:xfrm>
                <a:off x="571500" y="1886630"/>
                <a:ext cx="338643" cy="339234"/>
              </a:xfrm>
              <a:custGeom>
                <a:avLst/>
                <a:gdLst>
                  <a:gd name="connsiteX0" fmla="*/ -310 w 489857"/>
                  <a:gd name="connsiteY0" fmla="*/ -240 h 489857"/>
                  <a:gd name="connsiteX1" fmla="*/ 489547 w 489857"/>
                  <a:gd name="connsiteY1" fmla="*/ 489617 h 489857"/>
                  <a:gd name="connsiteX2" fmla="*/ -310 w 489857"/>
                  <a:gd name="connsiteY2" fmla="*/ -240 h 489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9857" h="489857">
                    <a:moveTo>
                      <a:pt x="-310" y="-240"/>
                    </a:moveTo>
                    <a:cubicBezTo>
                      <a:pt x="-310" y="270298"/>
                      <a:pt x="219048" y="489617"/>
                      <a:pt x="489547" y="489617"/>
                    </a:cubicBezTo>
                    <a:cubicBezTo>
                      <a:pt x="489547" y="219079"/>
                      <a:pt x="270189" y="-240"/>
                      <a:pt x="-310" y="-240"/>
                    </a:cubicBezTo>
                    <a:close/>
                  </a:path>
                </a:pathLst>
              </a:custGeom>
              <a:grpFill/>
              <a:ln w="9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7386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95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71499" y="257185"/>
            <a:ext cx="9959341" cy="492443"/>
          </a:xfrm>
        </p:spPr>
        <p:txBody>
          <a:bodyPr/>
          <a:lstStyle/>
          <a:p>
            <a:r>
              <a:rPr lang="ru-RU" sz="1600" dirty="0">
                <a:solidFill>
                  <a:schemeClr val="dk1"/>
                </a:solidFill>
              </a:rPr>
              <a:t>Требования при </a:t>
            </a:r>
            <a:r>
              <a:rPr lang="ru-RU" sz="1600" dirty="0" smtClean="0">
                <a:solidFill>
                  <a:schemeClr val="dk1"/>
                </a:solidFill>
              </a:rPr>
              <a:t>приемке к </a:t>
            </a:r>
            <a:r>
              <a:rPr lang="ru-RU" sz="1600" dirty="0">
                <a:solidFill>
                  <a:schemeClr val="dk1"/>
                </a:solidFill>
              </a:rPr>
              <a:t>проверке температурных режимов транспортировки </a:t>
            </a:r>
            <a:r>
              <a:rPr lang="ru-RU" sz="1600" dirty="0" smtClean="0">
                <a:solidFill>
                  <a:schemeClr val="dk1"/>
                </a:solidFill>
              </a:rPr>
              <a:t>и </a:t>
            </a:r>
            <a:r>
              <a:rPr lang="ru-RU" sz="1600" dirty="0">
                <a:solidFill>
                  <a:schemeClr val="dk1"/>
                </a:solidFill>
              </a:rPr>
              <a:t>температуры </a:t>
            </a:r>
            <a:r>
              <a:rPr lang="ru-RU" sz="1600" dirty="0" smtClean="0">
                <a:solidFill>
                  <a:schemeClr val="dk1"/>
                </a:solidFill>
              </a:rPr>
              <a:t>продукции, </a:t>
            </a:r>
            <a:r>
              <a:rPr lang="ru-RU" sz="1600" dirty="0">
                <a:solidFill>
                  <a:schemeClr val="dk1"/>
                </a:solidFill>
              </a:rPr>
              <a:t>требующей особых условий хранения</a:t>
            </a:r>
            <a:endParaRPr lang="ru-RU" sz="16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178" y="1062037"/>
            <a:ext cx="11329909" cy="5493624"/>
          </a:xfrm>
          <a:prstGeom prst="rect">
            <a:avLst/>
          </a:prstGeom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91567" y="1672787"/>
            <a:ext cx="291611" cy="207681"/>
            <a:chOff x="571500" y="1701800"/>
            <a:chExt cx="863620" cy="524064"/>
          </a:xfrm>
          <a:solidFill>
            <a:srgbClr val="FFC000"/>
          </a:solidFill>
        </p:grpSpPr>
        <p:sp>
          <p:nvSpPr>
            <p:cNvPr id="9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477950" y="1564561"/>
            <a:ext cx="291611" cy="207681"/>
            <a:chOff x="571500" y="1701800"/>
            <a:chExt cx="863620" cy="524064"/>
          </a:xfrm>
          <a:solidFill>
            <a:srgbClr val="FFC000"/>
          </a:solidFill>
        </p:grpSpPr>
        <p:sp>
          <p:nvSpPr>
            <p:cNvPr id="13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0423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0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9D62F81-5F98-E3F2-9D3E-AE5AD4DD2C73}"/>
              </a:ext>
            </a:extLst>
          </p:cNvPr>
          <p:cNvGrpSpPr/>
          <p:nvPr/>
        </p:nvGrpSpPr>
        <p:grpSpPr>
          <a:xfrm>
            <a:off x="6258696" y="1017904"/>
            <a:ext cx="5589487" cy="1274273"/>
            <a:chOff x="567690" y="1198563"/>
            <a:chExt cx="3525286" cy="5083175"/>
          </a:xfrm>
          <a:noFill/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C1B82E9C-A9DC-AFC5-1D23-A3C4DF1DD58B}"/>
                </a:ext>
              </a:extLst>
            </p:cNvPr>
            <p:cNvSpPr/>
            <p:nvPr/>
          </p:nvSpPr>
          <p:spPr>
            <a:xfrm>
              <a:off x="571501" y="1198563"/>
              <a:ext cx="3521475" cy="5083175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6FBE245A-EB2C-7705-37BF-6E4E33810FE3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grpFill/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5E65BD3A-6B9D-471D-969C-2EE841FDA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257185"/>
            <a:ext cx="8477250" cy="369332"/>
          </a:xfrm>
        </p:spPr>
        <p:txBody>
          <a:bodyPr vert="horz"/>
          <a:lstStyle/>
          <a:p>
            <a:r>
              <a:rPr lang="ru-RU" dirty="0"/>
              <a:t>Контроль условий хранения </a:t>
            </a:r>
            <a:r>
              <a:rPr lang="ru-RU" dirty="0" smtClean="0"/>
              <a:t>товаров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64A11E24-5A9D-4898-A236-5D09A56B21BE}"/>
              </a:ext>
            </a:extLst>
          </p:cNvPr>
          <p:cNvSpPr/>
          <p:nvPr/>
        </p:nvSpPr>
        <p:spPr>
          <a:xfrm>
            <a:off x="11162509" y="781149"/>
            <a:ext cx="572588" cy="530866"/>
          </a:xfrm>
          <a:prstGeom prst="ellipse">
            <a:avLst/>
          </a:prstGeom>
          <a:solidFill>
            <a:schemeClr val="bg1">
              <a:alpha val="95000"/>
            </a:schemeClr>
          </a:solidFill>
          <a:ln w="1111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C3FDFA26-451D-B9B0-15E9-B84C253043FC}"/>
              </a:ext>
            </a:extLst>
          </p:cNvPr>
          <p:cNvGrpSpPr/>
          <p:nvPr/>
        </p:nvGrpSpPr>
        <p:grpSpPr>
          <a:xfrm>
            <a:off x="6258696" y="4745058"/>
            <a:ext cx="5587845" cy="1259694"/>
            <a:chOff x="567690" y="1198563"/>
            <a:chExt cx="3525285" cy="5083175"/>
          </a:xfrm>
          <a:noFill/>
        </p:grpSpPr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11DA1C48-AE2A-C905-87DC-B027708AE263}"/>
                </a:ext>
              </a:extLst>
            </p:cNvPr>
            <p:cNvSpPr/>
            <p:nvPr/>
          </p:nvSpPr>
          <p:spPr>
            <a:xfrm>
              <a:off x="571502" y="1198563"/>
              <a:ext cx="3521473" cy="5083175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400" dirty="0">
                <a:latin typeface="+mj-lt"/>
              </a:endParaRPr>
            </a:p>
          </p:txBody>
        </p: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A481296A-22D1-1158-F0DD-1CD0A27524B9}"/>
                </a:ext>
              </a:extLst>
            </p:cNvPr>
            <p:cNvCxnSpPr>
              <a:cxnSpLocks/>
            </p:cNvCxnSpPr>
            <p:nvPr/>
          </p:nvCxnSpPr>
          <p:spPr>
            <a:xfrm>
              <a:off x="567690" y="1198563"/>
              <a:ext cx="3524250" cy="0"/>
            </a:xfrm>
            <a:prstGeom prst="line">
              <a:avLst/>
            </a:prstGeom>
            <a:grpFill/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Овал 39">
            <a:extLst>
              <a:ext uri="{FF2B5EF4-FFF2-40B4-BE49-F238E27FC236}">
                <a16:creationId xmlns:a16="http://schemas.microsoft.com/office/drawing/2014/main" id="{4D2D3046-7083-4573-BFDB-50B91F0A8C86}"/>
              </a:ext>
            </a:extLst>
          </p:cNvPr>
          <p:cNvSpPr/>
          <p:nvPr/>
        </p:nvSpPr>
        <p:spPr>
          <a:xfrm>
            <a:off x="10861420" y="4356210"/>
            <a:ext cx="684905" cy="700651"/>
          </a:xfrm>
          <a:prstGeom prst="ellipse">
            <a:avLst/>
          </a:prstGeom>
          <a:solidFill>
            <a:schemeClr val="bg1">
              <a:alpha val="95000"/>
            </a:schemeClr>
          </a:solidFill>
          <a:ln w="1111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latin typeface="+mj-lt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96</a:t>
            </a:fld>
            <a:endParaRPr lang="en-US" dirty="0"/>
          </a:p>
        </p:txBody>
      </p:sp>
      <p:sp>
        <p:nvSpPr>
          <p:cNvPr id="30" name="Заголовок 12">
            <a:extLst>
              <a:ext uri="{FF2B5EF4-FFF2-40B4-BE49-F238E27FC236}">
                <a16:creationId xmlns:a16="http://schemas.microsoft.com/office/drawing/2014/main" id="{5E65BD3A-6B9D-471D-969C-2EE841FDA794}"/>
              </a:ext>
            </a:extLst>
          </p:cNvPr>
          <p:cNvSpPr txBox="1">
            <a:spLocks/>
          </p:cNvSpPr>
          <p:nvPr/>
        </p:nvSpPr>
        <p:spPr>
          <a:xfrm>
            <a:off x="571498" y="713916"/>
            <a:ext cx="5088127" cy="53553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b="0" dirty="0" smtClean="0"/>
              <a:t>Контроль условий хранения и реализации товаров в Компании «Лента» входит в программу предварительных мероприятий Системы менеджмента безопасности пищевой продукции</a:t>
            </a:r>
          </a:p>
          <a:p>
            <a:pPr algn="just"/>
            <a:endParaRPr lang="ru-RU" sz="1400" b="0" dirty="0" smtClean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b="0" dirty="0" smtClean="0"/>
              <a:t>Разработаны и внедрены Требования П7-12 </a:t>
            </a:r>
            <a:r>
              <a:rPr lang="ru-RU" sz="1400" b="0" dirty="0"/>
              <a:t>Контроль температуры и </a:t>
            </a:r>
            <a:r>
              <a:rPr lang="ru-RU" sz="1400" b="0" dirty="0" smtClean="0"/>
              <a:t>влажности</a:t>
            </a:r>
          </a:p>
          <a:p>
            <a:pPr algn="just"/>
            <a:endParaRPr lang="ru-RU" sz="1400" b="0" dirty="0" smtClean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b="0" dirty="0" smtClean="0"/>
              <a:t>Для </a:t>
            </a:r>
            <a:r>
              <a:rPr lang="ru-RU" sz="1400" b="0" dirty="0"/>
              <a:t>хранения </a:t>
            </a:r>
            <a:r>
              <a:rPr lang="ru-RU" sz="1400" b="0" dirty="0" smtClean="0"/>
              <a:t>продукции организованы </a:t>
            </a:r>
            <a:r>
              <a:rPr lang="ru-RU" sz="1400" b="0" dirty="0"/>
              <a:t>специально оборудованные помещения, которые обеспечивают защиту от пыли, конденсата, утечек, сбросов и других источников </a:t>
            </a:r>
            <a:r>
              <a:rPr lang="ru-RU" sz="1400" b="0" dirty="0" smtClean="0"/>
              <a:t>загрязнения</a:t>
            </a:r>
          </a:p>
          <a:p>
            <a:pPr algn="just"/>
            <a:endParaRPr lang="ru-RU" sz="1400" b="0" dirty="0" smtClean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b="0" dirty="0" smtClean="0"/>
              <a:t>Для </a:t>
            </a:r>
            <a:r>
              <a:rPr lang="ru-RU" sz="1400" b="0" dirty="0"/>
              <a:t>хранения скоропортящегося сырья и продукции предусмотрено хранение в холодильных камерах по видам </a:t>
            </a:r>
            <a:r>
              <a:rPr lang="ru-RU" sz="1400" b="0" dirty="0" smtClean="0"/>
              <a:t>продукции</a:t>
            </a:r>
          </a:p>
          <a:p>
            <a:pPr algn="just"/>
            <a:endParaRPr lang="ru-RU" sz="1400" b="0" dirty="0" smtClean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b="0" dirty="0" smtClean="0"/>
              <a:t>Все измерительное оборудование, по графику, проходит поверку в сроки, установленные законодательством</a:t>
            </a:r>
          </a:p>
          <a:p>
            <a:pPr algn="just"/>
            <a:endParaRPr lang="ru-RU" sz="1400" b="0" dirty="0" smtClean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b="0" dirty="0" smtClean="0"/>
              <a:t>В случае выявления несоответствий температурного режима, разработаны, внедрены и выполняются корректирующие действ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6456410" y="1386861"/>
            <a:ext cx="527868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Регистрационный лист температурных и влажностных режимов ПРП+1 </a:t>
            </a:r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План расположения </a:t>
            </a:r>
            <a:r>
              <a:rPr lang="ru-RU" sz="1200" dirty="0" smtClean="0"/>
              <a:t>продукции (планограмма)</a:t>
            </a:r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Спиртовой термометр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Электронный гигрометр для определения влажности</a:t>
            </a:r>
            <a:endParaRPr lang="ru-RU" sz="1200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7107857" y="1072646"/>
            <a:ext cx="28071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ru-RU" b="1" dirty="0">
                <a:latin typeface="Futura PT Book" panose="020B0502020204020303" pitchFamily="34" charset="-52"/>
              </a:rPr>
              <a:t>ХОЛОДИЛЬНАЯ КАМЕРА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644836" y="1057748"/>
            <a:ext cx="524523" cy="326656"/>
            <a:chOff x="571500" y="1701800"/>
            <a:chExt cx="863620" cy="524064"/>
          </a:xfrm>
          <a:solidFill>
            <a:srgbClr val="FFC000"/>
          </a:solidFill>
        </p:grpSpPr>
        <p:sp>
          <p:nvSpPr>
            <p:cNvPr id="42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3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50" name="Прямоугольник 49"/>
          <p:cNvSpPr/>
          <p:nvPr/>
        </p:nvSpPr>
        <p:spPr>
          <a:xfrm>
            <a:off x="7228937" y="4831291"/>
            <a:ext cx="23632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 smtClean="0">
                <a:latin typeface="Futura PT Book" panose="020B0502020204020303" pitchFamily="34" charset="-52"/>
              </a:rPr>
              <a:t>СУХОЙ СКЛАД</a:t>
            </a:r>
            <a:endParaRPr lang="ru-RU" b="1" dirty="0">
              <a:latin typeface="Futura PT Book" panose="020B0502020204020303" pitchFamily="34" charset="-52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6433312" y="5126442"/>
            <a:ext cx="59736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Регистрационный лист температурных </a:t>
            </a:r>
            <a:r>
              <a:rPr lang="ru-RU" sz="1200" dirty="0" smtClean="0"/>
              <a:t>и влажностных режимов </a:t>
            </a:r>
            <a:r>
              <a:rPr lang="ru-RU" sz="1200" dirty="0"/>
              <a:t>ПРП+1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Гигрометр психометрический ил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Электронный гигрометр</a:t>
            </a:r>
            <a:endParaRPr lang="ru-RU" sz="1200" dirty="0"/>
          </a:p>
        </p:txBody>
      </p:sp>
      <p:grpSp>
        <p:nvGrpSpPr>
          <p:cNvPr id="51" name="Рисунок 7">
            <a:extLst>
              <a:ext uri="{FF2B5EF4-FFF2-40B4-BE49-F238E27FC236}">
                <a16:creationId xmlns:a16="http://schemas.microsoft.com/office/drawing/2014/main" id="{BE24DDA8-8A61-4DD4-BFDF-D1C9BD893ECF}"/>
              </a:ext>
            </a:extLst>
          </p:cNvPr>
          <p:cNvGrpSpPr/>
          <p:nvPr/>
        </p:nvGrpSpPr>
        <p:grpSpPr>
          <a:xfrm>
            <a:off x="11267168" y="910682"/>
            <a:ext cx="338312" cy="276182"/>
            <a:chOff x="642045" y="1224438"/>
            <a:chExt cx="495189" cy="526508"/>
          </a:xfrm>
          <a:solidFill>
            <a:schemeClr val="tx1"/>
          </a:solidFill>
        </p:grpSpPr>
        <p:sp>
          <p:nvSpPr>
            <p:cNvPr id="52" name="Полилиния: фигура 3">
              <a:extLst>
                <a:ext uri="{FF2B5EF4-FFF2-40B4-BE49-F238E27FC236}">
                  <a16:creationId xmlns:a16="http://schemas.microsoft.com/office/drawing/2014/main" id="{B8CA4A3D-6930-41B7-9C89-B87E905D73B2}"/>
                </a:ext>
              </a:extLst>
            </p:cNvPr>
            <p:cNvSpPr/>
            <p:nvPr/>
          </p:nvSpPr>
          <p:spPr>
            <a:xfrm>
              <a:off x="642045" y="1224438"/>
              <a:ext cx="495189" cy="145185"/>
            </a:xfrm>
            <a:custGeom>
              <a:avLst/>
              <a:gdLst>
                <a:gd name="connsiteX0" fmla="*/ 485354 w 495189"/>
                <a:gd name="connsiteY0" fmla="*/ 145185 h 145185"/>
                <a:gd name="connsiteX1" fmla="*/ 9689 w 495189"/>
                <a:gd name="connsiteY1" fmla="*/ 145185 h 145185"/>
                <a:gd name="connsiteX2" fmla="*/ 85 w 495189"/>
                <a:gd name="connsiteY2" fmla="*/ 137276 h 145185"/>
                <a:gd name="connsiteX3" fmla="*/ 6299 w 495189"/>
                <a:gd name="connsiteY3" fmla="*/ 126543 h 145185"/>
                <a:gd name="connsiteX4" fmla="*/ 345253 w 495189"/>
                <a:gd name="connsiteY4" fmla="*/ 565 h 145185"/>
                <a:gd name="connsiteX5" fmla="*/ 355422 w 495189"/>
                <a:gd name="connsiteY5" fmla="*/ 2260 h 145185"/>
                <a:gd name="connsiteX6" fmla="*/ 492133 w 495189"/>
                <a:gd name="connsiteY6" fmla="*/ 128238 h 145185"/>
                <a:gd name="connsiteX7" fmla="*/ 494393 w 495189"/>
                <a:gd name="connsiteY7" fmla="*/ 138971 h 145185"/>
                <a:gd name="connsiteX8" fmla="*/ 485354 w 495189"/>
                <a:gd name="connsiteY8" fmla="*/ 145185 h 145185"/>
                <a:gd name="connsiteX9" fmla="*/ 63922 w 495189"/>
                <a:gd name="connsiteY9" fmla="*/ 125413 h 145185"/>
                <a:gd name="connsiteX10" fmla="*/ 459933 w 495189"/>
                <a:gd name="connsiteY10" fmla="*/ 125413 h 145185"/>
                <a:gd name="connsiteX11" fmla="*/ 346383 w 495189"/>
                <a:gd name="connsiteY11" fmla="*/ 20902 h 145185"/>
                <a:gd name="connsiteX12" fmla="*/ 63922 w 495189"/>
                <a:gd name="connsiteY12" fmla="*/ 125413 h 145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5189" h="145185">
                  <a:moveTo>
                    <a:pt x="485354" y="145185"/>
                  </a:moveTo>
                  <a:lnTo>
                    <a:pt x="9689" y="145185"/>
                  </a:lnTo>
                  <a:cubicBezTo>
                    <a:pt x="5170" y="145185"/>
                    <a:pt x="650" y="141796"/>
                    <a:pt x="85" y="137276"/>
                  </a:cubicBezTo>
                  <a:cubicBezTo>
                    <a:pt x="-480" y="132757"/>
                    <a:pt x="1780" y="128238"/>
                    <a:pt x="6299" y="126543"/>
                  </a:cubicBezTo>
                  <a:lnTo>
                    <a:pt x="345253" y="565"/>
                  </a:lnTo>
                  <a:cubicBezTo>
                    <a:pt x="348643" y="-565"/>
                    <a:pt x="352597" y="0"/>
                    <a:pt x="355422" y="2260"/>
                  </a:cubicBezTo>
                  <a:lnTo>
                    <a:pt x="492133" y="128238"/>
                  </a:lnTo>
                  <a:cubicBezTo>
                    <a:pt x="494958" y="131062"/>
                    <a:pt x="496088" y="135017"/>
                    <a:pt x="494393" y="138971"/>
                  </a:cubicBezTo>
                  <a:cubicBezTo>
                    <a:pt x="492698" y="142361"/>
                    <a:pt x="489309" y="145185"/>
                    <a:pt x="485354" y="145185"/>
                  </a:cubicBezTo>
                  <a:close/>
                  <a:moveTo>
                    <a:pt x="63922" y="125413"/>
                  </a:moveTo>
                  <a:lnTo>
                    <a:pt x="459933" y="125413"/>
                  </a:lnTo>
                  <a:lnTo>
                    <a:pt x="346383" y="20902"/>
                  </a:lnTo>
                  <a:lnTo>
                    <a:pt x="63922" y="125413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Полилиния: фигура 4">
              <a:extLst>
                <a:ext uri="{FF2B5EF4-FFF2-40B4-BE49-F238E27FC236}">
                  <a16:creationId xmlns:a16="http://schemas.microsoft.com/office/drawing/2014/main" id="{A8D1C669-E4C7-47D8-BAB4-538854EC8B83}"/>
                </a:ext>
              </a:extLst>
            </p:cNvPr>
            <p:cNvSpPr/>
            <p:nvPr/>
          </p:nvSpPr>
          <p:spPr>
            <a:xfrm>
              <a:off x="721785" y="1612540"/>
              <a:ext cx="80219" cy="79089"/>
            </a:xfrm>
            <a:custGeom>
              <a:avLst/>
              <a:gdLst>
                <a:gd name="connsiteX0" fmla="*/ 40110 w 80219"/>
                <a:gd name="connsiteY0" fmla="*/ 79089 h 79089"/>
                <a:gd name="connsiteX1" fmla="*/ 0 w 80219"/>
                <a:gd name="connsiteY1" fmla="*/ 39545 h 79089"/>
                <a:gd name="connsiteX2" fmla="*/ 40110 w 80219"/>
                <a:gd name="connsiteY2" fmla="*/ 0 h 79089"/>
                <a:gd name="connsiteX3" fmla="*/ 80219 w 80219"/>
                <a:gd name="connsiteY3" fmla="*/ 39545 h 79089"/>
                <a:gd name="connsiteX4" fmla="*/ 40110 w 80219"/>
                <a:gd name="connsiteY4" fmla="*/ 79089 h 79089"/>
                <a:gd name="connsiteX5" fmla="*/ 40110 w 80219"/>
                <a:gd name="connsiteY5" fmla="*/ 19207 h 79089"/>
                <a:gd name="connsiteX6" fmla="*/ 19207 w 80219"/>
                <a:gd name="connsiteY6" fmla="*/ 39545 h 79089"/>
                <a:gd name="connsiteX7" fmla="*/ 40110 w 80219"/>
                <a:gd name="connsiteY7" fmla="*/ 59882 h 79089"/>
                <a:gd name="connsiteX8" fmla="*/ 61012 w 80219"/>
                <a:gd name="connsiteY8" fmla="*/ 39545 h 79089"/>
                <a:gd name="connsiteX9" fmla="*/ 40110 w 80219"/>
                <a:gd name="connsiteY9" fmla="*/ 19207 h 7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219" h="79089">
                  <a:moveTo>
                    <a:pt x="40110" y="79089"/>
                  </a:moveTo>
                  <a:cubicBezTo>
                    <a:pt x="18078" y="79089"/>
                    <a:pt x="0" y="61012"/>
                    <a:pt x="0" y="39545"/>
                  </a:cubicBezTo>
                  <a:cubicBezTo>
                    <a:pt x="0" y="17513"/>
                    <a:pt x="18078" y="0"/>
                    <a:pt x="40110" y="0"/>
                  </a:cubicBezTo>
                  <a:cubicBezTo>
                    <a:pt x="62142" y="0"/>
                    <a:pt x="80219" y="18078"/>
                    <a:pt x="80219" y="39545"/>
                  </a:cubicBezTo>
                  <a:cubicBezTo>
                    <a:pt x="80219" y="61577"/>
                    <a:pt x="62142" y="79089"/>
                    <a:pt x="40110" y="79089"/>
                  </a:cubicBezTo>
                  <a:close/>
                  <a:moveTo>
                    <a:pt x="40110" y="19207"/>
                  </a:moveTo>
                  <a:cubicBezTo>
                    <a:pt x="28811" y="19207"/>
                    <a:pt x="19207" y="28246"/>
                    <a:pt x="19207" y="39545"/>
                  </a:cubicBezTo>
                  <a:cubicBezTo>
                    <a:pt x="19207" y="50843"/>
                    <a:pt x="28811" y="59882"/>
                    <a:pt x="40110" y="59882"/>
                  </a:cubicBezTo>
                  <a:cubicBezTo>
                    <a:pt x="51408" y="59882"/>
                    <a:pt x="61012" y="50843"/>
                    <a:pt x="61012" y="39545"/>
                  </a:cubicBezTo>
                  <a:cubicBezTo>
                    <a:pt x="61012" y="28246"/>
                    <a:pt x="51408" y="19207"/>
                    <a:pt x="40110" y="1920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Полилиния: фигура 5">
              <a:extLst>
                <a:ext uri="{FF2B5EF4-FFF2-40B4-BE49-F238E27FC236}">
                  <a16:creationId xmlns:a16="http://schemas.microsoft.com/office/drawing/2014/main" id="{D3F21B7D-4C54-467A-85EB-311F3C6BC313}"/>
                </a:ext>
              </a:extLst>
            </p:cNvPr>
            <p:cNvSpPr/>
            <p:nvPr/>
          </p:nvSpPr>
          <p:spPr>
            <a:xfrm>
              <a:off x="1016675" y="1453232"/>
              <a:ext cx="63836" cy="63271"/>
            </a:xfrm>
            <a:custGeom>
              <a:avLst/>
              <a:gdLst>
                <a:gd name="connsiteX0" fmla="*/ 31636 w 63836"/>
                <a:gd name="connsiteY0" fmla="*/ 63271 h 63271"/>
                <a:gd name="connsiteX1" fmla="*/ 0 w 63836"/>
                <a:gd name="connsiteY1" fmla="*/ 31636 h 63271"/>
                <a:gd name="connsiteX2" fmla="*/ 31636 w 63836"/>
                <a:gd name="connsiteY2" fmla="*/ 0 h 63271"/>
                <a:gd name="connsiteX3" fmla="*/ 63836 w 63836"/>
                <a:gd name="connsiteY3" fmla="*/ 31636 h 63271"/>
                <a:gd name="connsiteX4" fmla="*/ 31636 w 63836"/>
                <a:gd name="connsiteY4" fmla="*/ 63271 h 63271"/>
                <a:gd name="connsiteX5" fmla="*/ 31636 w 63836"/>
                <a:gd name="connsiteY5" fmla="*/ 19207 h 63271"/>
                <a:gd name="connsiteX6" fmla="*/ 19207 w 63836"/>
                <a:gd name="connsiteY6" fmla="*/ 31636 h 63271"/>
                <a:gd name="connsiteX7" fmla="*/ 31636 w 63836"/>
                <a:gd name="connsiteY7" fmla="*/ 44064 h 63271"/>
                <a:gd name="connsiteX8" fmla="*/ 44064 w 63836"/>
                <a:gd name="connsiteY8" fmla="*/ 31636 h 63271"/>
                <a:gd name="connsiteX9" fmla="*/ 31636 w 63836"/>
                <a:gd name="connsiteY9" fmla="*/ 19207 h 63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836" h="63271">
                  <a:moveTo>
                    <a:pt x="31636" y="63271"/>
                  </a:moveTo>
                  <a:cubicBezTo>
                    <a:pt x="14123" y="63271"/>
                    <a:pt x="0" y="49148"/>
                    <a:pt x="0" y="31636"/>
                  </a:cubicBezTo>
                  <a:cubicBezTo>
                    <a:pt x="0" y="14123"/>
                    <a:pt x="14123" y="0"/>
                    <a:pt x="31636" y="0"/>
                  </a:cubicBezTo>
                  <a:cubicBezTo>
                    <a:pt x="49148" y="0"/>
                    <a:pt x="63836" y="14123"/>
                    <a:pt x="63836" y="31636"/>
                  </a:cubicBezTo>
                  <a:cubicBezTo>
                    <a:pt x="63836" y="49148"/>
                    <a:pt x="49148" y="63271"/>
                    <a:pt x="31636" y="63271"/>
                  </a:cubicBezTo>
                  <a:close/>
                  <a:moveTo>
                    <a:pt x="31636" y="19207"/>
                  </a:moveTo>
                  <a:cubicBezTo>
                    <a:pt x="24857" y="19207"/>
                    <a:pt x="19207" y="24857"/>
                    <a:pt x="19207" y="31636"/>
                  </a:cubicBezTo>
                  <a:cubicBezTo>
                    <a:pt x="19207" y="38415"/>
                    <a:pt x="24857" y="44064"/>
                    <a:pt x="31636" y="44064"/>
                  </a:cubicBezTo>
                  <a:cubicBezTo>
                    <a:pt x="38415" y="44064"/>
                    <a:pt x="44064" y="38415"/>
                    <a:pt x="44064" y="31636"/>
                  </a:cubicBezTo>
                  <a:cubicBezTo>
                    <a:pt x="44064" y="24857"/>
                    <a:pt x="38415" y="19207"/>
                    <a:pt x="31636" y="1920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Полилиния: фигура 6">
              <a:extLst>
                <a:ext uri="{FF2B5EF4-FFF2-40B4-BE49-F238E27FC236}">
                  <a16:creationId xmlns:a16="http://schemas.microsoft.com/office/drawing/2014/main" id="{DDCC87B1-D368-4A33-830E-F37A4A897187}"/>
                </a:ext>
              </a:extLst>
            </p:cNvPr>
            <p:cNvSpPr/>
            <p:nvPr/>
          </p:nvSpPr>
          <p:spPr>
            <a:xfrm>
              <a:off x="799744" y="1423291"/>
              <a:ext cx="80219" cy="79089"/>
            </a:xfrm>
            <a:custGeom>
              <a:avLst/>
              <a:gdLst>
                <a:gd name="connsiteX0" fmla="*/ 40110 w 80219"/>
                <a:gd name="connsiteY0" fmla="*/ 79089 h 79089"/>
                <a:gd name="connsiteX1" fmla="*/ 0 w 80219"/>
                <a:gd name="connsiteY1" fmla="*/ 39545 h 79089"/>
                <a:gd name="connsiteX2" fmla="*/ 40110 w 80219"/>
                <a:gd name="connsiteY2" fmla="*/ 0 h 79089"/>
                <a:gd name="connsiteX3" fmla="*/ 80219 w 80219"/>
                <a:gd name="connsiteY3" fmla="*/ 39545 h 79089"/>
                <a:gd name="connsiteX4" fmla="*/ 40110 w 80219"/>
                <a:gd name="connsiteY4" fmla="*/ 79089 h 79089"/>
                <a:gd name="connsiteX5" fmla="*/ 40110 w 80219"/>
                <a:gd name="connsiteY5" fmla="*/ 19207 h 79089"/>
                <a:gd name="connsiteX6" fmla="*/ 19207 w 80219"/>
                <a:gd name="connsiteY6" fmla="*/ 39545 h 79089"/>
                <a:gd name="connsiteX7" fmla="*/ 40110 w 80219"/>
                <a:gd name="connsiteY7" fmla="*/ 59882 h 79089"/>
                <a:gd name="connsiteX8" fmla="*/ 61012 w 80219"/>
                <a:gd name="connsiteY8" fmla="*/ 39545 h 79089"/>
                <a:gd name="connsiteX9" fmla="*/ 40110 w 80219"/>
                <a:gd name="connsiteY9" fmla="*/ 19207 h 7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219" h="79089">
                  <a:moveTo>
                    <a:pt x="40110" y="79089"/>
                  </a:moveTo>
                  <a:cubicBezTo>
                    <a:pt x="18078" y="79089"/>
                    <a:pt x="0" y="61012"/>
                    <a:pt x="0" y="39545"/>
                  </a:cubicBezTo>
                  <a:cubicBezTo>
                    <a:pt x="0" y="18078"/>
                    <a:pt x="18078" y="0"/>
                    <a:pt x="40110" y="0"/>
                  </a:cubicBezTo>
                  <a:cubicBezTo>
                    <a:pt x="62142" y="0"/>
                    <a:pt x="80219" y="18078"/>
                    <a:pt x="80219" y="39545"/>
                  </a:cubicBezTo>
                  <a:cubicBezTo>
                    <a:pt x="80219" y="61012"/>
                    <a:pt x="62706" y="79089"/>
                    <a:pt x="40110" y="79089"/>
                  </a:cubicBezTo>
                  <a:close/>
                  <a:moveTo>
                    <a:pt x="40110" y="19207"/>
                  </a:moveTo>
                  <a:cubicBezTo>
                    <a:pt x="28811" y="19207"/>
                    <a:pt x="19207" y="28246"/>
                    <a:pt x="19207" y="39545"/>
                  </a:cubicBezTo>
                  <a:cubicBezTo>
                    <a:pt x="19207" y="50843"/>
                    <a:pt x="28811" y="59882"/>
                    <a:pt x="40110" y="59882"/>
                  </a:cubicBezTo>
                  <a:cubicBezTo>
                    <a:pt x="51408" y="59882"/>
                    <a:pt x="61012" y="50843"/>
                    <a:pt x="61012" y="39545"/>
                  </a:cubicBezTo>
                  <a:cubicBezTo>
                    <a:pt x="61012" y="28246"/>
                    <a:pt x="51973" y="19207"/>
                    <a:pt x="40110" y="19207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Полилиния: фигура 8">
              <a:extLst>
                <a:ext uri="{FF2B5EF4-FFF2-40B4-BE49-F238E27FC236}">
                  <a16:creationId xmlns:a16="http://schemas.microsoft.com/office/drawing/2014/main" id="{081ECD24-98F8-401A-91C7-7F8D08F170FC}"/>
                </a:ext>
              </a:extLst>
            </p:cNvPr>
            <p:cNvSpPr/>
            <p:nvPr/>
          </p:nvSpPr>
          <p:spPr>
            <a:xfrm>
              <a:off x="898606" y="1540795"/>
              <a:ext cx="87009" cy="85868"/>
            </a:xfrm>
            <a:custGeom>
              <a:avLst/>
              <a:gdLst>
                <a:gd name="connsiteX0" fmla="*/ 43499 w 87009"/>
                <a:gd name="connsiteY0" fmla="*/ 85868 h 85868"/>
                <a:gd name="connsiteX1" fmla="*/ 0 w 87009"/>
                <a:gd name="connsiteY1" fmla="*/ 42934 h 85868"/>
                <a:gd name="connsiteX2" fmla="*/ 43499 w 87009"/>
                <a:gd name="connsiteY2" fmla="*/ 0 h 85868"/>
                <a:gd name="connsiteX3" fmla="*/ 86998 w 87009"/>
                <a:gd name="connsiteY3" fmla="*/ 42934 h 85868"/>
                <a:gd name="connsiteX4" fmla="*/ 43499 w 87009"/>
                <a:gd name="connsiteY4" fmla="*/ 85868 h 85868"/>
                <a:gd name="connsiteX5" fmla="*/ 43499 w 87009"/>
                <a:gd name="connsiteY5" fmla="*/ 19772 h 85868"/>
                <a:gd name="connsiteX6" fmla="*/ 19207 w 87009"/>
                <a:gd name="connsiteY6" fmla="*/ 43499 h 85868"/>
                <a:gd name="connsiteX7" fmla="*/ 43499 w 87009"/>
                <a:gd name="connsiteY7" fmla="*/ 67226 h 85868"/>
                <a:gd name="connsiteX8" fmla="*/ 67791 w 87009"/>
                <a:gd name="connsiteY8" fmla="*/ 43499 h 85868"/>
                <a:gd name="connsiteX9" fmla="*/ 43499 w 87009"/>
                <a:gd name="connsiteY9" fmla="*/ 19772 h 85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009" h="85868">
                  <a:moveTo>
                    <a:pt x="43499" y="85868"/>
                  </a:moveTo>
                  <a:cubicBezTo>
                    <a:pt x="19207" y="85868"/>
                    <a:pt x="0" y="66661"/>
                    <a:pt x="0" y="42934"/>
                  </a:cubicBezTo>
                  <a:cubicBezTo>
                    <a:pt x="0" y="19207"/>
                    <a:pt x="19772" y="0"/>
                    <a:pt x="43499" y="0"/>
                  </a:cubicBezTo>
                  <a:cubicBezTo>
                    <a:pt x="67226" y="0"/>
                    <a:pt x="86998" y="19207"/>
                    <a:pt x="86998" y="42934"/>
                  </a:cubicBezTo>
                  <a:cubicBezTo>
                    <a:pt x="87563" y="66661"/>
                    <a:pt x="67791" y="85868"/>
                    <a:pt x="43499" y="85868"/>
                  </a:cubicBezTo>
                  <a:close/>
                  <a:moveTo>
                    <a:pt x="43499" y="19772"/>
                  </a:moveTo>
                  <a:cubicBezTo>
                    <a:pt x="29941" y="19772"/>
                    <a:pt x="19207" y="30506"/>
                    <a:pt x="19207" y="43499"/>
                  </a:cubicBezTo>
                  <a:cubicBezTo>
                    <a:pt x="19207" y="56492"/>
                    <a:pt x="29941" y="67226"/>
                    <a:pt x="43499" y="67226"/>
                  </a:cubicBezTo>
                  <a:cubicBezTo>
                    <a:pt x="57057" y="67226"/>
                    <a:pt x="67791" y="56492"/>
                    <a:pt x="67791" y="43499"/>
                  </a:cubicBezTo>
                  <a:cubicBezTo>
                    <a:pt x="67791" y="29941"/>
                    <a:pt x="57057" y="19772"/>
                    <a:pt x="43499" y="1977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Полилиния: фигура 9">
              <a:extLst>
                <a:ext uri="{FF2B5EF4-FFF2-40B4-BE49-F238E27FC236}">
                  <a16:creationId xmlns:a16="http://schemas.microsoft.com/office/drawing/2014/main" id="{09C49834-765C-4A68-91EF-81ED1B4AA3FF}"/>
                </a:ext>
              </a:extLst>
            </p:cNvPr>
            <p:cNvSpPr/>
            <p:nvPr/>
          </p:nvSpPr>
          <p:spPr>
            <a:xfrm>
              <a:off x="642131" y="1349851"/>
              <a:ext cx="494307" cy="401095"/>
            </a:xfrm>
            <a:custGeom>
              <a:avLst/>
              <a:gdLst>
                <a:gd name="connsiteX0" fmla="*/ 484704 w 494307"/>
                <a:gd name="connsiteY0" fmla="*/ 401095 h 401095"/>
                <a:gd name="connsiteX1" fmla="*/ 400530 w 494307"/>
                <a:gd name="connsiteY1" fmla="*/ 401095 h 401095"/>
                <a:gd name="connsiteX2" fmla="*/ 390927 w 494307"/>
                <a:gd name="connsiteY2" fmla="*/ 391492 h 401095"/>
                <a:gd name="connsiteX3" fmla="*/ 370025 w 494307"/>
                <a:gd name="connsiteY3" fmla="*/ 370590 h 401095"/>
                <a:gd name="connsiteX4" fmla="*/ 349122 w 494307"/>
                <a:gd name="connsiteY4" fmla="*/ 391492 h 401095"/>
                <a:gd name="connsiteX5" fmla="*/ 339519 w 494307"/>
                <a:gd name="connsiteY5" fmla="*/ 401095 h 401095"/>
                <a:gd name="connsiteX6" fmla="*/ 9604 w 494307"/>
                <a:gd name="connsiteY6" fmla="*/ 401095 h 401095"/>
                <a:gd name="connsiteX7" fmla="*/ 0 w 494307"/>
                <a:gd name="connsiteY7" fmla="*/ 391492 h 401095"/>
                <a:gd name="connsiteX8" fmla="*/ 0 w 494307"/>
                <a:gd name="connsiteY8" fmla="*/ 230489 h 401095"/>
                <a:gd name="connsiteX9" fmla="*/ 9604 w 494307"/>
                <a:gd name="connsiteY9" fmla="*/ 220885 h 401095"/>
                <a:gd name="connsiteX10" fmla="*/ 40110 w 494307"/>
                <a:gd name="connsiteY10" fmla="*/ 191509 h 401095"/>
                <a:gd name="connsiteX11" fmla="*/ 9604 w 494307"/>
                <a:gd name="connsiteY11" fmla="*/ 162133 h 401095"/>
                <a:gd name="connsiteX12" fmla="*/ 0 w 494307"/>
                <a:gd name="connsiteY12" fmla="*/ 152529 h 401095"/>
                <a:gd name="connsiteX13" fmla="*/ 0 w 494307"/>
                <a:gd name="connsiteY13" fmla="*/ 9604 h 401095"/>
                <a:gd name="connsiteX14" fmla="*/ 9604 w 494307"/>
                <a:gd name="connsiteY14" fmla="*/ 0 h 401095"/>
                <a:gd name="connsiteX15" fmla="*/ 484704 w 494307"/>
                <a:gd name="connsiteY15" fmla="*/ 0 h 401095"/>
                <a:gd name="connsiteX16" fmla="*/ 494308 w 494307"/>
                <a:gd name="connsiteY16" fmla="*/ 9604 h 401095"/>
                <a:gd name="connsiteX17" fmla="*/ 494308 w 494307"/>
                <a:gd name="connsiteY17" fmla="*/ 391492 h 401095"/>
                <a:gd name="connsiteX18" fmla="*/ 484704 w 494307"/>
                <a:gd name="connsiteY18" fmla="*/ 401095 h 401095"/>
                <a:gd name="connsiteX19" fmla="*/ 409004 w 494307"/>
                <a:gd name="connsiteY19" fmla="*/ 381888 h 401095"/>
                <a:gd name="connsiteX20" fmla="*/ 474535 w 494307"/>
                <a:gd name="connsiteY20" fmla="*/ 381888 h 401095"/>
                <a:gd name="connsiteX21" fmla="*/ 474535 w 494307"/>
                <a:gd name="connsiteY21" fmla="*/ 19772 h 401095"/>
                <a:gd name="connsiteX22" fmla="*/ 19207 w 494307"/>
                <a:gd name="connsiteY22" fmla="*/ 19772 h 401095"/>
                <a:gd name="connsiteX23" fmla="*/ 19207 w 494307"/>
                <a:gd name="connsiteY23" fmla="*/ 144055 h 401095"/>
                <a:gd name="connsiteX24" fmla="*/ 59317 w 494307"/>
                <a:gd name="connsiteY24" fmla="*/ 192074 h 401095"/>
                <a:gd name="connsiteX25" fmla="*/ 19207 w 494307"/>
                <a:gd name="connsiteY25" fmla="*/ 240092 h 401095"/>
                <a:gd name="connsiteX26" fmla="*/ 19207 w 494307"/>
                <a:gd name="connsiteY26" fmla="*/ 382453 h 401095"/>
                <a:gd name="connsiteX27" fmla="*/ 330480 w 494307"/>
                <a:gd name="connsiteY27" fmla="*/ 382453 h 401095"/>
                <a:gd name="connsiteX28" fmla="*/ 369460 w 494307"/>
                <a:gd name="connsiteY28" fmla="*/ 351947 h 401095"/>
                <a:gd name="connsiteX29" fmla="*/ 409004 w 494307"/>
                <a:gd name="connsiteY29" fmla="*/ 381888 h 40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4307" h="401095">
                  <a:moveTo>
                    <a:pt x="484704" y="401095"/>
                  </a:moveTo>
                  <a:lnTo>
                    <a:pt x="400530" y="401095"/>
                  </a:lnTo>
                  <a:cubicBezTo>
                    <a:pt x="394881" y="401095"/>
                    <a:pt x="390927" y="396576"/>
                    <a:pt x="390927" y="391492"/>
                  </a:cubicBezTo>
                  <a:cubicBezTo>
                    <a:pt x="390927" y="380193"/>
                    <a:pt x="381323" y="370590"/>
                    <a:pt x="370025" y="370590"/>
                  </a:cubicBezTo>
                  <a:cubicBezTo>
                    <a:pt x="358726" y="370590"/>
                    <a:pt x="349122" y="380193"/>
                    <a:pt x="349122" y="391492"/>
                  </a:cubicBezTo>
                  <a:cubicBezTo>
                    <a:pt x="349122" y="397141"/>
                    <a:pt x="344603" y="401095"/>
                    <a:pt x="339519" y="401095"/>
                  </a:cubicBezTo>
                  <a:lnTo>
                    <a:pt x="9604" y="401095"/>
                  </a:lnTo>
                  <a:cubicBezTo>
                    <a:pt x="3954" y="401095"/>
                    <a:pt x="0" y="396576"/>
                    <a:pt x="0" y="391492"/>
                  </a:cubicBezTo>
                  <a:lnTo>
                    <a:pt x="0" y="230489"/>
                  </a:lnTo>
                  <a:cubicBezTo>
                    <a:pt x="0" y="224839"/>
                    <a:pt x="4519" y="220885"/>
                    <a:pt x="9604" y="220885"/>
                  </a:cubicBezTo>
                  <a:cubicBezTo>
                    <a:pt x="26551" y="220885"/>
                    <a:pt x="40110" y="207892"/>
                    <a:pt x="40110" y="191509"/>
                  </a:cubicBezTo>
                  <a:cubicBezTo>
                    <a:pt x="40110" y="175126"/>
                    <a:pt x="26551" y="162133"/>
                    <a:pt x="9604" y="162133"/>
                  </a:cubicBezTo>
                  <a:cubicBezTo>
                    <a:pt x="3954" y="162133"/>
                    <a:pt x="0" y="157614"/>
                    <a:pt x="0" y="152529"/>
                  </a:cubicBezTo>
                  <a:lnTo>
                    <a:pt x="0" y="9604"/>
                  </a:lnTo>
                  <a:cubicBezTo>
                    <a:pt x="0" y="3954"/>
                    <a:pt x="4519" y="0"/>
                    <a:pt x="9604" y="0"/>
                  </a:cubicBezTo>
                  <a:lnTo>
                    <a:pt x="484704" y="0"/>
                  </a:lnTo>
                  <a:cubicBezTo>
                    <a:pt x="490353" y="0"/>
                    <a:pt x="494308" y="4519"/>
                    <a:pt x="494308" y="9604"/>
                  </a:cubicBezTo>
                  <a:lnTo>
                    <a:pt x="494308" y="391492"/>
                  </a:lnTo>
                  <a:cubicBezTo>
                    <a:pt x="494308" y="397141"/>
                    <a:pt x="489788" y="401095"/>
                    <a:pt x="484704" y="401095"/>
                  </a:cubicBezTo>
                  <a:close/>
                  <a:moveTo>
                    <a:pt x="409004" y="381888"/>
                  </a:moveTo>
                  <a:lnTo>
                    <a:pt x="474535" y="381888"/>
                  </a:lnTo>
                  <a:lnTo>
                    <a:pt x="474535" y="19772"/>
                  </a:lnTo>
                  <a:lnTo>
                    <a:pt x="19207" y="19772"/>
                  </a:lnTo>
                  <a:lnTo>
                    <a:pt x="19207" y="144055"/>
                  </a:lnTo>
                  <a:cubicBezTo>
                    <a:pt x="42369" y="148575"/>
                    <a:pt x="59317" y="168347"/>
                    <a:pt x="59317" y="192074"/>
                  </a:cubicBezTo>
                  <a:cubicBezTo>
                    <a:pt x="59317" y="215801"/>
                    <a:pt x="41804" y="235573"/>
                    <a:pt x="19207" y="240092"/>
                  </a:cubicBezTo>
                  <a:lnTo>
                    <a:pt x="19207" y="382453"/>
                  </a:lnTo>
                  <a:lnTo>
                    <a:pt x="330480" y="382453"/>
                  </a:lnTo>
                  <a:cubicBezTo>
                    <a:pt x="334999" y="364940"/>
                    <a:pt x="350817" y="351947"/>
                    <a:pt x="369460" y="351947"/>
                  </a:cubicBezTo>
                  <a:cubicBezTo>
                    <a:pt x="388667" y="351382"/>
                    <a:pt x="404485" y="364375"/>
                    <a:pt x="409004" y="38188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FF3591A9-B41C-41E1-B3C5-B641162AAB18}"/>
              </a:ext>
            </a:extLst>
          </p:cNvPr>
          <p:cNvGrpSpPr/>
          <p:nvPr/>
        </p:nvGrpSpPr>
        <p:grpSpPr>
          <a:xfrm>
            <a:off x="11021429" y="4456633"/>
            <a:ext cx="379091" cy="410201"/>
            <a:chOff x="7608459" y="1232912"/>
            <a:chExt cx="497697" cy="509560"/>
          </a:xfrm>
          <a:solidFill>
            <a:schemeClr val="tx1"/>
          </a:solidFill>
        </p:grpSpPr>
        <p:sp>
          <p:nvSpPr>
            <p:cNvPr id="59" name="Полилиния: фигура 252">
              <a:extLst>
                <a:ext uri="{FF2B5EF4-FFF2-40B4-BE49-F238E27FC236}">
                  <a16:creationId xmlns:a16="http://schemas.microsoft.com/office/drawing/2014/main" id="{63F7CCD9-D8BD-429C-BB01-71AA2C1F2C27}"/>
                </a:ext>
              </a:extLst>
            </p:cNvPr>
            <p:cNvSpPr/>
            <p:nvPr/>
          </p:nvSpPr>
          <p:spPr>
            <a:xfrm>
              <a:off x="7641224" y="1724395"/>
              <a:ext cx="431036" cy="18077"/>
            </a:xfrm>
            <a:custGeom>
              <a:avLst/>
              <a:gdLst>
                <a:gd name="connsiteX0" fmla="*/ 422562 w 431036"/>
                <a:gd name="connsiteY0" fmla="*/ 18078 h 18077"/>
                <a:gd name="connsiteX1" fmla="*/ 9039 w 431036"/>
                <a:gd name="connsiteY1" fmla="*/ 18078 h 18077"/>
                <a:gd name="connsiteX2" fmla="*/ 0 w 431036"/>
                <a:gd name="connsiteY2" fmla="*/ 9039 h 18077"/>
                <a:gd name="connsiteX3" fmla="*/ 9039 w 431036"/>
                <a:gd name="connsiteY3" fmla="*/ 0 h 18077"/>
                <a:gd name="connsiteX4" fmla="*/ 421997 w 431036"/>
                <a:gd name="connsiteY4" fmla="*/ 0 h 18077"/>
                <a:gd name="connsiteX5" fmla="*/ 431036 w 431036"/>
                <a:gd name="connsiteY5" fmla="*/ 9039 h 18077"/>
                <a:gd name="connsiteX6" fmla="*/ 422562 w 431036"/>
                <a:gd name="connsiteY6" fmla="*/ 18078 h 18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1036" h="18077">
                  <a:moveTo>
                    <a:pt x="422562" y="18078"/>
                  </a:moveTo>
                  <a:lnTo>
                    <a:pt x="9039" y="18078"/>
                  </a:lnTo>
                  <a:cubicBezTo>
                    <a:pt x="3954" y="18078"/>
                    <a:pt x="0" y="14123"/>
                    <a:pt x="0" y="9039"/>
                  </a:cubicBezTo>
                  <a:cubicBezTo>
                    <a:pt x="0" y="3954"/>
                    <a:pt x="3954" y="0"/>
                    <a:pt x="9039" y="0"/>
                  </a:cubicBezTo>
                  <a:lnTo>
                    <a:pt x="421997" y="0"/>
                  </a:lnTo>
                  <a:cubicBezTo>
                    <a:pt x="427082" y="0"/>
                    <a:pt x="431036" y="3954"/>
                    <a:pt x="431036" y="9039"/>
                  </a:cubicBezTo>
                  <a:cubicBezTo>
                    <a:pt x="431036" y="14123"/>
                    <a:pt x="427082" y="18078"/>
                    <a:pt x="422562" y="1807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Полилиния: фигура 253">
              <a:extLst>
                <a:ext uri="{FF2B5EF4-FFF2-40B4-BE49-F238E27FC236}">
                  <a16:creationId xmlns:a16="http://schemas.microsoft.com/office/drawing/2014/main" id="{DC8284A6-2142-422B-9603-3C6AD88852A8}"/>
                </a:ext>
              </a:extLst>
            </p:cNvPr>
            <p:cNvSpPr/>
            <p:nvPr/>
          </p:nvSpPr>
          <p:spPr>
            <a:xfrm>
              <a:off x="7608459" y="1658792"/>
              <a:ext cx="50843" cy="83679"/>
            </a:xfrm>
            <a:custGeom>
              <a:avLst/>
              <a:gdLst>
                <a:gd name="connsiteX0" fmla="*/ 41804 w 50843"/>
                <a:gd name="connsiteY0" fmla="*/ 83680 h 83679"/>
                <a:gd name="connsiteX1" fmla="*/ 0 w 50843"/>
                <a:gd name="connsiteY1" fmla="*/ 41876 h 83679"/>
                <a:gd name="connsiteX2" fmla="*/ 35590 w 50843"/>
                <a:gd name="connsiteY2" fmla="*/ 71 h 83679"/>
                <a:gd name="connsiteX3" fmla="*/ 45759 w 50843"/>
                <a:gd name="connsiteY3" fmla="*/ 7415 h 83679"/>
                <a:gd name="connsiteX4" fmla="*/ 38415 w 50843"/>
                <a:gd name="connsiteY4" fmla="*/ 17584 h 83679"/>
                <a:gd name="connsiteX5" fmla="*/ 17513 w 50843"/>
                <a:gd name="connsiteY5" fmla="*/ 41311 h 83679"/>
                <a:gd name="connsiteX6" fmla="*/ 41804 w 50843"/>
                <a:gd name="connsiteY6" fmla="*/ 65602 h 83679"/>
                <a:gd name="connsiteX7" fmla="*/ 50843 w 50843"/>
                <a:gd name="connsiteY7" fmla="*/ 74641 h 83679"/>
                <a:gd name="connsiteX8" fmla="*/ 41804 w 50843"/>
                <a:gd name="connsiteY8" fmla="*/ 83680 h 83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43" h="83679">
                  <a:moveTo>
                    <a:pt x="41804" y="83680"/>
                  </a:moveTo>
                  <a:cubicBezTo>
                    <a:pt x="18642" y="83680"/>
                    <a:pt x="0" y="65037"/>
                    <a:pt x="0" y="41876"/>
                  </a:cubicBezTo>
                  <a:cubicBezTo>
                    <a:pt x="0" y="21538"/>
                    <a:pt x="15253" y="3461"/>
                    <a:pt x="35590" y="71"/>
                  </a:cubicBezTo>
                  <a:cubicBezTo>
                    <a:pt x="40674" y="-494"/>
                    <a:pt x="45194" y="2331"/>
                    <a:pt x="45759" y="7415"/>
                  </a:cubicBezTo>
                  <a:cubicBezTo>
                    <a:pt x="46324" y="12500"/>
                    <a:pt x="43499" y="17019"/>
                    <a:pt x="38415" y="17584"/>
                  </a:cubicBezTo>
                  <a:cubicBezTo>
                    <a:pt x="26551" y="19279"/>
                    <a:pt x="17513" y="30012"/>
                    <a:pt x="17513" y="41311"/>
                  </a:cubicBezTo>
                  <a:cubicBezTo>
                    <a:pt x="17513" y="54869"/>
                    <a:pt x="28246" y="65602"/>
                    <a:pt x="41804" y="65602"/>
                  </a:cubicBezTo>
                  <a:cubicBezTo>
                    <a:pt x="46889" y="65602"/>
                    <a:pt x="50843" y="69557"/>
                    <a:pt x="50843" y="74641"/>
                  </a:cubicBezTo>
                  <a:cubicBezTo>
                    <a:pt x="50843" y="79725"/>
                    <a:pt x="46889" y="83680"/>
                    <a:pt x="41804" y="836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Полилиния: фигура 254">
              <a:extLst>
                <a:ext uri="{FF2B5EF4-FFF2-40B4-BE49-F238E27FC236}">
                  <a16:creationId xmlns:a16="http://schemas.microsoft.com/office/drawing/2014/main" id="{E80744EF-BE27-447D-BA2E-3B1C5525DD67}"/>
                </a:ext>
              </a:extLst>
            </p:cNvPr>
            <p:cNvSpPr/>
            <p:nvPr/>
          </p:nvSpPr>
          <p:spPr>
            <a:xfrm>
              <a:off x="8054748" y="1658792"/>
              <a:ext cx="51408" cy="83679"/>
            </a:xfrm>
            <a:custGeom>
              <a:avLst/>
              <a:gdLst>
                <a:gd name="connsiteX0" fmla="*/ 9039 w 51408"/>
                <a:gd name="connsiteY0" fmla="*/ 83680 h 83679"/>
                <a:gd name="connsiteX1" fmla="*/ 0 w 51408"/>
                <a:gd name="connsiteY1" fmla="*/ 74641 h 83679"/>
                <a:gd name="connsiteX2" fmla="*/ 9039 w 51408"/>
                <a:gd name="connsiteY2" fmla="*/ 65602 h 83679"/>
                <a:gd name="connsiteX3" fmla="*/ 33330 w 51408"/>
                <a:gd name="connsiteY3" fmla="*/ 41311 h 83679"/>
                <a:gd name="connsiteX4" fmla="*/ 12993 w 51408"/>
                <a:gd name="connsiteY4" fmla="*/ 17584 h 83679"/>
                <a:gd name="connsiteX5" fmla="*/ 5649 w 51408"/>
                <a:gd name="connsiteY5" fmla="*/ 7415 h 83679"/>
                <a:gd name="connsiteX6" fmla="*/ 15818 w 51408"/>
                <a:gd name="connsiteY6" fmla="*/ 71 h 83679"/>
                <a:gd name="connsiteX7" fmla="*/ 51408 w 51408"/>
                <a:gd name="connsiteY7" fmla="*/ 41876 h 83679"/>
                <a:gd name="connsiteX8" fmla="*/ 9039 w 51408"/>
                <a:gd name="connsiteY8" fmla="*/ 83680 h 83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408" h="83679">
                  <a:moveTo>
                    <a:pt x="9039" y="83680"/>
                  </a:moveTo>
                  <a:cubicBezTo>
                    <a:pt x="3954" y="83680"/>
                    <a:pt x="0" y="79725"/>
                    <a:pt x="0" y="74641"/>
                  </a:cubicBezTo>
                  <a:cubicBezTo>
                    <a:pt x="0" y="69557"/>
                    <a:pt x="3954" y="65602"/>
                    <a:pt x="9039" y="65602"/>
                  </a:cubicBezTo>
                  <a:cubicBezTo>
                    <a:pt x="22597" y="65602"/>
                    <a:pt x="33330" y="54869"/>
                    <a:pt x="33330" y="41311"/>
                  </a:cubicBezTo>
                  <a:cubicBezTo>
                    <a:pt x="33330" y="29447"/>
                    <a:pt x="24857" y="19279"/>
                    <a:pt x="12993" y="17584"/>
                  </a:cubicBezTo>
                  <a:cubicBezTo>
                    <a:pt x="7909" y="17019"/>
                    <a:pt x="5084" y="12500"/>
                    <a:pt x="5649" y="7415"/>
                  </a:cubicBezTo>
                  <a:cubicBezTo>
                    <a:pt x="6214" y="2331"/>
                    <a:pt x="10734" y="-494"/>
                    <a:pt x="15818" y="71"/>
                  </a:cubicBezTo>
                  <a:cubicBezTo>
                    <a:pt x="36155" y="3461"/>
                    <a:pt x="51408" y="20973"/>
                    <a:pt x="51408" y="41876"/>
                  </a:cubicBezTo>
                  <a:cubicBezTo>
                    <a:pt x="50843" y="64473"/>
                    <a:pt x="32201" y="83680"/>
                    <a:pt x="9039" y="8368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Полилиния: фигура 255">
              <a:extLst>
                <a:ext uri="{FF2B5EF4-FFF2-40B4-BE49-F238E27FC236}">
                  <a16:creationId xmlns:a16="http://schemas.microsoft.com/office/drawing/2014/main" id="{1A29A69A-43FC-43FE-B860-C4535EE1EF53}"/>
                </a:ext>
              </a:extLst>
            </p:cNvPr>
            <p:cNvSpPr/>
            <p:nvPr/>
          </p:nvSpPr>
          <p:spPr>
            <a:xfrm>
              <a:off x="7622582" y="1311504"/>
              <a:ext cx="47385" cy="362612"/>
            </a:xfrm>
            <a:custGeom>
              <a:avLst/>
              <a:gdLst>
                <a:gd name="connsiteX0" fmla="*/ 22032 w 47385"/>
                <a:gd name="connsiteY0" fmla="*/ 362048 h 362612"/>
                <a:gd name="connsiteX1" fmla="*/ 13558 w 47385"/>
                <a:gd name="connsiteY1" fmla="*/ 354704 h 362612"/>
                <a:gd name="connsiteX2" fmla="*/ 0 w 47385"/>
                <a:gd name="connsiteY2" fmla="*/ 212908 h 362612"/>
                <a:gd name="connsiteX3" fmla="*/ 29941 w 47385"/>
                <a:gd name="connsiteY3" fmla="*/ 6146 h 362612"/>
                <a:gd name="connsiteX4" fmla="*/ 41239 w 47385"/>
                <a:gd name="connsiteY4" fmla="*/ 497 h 362612"/>
                <a:gd name="connsiteX5" fmla="*/ 46889 w 47385"/>
                <a:gd name="connsiteY5" fmla="*/ 11796 h 362612"/>
                <a:gd name="connsiteX6" fmla="*/ 17513 w 47385"/>
                <a:gd name="connsiteY6" fmla="*/ 213473 h 362612"/>
                <a:gd name="connsiteX7" fmla="*/ 30506 w 47385"/>
                <a:gd name="connsiteY7" fmla="*/ 351879 h 362612"/>
                <a:gd name="connsiteX8" fmla="*/ 23727 w 47385"/>
                <a:gd name="connsiteY8" fmla="*/ 362613 h 362612"/>
                <a:gd name="connsiteX9" fmla="*/ 22032 w 47385"/>
                <a:gd name="connsiteY9" fmla="*/ 362048 h 36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385" h="362612">
                  <a:moveTo>
                    <a:pt x="22032" y="362048"/>
                  </a:moveTo>
                  <a:cubicBezTo>
                    <a:pt x="18078" y="362048"/>
                    <a:pt x="14123" y="359223"/>
                    <a:pt x="13558" y="354704"/>
                  </a:cubicBezTo>
                  <a:cubicBezTo>
                    <a:pt x="4519" y="309510"/>
                    <a:pt x="0" y="261492"/>
                    <a:pt x="0" y="212908"/>
                  </a:cubicBezTo>
                  <a:cubicBezTo>
                    <a:pt x="0" y="140598"/>
                    <a:pt x="10169" y="68853"/>
                    <a:pt x="29941" y="6146"/>
                  </a:cubicBezTo>
                  <a:cubicBezTo>
                    <a:pt x="31636" y="1627"/>
                    <a:pt x="36155" y="-1198"/>
                    <a:pt x="41239" y="497"/>
                  </a:cubicBezTo>
                  <a:cubicBezTo>
                    <a:pt x="45759" y="2192"/>
                    <a:pt x="48583" y="6711"/>
                    <a:pt x="46889" y="11796"/>
                  </a:cubicBezTo>
                  <a:cubicBezTo>
                    <a:pt x="27681" y="72807"/>
                    <a:pt x="17513" y="142293"/>
                    <a:pt x="17513" y="213473"/>
                  </a:cubicBezTo>
                  <a:cubicBezTo>
                    <a:pt x="17513" y="260927"/>
                    <a:pt x="22032" y="307815"/>
                    <a:pt x="30506" y="351879"/>
                  </a:cubicBezTo>
                  <a:cubicBezTo>
                    <a:pt x="31636" y="356964"/>
                    <a:pt x="28246" y="361483"/>
                    <a:pt x="23727" y="362613"/>
                  </a:cubicBezTo>
                  <a:cubicBezTo>
                    <a:pt x="23162" y="361483"/>
                    <a:pt x="22597" y="362048"/>
                    <a:pt x="22032" y="362048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Полилиния: фигура 256">
              <a:extLst>
                <a:ext uri="{FF2B5EF4-FFF2-40B4-BE49-F238E27FC236}">
                  <a16:creationId xmlns:a16="http://schemas.microsoft.com/office/drawing/2014/main" id="{A1478486-F7DC-4239-AA10-C0AC1C643514}"/>
                </a:ext>
              </a:extLst>
            </p:cNvPr>
            <p:cNvSpPr/>
            <p:nvPr/>
          </p:nvSpPr>
          <p:spPr>
            <a:xfrm>
              <a:off x="8044082" y="1310939"/>
              <a:ext cx="47385" cy="363742"/>
            </a:xfrm>
            <a:custGeom>
              <a:avLst/>
              <a:gdLst>
                <a:gd name="connsiteX0" fmla="*/ 24789 w 47385"/>
                <a:gd name="connsiteY0" fmla="*/ 363743 h 363742"/>
                <a:gd name="connsiteX1" fmla="*/ 23094 w 47385"/>
                <a:gd name="connsiteY1" fmla="*/ 363743 h 363742"/>
                <a:gd name="connsiteX2" fmla="*/ 16315 w 47385"/>
                <a:gd name="connsiteY2" fmla="*/ 353009 h 363742"/>
                <a:gd name="connsiteX3" fmla="*/ 29873 w 47385"/>
                <a:gd name="connsiteY3" fmla="*/ 213473 h 363742"/>
                <a:gd name="connsiteX4" fmla="*/ 497 w 47385"/>
                <a:gd name="connsiteY4" fmla="*/ 11796 h 363742"/>
                <a:gd name="connsiteX5" fmla="*/ 6146 w 47385"/>
                <a:gd name="connsiteY5" fmla="*/ 497 h 363742"/>
                <a:gd name="connsiteX6" fmla="*/ 17445 w 47385"/>
                <a:gd name="connsiteY6" fmla="*/ 6146 h 363742"/>
                <a:gd name="connsiteX7" fmla="*/ 47386 w 47385"/>
                <a:gd name="connsiteY7" fmla="*/ 212908 h 363742"/>
                <a:gd name="connsiteX8" fmla="*/ 33828 w 47385"/>
                <a:gd name="connsiteY8" fmla="*/ 355834 h 363742"/>
                <a:gd name="connsiteX9" fmla="*/ 24789 w 47385"/>
                <a:gd name="connsiteY9" fmla="*/ 363743 h 36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385" h="363742">
                  <a:moveTo>
                    <a:pt x="24789" y="363743"/>
                  </a:moveTo>
                  <a:cubicBezTo>
                    <a:pt x="24224" y="363743"/>
                    <a:pt x="23659" y="363743"/>
                    <a:pt x="23094" y="363743"/>
                  </a:cubicBezTo>
                  <a:cubicBezTo>
                    <a:pt x="18010" y="362613"/>
                    <a:pt x="15185" y="358093"/>
                    <a:pt x="16315" y="353009"/>
                  </a:cubicBezTo>
                  <a:cubicBezTo>
                    <a:pt x="25354" y="308380"/>
                    <a:pt x="29873" y="261492"/>
                    <a:pt x="29873" y="213473"/>
                  </a:cubicBezTo>
                  <a:cubicBezTo>
                    <a:pt x="29873" y="142858"/>
                    <a:pt x="19705" y="73372"/>
                    <a:pt x="497" y="11796"/>
                  </a:cubicBezTo>
                  <a:cubicBezTo>
                    <a:pt x="-1198" y="7276"/>
                    <a:pt x="1627" y="2192"/>
                    <a:pt x="6146" y="497"/>
                  </a:cubicBezTo>
                  <a:cubicBezTo>
                    <a:pt x="10666" y="-1198"/>
                    <a:pt x="15750" y="1627"/>
                    <a:pt x="17445" y="6146"/>
                  </a:cubicBezTo>
                  <a:cubicBezTo>
                    <a:pt x="37217" y="68853"/>
                    <a:pt x="47386" y="140598"/>
                    <a:pt x="47386" y="212908"/>
                  </a:cubicBezTo>
                  <a:cubicBezTo>
                    <a:pt x="47386" y="262057"/>
                    <a:pt x="42866" y="310075"/>
                    <a:pt x="33828" y="355834"/>
                  </a:cubicBezTo>
                  <a:cubicBezTo>
                    <a:pt x="32698" y="360353"/>
                    <a:pt x="29308" y="363743"/>
                    <a:pt x="24789" y="36374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Полилиния: фигура 257">
              <a:extLst>
                <a:ext uri="{FF2B5EF4-FFF2-40B4-BE49-F238E27FC236}">
                  <a16:creationId xmlns:a16="http://schemas.microsoft.com/office/drawing/2014/main" id="{C3273D25-193D-4A3A-9646-86E8CA167DBF}"/>
                </a:ext>
              </a:extLst>
            </p:cNvPr>
            <p:cNvSpPr/>
            <p:nvPr/>
          </p:nvSpPr>
          <p:spPr>
            <a:xfrm>
              <a:off x="7624277" y="1232912"/>
              <a:ext cx="464931" cy="94342"/>
            </a:xfrm>
            <a:custGeom>
              <a:avLst/>
              <a:gdLst>
                <a:gd name="connsiteX0" fmla="*/ 425952 w 464931"/>
                <a:gd name="connsiteY0" fmla="*/ 94342 h 94342"/>
                <a:gd name="connsiteX1" fmla="*/ 38980 w 464931"/>
                <a:gd name="connsiteY1" fmla="*/ 94342 h 94342"/>
                <a:gd name="connsiteX2" fmla="*/ 0 w 464931"/>
                <a:gd name="connsiteY2" fmla="*/ 55362 h 94342"/>
                <a:gd name="connsiteX3" fmla="*/ 0 w 464931"/>
                <a:gd name="connsiteY3" fmla="*/ 38980 h 94342"/>
                <a:gd name="connsiteX4" fmla="*/ 38980 w 464931"/>
                <a:gd name="connsiteY4" fmla="*/ 0 h 94342"/>
                <a:gd name="connsiteX5" fmla="*/ 425952 w 464931"/>
                <a:gd name="connsiteY5" fmla="*/ 0 h 94342"/>
                <a:gd name="connsiteX6" fmla="*/ 464932 w 464931"/>
                <a:gd name="connsiteY6" fmla="*/ 38980 h 94342"/>
                <a:gd name="connsiteX7" fmla="*/ 464932 w 464931"/>
                <a:gd name="connsiteY7" fmla="*/ 55362 h 94342"/>
                <a:gd name="connsiteX8" fmla="*/ 425952 w 464931"/>
                <a:gd name="connsiteY8" fmla="*/ 94342 h 94342"/>
                <a:gd name="connsiteX9" fmla="*/ 38980 w 464931"/>
                <a:gd name="connsiteY9" fmla="*/ 18078 h 94342"/>
                <a:gd name="connsiteX10" fmla="*/ 18078 w 464931"/>
                <a:gd name="connsiteY10" fmla="*/ 38980 h 94342"/>
                <a:gd name="connsiteX11" fmla="*/ 18078 w 464931"/>
                <a:gd name="connsiteY11" fmla="*/ 55362 h 94342"/>
                <a:gd name="connsiteX12" fmla="*/ 38980 w 464931"/>
                <a:gd name="connsiteY12" fmla="*/ 76265 h 94342"/>
                <a:gd name="connsiteX13" fmla="*/ 425952 w 464931"/>
                <a:gd name="connsiteY13" fmla="*/ 76265 h 94342"/>
                <a:gd name="connsiteX14" fmla="*/ 446854 w 464931"/>
                <a:gd name="connsiteY14" fmla="*/ 55362 h 94342"/>
                <a:gd name="connsiteX15" fmla="*/ 446854 w 464931"/>
                <a:gd name="connsiteY15" fmla="*/ 38980 h 94342"/>
                <a:gd name="connsiteX16" fmla="*/ 425952 w 464931"/>
                <a:gd name="connsiteY16" fmla="*/ 18078 h 94342"/>
                <a:gd name="connsiteX17" fmla="*/ 38980 w 464931"/>
                <a:gd name="connsiteY17" fmla="*/ 18078 h 94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4931" h="94342">
                  <a:moveTo>
                    <a:pt x="425952" y="94342"/>
                  </a:moveTo>
                  <a:lnTo>
                    <a:pt x="38980" y="94342"/>
                  </a:lnTo>
                  <a:cubicBezTo>
                    <a:pt x="17513" y="94342"/>
                    <a:pt x="0" y="76830"/>
                    <a:pt x="0" y="55362"/>
                  </a:cubicBezTo>
                  <a:lnTo>
                    <a:pt x="0" y="38980"/>
                  </a:lnTo>
                  <a:cubicBezTo>
                    <a:pt x="0" y="17513"/>
                    <a:pt x="17513" y="0"/>
                    <a:pt x="38980" y="0"/>
                  </a:cubicBezTo>
                  <a:lnTo>
                    <a:pt x="425952" y="0"/>
                  </a:lnTo>
                  <a:cubicBezTo>
                    <a:pt x="447419" y="0"/>
                    <a:pt x="464932" y="17513"/>
                    <a:pt x="464932" y="38980"/>
                  </a:cubicBezTo>
                  <a:lnTo>
                    <a:pt x="464932" y="55362"/>
                  </a:lnTo>
                  <a:cubicBezTo>
                    <a:pt x="464367" y="76830"/>
                    <a:pt x="447419" y="94342"/>
                    <a:pt x="425952" y="94342"/>
                  </a:cubicBezTo>
                  <a:close/>
                  <a:moveTo>
                    <a:pt x="38980" y="18078"/>
                  </a:moveTo>
                  <a:cubicBezTo>
                    <a:pt x="27681" y="18078"/>
                    <a:pt x="18078" y="27681"/>
                    <a:pt x="18078" y="38980"/>
                  </a:cubicBezTo>
                  <a:lnTo>
                    <a:pt x="18078" y="55362"/>
                  </a:lnTo>
                  <a:cubicBezTo>
                    <a:pt x="18078" y="66661"/>
                    <a:pt x="27681" y="76265"/>
                    <a:pt x="38980" y="76265"/>
                  </a:cubicBezTo>
                  <a:lnTo>
                    <a:pt x="425952" y="76265"/>
                  </a:lnTo>
                  <a:cubicBezTo>
                    <a:pt x="437250" y="76265"/>
                    <a:pt x="446854" y="66661"/>
                    <a:pt x="446854" y="55362"/>
                  </a:cubicBezTo>
                  <a:lnTo>
                    <a:pt x="446854" y="38980"/>
                  </a:lnTo>
                  <a:cubicBezTo>
                    <a:pt x="446854" y="27681"/>
                    <a:pt x="437250" y="18078"/>
                    <a:pt x="425952" y="18078"/>
                  </a:cubicBezTo>
                  <a:lnTo>
                    <a:pt x="38980" y="18078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grpSp>
          <p:nvGrpSpPr>
            <p:cNvPr id="65" name="Рисунок 36">
              <a:extLst>
                <a:ext uri="{FF2B5EF4-FFF2-40B4-BE49-F238E27FC236}">
                  <a16:creationId xmlns:a16="http://schemas.microsoft.com/office/drawing/2014/main" id="{A62050D8-0DB8-4035-82C8-1620846CA0AD}"/>
                </a:ext>
              </a:extLst>
            </p:cNvPr>
            <p:cNvGrpSpPr/>
            <p:nvPr/>
          </p:nvGrpSpPr>
          <p:grpSpPr>
            <a:xfrm>
              <a:off x="7825514" y="1380705"/>
              <a:ext cx="62456" cy="130148"/>
              <a:chOff x="7825514" y="1380705"/>
              <a:chExt cx="62456" cy="130148"/>
            </a:xfrm>
            <a:grpFill/>
          </p:grpSpPr>
          <p:sp>
            <p:nvSpPr>
              <p:cNvPr id="79" name="Полилиния: фигура 259">
                <a:extLst>
                  <a:ext uri="{FF2B5EF4-FFF2-40B4-BE49-F238E27FC236}">
                    <a16:creationId xmlns:a16="http://schemas.microsoft.com/office/drawing/2014/main" id="{D7B60E4F-341B-42BE-8B7F-2F9A8184A44D}"/>
                  </a:ext>
                </a:extLst>
              </p:cNvPr>
              <p:cNvSpPr/>
              <p:nvPr/>
            </p:nvSpPr>
            <p:spPr>
              <a:xfrm>
                <a:off x="7825514" y="1380705"/>
                <a:ext cx="40200" cy="130148"/>
              </a:xfrm>
              <a:custGeom>
                <a:avLst/>
                <a:gdLst>
                  <a:gd name="connsiteX0" fmla="*/ 31511 w 40200"/>
                  <a:gd name="connsiteY0" fmla="*/ 130148 h 130148"/>
                  <a:gd name="connsiteX1" fmla="*/ 24732 w 40200"/>
                  <a:gd name="connsiteY1" fmla="*/ 127324 h 130148"/>
                  <a:gd name="connsiteX2" fmla="*/ 24732 w 40200"/>
                  <a:gd name="connsiteY2" fmla="*/ 3041 h 130148"/>
                  <a:gd name="connsiteX3" fmla="*/ 37160 w 40200"/>
                  <a:gd name="connsiteY3" fmla="*/ 2476 h 130148"/>
                  <a:gd name="connsiteX4" fmla="*/ 37725 w 40200"/>
                  <a:gd name="connsiteY4" fmla="*/ 14904 h 130148"/>
                  <a:gd name="connsiteX5" fmla="*/ 37725 w 40200"/>
                  <a:gd name="connsiteY5" fmla="*/ 115460 h 130148"/>
                  <a:gd name="connsiteX6" fmla="*/ 37160 w 40200"/>
                  <a:gd name="connsiteY6" fmla="*/ 127889 h 130148"/>
                  <a:gd name="connsiteX7" fmla="*/ 31511 w 40200"/>
                  <a:gd name="connsiteY7" fmla="*/ 130148 h 130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200" h="130148">
                    <a:moveTo>
                      <a:pt x="31511" y="130148"/>
                    </a:moveTo>
                    <a:cubicBezTo>
                      <a:pt x="29251" y="130148"/>
                      <a:pt x="26991" y="129018"/>
                      <a:pt x="24732" y="127324"/>
                    </a:cubicBezTo>
                    <a:cubicBezTo>
                      <a:pt x="24167" y="126759"/>
                      <a:pt x="-30631" y="65747"/>
                      <a:pt x="24732" y="3041"/>
                    </a:cubicBezTo>
                    <a:cubicBezTo>
                      <a:pt x="28121" y="-914"/>
                      <a:pt x="33770" y="-914"/>
                      <a:pt x="37160" y="2476"/>
                    </a:cubicBezTo>
                    <a:cubicBezTo>
                      <a:pt x="41114" y="5865"/>
                      <a:pt x="41114" y="11514"/>
                      <a:pt x="37725" y="14904"/>
                    </a:cubicBezTo>
                    <a:cubicBezTo>
                      <a:pt x="-6904" y="65747"/>
                      <a:pt x="36030" y="113201"/>
                      <a:pt x="37725" y="115460"/>
                    </a:cubicBezTo>
                    <a:cubicBezTo>
                      <a:pt x="41114" y="118850"/>
                      <a:pt x="40549" y="124499"/>
                      <a:pt x="37160" y="127889"/>
                    </a:cubicBezTo>
                    <a:cubicBezTo>
                      <a:pt x="36030" y="129583"/>
                      <a:pt x="33770" y="130148"/>
                      <a:pt x="31511" y="130148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Полилиния: фигура 260">
                <a:extLst>
                  <a:ext uri="{FF2B5EF4-FFF2-40B4-BE49-F238E27FC236}">
                    <a16:creationId xmlns:a16="http://schemas.microsoft.com/office/drawing/2014/main" id="{BC52E2F0-95E7-47B9-AE86-D6D06EEBFB9F}"/>
                  </a:ext>
                </a:extLst>
              </p:cNvPr>
              <p:cNvSpPr/>
              <p:nvPr/>
            </p:nvSpPr>
            <p:spPr>
              <a:xfrm>
                <a:off x="7847969" y="1380904"/>
                <a:ext cx="40002" cy="129949"/>
              </a:xfrm>
              <a:custGeom>
                <a:avLst/>
                <a:gdLst>
                  <a:gd name="connsiteX0" fmla="*/ 9056 w 40002"/>
                  <a:gd name="connsiteY0" fmla="*/ 129950 h 129949"/>
                  <a:gd name="connsiteX1" fmla="*/ 2842 w 40002"/>
                  <a:gd name="connsiteY1" fmla="*/ 127690 h 129949"/>
                  <a:gd name="connsiteX2" fmla="*/ 2277 w 40002"/>
                  <a:gd name="connsiteY2" fmla="*/ 115262 h 129949"/>
                  <a:gd name="connsiteX3" fmla="*/ 2277 w 40002"/>
                  <a:gd name="connsiteY3" fmla="*/ 14706 h 129949"/>
                  <a:gd name="connsiteX4" fmla="*/ 2842 w 40002"/>
                  <a:gd name="connsiteY4" fmla="*/ 2277 h 129949"/>
                  <a:gd name="connsiteX5" fmla="*/ 15270 w 40002"/>
                  <a:gd name="connsiteY5" fmla="*/ 2842 h 129949"/>
                  <a:gd name="connsiteX6" fmla="*/ 15270 w 40002"/>
                  <a:gd name="connsiteY6" fmla="*/ 127125 h 129949"/>
                  <a:gd name="connsiteX7" fmla="*/ 9056 w 40002"/>
                  <a:gd name="connsiteY7" fmla="*/ 129950 h 129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02" h="129949">
                    <a:moveTo>
                      <a:pt x="9056" y="129950"/>
                    </a:moveTo>
                    <a:cubicBezTo>
                      <a:pt x="6797" y="129950"/>
                      <a:pt x="4537" y="129385"/>
                      <a:pt x="2842" y="127690"/>
                    </a:cubicBezTo>
                    <a:cubicBezTo>
                      <a:pt x="-547" y="124301"/>
                      <a:pt x="-1112" y="118651"/>
                      <a:pt x="2277" y="115262"/>
                    </a:cubicBezTo>
                    <a:cubicBezTo>
                      <a:pt x="3972" y="113002"/>
                      <a:pt x="46341" y="65549"/>
                      <a:pt x="2277" y="14706"/>
                    </a:cubicBezTo>
                    <a:cubicBezTo>
                      <a:pt x="-1112" y="10751"/>
                      <a:pt x="-547" y="5102"/>
                      <a:pt x="2842" y="2277"/>
                    </a:cubicBezTo>
                    <a:cubicBezTo>
                      <a:pt x="6797" y="-1112"/>
                      <a:pt x="12446" y="-547"/>
                      <a:pt x="15270" y="2842"/>
                    </a:cubicBezTo>
                    <a:cubicBezTo>
                      <a:pt x="70633" y="65549"/>
                      <a:pt x="15835" y="126560"/>
                      <a:pt x="15270" y="127125"/>
                    </a:cubicBezTo>
                    <a:cubicBezTo>
                      <a:pt x="13576" y="128820"/>
                      <a:pt x="11316" y="129950"/>
                      <a:pt x="9056" y="129950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6" name="Рисунок 36">
              <a:extLst>
                <a:ext uri="{FF2B5EF4-FFF2-40B4-BE49-F238E27FC236}">
                  <a16:creationId xmlns:a16="http://schemas.microsoft.com/office/drawing/2014/main" id="{4C15E9F9-FB27-4B46-9C6C-913EC586FC8E}"/>
                </a:ext>
              </a:extLst>
            </p:cNvPr>
            <p:cNvGrpSpPr/>
            <p:nvPr/>
          </p:nvGrpSpPr>
          <p:grpSpPr>
            <a:xfrm>
              <a:off x="7848201" y="1445075"/>
              <a:ext cx="84021" cy="109842"/>
              <a:chOff x="7848201" y="1445075"/>
              <a:chExt cx="84021" cy="109842"/>
            </a:xfrm>
            <a:grpFill/>
          </p:grpSpPr>
          <p:sp>
            <p:nvSpPr>
              <p:cNvPr id="77" name="Полилиния: фигура 262">
                <a:extLst>
                  <a:ext uri="{FF2B5EF4-FFF2-40B4-BE49-F238E27FC236}">
                    <a16:creationId xmlns:a16="http://schemas.microsoft.com/office/drawing/2014/main" id="{2CC038F2-907B-4757-B67C-B2F705458ABC}"/>
                  </a:ext>
                </a:extLst>
              </p:cNvPr>
              <p:cNvSpPr/>
              <p:nvPr/>
            </p:nvSpPr>
            <p:spPr>
              <a:xfrm>
                <a:off x="7848201" y="1445075"/>
                <a:ext cx="83076" cy="109842"/>
              </a:xfrm>
              <a:custGeom>
                <a:avLst/>
                <a:gdLst>
                  <a:gd name="connsiteX0" fmla="*/ 9389 w 83076"/>
                  <a:gd name="connsiteY0" fmla="*/ 109842 h 109842"/>
                  <a:gd name="connsiteX1" fmla="*/ 350 w 83076"/>
                  <a:gd name="connsiteY1" fmla="*/ 101933 h 109842"/>
                  <a:gd name="connsiteX2" fmla="*/ 72096 w 83076"/>
                  <a:gd name="connsiteY2" fmla="*/ 247 h 109842"/>
                  <a:gd name="connsiteX3" fmla="*/ 82829 w 83076"/>
                  <a:gd name="connsiteY3" fmla="*/ 7026 h 109842"/>
                  <a:gd name="connsiteX4" fmla="*/ 76050 w 83076"/>
                  <a:gd name="connsiteY4" fmla="*/ 17760 h 109842"/>
                  <a:gd name="connsiteX5" fmla="*/ 17863 w 83076"/>
                  <a:gd name="connsiteY5" fmla="*/ 99674 h 109842"/>
                  <a:gd name="connsiteX6" fmla="*/ 9954 w 83076"/>
                  <a:gd name="connsiteY6" fmla="*/ 109842 h 109842"/>
                  <a:gd name="connsiteX7" fmla="*/ 9389 w 83076"/>
                  <a:gd name="connsiteY7" fmla="*/ 109842 h 109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076" h="109842">
                    <a:moveTo>
                      <a:pt x="9389" y="109842"/>
                    </a:moveTo>
                    <a:cubicBezTo>
                      <a:pt x="4870" y="109842"/>
                      <a:pt x="915" y="106453"/>
                      <a:pt x="350" y="101933"/>
                    </a:cubicBezTo>
                    <a:cubicBezTo>
                      <a:pt x="350" y="101369"/>
                      <a:pt x="-9253" y="20020"/>
                      <a:pt x="72096" y="247"/>
                    </a:cubicBezTo>
                    <a:cubicBezTo>
                      <a:pt x="76615" y="-883"/>
                      <a:pt x="81699" y="1942"/>
                      <a:pt x="82829" y="7026"/>
                    </a:cubicBezTo>
                    <a:cubicBezTo>
                      <a:pt x="83959" y="11546"/>
                      <a:pt x="81134" y="16630"/>
                      <a:pt x="76050" y="17760"/>
                    </a:cubicBezTo>
                    <a:cubicBezTo>
                      <a:pt x="9954" y="33578"/>
                      <a:pt x="17298" y="96849"/>
                      <a:pt x="17863" y="99674"/>
                    </a:cubicBezTo>
                    <a:cubicBezTo>
                      <a:pt x="18428" y="104758"/>
                      <a:pt x="15038" y="109277"/>
                      <a:pt x="9954" y="109842"/>
                    </a:cubicBezTo>
                    <a:cubicBezTo>
                      <a:pt x="9954" y="109842"/>
                      <a:pt x="9389" y="109842"/>
                      <a:pt x="9389" y="109842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Полилиния: фигура 263">
                <a:extLst>
                  <a:ext uri="{FF2B5EF4-FFF2-40B4-BE49-F238E27FC236}">
                    <a16:creationId xmlns:a16="http://schemas.microsoft.com/office/drawing/2014/main" id="{313CB469-9E69-4BAC-8806-630CDE682715}"/>
                  </a:ext>
                </a:extLst>
              </p:cNvPr>
              <p:cNvSpPr/>
              <p:nvPr/>
            </p:nvSpPr>
            <p:spPr>
              <a:xfrm>
                <a:off x="7848897" y="1445826"/>
                <a:ext cx="83324" cy="109091"/>
              </a:xfrm>
              <a:custGeom>
                <a:avLst/>
                <a:gdLst>
                  <a:gd name="connsiteX0" fmla="*/ 8693 w 83324"/>
                  <a:gd name="connsiteY0" fmla="*/ 109092 h 109091"/>
                  <a:gd name="connsiteX1" fmla="*/ 219 w 83324"/>
                  <a:gd name="connsiteY1" fmla="*/ 102312 h 109091"/>
                  <a:gd name="connsiteX2" fmla="*/ 6998 w 83324"/>
                  <a:gd name="connsiteY2" fmla="*/ 91579 h 109091"/>
                  <a:gd name="connsiteX3" fmla="*/ 6998 w 83324"/>
                  <a:gd name="connsiteY3" fmla="*/ 91579 h 109091"/>
                  <a:gd name="connsiteX4" fmla="*/ 65185 w 83324"/>
                  <a:gd name="connsiteY4" fmla="*/ 9665 h 109091"/>
                  <a:gd name="connsiteX5" fmla="*/ 73094 w 83324"/>
                  <a:gd name="connsiteY5" fmla="*/ 61 h 109091"/>
                  <a:gd name="connsiteX6" fmla="*/ 82698 w 83324"/>
                  <a:gd name="connsiteY6" fmla="*/ 7970 h 109091"/>
                  <a:gd name="connsiteX7" fmla="*/ 10388 w 83324"/>
                  <a:gd name="connsiteY7" fmla="*/ 109092 h 109091"/>
                  <a:gd name="connsiteX8" fmla="*/ 8693 w 83324"/>
                  <a:gd name="connsiteY8" fmla="*/ 109092 h 109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324" h="109091">
                    <a:moveTo>
                      <a:pt x="8693" y="109092"/>
                    </a:moveTo>
                    <a:cubicBezTo>
                      <a:pt x="4738" y="109092"/>
                      <a:pt x="784" y="106267"/>
                      <a:pt x="219" y="102312"/>
                    </a:cubicBezTo>
                    <a:cubicBezTo>
                      <a:pt x="-911" y="97793"/>
                      <a:pt x="2479" y="92709"/>
                      <a:pt x="6998" y="91579"/>
                    </a:cubicBezTo>
                    <a:lnTo>
                      <a:pt x="6998" y="91579"/>
                    </a:lnTo>
                    <a:cubicBezTo>
                      <a:pt x="9823" y="91014"/>
                      <a:pt x="71964" y="76891"/>
                      <a:pt x="65185" y="9665"/>
                    </a:cubicBezTo>
                    <a:cubicBezTo>
                      <a:pt x="64620" y="4581"/>
                      <a:pt x="68010" y="626"/>
                      <a:pt x="73094" y="61"/>
                    </a:cubicBezTo>
                    <a:cubicBezTo>
                      <a:pt x="77613" y="-504"/>
                      <a:pt x="82133" y="2886"/>
                      <a:pt x="82698" y="7970"/>
                    </a:cubicBezTo>
                    <a:cubicBezTo>
                      <a:pt x="91172" y="91014"/>
                      <a:pt x="10953" y="108527"/>
                      <a:pt x="10388" y="109092"/>
                    </a:cubicBezTo>
                    <a:cubicBezTo>
                      <a:pt x="9823" y="109092"/>
                      <a:pt x="9258" y="109092"/>
                      <a:pt x="8693" y="109092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7" name="Рисунок 36">
              <a:extLst>
                <a:ext uri="{FF2B5EF4-FFF2-40B4-BE49-F238E27FC236}">
                  <a16:creationId xmlns:a16="http://schemas.microsoft.com/office/drawing/2014/main" id="{806CAC1A-A730-43BA-BB80-0D1DCE94CE49}"/>
                </a:ext>
              </a:extLst>
            </p:cNvPr>
            <p:cNvGrpSpPr/>
            <p:nvPr/>
          </p:nvGrpSpPr>
          <p:grpSpPr>
            <a:xfrm>
              <a:off x="7848201" y="1507782"/>
              <a:ext cx="84021" cy="109842"/>
              <a:chOff x="7848201" y="1507782"/>
              <a:chExt cx="84021" cy="109842"/>
            </a:xfrm>
            <a:grpFill/>
          </p:grpSpPr>
          <p:sp>
            <p:nvSpPr>
              <p:cNvPr id="75" name="Полилиния: фигура 265">
                <a:extLst>
                  <a:ext uri="{FF2B5EF4-FFF2-40B4-BE49-F238E27FC236}">
                    <a16:creationId xmlns:a16="http://schemas.microsoft.com/office/drawing/2014/main" id="{1FEEF84E-6AFE-456C-B704-7419B9E68339}"/>
                  </a:ext>
                </a:extLst>
              </p:cNvPr>
              <p:cNvSpPr/>
              <p:nvPr/>
            </p:nvSpPr>
            <p:spPr>
              <a:xfrm>
                <a:off x="7848201" y="1507782"/>
                <a:ext cx="83076" cy="109842"/>
              </a:xfrm>
              <a:custGeom>
                <a:avLst/>
                <a:gdLst>
                  <a:gd name="connsiteX0" fmla="*/ 9389 w 83076"/>
                  <a:gd name="connsiteY0" fmla="*/ 109842 h 109842"/>
                  <a:gd name="connsiteX1" fmla="*/ 350 w 83076"/>
                  <a:gd name="connsiteY1" fmla="*/ 101933 h 109842"/>
                  <a:gd name="connsiteX2" fmla="*/ 72096 w 83076"/>
                  <a:gd name="connsiteY2" fmla="*/ 247 h 109842"/>
                  <a:gd name="connsiteX3" fmla="*/ 82829 w 83076"/>
                  <a:gd name="connsiteY3" fmla="*/ 7026 h 109842"/>
                  <a:gd name="connsiteX4" fmla="*/ 76050 w 83076"/>
                  <a:gd name="connsiteY4" fmla="*/ 17760 h 109842"/>
                  <a:gd name="connsiteX5" fmla="*/ 17863 w 83076"/>
                  <a:gd name="connsiteY5" fmla="*/ 99674 h 109842"/>
                  <a:gd name="connsiteX6" fmla="*/ 9954 w 83076"/>
                  <a:gd name="connsiteY6" fmla="*/ 109842 h 109842"/>
                  <a:gd name="connsiteX7" fmla="*/ 9389 w 83076"/>
                  <a:gd name="connsiteY7" fmla="*/ 109842 h 109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076" h="109842">
                    <a:moveTo>
                      <a:pt x="9389" y="109842"/>
                    </a:moveTo>
                    <a:cubicBezTo>
                      <a:pt x="4870" y="109842"/>
                      <a:pt x="915" y="106453"/>
                      <a:pt x="350" y="101933"/>
                    </a:cubicBezTo>
                    <a:cubicBezTo>
                      <a:pt x="350" y="101369"/>
                      <a:pt x="-9253" y="20020"/>
                      <a:pt x="72096" y="247"/>
                    </a:cubicBezTo>
                    <a:cubicBezTo>
                      <a:pt x="76615" y="-883"/>
                      <a:pt x="81699" y="1942"/>
                      <a:pt x="82829" y="7026"/>
                    </a:cubicBezTo>
                    <a:cubicBezTo>
                      <a:pt x="83959" y="11546"/>
                      <a:pt x="81134" y="16630"/>
                      <a:pt x="76050" y="17760"/>
                    </a:cubicBezTo>
                    <a:cubicBezTo>
                      <a:pt x="10519" y="33578"/>
                      <a:pt x="17298" y="96849"/>
                      <a:pt x="17863" y="99674"/>
                    </a:cubicBezTo>
                    <a:cubicBezTo>
                      <a:pt x="18428" y="104758"/>
                      <a:pt x="15038" y="109277"/>
                      <a:pt x="9954" y="109842"/>
                    </a:cubicBezTo>
                    <a:cubicBezTo>
                      <a:pt x="9954" y="109842"/>
                      <a:pt x="9389" y="109842"/>
                      <a:pt x="9389" y="109842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Полилиния: фигура 266">
                <a:extLst>
                  <a:ext uri="{FF2B5EF4-FFF2-40B4-BE49-F238E27FC236}">
                    <a16:creationId xmlns:a16="http://schemas.microsoft.com/office/drawing/2014/main" id="{8806193F-E02B-46C1-BDC2-F962AE281C83}"/>
                  </a:ext>
                </a:extLst>
              </p:cNvPr>
              <p:cNvSpPr/>
              <p:nvPr/>
            </p:nvSpPr>
            <p:spPr>
              <a:xfrm>
                <a:off x="7848897" y="1508533"/>
                <a:ext cx="83324" cy="109091"/>
              </a:xfrm>
              <a:custGeom>
                <a:avLst/>
                <a:gdLst>
                  <a:gd name="connsiteX0" fmla="*/ 8693 w 83324"/>
                  <a:gd name="connsiteY0" fmla="*/ 109091 h 109091"/>
                  <a:gd name="connsiteX1" fmla="*/ 219 w 83324"/>
                  <a:gd name="connsiteY1" fmla="*/ 102312 h 109091"/>
                  <a:gd name="connsiteX2" fmla="*/ 6998 w 83324"/>
                  <a:gd name="connsiteY2" fmla="*/ 91579 h 109091"/>
                  <a:gd name="connsiteX3" fmla="*/ 6998 w 83324"/>
                  <a:gd name="connsiteY3" fmla="*/ 91579 h 109091"/>
                  <a:gd name="connsiteX4" fmla="*/ 65185 w 83324"/>
                  <a:gd name="connsiteY4" fmla="*/ 9665 h 109091"/>
                  <a:gd name="connsiteX5" fmla="*/ 73094 w 83324"/>
                  <a:gd name="connsiteY5" fmla="*/ 61 h 109091"/>
                  <a:gd name="connsiteX6" fmla="*/ 82698 w 83324"/>
                  <a:gd name="connsiteY6" fmla="*/ 7970 h 109091"/>
                  <a:gd name="connsiteX7" fmla="*/ 10388 w 83324"/>
                  <a:gd name="connsiteY7" fmla="*/ 109091 h 109091"/>
                  <a:gd name="connsiteX8" fmla="*/ 8693 w 83324"/>
                  <a:gd name="connsiteY8" fmla="*/ 109091 h 109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324" h="109091">
                    <a:moveTo>
                      <a:pt x="8693" y="109091"/>
                    </a:moveTo>
                    <a:cubicBezTo>
                      <a:pt x="4738" y="109091"/>
                      <a:pt x="784" y="106267"/>
                      <a:pt x="219" y="102312"/>
                    </a:cubicBezTo>
                    <a:cubicBezTo>
                      <a:pt x="-911" y="97793"/>
                      <a:pt x="2479" y="92709"/>
                      <a:pt x="6998" y="91579"/>
                    </a:cubicBezTo>
                    <a:lnTo>
                      <a:pt x="6998" y="91579"/>
                    </a:lnTo>
                    <a:cubicBezTo>
                      <a:pt x="9823" y="91014"/>
                      <a:pt x="71964" y="76891"/>
                      <a:pt x="65185" y="9665"/>
                    </a:cubicBezTo>
                    <a:cubicBezTo>
                      <a:pt x="64620" y="4581"/>
                      <a:pt x="68010" y="626"/>
                      <a:pt x="73094" y="61"/>
                    </a:cubicBezTo>
                    <a:cubicBezTo>
                      <a:pt x="77613" y="-504"/>
                      <a:pt x="82133" y="2886"/>
                      <a:pt x="82698" y="7970"/>
                    </a:cubicBezTo>
                    <a:cubicBezTo>
                      <a:pt x="91172" y="91014"/>
                      <a:pt x="10953" y="109091"/>
                      <a:pt x="10388" y="109091"/>
                    </a:cubicBezTo>
                    <a:cubicBezTo>
                      <a:pt x="9823" y="109091"/>
                      <a:pt x="9258" y="109091"/>
                      <a:pt x="8693" y="109091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8" name="Рисунок 36">
              <a:extLst>
                <a:ext uri="{FF2B5EF4-FFF2-40B4-BE49-F238E27FC236}">
                  <a16:creationId xmlns:a16="http://schemas.microsoft.com/office/drawing/2014/main" id="{C1A84820-657F-4094-ABE4-7F649CF4151A}"/>
                </a:ext>
              </a:extLst>
            </p:cNvPr>
            <p:cNvGrpSpPr/>
            <p:nvPr/>
          </p:nvGrpSpPr>
          <p:grpSpPr>
            <a:xfrm>
              <a:off x="7782236" y="1445104"/>
              <a:ext cx="83481" cy="109814"/>
              <a:chOff x="7782236" y="1445104"/>
              <a:chExt cx="83481" cy="109814"/>
            </a:xfrm>
            <a:grpFill/>
          </p:grpSpPr>
          <p:sp>
            <p:nvSpPr>
              <p:cNvPr id="73" name="Полилиния: фигура 268">
                <a:extLst>
                  <a:ext uri="{FF2B5EF4-FFF2-40B4-BE49-F238E27FC236}">
                    <a16:creationId xmlns:a16="http://schemas.microsoft.com/office/drawing/2014/main" id="{3160443D-A8FC-414B-BAF7-BFFA08F94429}"/>
                  </a:ext>
                </a:extLst>
              </p:cNvPr>
              <p:cNvSpPr/>
              <p:nvPr/>
            </p:nvSpPr>
            <p:spPr>
              <a:xfrm>
                <a:off x="7782236" y="1445104"/>
                <a:ext cx="83048" cy="109814"/>
              </a:xfrm>
              <a:custGeom>
                <a:avLst/>
                <a:gdLst>
                  <a:gd name="connsiteX0" fmla="*/ 74224 w 83048"/>
                  <a:gd name="connsiteY0" fmla="*/ 109814 h 109814"/>
                  <a:gd name="connsiteX1" fmla="*/ 73094 w 83048"/>
                  <a:gd name="connsiteY1" fmla="*/ 109814 h 109814"/>
                  <a:gd name="connsiteX2" fmla="*/ 65185 w 83048"/>
                  <a:gd name="connsiteY2" fmla="*/ 99645 h 109814"/>
                  <a:gd name="connsiteX3" fmla="*/ 6998 w 83048"/>
                  <a:gd name="connsiteY3" fmla="*/ 17732 h 109814"/>
                  <a:gd name="connsiteX4" fmla="*/ 219 w 83048"/>
                  <a:gd name="connsiteY4" fmla="*/ 6998 h 109814"/>
                  <a:gd name="connsiteX5" fmla="*/ 10953 w 83048"/>
                  <a:gd name="connsiteY5" fmla="*/ 219 h 109814"/>
                  <a:gd name="connsiteX6" fmla="*/ 82698 w 83048"/>
                  <a:gd name="connsiteY6" fmla="*/ 101905 h 109814"/>
                  <a:gd name="connsiteX7" fmla="*/ 74224 w 83048"/>
                  <a:gd name="connsiteY7" fmla="*/ 109814 h 109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048" h="109814">
                    <a:moveTo>
                      <a:pt x="74224" y="109814"/>
                    </a:moveTo>
                    <a:cubicBezTo>
                      <a:pt x="73659" y="109814"/>
                      <a:pt x="73659" y="109814"/>
                      <a:pt x="73094" y="109814"/>
                    </a:cubicBezTo>
                    <a:cubicBezTo>
                      <a:pt x="68010" y="109249"/>
                      <a:pt x="64620" y="104730"/>
                      <a:pt x="65185" y="99645"/>
                    </a:cubicBezTo>
                    <a:cubicBezTo>
                      <a:pt x="65750" y="96821"/>
                      <a:pt x="72529" y="33549"/>
                      <a:pt x="6998" y="17732"/>
                    </a:cubicBezTo>
                    <a:cubicBezTo>
                      <a:pt x="2479" y="16602"/>
                      <a:pt x="-911" y="11517"/>
                      <a:pt x="219" y="6998"/>
                    </a:cubicBezTo>
                    <a:cubicBezTo>
                      <a:pt x="1349" y="2479"/>
                      <a:pt x="6433" y="-911"/>
                      <a:pt x="10953" y="219"/>
                    </a:cubicBezTo>
                    <a:cubicBezTo>
                      <a:pt x="92301" y="19426"/>
                      <a:pt x="82698" y="100775"/>
                      <a:pt x="82698" y="101905"/>
                    </a:cubicBezTo>
                    <a:cubicBezTo>
                      <a:pt x="82698" y="106425"/>
                      <a:pt x="78743" y="109814"/>
                      <a:pt x="74224" y="109814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Полилиния: фигура 269">
                <a:extLst>
                  <a:ext uri="{FF2B5EF4-FFF2-40B4-BE49-F238E27FC236}">
                    <a16:creationId xmlns:a16="http://schemas.microsoft.com/office/drawing/2014/main" id="{2AC0327A-10B4-447A-A78D-38837F40DBB6}"/>
                  </a:ext>
                </a:extLst>
              </p:cNvPr>
              <p:cNvSpPr/>
              <p:nvPr/>
            </p:nvSpPr>
            <p:spPr>
              <a:xfrm>
                <a:off x="7782310" y="1445826"/>
                <a:ext cx="83407" cy="109091"/>
              </a:xfrm>
              <a:custGeom>
                <a:avLst/>
                <a:gdLst>
                  <a:gd name="connsiteX0" fmla="*/ 74150 w 83407"/>
                  <a:gd name="connsiteY0" fmla="*/ 109092 h 109091"/>
                  <a:gd name="connsiteX1" fmla="*/ 72455 w 83407"/>
                  <a:gd name="connsiteY1" fmla="*/ 109092 h 109091"/>
                  <a:gd name="connsiteX2" fmla="*/ 710 w 83407"/>
                  <a:gd name="connsiteY2" fmla="*/ 7970 h 109091"/>
                  <a:gd name="connsiteX3" fmla="*/ 10314 w 83407"/>
                  <a:gd name="connsiteY3" fmla="*/ 61 h 109091"/>
                  <a:gd name="connsiteX4" fmla="*/ 18223 w 83407"/>
                  <a:gd name="connsiteY4" fmla="*/ 9665 h 109091"/>
                  <a:gd name="connsiteX5" fmla="*/ 76410 w 83407"/>
                  <a:gd name="connsiteY5" fmla="*/ 91579 h 109091"/>
                  <a:gd name="connsiteX6" fmla="*/ 83189 w 83407"/>
                  <a:gd name="connsiteY6" fmla="*/ 102312 h 109091"/>
                  <a:gd name="connsiteX7" fmla="*/ 74150 w 83407"/>
                  <a:gd name="connsiteY7" fmla="*/ 109092 h 109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407" h="109091">
                    <a:moveTo>
                      <a:pt x="74150" y="109092"/>
                    </a:moveTo>
                    <a:cubicBezTo>
                      <a:pt x="73585" y="109092"/>
                      <a:pt x="73020" y="109092"/>
                      <a:pt x="72455" y="109092"/>
                    </a:cubicBezTo>
                    <a:cubicBezTo>
                      <a:pt x="71890" y="109092"/>
                      <a:pt x="-8329" y="91014"/>
                      <a:pt x="710" y="7970"/>
                    </a:cubicBezTo>
                    <a:cubicBezTo>
                      <a:pt x="1275" y="2886"/>
                      <a:pt x="5794" y="-504"/>
                      <a:pt x="10314" y="61"/>
                    </a:cubicBezTo>
                    <a:cubicBezTo>
                      <a:pt x="15398" y="626"/>
                      <a:pt x="18788" y="5146"/>
                      <a:pt x="18223" y="9665"/>
                    </a:cubicBezTo>
                    <a:cubicBezTo>
                      <a:pt x="11444" y="76326"/>
                      <a:pt x="73585" y="91014"/>
                      <a:pt x="76410" y="91579"/>
                    </a:cubicBezTo>
                    <a:cubicBezTo>
                      <a:pt x="80929" y="92709"/>
                      <a:pt x="84319" y="97228"/>
                      <a:pt x="83189" y="102312"/>
                    </a:cubicBezTo>
                    <a:cubicBezTo>
                      <a:pt x="82059" y="106267"/>
                      <a:pt x="78670" y="109092"/>
                      <a:pt x="74150" y="109092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9" name="Рисунок 36">
              <a:extLst>
                <a:ext uri="{FF2B5EF4-FFF2-40B4-BE49-F238E27FC236}">
                  <a16:creationId xmlns:a16="http://schemas.microsoft.com/office/drawing/2014/main" id="{23B3F5E7-27DE-4941-AA41-BD6AB850EBD3}"/>
                </a:ext>
              </a:extLst>
            </p:cNvPr>
            <p:cNvGrpSpPr/>
            <p:nvPr/>
          </p:nvGrpSpPr>
          <p:grpSpPr>
            <a:xfrm>
              <a:off x="7782310" y="1508375"/>
              <a:ext cx="83539" cy="109249"/>
              <a:chOff x="7782310" y="1508375"/>
              <a:chExt cx="83539" cy="109249"/>
            </a:xfrm>
            <a:grpFill/>
          </p:grpSpPr>
          <p:sp>
            <p:nvSpPr>
              <p:cNvPr id="71" name="Полилиния: фигура 271">
                <a:extLst>
                  <a:ext uri="{FF2B5EF4-FFF2-40B4-BE49-F238E27FC236}">
                    <a16:creationId xmlns:a16="http://schemas.microsoft.com/office/drawing/2014/main" id="{F4250A8B-75B9-4F86-8498-59F69B74BCA1}"/>
                  </a:ext>
                </a:extLst>
              </p:cNvPr>
              <p:cNvSpPr/>
              <p:nvPr/>
            </p:nvSpPr>
            <p:spPr>
              <a:xfrm>
                <a:off x="7782801" y="1508375"/>
                <a:ext cx="83048" cy="109249"/>
              </a:xfrm>
              <a:custGeom>
                <a:avLst/>
                <a:gdLst>
                  <a:gd name="connsiteX0" fmla="*/ 73659 w 83048"/>
                  <a:gd name="connsiteY0" fmla="*/ 109249 h 109249"/>
                  <a:gd name="connsiteX1" fmla="*/ 72529 w 83048"/>
                  <a:gd name="connsiteY1" fmla="*/ 109249 h 109249"/>
                  <a:gd name="connsiteX2" fmla="*/ 64620 w 83048"/>
                  <a:gd name="connsiteY2" fmla="*/ 99081 h 109249"/>
                  <a:gd name="connsiteX3" fmla="*/ 6998 w 83048"/>
                  <a:gd name="connsiteY3" fmla="*/ 17732 h 109249"/>
                  <a:gd name="connsiteX4" fmla="*/ 219 w 83048"/>
                  <a:gd name="connsiteY4" fmla="*/ 6998 h 109249"/>
                  <a:gd name="connsiteX5" fmla="*/ 10953 w 83048"/>
                  <a:gd name="connsiteY5" fmla="*/ 219 h 109249"/>
                  <a:gd name="connsiteX6" fmla="*/ 82698 w 83048"/>
                  <a:gd name="connsiteY6" fmla="*/ 101905 h 109249"/>
                  <a:gd name="connsiteX7" fmla="*/ 73659 w 83048"/>
                  <a:gd name="connsiteY7" fmla="*/ 109249 h 109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048" h="109249">
                    <a:moveTo>
                      <a:pt x="73659" y="109249"/>
                    </a:moveTo>
                    <a:cubicBezTo>
                      <a:pt x="73094" y="109249"/>
                      <a:pt x="73094" y="109249"/>
                      <a:pt x="72529" y="109249"/>
                    </a:cubicBezTo>
                    <a:cubicBezTo>
                      <a:pt x="67445" y="108684"/>
                      <a:pt x="64055" y="104165"/>
                      <a:pt x="64620" y="99081"/>
                    </a:cubicBezTo>
                    <a:cubicBezTo>
                      <a:pt x="65185" y="96821"/>
                      <a:pt x="72529" y="32985"/>
                      <a:pt x="6998" y="17732"/>
                    </a:cubicBezTo>
                    <a:cubicBezTo>
                      <a:pt x="2479" y="16602"/>
                      <a:pt x="-911" y="11517"/>
                      <a:pt x="219" y="6998"/>
                    </a:cubicBezTo>
                    <a:cubicBezTo>
                      <a:pt x="1349" y="2479"/>
                      <a:pt x="6433" y="-911"/>
                      <a:pt x="10953" y="219"/>
                    </a:cubicBezTo>
                    <a:cubicBezTo>
                      <a:pt x="92301" y="19426"/>
                      <a:pt x="82698" y="100775"/>
                      <a:pt x="82698" y="101905"/>
                    </a:cubicBezTo>
                    <a:cubicBezTo>
                      <a:pt x="82133" y="106424"/>
                      <a:pt x="78178" y="109249"/>
                      <a:pt x="73659" y="109249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Полилиния: фигура 272">
                <a:extLst>
                  <a:ext uri="{FF2B5EF4-FFF2-40B4-BE49-F238E27FC236}">
                    <a16:creationId xmlns:a16="http://schemas.microsoft.com/office/drawing/2014/main" id="{CE43833D-9850-4086-87B9-D15E7905C1ED}"/>
                  </a:ext>
                </a:extLst>
              </p:cNvPr>
              <p:cNvSpPr/>
              <p:nvPr/>
            </p:nvSpPr>
            <p:spPr>
              <a:xfrm>
                <a:off x="7782310" y="1508533"/>
                <a:ext cx="83436" cy="109091"/>
              </a:xfrm>
              <a:custGeom>
                <a:avLst/>
                <a:gdLst>
                  <a:gd name="connsiteX0" fmla="*/ 74150 w 83436"/>
                  <a:gd name="connsiteY0" fmla="*/ 109091 h 109091"/>
                  <a:gd name="connsiteX1" fmla="*/ 72455 w 83436"/>
                  <a:gd name="connsiteY1" fmla="*/ 109091 h 109091"/>
                  <a:gd name="connsiteX2" fmla="*/ 710 w 83436"/>
                  <a:gd name="connsiteY2" fmla="*/ 7970 h 109091"/>
                  <a:gd name="connsiteX3" fmla="*/ 10314 w 83436"/>
                  <a:gd name="connsiteY3" fmla="*/ 61 h 109091"/>
                  <a:gd name="connsiteX4" fmla="*/ 18223 w 83436"/>
                  <a:gd name="connsiteY4" fmla="*/ 9665 h 109091"/>
                  <a:gd name="connsiteX5" fmla="*/ 76410 w 83436"/>
                  <a:gd name="connsiteY5" fmla="*/ 91579 h 109091"/>
                  <a:gd name="connsiteX6" fmla="*/ 83189 w 83436"/>
                  <a:gd name="connsiteY6" fmla="*/ 102312 h 109091"/>
                  <a:gd name="connsiteX7" fmla="*/ 74150 w 83436"/>
                  <a:gd name="connsiteY7" fmla="*/ 109091 h 109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436" h="109091">
                    <a:moveTo>
                      <a:pt x="74150" y="109091"/>
                    </a:moveTo>
                    <a:cubicBezTo>
                      <a:pt x="73585" y="109091"/>
                      <a:pt x="73020" y="109091"/>
                      <a:pt x="72455" y="109091"/>
                    </a:cubicBezTo>
                    <a:cubicBezTo>
                      <a:pt x="71890" y="109091"/>
                      <a:pt x="-8329" y="91014"/>
                      <a:pt x="710" y="7970"/>
                    </a:cubicBezTo>
                    <a:cubicBezTo>
                      <a:pt x="1275" y="2886"/>
                      <a:pt x="5794" y="-504"/>
                      <a:pt x="10314" y="61"/>
                    </a:cubicBezTo>
                    <a:cubicBezTo>
                      <a:pt x="15398" y="626"/>
                      <a:pt x="18788" y="5146"/>
                      <a:pt x="18223" y="9665"/>
                    </a:cubicBezTo>
                    <a:cubicBezTo>
                      <a:pt x="11444" y="76891"/>
                      <a:pt x="73585" y="91014"/>
                      <a:pt x="76410" y="91579"/>
                    </a:cubicBezTo>
                    <a:cubicBezTo>
                      <a:pt x="81494" y="92709"/>
                      <a:pt x="84319" y="97228"/>
                      <a:pt x="83189" y="102312"/>
                    </a:cubicBezTo>
                    <a:cubicBezTo>
                      <a:pt x="82059" y="106267"/>
                      <a:pt x="78670" y="109091"/>
                      <a:pt x="74150" y="109091"/>
                    </a:cubicBezTo>
                    <a:close/>
                  </a:path>
                </a:pathLst>
              </a:custGeom>
              <a:grpFill/>
              <a:ln w="108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3C96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0" name="Полилиния: фигура 273">
              <a:extLst>
                <a:ext uri="{FF2B5EF4-FFF2-40B4-BE49-F238E27FC236}">
                  <a16:creationId xmlns:a16="http://schemas.microsoft.com/office/drawing/2014/main" id="{0DF65502-8579-4239-BEC3-608C4188998C}"/>
                </a:ext>
              </a:extLst>
            </p:cNvPr>
            <p:cNvSpPr/>
            <p:nvPr/>
          </p:nvSpPr>
          <p:spPr>
            <a:xfrm>
              <a:off x="7848551" y="1536840"/>
              <a:ext cx="18077" cy="135581"/>
            </a:xfrm>
            <a:custGeom>
              <a:avLst/>
              <a:gdLst>
                <a:gd name="connsiteX0" fmla="*/ 9039 w 18077"/>
                <a:gd name="connsiteY0" fmla="*/ 135582 h 135581"/>
                <a:gd name="connsiteX1" fmla="*/ 0 w 18077"/>
                <a:gd name="connsiteY1" fmla="*/ 126543 h 135581"/>
                <a:gd name="connsiteX2" fmla="*/ 0 w 18077"/>
                <a:gd name="connsiteY2" fmla="*/ 9039 h 135581"/>
                <a:gd name="connsiteX3" fmla="*/ 9039 w 18077"/>
                <a:gd name="connsiteY3" fmla="*/ 0 h 135581"/>
                <a:gd name="connsiteX4" fmla="*/ 18078 w 18077"/>
                <a:gd name="connsiteY4" fmla="*/ 9039 h 135581"/>
                <a:gd name="connsiteX5" fmla="*/ 18078 w 18077"/>
                <a:gd name="connsiteY5" fmla="*/ 126543 h 135581"/>
                <a:gd name="connsiteX6" fmla="*/ 9039 w 18077"/>
                <a:gd name="connsiteY6" fmla="*/ 135582 h 135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77" h="135581">
                  <a:moveTo>
                    <a:pt x="9039" y="135582"/>
                  </a:moveTo>
                  <a:cubicBezTo>
                    <a:pt x="3954" y="135582"/>
                    <a:pt x="0" y="131627"/>
                    <a:pt x="0" y="126543"/>
                  </a:cubicBezTo>
                  <a:lnTo>
                    <a:pt x="0" y="9039"/>
                  </a:lnTo>
                  <a:cubicBezTo>
                    <a:pt x="0" y="3954"/>
                    <a:pt x="3954" y="0"/>
                    <a:pt x="9039" y="0"/>
                  </a:cubicBezTo>
                  <a:cubicBezTo>
                    <a:pt x="14123" y="0"/>
                    <a:pt x="18078" y="3954"/>
                    <a:pt x="18078" y="9039"/>
                  </a:cubicBezTo>
                  <a:lnTo>
                    <a:pt x="18078" y="126543"/>
                  </a:lnTo>
                  <a:cubicBezTo>
                    <a:pt x="17513" y="131627"/>
                    <a:pt x="13558" y="135582"/>
                    <a:pt x="9039" y="135582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7045451" y="4825988"/>
            <a:ext cx="513995" cy="326656"/>
            <a:chOff x="571500" y="1701800"/>
            <a:chExt cx="863620" cy="524064"/>
          </a:xfrm>
          <a:solidFill>
            <a:srgbClr val="FFC000"/>
          </a:solidFill>
        </p:grpSpPr>
        <p:sp>
          <p:nvSpPr>
            <p:cNvPr id="82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3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8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8809" y="2673560"/>
            <a:ext cx="1840957" cy="144667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 contourW="12700">
            <a:contourClr>
              <a:schemeClr val="accent4">
                <a:lumMod val="75000"/>
              </a:schemeClr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5" name="Рисунок 8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075" y="2347058"/>
            <a:ext cx="1427207" cy="2345475"/>
          </a:xfrm>
          <a:prstGeom prst="rect">
            <a:avLst/>
          </a:prstGeom>
          <a:scene3d>
            <a:camera prst="orthographicFront"/>
            <a:lightRig rig="threePt" dir="t"/>
          </a:scene3d>
          <a:sp3d contourW="12700">
            <a:contourClr>
              <a:schemeClr val="accent4">
                <a:lumMod val="75000"/>
              </a:schemeClr>
            </a:contourClr>
          </a:sp3d>
        </p:spPr>
      </p:pic>
      <p:pic>
        <p:nvPicPr>
          <p:cNvPr id="87" name="Picture 5" descr="http://www.akcizanet.ru/upload/iblock/c02/c02d655f2d67c1bfc068f18c6c4fd9a7.jpeg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76039" y="2374290"/>
            <a:ext cx="433212" cy="2269188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contourW="12700">
            <a:contourClr>
              <a:schemeClr val="accent4">
                <a:lumMod val="75000"/>
              </a:schemeClr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20" descr="Гигрометр психрометрический ВИТ-1 из каталога Гигрометры ...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342" r="32224"/>
          <a:stretch/>
        </p:blipFill>
        <p:spPr bwMode="auto">
          <a:xfrm>
            <a:off x="8849572" y="2298524"/>
            <a:ext cx="985781" cy="2328888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contourW="12700">
            <a:contourClr>
              <a:schemeClr val="accent4">
                <a:lumMod val="75000"/>
              </a:schemeClr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9" name="Группа 88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373334" y="779158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90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1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373334" y="1798089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93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4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364061" y="3520174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96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7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373334" y="2434157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99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0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1" name="Группа 100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391582" y="5241926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102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3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382731" y="4390765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105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6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9532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2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Номер слайда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97</a:t>
            </a:fld>
            <a:endParaRPr lang="en-US" dirty="0"/>
          </a:p>
        </p:txBody>
      </p:sp>
      <p:sp>
        <p:nvSpPr>
          <p:cNvPr id="84" name="Прямоугольник 83"/>
          <p:cNvSpPr/>
          <p:nvPr/>
        </p:nvSpPr>
        <p:spPr>
          <a:xfrm>
            <a:off x="5995292" y="790908"/>
            <a:ext cx="5649274" cy="5940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600" dirty="0" smtClean="0"/>
              <a:t>Помещение </a:t>
            </a:r>
            <a:r>
              <a:rPr lang="ru-RU" altLang="ru-RU" sz="1600" dirty="0"/>
              <a:t>торгового зала и размещение </a:t>
            </a:r>
            <a:r>
              <a:rPr lang="ru-RU" altLang="ru-RU" sz="1600" dirty="0" smtClean="0"/>
              <a:t>в нем стеллажного оборудования для реализации организовано </a:t>
            </a:r>
            <a:r>
              <a:rPr lang="ru-RU" altLang="ru-RU" sz="1600" dirty="0"/>
              <a:t>в соответствии с гигиеническими требованиями по видам </a:t>
            </a:r>
            <a:r>
              <a:rPr lang="ru-RU" altLang="ru-RU" sz="1600" dirty="0" smtClean="0"/>
              <a:t>продукции</a:t>
            </a:r>
          </a:p>
          <a:p>
            <a:pPr marL="285750" lvl="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ru-RU" altLang="ru-RU" sz="1600" dirty="0"/>
          </a:p>
          <a:p>
            <a:pPr marL="285750" lvl="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600" dirty="0" smtClean="0"/>
              <a:t>Предусмотрена реализация продукции с соблюдением товарного соседства</a:t>
            </a:r>
          </a:p>
          <a:p>
            <a:pPr marL="285750" lvl="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ru-RU" altLang="ru-RU" sz="1600" dirty="0"/>
          </a:p>
          <a:p>
            <a:pPr marL="28575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Для </a:t>
            </a:r>
            <a:r>
              <a:rPr lang="ru-RU" sz="1600" dirty="0" smtClean="0"/>
              <a:t>реализации продукции предусмотрено наличие холодильных витрин </a:t>
            </a:r>
            <a:r>
              <a:rPr lang="ru-RU" sz="1600" dirty="0"/>
              <a:t>по видам продукции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600" dirty="0"/>
          </a:p>
          <a:p>
            <a:pPr marL="285750" lvl="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600" dirty="0" smtClean="0"/>
              <a:t>Контроль условий реализации  </a:t>
            </a:r>
            <a:r>
              <a:rPr lang="ru-RU" altLang="ru-RU" sz="1600" dirty="0"/>
              <a:t>осуществляется </a:t>
            </a:r>
            <a:r>
              <a:rPr lang="ru-RU" altLang="ru-RU" sz="1600" dirty="0" smtClean="0"/>
              <a:t>ежедневно  </a:t>
            </a:r>
            <a:r>
              <a:rPr lang="ru-RU" altLang="ru-RU" sz="1600" dirty="0"/>
              <a:t>2 раза в </a:t>
            </a:r>
            <a:r>
              <a:rPr lang="ru-RU" altLang="ru-RU" sz="1600" dirty="0" smtClean="0"/>
              <a:t>сутки</a:t>
            </a:r>
          </a:p>
          <a:p>
            <a:pPr marL="285750" lvl="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ru-RU" altLang="ru-RU" sz="1600" dirty="0"/>
          </a:p>
          <a:p>
            <a:pPr marL="285750" lvl="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600" dirty="0" smtClean="0"/>
              <a:t>Данные мониторинга вносятся в Регистрационный </a:t>
            </a:r>
            <a:r>
              <a:rPr lang="ru-RU" altLang="ru-RU" sz="1600" dirty="0"/>
              <a:t>лист температурных и влажностных режимов </a:t>
            </a:r>
            <a:r>
              <a:rPr lang="ru-RU" altLang="ru-RU" sz="1600" dirty="0" smtClean="0"/>
              <a:t>ПРП+2 </a:t>
            </a:r>
            <a:endParaRPr lang="ru-RU" altLang="ru-RU" sz="1600" dirty="0"/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 smtClean="0"/>
              <a:t> </a:t>
            </a:r>
            <a:endParaRPr lang="ru-RU" sz="16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В </a:t>
            </a:r>
            <a:r>
              <a:rPr lang="ru-RU" sz="1600" dirty="0"/>
              <a:t>случае обнаружения </a:t>
            </a:r>
            <a:r>
              <a:rPr lang="ru-RU" sz="1600" dirty="0" smtClean="0"/>
              <a:t>реализации продукции в условиях, выше установленных пределов, проводятся корректирующие действия</a:t>
            </a:r>
          </a:p>
          <a:p>
            <a:pPr algn="just"/>
            <a:endParaRPr lang="ru-RU" sz="1400" dirty="0">
              <a:latin typeface="Futura PT Book" panose="020B0502020204020303" pitchFamily="34" charset="-52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400" dirty="0">
              <a:solidFill>
                <a:srgbClr val="44546A"/>
              </a:solidFill>
              <a:latin typeface="Futura PT Book" panose="020B0502020204020303" pitchFamily="34" charset="-52"/>
            </a:endParaRPr>
          </a:p>
        </p:txBody>
      </p:sp>
      <p:sp>
        <p:nvSpPr>
          <p:cNvPr id="86" name="Заголовок 12">
            <a:extLst>
              <a:ext uri="{FF2B5EF4-FFF2-40B4-BE49-F238E27FC236}">
                <a16:creationId xmlns:a16="http://schemas.microsoft.com/office/drawing/2014/main" id="{5E65BD3A-6B9D-471D-969C-2EE841FDA794}"/>
              </a:ext>
            </a:extLst>
          </p:cNvPr>
          <p:cNvSpPr txBox="1">
            <a:spLocks/>
          </p:cNvSpPr>
          <p:nvPr/>
        </p:nvSpPr>
        <p:spPr>
          <a:xfrm>
            <a:off x="654657" y="421576"/>
            <a:ext cx="8477250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Контроль условий реализации товаров</a:t>
            </a:r>
            <a:endParaRPr lang="ru-RU" dirty="0"/>
          </a:p>
        </p:txBody>
      </p: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5889472" y="882814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88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9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5895089" y="2093301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94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5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43" t="17425" r="5651" b="36396"/>
          <a:stretch/>
        </p:blipFill>
        <p:spPr>
          <a:xfrm>
            <a:off x="395416" y="3984622"/>
            <a:ext cx="3799703" cy="2502675"/>
          </a:xfrm>
          <a:prstGeom prst="rect">
            <a:avLst/>
          </a:prstGeom>
          <a:ln w="38100">
            <a:solidFill>
              <a:srgbClr val="1D398D"/>
            </a:solidFill>
          </a:ln>
          <a:scene3d>
            <a:camera prst="orthographicFront"/>
            <a:lightRig rig="threePt" dir="t"/>
          </a:scene3d>
          <a:sp3d contourW="12700">
            <a:contourClr>
              <a:schemeClr val="accent4">
                <a:lumMod val="75000"/>
              </a:schemeClr>
            </a:contourClr>
          </a:sp3d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416" y="944934"/>
            <a:ext cx="3799703" cy="2885662"/>
          </a:xfrm>
          <a:prstGeom prst="rect">
            <a:avLst/>
          </a:prstGeom>
          <a:ln w="38100">
            <a:solidFill>
              <a:srgbClr val="1D398D"/>
            </a:solidFill>
          </a:ln>
          <a:scene3d>
            <a:camera prst="orthographicFront"/>
            <a:lightRig rig="threePt" dir="t"/>
          </a:scene3d>
          <a:sp3d contourW="12700">
            <a:contourClr>
              <a:schemeClr val="accent4">
                <a:lumMod val="75000"/>
              </a:schemeClr>
            </a:contourClr>
          </a:sp3d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0213" y="4483726"/>
            <a:ext cx="1840957" cy="1446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120" descr="Гигрометр психрометрический ВИТ-1 из каталога Гигрометры ...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342" r="32224"/>
          <a:stretch/>
        </p:blipFill>
        <p:spPr bwMode="auto">
          <a:xfrm>
            <a:off x="4400391" y="1236536"/>
            <a:ext cx="985781" cy="2328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5895089" y="2849789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27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8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5910413" y="3765322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32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3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5910413" y="4542823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35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6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5910413" y="5464510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38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9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9838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5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5E65BD3A-6B9D-471D-969C-2EE841FDA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657" y="778917"/>
            <a:ext cx="10725916" cy="430887"/>
          </a:xfrm>
        </p:spPr>
        <p:txBody>
          <a:bodyPr vert="horz"/>
          <a:lstStyle/>
          <a:p>
            <a:r>
              <a:rPr lang="ru-RU" sz="1400" dirty="0" smtClean="0"/>
              <a:t>Корректирующие действия, в случае выявления несоответствия температурного режима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98</a:t>
            </a:fld>
            <a:endParaRPr lang="en-US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57" y="1148249"/>
            <a:ext cx="5604040" cy="5400095"/>
          </a:xfrm>
          <a:prstGeom prst="rect">
            <a:avLst/>
          </a:prstGeom>
          <a:scene3d>
            <a:camera prst="orthographicFront"/>
            <a:lightRig rig="threePt" dir="t"/>
          </a:scene3d>
          <a:sp3d contourW="12700">
            <a:contourClr>
              <a:schemeClr val="accent4">
                <a:lumMod val="75000"/>
              </a:schemeClr>
            </a:contourClr>
          </a:sp3d>
        </p:spPr>
      </p:pic>
      <p:sp>
        <p:nvSpPr>
          <p:cNvPr id="84" name="Прямоугольник 83"/>
          <p:cNvSpPr/>
          <p:nvPr/>
        </p:nvSpPr>
        <p:spPr>
          <a:xfrm>
            <a:off x="6425514" y="1074679"/>
            <a:ext cx="5307227" cy="61247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dirty="0">
                <a:latin typeface="Futura PT Book" panose="020B0502020204020303" pitchFamily="34" charset="-52"/>
              </a:rPr>
              <a:t>Контроль влажности и температуры режимов хранения  осуществляется </a:t>
            </a:r>
            <a:r>
              <a:rPr lang="ru-RU" altLang="ru-RU" dirty="0" smtClean="0">
                <a:latin typeface="Futura PT Book" panose="020B0502020204020303" pitchFamily="34" charset="-52"/>
              </a:rPr>
              <a:t>ежедневно  </a:t>
            </a:r>
            <a:r>
              <a:rPr lang="ru-RU" altLang="ru-RU" dirty="0">
                <a:latin typeface="Futura PT Book" panose="020B0502020204020303" pitchFamily="34" charset="-52"/>
              </a:rPr>
              <a:t>2 раза в </a:t>
            </a:r>
            <a:r>
              <a:rPr lang="ru-RU" altLang="ru-RU" dirty="0" smtClean="0">
                <a:latin typeface="Futura PT Book" panose="020B0502020204020303" pitchFamily="34" charset="-52"/>
              </a:rPr>
              <a:t>сутки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latin typeface="Futura PT Book" panose="020B0502020204020303" pitchFamily="34" charset="-52"/>
              </a:rPr>
              <a:t> 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dirty="0" smtClean="0">
                <a:latin typeface="Futura PT Book" panose="020B0502020204020303" pitchFamily="34" charset="-52"/>
              </a:rPr>
              <a:t>Для Торговых комплексов, </a:t>
            </a:r>
            <a:r>
              <a:rPr lang="ru-RU" altLang="ru-RU" dirty="0">
                <a:latin typeface="Futura PT Book" panose="020B0502020204020303" pitchFamily="34" charset="-52"/>
              </a:rPr>
              <a:t>в которых функционирует </a:t>
            </a:r>
            <a:r>
              <a:rPr lang="ru-RU" altLang="ru-RU" dirty="0" smtClean="0">
                <a:latin typeface="Futura PT Book" panose="020B0502020204020303" pitchFamily="34" charset="-52"/>
              </a:rPr>
              <a:t>система </a:t>
            </a:r>
            <a:r>
              <a:rPr lang="ru-RU" altLang="ru-RU" dirty="0">
                <a:latin typeface="Futura PT Book" panose="020B0502020204020303" pitchFamily="34" charset="-52"/>
              </a:rPr>
              <a:t>автоматического мониторинга </a:t>
            </a:r>
            <a:r>
              <a:rPr lang="ru-RU" altLang="ru-RU" dirty="0" smtClean="0">
                <a:latin typeface="Futura PT Book" panose="020B0502020204020303" pitchFamily="34" charset="-52"/>
              </a:rPr>
              <a:t>температуры - </a:t>
            </a:r>
            <a:r>
              <a:rPr lang="ru-RU" dirty="0" smtClean="0">
                <a:latin typeface="Futura PT Book" panose="020B0502020204020303" pitchFamily="34" charset="-52"/>
              </a:rPr>
              <a:t>1 </a:t>
            </a:r>
            <a:r>
              <a:rPr lang="ru-RU" dirty="0">
                <a:latin typeface="Futura PT Book" panose="020B0502020204020303" pitchFamily="34" charset="-52"/>
              </a:rPr>
              <a:t>раз в </a:t>
            </a:r>
            <a:r>
              <a:rPr lang="ru-RU" dirty="0" smtClean="0">
                <a:latin typeface="Futura PT Book" panose="020B0502020204020303" pitchFamily="34" charset="-52"/>
              </a:rPr>
              <a:t>сутки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ru-RU" sz="1200" dirty="0" smtClean="0">
              <a:latin typeface="Futura PT Book" panose="020B0502020204020303" pitchFamily="34" charset="-5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Futura PT Book" panose="020B0502020204020303" pitchFamily="34" charset="-52"/>
              </a:rPr>
              <a:t>В </a:t>
            </a:r>
            <a:r>
              <a:rPr lang="ru-RU" dirty="0">
                <a:latin typeface="Futura PT Book" panose="020B0502020204020303" pitchFamily="34" charset="-52"/>
              </a:rPr>
              <a:t>случае обнаружения температуры хранения выше </a:t>
            </a:r>
            <a:r>
              <a:rPr lang="ru-RU" dirty="0" smtClean="0">
                <a:latin typeface="Futura PT Book" panose="020B0502020204020303" pitchFamily="34" charset="-52"/>
              </a:rPr>
              <a:t>установленных пределов, проводятся корректирующие </a:t>
            </a:r>
            <a:r>
              <a:rPr lang="ru-RU" dirty="0">
                <a:latin typeface="Futura PT Book" panose="020B0502020204020303" pitchFamily="34" charset="-52"/>
              </a:rPr>
              <a:t>действия:</a:t>
            </a:r>
          </a:p>
          <a:p>
            <a:pPr defTabSz="685800"/>
            <a:r>
              <a:rPr lang="ru-RU" sz="1400" dirty="0" smtClean="0">
                <a:solidFill>
                  <a:srgbClr val="00B050"/>
                </a:solidFill>
              </a:rPr>
              <a:t>•</a:t>
            </a:r>
            <a:r>
              <a:rPr lang="ru-RU" sz="1400" dirty="0">
                <a:latin typeface="Futura PT Book" panose="020B0502020204020303" pitchFamily="34" charset="-52"/>
              </a:rPr>
              <a:t>проинформирован руководитель</a:t>
            </a:r>
          </a:p>
          <a:p>
            <a:pPr defTabSz="685800"/>
            <a:r>
              <a:rPr lang="ru-RU" sz="1400" dirty="0" smtClean="0">
                <a:solidFill>
                  <a:srgbClr val="00B050"/>
                </a:solidFill>
              </a:rPr>
              <a:t>•</a:t>
            </a:r>
            <a:r>
              <a:rPr lang="ru-RU" sz="1400" dirty="0" smtClean="0">
                <a:latin typeface="Futura PT Book" panose="020B0502020204020303" pitchFamily="34" charset="-52"/>
              </a:rPr>
              <a:t>продукция перемещена для хранения в </a:t>
            </a:r>
            <a:r>
              <a:rPr lang="ru-RU" sz="1400" dirty="0">
                <a:latin typeface="Futura PT Book" panose="020B0502020204020303" pitchFamily="34" charset="-52"/>
              </a:rPr>
              <a:t>другое холодильное </a:t>
            </a:r>
            <a:r>
              <a:rPr lang="ru-RU" sz="1400" dirty="0" smtClean="0">
                <a:latin typeface="Futura PT Book" panose="020B0502020204020303" pitchFamily="34" charset="-52"/>
              </a:rPr>
              <a:t>оборудование/другой склад</a:t>
            </a:r>
          </a:p>
          <a:p>
            <a:pPr defTabSz="685800"/>
            <a:r>
              <a:rPr lang="ru-RU" sz="1400" dirty="0" smtClean="0">
                <a:solidFill>
                  <a:srgbClr val="FFC000"/>
                </a:solidFill>
              </a:rPr>
              <a:t>•</a:t>
            </a:r>
            <a:r>
              <a:rPr lang="ru-RU" sz="1400" dirty="0" smtClean="0">
                <a:latin typeface="Futura PT Book" panose="020B0502020204020303" pitchFamily="34" charset="-52"/>
              </a:rPr>
              <a:t>в случае порчи продукции, товар списывается и утилизируется</a:t>
            </a:r>
            <a:endParaRPr lang="ru-RU" sz="1400" dirty="0">
              <a:latin typeface="Futura PT Book" panose="020B0502020204020303" pitchFamily="34" charset="-52"/>
            </a:endParaRPr>
          </a:p>
          <a:p>
            <a:pPr defTabSz="685800"/>
            <a:r>
              <a:rPr lang="ru-RU" sz="1400" dirty="0" smtClean="0">
                <a:solidFill>
                  <a:srgbClr val="00B050"/>
                </a:solidFill>
              </a:rPr>
              <a:t>•</a:t>
            </a:r>
            <a:r>
              <a:rPr lang="ru-RU" sz="1400" dirty="0" smtClean="0">
                <a:latin typeface="Futura PT Book" panose="020B0502020204020303" pitchFamily="34" charset="-52"/>
              </a:rPr>
              <a:t>подана </a:t>
            </a:r>
            <a:r>
              <a:rPr lang="ru-RU" sz="1400" dirty="0">
                <a:latin typeface="Futura PT Book" panose="020B0502020204020303" pitchFamily="34" charset="-52"/>
              </a:rPr>
              <a:t>заявку  в службу эксплуатации  для настройки или ремонта </a:t>
            </a:r>
            <a:r>
              <a:rPr lang="ru-RU" sz="1400" dirty="0" smtClean="0">
                <a:latin typeface="Futura PT Book" panose="020B0502020204020303" pitchFamily="34" charset="-52"/>
              </a:rPr>
              <a:t>оборудования/приведение температурного режима помещения сухого склада в нормируемые показатели (руководитель)</a:t>
            </a:r>
          </a:p>
          <a:p>
            <a:pPr defTabSz="685800"/>
            <a:r>
              <a:rPr lang="ru-RU" sz="1400" dirty="0" smtClean="0">
                <a:solidFill>
                  <a:srgbClr val="00B050"/>
                </a:solidFill>
              </a:rPr>
              <a:t>•</a:t>
            </a:r>
            <a:r>
              <a:rPr lang="ru-RU" sz="1400" dirty="0" smtClean="0">
                <a:latin typeface="Futura PT Book" panose="020B0502020204020303" pitchFamily="34" charset="-52"/>
              </a:rPr>
              <a:t>проведен </a:t>
            </a:r>
            <a:r>
              <a:rPr lang="ru-RU" sz="1400" dirty="0">
                <a:latin typeface="Futura PT Book" panose="020B0502020204020303" pitchFamily="34" charset="-52"/>
              </a:rPr>
              <a:t>контрольный замер температуры/влажности (после </a:t>
            </a:r>
            <a:r>
              <a:rPr lang="ru-RU" sz="1400" dirty="0" smtClean="0">
                <a:latin typeface="Futura PT Book" panose="020B0502020204020303" pitchFamily="34" charset="-52"/>
              </a:rPr>
              <a:t>проведения ремонтных работ, </a:t>
            </a:r>
            <a:r>
              <a:rPr lang="ru-RU" sz="1400" dirty="0">
                <a:latin typeface="Futura PT Book" panose="020B0502020204020303" pitchFamily="34" charset="-52"/>
              </a:rPr>
              <a:t>совместно с </a:t>
            </a:r>
            <a:r>
              <a:rPr lang="ru-RU" sz="1400" dirty="0" smtClean="0">
                <a:latin typeface="Futura PT Book" panose="020B0502020204020303" pitchFamily="34" charset="-52"/>
              </a:rPr>
              <a:t>со службой эксплуатации) </a:t>
            </a:r>
            <a:endParaRPr lang="ru-RU" sz="1400" dirty="0">
              <a:latin typeface="Futura PT Book" panose="020B0502020204020303" pitchFamily="34" charset="-52"/>
            </a:endParaRPr>
          </a:p>
          <a:p>
            <a:pPr algn="just" defTabSz="685800"/>
            <a:r>
              <a:rPr lang="ru-RU" sz="1200" dirty="0" smtClean="0">
                <a:solidFill>
                  <a:srgbClr val="00B050"/>
                </a:solidFill>
              </a:rPr>
              <a:t>   </a:t>
            </a:r>
            <a:endParaRPr lang="ru-RU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Futura PT Book" panose="020B0502020204020303" pitchFamily="34" charset="-52"/>
              </a:rPr>
              <a:t>Срок </a:t>
            </a:r>
            <a:r>
              <a:rPr lang="ru-RU" dirty="0">
                <a:latin typeface="Futura PT Book" panose="020B0502020204020303" pitchFamily="34" charset="-52"/>
              </a:rPr>
              <a:t>хранения регистрационных листов не менее 6 </a:t>
            </a:r>
            <a:r>
              <a:rPr lang="ru-RU" dirty="0" smtClean="0">
                <a:latin typeface="Futura PT Book" panose="020B0502020204020303" pitchFamily="34" charset="-52"/>
              </a:rPr>
              <a:t>месяцев</a:t>
            </a:r>
            <a:endParaRPr lang="ru-RU" dirty="0">
              <a:latin typeface="Futura PT Book" panose="020B0502020204020303" pitchFamily="34" charset="-52"/>
            </a:endParaRPr>
          </a:p>
          <a:p>
            <a:r>
              <a:rPr lang="ru-RU" dirty="0">
                <a:latin typeface="Futura PT Book" panose="020B0502020204020303" pitchFamily="34" charset="-52"/>
              </a:rPr>
              <a:t>	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400" dirty="0">
              <a:solidFill>
                <a:srgbClr val="44546A"/>
              </a:solidFill>
              <a:latin typeface="Futura PT Book" panose="020B0502020204020303" pitchFamily="34" charset="-52"/>
            </a:endParaRPr>
          </a:p>
        </p:txBody>
      </p:sp>
      <p:sp>
        <p:nvSpPr>
          <p:cNvPr id="86" name="Заголовок 12">
            <a:extLst>
              <a:ext uri="{FF2B5EF4-FFF2-40B4-BE49-F238E27FC236}">
                <a16:creationId xmlns:a16="http://schemas.microsoft.com/office/drawing/2014/main" id="{5E65BD3A-6B9D-471D-969C-2EE841FDA794}"/>
              </a:ext>
            </a:extLst>
          </p:cNvPr>
          <p:cNvSpPr txBox="1">
            <a:spLocks/>
          </p:cNvSpPr>
          <p:nvPr/>
        </p:nvSpPr>
        <p:spPr>
          <a:xfrm>
            <a:off x="654657" y="421576"/>
            <a:ext cx="8477250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Контроль условий хранения товаров</a:t>
            </a:r>
            <a:endParaRPr lang="ru-RU" dirty="0"/>
          </a:p>
        </p:txBody>
      </p: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330694" y="1134784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88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9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0" name="Группа 89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345611" y="2201005"/>
            <a:ext cx="291611" cy="207681"/>
            <a:chOff x="571500" y="1701800"/>
            <a:chExt cx="863620" cy="524064"/>
          </a:xfrm>
          <a:solidFill>
            <a:srgbClr val="FFC000"/>
          </a:solidFill>
        </p:grpSpPr>
        <p:sp>
          <p:nvSpPr>
            <p:cNvPr id="91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2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387867" y="3153643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94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5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6" name="Группа 95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6338600" y="6118241"/>
            <a:ext cx="291611" cy="207681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97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8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88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74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3" name="TextBox 232">
            <a:extLst>
              <a:ext uri="{FF2B5EF4-FFF2-40B4-BE49-F238E27FC236}">
                <a16:creationId xmlns:a16="http://schemas.microsoft.com/office/drawing/2014/main" id="{0E0B3696-8DED-4008-A2FB-59C1A28D099B}"/>
              </a:ext>
            </a:extLst>
          </p:cNvPr>
          <p:cNvSpPr txBox="1"/>
          <p:nvPr/>
        </p:nvSpPr>
        <p:spPr>
          <a:xfrm>
            <a:off x="567690" y="513592"/>
            <a:ext cx="9885313" cy="88639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2200" b="1" dirty="0" smtClean="0">
                <a:cs typeface="Arial" panose="020B0604020202020204" pitchFamily="34" charset="0"/>
              </a:rPr>
              <a:t>Аудит стандартов качества торговых комплексов в «Ленте»</a:t>
            </a:r>
          </a:p>
          <a:p>
            <a:pPr>
              <a:lnSpc>
                <a:spcPct val="90000"/>
              </a:lnSpc>
            </a:pPr>
            <a:endParaRPr lang="ru-RU" sz="2200" b="1" dirty="0"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ru-RU" sz="1600" b="1" dirty="0" smtClean="0">
                <a:cs typeface="Arial" panose="020B0604020202020204" pitchFamily="34" charset="0"/>
              </a:rPr>
              <a:t>Цель:</a:t>
            </a:r>
            <a:r>
              <a:rPr lang="ru-RU" sz="2000" b="1" dirty="0" smtClean="0">
                <a:cs typeface="Arial" panose="020B0604020202020204" pitchFamily="34" charset="0"/>
              </a:rPr>
              <a:t> </a:t>
            </a:r>
            <a:endParaRPr lang="ru-RU" sz="2000" b="1" dirty="0"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E0B4896-07E5-429A-BE43-310398A462D5}"/>
              </a:ext>
            </a:extLst>
          </p:cNvPr>
          <p:cNvSpPr txBox="1"/>
          <p:nvPr/>
        </p:nvSpPr>
        <p:spPr>
          <a:xfrm>
            <a:off x="576588" y="2884185"/>
            <a:ext cx="1518860" cy="2215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1600" b="1" dirty="0" smtClean="0">
                <a:cs typeface="Arial" panose="020B0604020202020204" pitchFamily="34" charset="0"/>
              </a:rPr>
              <a:t>Регламенты:</a:t>
            </a:r>
            <a:endParaRPr lang="ru-RU" sz="1600" b="1" dirty="0">
              <a:cs typeface="Arial" panose="020B0604020202020204" pitchFamily="34" charset="0"/>
            </a:endParaRPr>
          </a:p>
        </p:txBody>
      </p:sp>
      <p:sp>
        <p:nvSpPr>
          <p:cNvPr id="24" name="Номер слайда 5">
            <a:extLst>
              <a:ext uri="{FF2B5EF4-FFF2-40B4-BE49-F238E27FC236}">
                <a16:creationId xmlns:a16="http://schemas.microsoft.com/office/drawing/2014/main" id="{1D76C4C8-075F-02F8-F546-285739D3AEB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100118" y="6548344"/>
            <a:ext cx="52197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 b="1">
                <a:solidFill>
                  <a:schemeClr val="accent2"/>
                </a:solidFill>
                <a:latin typeface="+mj-lt"/>
              </a:defRPr>
            </a:lvl1pPr>
          </a:lstStyle>
          <a:p>
            <a:fld id="{766344E1-0F76-4023-B180-E4B0CE5660A5}" type="slidenum">
              <a:rPr lang="en-US" smtClean="0">
                <a:solidFill>
                  <a:schemeClr val="accent1"/>
                </a:solidFill>
              </a:rPr>
              <a:pPr/>
              <a:t>99</a:t>
            </a:fld>
            <a:endParaRPr lang="en-US" dirty="0">
              <a:solidFill>
                <a:schemeClr val="accent1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521926" y="862400"/>
            <a:ext cx="10889991" cy="1720013"/>
            <a:chOff x="408589" y="1343734"/>
            <a:chExt cx="2258670" cy="552294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65D0E19-EBD5-1BC0-813A-B15F60588B06}"/>
                </a:ext>
              </a:extLst>
            </p:cNvPr>
            <p:cNvSpPr txBox="1"/>
            <p:nvPr/>
          </p:nvSpPr>
          <p:spPr>
            <a:xfrm>
              <a:off x="408589" y="3407744"/>
              <a:ext cx="2136463" cy="34589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 defTabSz="685817">
                <a:spcAft>
                  <a:spcPts val="600"/>
                </a:spcAft>
                <a:defRPr/>
              </a:pPr>
              <a:r>
                <a:rPr lang="ru-RU" sz="1400" dirty="0" smtClean="0">
                  <a:solidFill>
                    <a:schemeClr val="tx2"/>
                  </a:solidFill>
                </a:rPr>
                <a:t>подтверждения эффективности функционирования системы</a:t>
              </a:r>
              <a:r>
                <a:rPr lang="en-US" sz="1400" dirty="0" smtClean="0">
                  <a:solidFill>
                    <a:schemeClr val="tx2"/>
                  </a:solidFill>
                </a:rPr>
                <a:t> </a:t>
              </a:r>
              <a:r>
                <a:rPr lang="ru-RU" sz="1400" dirty="0" smtClean="0">
                  <a:solidFill>
                    <a:schemeClr val="tx2"/>
                  </a:solidFill>
                </a:rPr>
                <a:t>менеджмента безопасности пищевой продукции по управлению опасными факторами и рисками в торговых комплексах Компании. Выявить систематические грубые нарушения по соблюдению требований в торговых комплексах, которые выполняются не в полном объеме или не выполняются, установить причины, </a:t>
              </a:r>
              <a:r>
                <a:rPr lang="ru-RU" sz="1400" dirty="0" smtClean="0"/>
                <a:t>с </a:t>
              </a:r>
              <a:r>
                <a:rPr lang="ru-RU" sz="1400" dirty="0"/>
                <a:t>целью их последующего улучшения</a:t>
              </a:r>
              <a:r>
                <a:rPr lang="ru-RU" sz="1400" dirty="0" smtClean="0">
                  <a:solidFill>
                    <a:schemeClr val="tx2"/>
                  </a:solidFill>
                </a:rPr>
                <a:t>. Обеспечить условия для реализации безопасной и качественной продукции.</a:t>
              </a:r>
            </a:p>
          </p:txBody>
        </p:sp>
        <p:grpSp>
          <p:nvGrpSpPr>
            <p:cNvPr id="15" name="Группа 14"/>
            <p:cNvGrpSpPr/>
            <p:nvPr/>
          </p:nvGrpSpPr>
          <p:grpSpPr>
            <a:xfrm>
              <a:off x="573752" y="1343734"/>
              <a:ext cx="2093507" cy="2344024"/>
              <a:chOff x="573752" y="1343734"/>
              <a:chExt cx="2093507" cy="2344024"/>
            </a:xfrm>
          </p:grpSpPr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2520983" y="1343734"/>
                <a:ext cx="146276" cy="2344024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  <p:cxnSp>
            <p:nvCxnSpPr>
              <p:cNvPr id="20" name="Прямая соединительная линия 19">
                <a:extLst>
                  <a:ext uri="{FF2B5EF4-FFF2-40B4-BE49-F238E27FC236}">
                    <a16:creationId xmlns:a16="http://schemas.microsoft.com/office/drawing/2014/main" id="{F78E17E4-B6EC-FCD1-DE50-9C039168BD98}"/>
                  </a:ext>
                </a:extLst>
              </p:cNvPr>
              <p:cNvCxnSpPr>
                <a:cxnSpLocks/>
                <a:endCxn id="17" idx="2"/>
              </p:cNvCxnSpPr>
              <p:nvPr/>
            </p:nvCxnSpPr>
            <p:spPr>
              <a:xfrm>
                <a:off x="576621" y="2513290"/>
                <a:ext cx="1944362" cy="2456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2518114" y="1343734"/>
                <a:ext cx="146276" cy="2344024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  <p:cxnSp>
            <p:nvCxnSpPr>
              <p:cNvPr id="26" name="Прямая соединительная линия 25">
                <a:extLst>
                  <a:ext uri="{FF2B5EF4-FFF2-40B4-BE49-F238E27FC236}">
                    <a16:creationId xmlns:a16="http://schemas.microsoft.com/office/drawing/2014/main" id="{F78E17E4-B6EC-FCD1-DE50-9C039168BD98}"/>
                  </a:ext>
                </a:extLst>
              </p:cNvPr>
              <p:cNvCxnSpPr>
                <a:cxnSpLocks/>
                <a:endCxn id="25" idx="2"/>
              </p:cNvCxnSpPr>
              <p:nvPr/>
            </p:nvCxnSpPr>
            <p:spPr>
              <a:xfrm>
                <a:off x="573752" y="2513290"/>
                <a:ext cx="1944362" cy="2456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Прямая соединительная линия 27">
                <a:extLst>
                  <a:ext uri="{FF2B5EF4-FFF2-40B4-BE49-F238E27FC236}">
                    <a16:creationId xmlns:a16="http://schemas.microsoft.com/office/drawing/2014/main" id="{F78E17E4-B6EC-FCD1-DE50-9C039168BD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3752" y="2503323"/>
                <a:ext cx="1944362" cy="2456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0" name="Группа 29"/>
          <p:cNvGrpSpPr/>
          <p:nvPr/>
        </p:nvGrpSpPr>
        <p:grpSpPr>
          <a:xfrm>
            <a:off x="505610" y="2632941"/>
            <a:ext cx="10906307" cy="1348978"/>
            <a:chOff x="426509" y="1343734"/>
            <a:chExt cx="2240750" cy="4719484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65D0E19-EBD5-1BC0-813A-B15F60588B06}"/>
                </a:ext>
              </a:extLst>
            </p:cNvPr>
            <p:cNvSpPr txBox="1"/>
            <p:nvPr/>
          </p:nvSpPr>
          <p:spPr>
            <a:xfrm>
              <a:off x="426509" y="3532795"/>
              <a:ext cx="2116342" cy="25304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 defTabSz="685817">
                <a:spcAft>
                  <a:spcPts val="600"/>
                </a:spcAft>
                <a:defRPr/>
              </a:pPr>
              <a:r>
                <a:rPr lang="ru-RU" sz="1400" dirty="0">
                  <a:latin typeface="Verdana (Основной текст)"/>
                  <a:cs typeface="Calibri" panose="020F0502020204030204" pitchFamily="34" charset="0"/>
                </a:rPr>
                <a:t>Отчеты о результатах внутренних аудитов являются входными данными для анализа систем менеджмента качества и безопасности пищевой продукции со стороны </a:t>
              </a:r>
              <a:r>
                <a:rPr lang="ru-RU" sz="1400" dirty="0" smtClean="0">
                  <a:latin typeface="Verdana (Основной текст)"/>
                  <a:cs typeface="Calibri" panose="020F0502020204030204" pitchFamily="34" charset="0"/>
                </a:rPr>
                <a:t>руководства</a:t>
              </a:r>
              <a:endParaRPr lang="ru-RU" sz="1400" dirty="0">
                <a:latin typeface="Verdana (Основной текст)"/>
                <a:cs typeface="Calibri" panose="020F0502020204030204" pitchFamily="34" charset="0"/>
              </a:endParaRPr>
            </a:p>
            <a:p>
              <a:pPr algn="just" defTabSz="685817">
                <a:spcAft>
                  <a:spcPts val="600"/>
                </a:spcAft>
                <a:defRPr/>
              </a:pPr>
              <a:endParaRPr lang="ru-RU" sz="1400" dirty="0" smtClean="0">
                <a:solidFill>
                  <a:schemeClr val="tx2"/>
                </a:solidFill>
              </a:endParaRPr>
            </a:p>
          </p:txBody>
        </p:sp>
        <p:grpSp>
          <p:nvGrpSpPr>
            <p:cNvPr id="32" name="Группа 31"/>
            <p:cNvGrpSpPr/>
            <p:nvPr/>
          </p:nvGrpSpPr>
          <p:grpSpPr>
            <a:xfrm>
              <a:off x="768427" y="1343734"/>
              <a:ext cx="1898832" cy="2344024"/>
              <a:chOff x="768427" y="1343734"/>
              <a:chExt cx="1898832" cy="2344024"/>
            </a:xfrm>
          </p:grpSpPr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2520983" y="1343734"/>
                <a:ext cx="146276" cy="2344024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2518114" y="1343734"/>
                <a:ext cx="146276" cy="2344024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  <p:cxnSp>
            <p:nvCxnSpPr>
              <p:cNvPr id="38" name="Прямая соединительная линия 37">
                <a:extLst>
                  <a:ext uri="{FF2B5EF4-FFF2-40B4-BE49-F238E27FC236}">
                    <a16:creationId xmlns:a16="http://schemas.microsoft.com/office/drawing/2014/main" id="{F78E17E4-B6EC-FCD1-DE50-9C039168BD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68427" y="2505782"/>
                <a:ext cx="1749687" cy="73438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10822706" y="1215226"/>
            <a:ext cx="524523" cy="326656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40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1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10862017" y="2905290"/>
            <a:ext cx="499086" cy="370350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43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4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45" name="Рисунок 52">
            <a:extLst>
              <a:ext uri="{FF2B5EF4-FFF2-40B4-BE49-F238E27FC236}">
                <a16:creationId xmlns:a16="http://schemas.microsoft.com/office/drawing/2014/main" id="{6B478794-5985-4936-A13C-3682089420A3}"/>
              </a:ext>
            </a:extLst>
          </p:cNvPr>
          <p:cNvSpPr/>
          <p:nvPr/>
        </p:nvSpPr>
        <p:spPr>
          <a:xfrm>
            <a:off x="10862017" y="917020"/>
            <a:ext cx="409631" cy="381521"/>
          </a:xfrm>
          <a:custGeom>
            <a:avLst/>
            <a:gdLst>
              <a:gd name="connsiteX0" fmla="*/ 521000 w 521575"/>
              <a:gd name="connsiteY0" fmla="*/ 65485 h 517175"/>
              <a:gd name="connsiteX1" fmla="*/ 513300 w 521575"/>
              <a:gd name="connsiteY1" fmla="*/ 60073 h 517175"/>
              <a:gd name="connsiteX2" fmla="*/ 463079 w 521575"/>
              <a:gd name="connsiteY2" fmla="*/ 58898 h 517175"/>
              <a:gd name="connsiteX3" fmla="*/ 464214 w 521575"/>
              <a:gd name="connsiteY3" fmla="*/ 8665 h 517175"/>
              <a:gd name="connsiteX4" fmla="*/ 459158 w 521575"/>
              <a:gd name="connsiteY4" fmla="*/ 722 h 517175"/>
              <a:gd name="connsiteX5" fmla="*/ 449882 w 521575"/>
              <a:gd name="connsiteY5" fmla="*/ 2349 h 517175"/>
              <a:gd name="connsiteX6" fmla="*/ 389870 w 521575"/>
              <a:gd name="connsiteY6" fmla="*/ 59672 h 517175"/>
              <a:gd name="connsiteX7" fmla="*/ 387243 w 521575"/>
              <a:gd name="connsiteY7" fmla="*/ 65598 h 517175"/>
              <a:gd name="connsiteX8" fmla="*/ 385955 w 521575"/>
              <a:gd name="connsiteY8" fmla="*/ 119232 h 517175"/>
              <a:gd name="connsiteX9" fmla="*/ 371092 w 521575"/>
              <a:gd name="connsiteY9" fmla="*/ 134095 h 517175"/>
              <a:gd name="connsiteX10" fmla="*/ 221020 w 521575"/>
              <a:gd name="connsiteY10" fmla="*/ 75128 h 517175"/>
              <a:gd name="connsiteX11" fmla="*/ 0 w 521575"/>
              <a:gd name="connsiteY11" fmla="*/ 296194 h 517175"/>
              <a:gd name="connsiteX12" fmla="*/ 221020 w 521575"/>
              <a:gd name="connsiteY12" fmla="*/ 517175 h 517175"/>
              <a:gd name="connsiteX13" fmla="*/ 442041 w 521575"/>
              <a:gd name="connsiteY13" fmla="*/ 296194 h 517175"/>
              <a:gd name="connsiteX14" fmla="*/ 383074 w 521575"/>
              <a:gd name="connsiteY14" fmla="*/ 146077 h 517175"/>
              <a:gd name="connsiteX15" fmla="*/ 396141 w 521575"/>
              <a:gd name="connsiteY15" fmla="*/ 133010 h 517175"/>
              <a:gd name="connsiteX16" fmla="*/ 452848 w 521575"/>
              <a:gd name="connsiteY16" fmla="*/ 134332 h 517175"/>
              <a:gd name="connsiteX17" fmla="*/ 453046 w 521575"/>
              <a:gd name="connsiteY17" fmla="*/ 134332 h 517175"/>
              <a:gd name="connsiteX18" fmla="*/ 458893 w 521575"/>
              <a:gd name="connsiteY18" fmla="*/ 131988 h 517175"/>
              <a:gd name="connsiteX19" fmla="*/ 518950 w 521575"/>
              <a:gd name="connsiteY19" fmla="*/ 74676 h 517175"/>
              <a:gd name="connsiteX20" fmla="*/ 521000 w 521575"/>
              <a:gd name="connsiteY20" fmla="*/ 65485 h 517175"/>
              <a:gd name="connsiteX21" fmla="*/ 425088 w 521575"/>
              <a:gd name="connsiteY21" fmla="*/ 296194 h 517175"/>
              <a:gd name="connsiteX22" fmla="*/ 221015 w 521575"/>
              <a:gd name="connsiteY22" fmla="*/ 500227 h 517175"/>
              <a:gd name="connsiteX23" fmla="*/ 16942 w 521575"/>
              <a:gd name="connsiteY23" fmla="*/ 296194 h 517175"/>
              <a:gd name="connsiteX24" fmla="*/ 221015 w 521575"/>
              <a:gd name="connsiteY24" fmla="*/ 92076 h 517175"/>
              <a:gd name="connsiteX25" fmla="*/ 359110 w 521575"/>
              <a:gd name="connsiteY25" fmla="*/ 146071 h 517175"/>
              <a:gd name="connsiteX26" fmla="*/ 327746 w 521575"/>
              <a:gd name="connsiteY26" fmla="*/ 177436 h 517175"/>
              <a:gd name="connsiteX27" fmla="*/ 221020 w 521575"/>
              <a:gd name="connsiteY27" fmla="*/ 136434 h 517175"/>
              <a:gd name="connsiteX28" fmla="*/ 61311 w 521575"/>
              <a:gd name="connsiteY28" fmla="*/ 296188 h 517175"/>
              <a:gd name="connsiteX29" fmla="*/ 221020 w 521575"/>
              <a:gd name="connsiteY29" fmla="*/ 455898 h 517175"/>
              <a:gd name="connsiteX30" fmla="*/ 380775 w 521575"/>
              <a:gd name="connsiteY30" fmla="*/ 296188 h 517175"/>
              <a:gd name="connsiteX31" fmla="*/ 339728 w 521575"/>
              <a:gd name="connsiteY31" fmla="*/ 189412 h 517175"/>
              <a:gd name="connsiteX32" fmla="*/ 371087 w 521575"/>
              <a:gd name="connsiteY32" fmla="*/ 158053 h 517175"/>
              <a:gd name="connsiteX33" fmla="*/ 425088 w 521575"/>
              <a:gd name="connsiteY33" fmla="*/ 296194 h 517175"/>
              <a:gd name="connsiteX34" fmla="*/ 272039 w 521575"/>
              <a:gd name="connsiteY34" fmla="*/ 296166 h 517175"/>
              <a:gd name="connsiteX35" fmla="*/ 221026 w 521575"/>
              <a:gd name="connsiteY35" fmla="*/ 347173 h 517175"/>
              <a:gd name="connsiteX36" fmla="*/ 170014 w 521575"/>
              <a:gd name="connsiteY36" fmla="*/ 296166 h 517175"/>
              <a:gd name="connsiteX37" fmla="*/ 221026 w 521575"/>
              <a:gd name="connsiteY37" fmla="*/ 245153 h 517175"/>
              <a:gd name="connsiteX38" fmla="*/ 250549 w 521575"/>
              <a:gd name="connsiteY38" fmla="*/ 254638 h 517175"/>
              <a:gd name="connsiteX39" fmla="*/ 215021 w 521575"/>
              <a:gd name="connsiteY39" fmla="*/ 290166 h 517175"/>
              <a:gd name="connsiteX40" fmla="*/ 215021 w 521575"/>
              <a:gd name="connsiteY40" fmla="*/ 302148 h 517175"/>
              <a:gd name="connsiteX41" fmla="*/ 221015 w 521575"/>
              <a:gd name="connsiteY41" fmla="*/ 304628 h 517175"/>
              <a:gd name="connsiteX42" fmla="*/ 227009 w 521575"/>
              <a:gd name="connsiteY42" fmla="*/ 302148 h 517175"/>
              <a:gd name="connsiteX43" fmla="*/ 262537 w 521575"/>
              <a:gd name="connsiteY43" fmla="*/ 266620 h 517175"/>
              <a:gd name="connsiteX44" fmla="*/ 272039 w 521575"/>
              <a:gd name="connsiteY44" fmla="*/ 296166 h 517175"/>
              <a:gd name="connsiteX45" fmla="*/ 262633 w 521575"/>
              <a:gd name="connsiteY45" fmla="*/ 242549 h 517175"/>
              <a:gd name="connsiteX46" fmla="*/ 221020 w 521575"/>
              <a:gd name="connsiteY46" fmla="*/ 228206 h 517175"/>
              <a:gd name="connsiteX47" fmla="*/ 153060 w 521575"/>
              <a:gd name="connsiteY47" fmla="*/ 296166 h 517175"/>
              <a:gd name="connsiteX48" fmla="*/ 221020 w 521575"/>
              <a:gd name="connsiteY48" fmla="*/ 364120 h 517175"/>
              <a:gd name="connsiteX49" fmla="*/ 288981 w 521575"/>
              <a:gd name="connsiteY49" fmla="*/ 296166 h 517175"/>
              <a:gd name="connsiteX50" fmla="*/ 274615 w 521575"/>
              <a:gd name="connsiteY50" fmla="*/ 254531 h 517175"/>
              <a:gd name="connsiteX51" fmla="*/ 327717 w 521575"/>
              <a:gd name="connsiteY51" fmla="*/ 201423 h 517175"/>
              <a:gd name="connsiteX52" fmla="*/ 363822 w 521575"/>
              <a:gd name="connsiteY52" fmla="*/ 296194 h 517175"/>
              <a:gd name="connsiteX53" fmla="*/ 221015 w 521575"/>
              <a:gd name="connsiteY53" fmla="*/ 438956 h 517175"/>
              <a:gd name="connsiteX54" fmla="*/ 78253 w 521575"/>
              <a:gd name="connsiteY54" fmla="*/ 296194 h 517175"/>
              <a:gd name="connsiteX55" fmla="*/ 221015 w 521575"/>
              <a:gd name="connsiteY55" fmla="*/ 153387 h 517175"/>
              <a:gd name="connsiteX56" fmla="*/ 315735 w 521575"/>
              <a:gd name="connsiteY56" fmla="*/ 189446 h 517175"/>
              <a:gd name="connsiteX57" fmla="*/ 262633 w 521575"/>
              <a:gd name="connsiteY57" fmla="*/ 242549 h 517175"/>
              <a:gd name="connsiteX58" fmla="*/ 449730 w 521575"/>
              <a:gd name="connsiteY58" fmla="*/ 117311 h 517175"/>
              <a:gd name="connsiteX59" fmla="*/ 412699 w 521575"/>
              <a:gd name="connsiteY59" fmla="*/ 116447 h 517175"/>
              <a:gd name="connsiteX60" fmla="*/ 439550 w 521575"/>
              <a:gd name="connsiteY60" fmla="*/ 89596 h 517175"/>
              <a:gd name="connsiteX61" fmla="*/ 439550 w 521575"/>
              <a:gd name="connsiteY61" fmla="*/ 77614 h 517175"/>
              <a:gd name="connsiteX62" fmla="*/ 427568 w 521575"/>
              <a:gd name="connsiteY62" fmla="*/ 77614 h 517175"/>
              <a:gd name="connsiteX63" fmla="*/ 403321 w 521575"/>
              <a:gd name="connsiteY63" fmla="*/ 101861 h 517175"/>
              <a:gd name="connsiteX64" fmla="*/ 404095 w 521575"/>
              <a:gd name="connsiteY64" fmla="*/ 69519 h 517175"/>
              <a:gd name="connsiteX65" fmla="*/ 431596 w 521575"/>
              <a:gd name="connsiteY65" fmla="*/ 43278 h 517175"/>
              <a:gd name="connsiteX66" fmla="*/ 431601 w 521575"/>
              <a:gd name="connsiteY66" fmla="*/ 43272 h 517175"/>
              <a:gd name="connsiteX67" fmla="*/ 446803 w 521575"/>
              <a:gd name="connsiteY67" fmla="*/ 28743 h 517175"/>
              <a:gd name="connsiteX68" fmla="*/ 445939 w 521575"/>
              <a:gd name="connsiteY68" fmla="*/ 66988 h 517175"/>
              <a:gd name="connsiteX69" fmla="*/ 454215 w 521575"/>
              <a:gd name="connsiteY69" fmla="*/ 75648 h 517175"/>
              <a:gd name="connsiteX70" fmla="*/ 492449 w 521575"/>
              <a:gd name="connsiteY70" fmla="*/ 76541 h 517175"/>
              <a:gd name="connsiteX71" fmla="*/ 449730 w 521575"/>
              <a:gd name="connsiteY71" fmla="*/ 117311 h 51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521575" h="517175">
                <a:moveTo>
                  <a:pt x="521000" y="65485"/>
                </a:moveTo>
                <a:cubicBezTo>
                  <a:pt x="519763" y="62288"/>
                  <a:pt x="516724" y="60152"/>
                  <a:pt x="513300" y="60073"/>
                </a:cubicBezTo>
                <a:lnTo>
                  <a:pt x="463079" y="58898"/>
                </a:lnTo>
                <a:lnTo>
                  <a:pt x="464214" y="8665"/>
                </a:lnTo>
                <a:cubicBezTo>
                  <a:pt x="464293" y="5242"/>
                  <a:pt x="462293" y="2101"/>
                  <a:pt x="459158" y="722"/>
                </a:cubicBezTo>
                <a:cubicBezTo>
                  <a:pt x="456017" y="-662"/>
                  <a:pt x="452362" y="-23"/>
                  <a:pt x="449882" y="2349"/>
                </a:cubicBezTo>
                <a:lnTo>
                  <a:pt x="389870" y="59672"/>
                </a:lnTo>
                <a:cubicBezTo>
                  <a:pt x="388243" y="61220"/>
                  <a:pt x="387300" y="63355"/>
                  <a:pt x="387243" y="65598"/>
                </a:cubicBezTo>
                <a:lnTo>
                  <a:pt x="385955" y="119232"/>
                </a:lnTo>
                <a:lnTo>
                  <a:pt x="371092" y="134095"/>
                </a:lnTo>
                <a:cubicBezTo>
                  <a:pt x="331649" y="97533"/>
                  <a:pt x="278908" y="75128"/>
                  <a:pt x="221020" y="75128"/>
                </a:cubicBezTo>
                <a:cubicBezTo>
                  <a:pt x="99150" y="75128"/>
                  <a:pt x="0" y="174301"/>
                  <a:pt x="0" y="296194"/>
                </a:cubicBezTo>
                <a:cubicBezTo>
                  <a:pt x="0" y="418042"/>
                  <a:pt x="99150" y="517175"/>
                  <a:pt x="221020" y="517175"/>
                </a:cubicBezTo>
                <a:cubicBezTo>
                  <a:pt x="342891" y="517175"/>
                  <a:pt x="442041" y="418042"/>
                  <a:pt x="442041" y="296194"/>
                </a:cubicBezTo>
                <a:cubicBezTo>
                  <a:pt x="442041" y="238284"/>
                  <a:pt x="419636" y="185531"/>
                  <a:pt x="383074" y="146077"/>
                </a:cubicBezTo>
                <a:lnTo>
                  <a:pt x="396141" y="133010"/>
                </a:lnTo>
                <a:lnTo>
                  <a:pt x="452848" y="134332"/>
                </a:lnTo>
                <a:cubicBezTo>
                  <a:pt x="452916" y="134332"/>
                  <a:pt x="452978" y="134332"/>
                  <a:pt x="453046" y="134332"/>
                </a:cubicBezTo>
                <a:cubicBezTo>
                  <a:pt x="455221" y="134332"/>
                  <a:pt x="457316" y="133496"/>
                  <a:pt x="458893" y="131988"/>
                </a:cubicBezTo>
                <a:lnTo>
                  <a:pt x="518950" y="74676"/>
                </a:lnTo>
                <a:cubicBezTo>
                  <a:pt x="521435" y="72309"/>
                  <a:pt x="522243" y="68683"/>
                  <a:pt x="521000" y="65485"/>
                </a:cubicBezTo>
                <a:close/>
                <a:moveTo>
                  <a:pt x="425088" y="296194"/>
                </a:moveTo>
                <a:cubicBezTo>
                  <a:pt x="425088" y="408698"/>
                  <a:pt x="333542" y="500227"/>
                  <a:pt x="221015" y="500227"/>
                </a:cubicBezTo>
                <a:cubicBezTo>
                  <a:pt x="108488" y="500227"/>
                  <a:pt x="16942" y="408698"/>
                  <a:pt x="16942" y="296194"/>
                </a:cubicBezTo>
                <a:cubicBezTo>
                  <a:pt x="16942" y="183644"/>
                  <a:pt x="108488" y="92076"/>
                  <a:pt x="221015" y="92076"/>
                </a:cubicBezTo>
                <a:cubicBezTo>
                  <a:pt x="274236" y="92076"/>
                  <a:pt x="322741" y="112577"/>
                  <a:pt x="359110" y="146071"/>
                </a:cubicBezTo>
                <a:lnTo>
                  <a:pt x="327746" y="177436"/>
                </a:lnTo>
                <a:cubicBezTo>
                  <a:pt x="299432" y="151969"/>
                  <a:pt x="262011" y="136434"/>
                  <a:pt x="221020" y="136434"/>
                </a:cubicBezTo>
                <a:cubicBezTo>
                  <a:pt x="132955" y="136434"/>
                  <a:pt x="61311" y="208100"/>
                  <a:pt x="61311" y="296188"/>
                </a:cubicBezTo>
                <a:cubicBezTo>
                  <a:pt x="61311" y="384254"/>
                  <a:pt x="132955" y="455898"/>
                  <a:pt x="221020" y="455898"/>
                </a:cubicBezTo>
                <a:cubicBezTo>
                  <a:pt x="309115" y="455898"/>
                  <a:pt x="380775" y="384254"/>
                  <a:pt x="380775" y="296188"/>
                </a:cubicBezTo>
                <a:cubicBezTo>
                  <a:pt x="380775" y="255175"/>
                  <a:pt x="365228" y="217732"/>
                  <a:pt x="339728" y="189412"/>
                </a:cubicBezTo>
                <a:lnTo>
                  <a:pt x="371087" y="158053"/>
                </a:lnTo>
                <a:cubicBezTo>
                  <a:pt x="404587" y="194434"/>
                  <a:pt x="425088" y="242961"/>
                  <a:pt x="425088" y="296194"/>
                </a:cubicBezTo>
                <a:close/>
                <a:moveTo>
                  <a:pt x="272039" y="296166"/>
                </a:moveTo>
                <a:cubicBezTo>
                  <a:pt x="272039" y="324293"/>
                  <a:pt x="249154" y="347173"/>
                  <a:pt x="221026" y="347173"/>
                </a:cubicBezTo>
                <a:cubicBezTo>
                  <a:pt x="192899" y="347173"/>
                  <a:pt x="170014" y="324288"/>
                  <a:pt x="170014" y="296166"/>
                </a:cubicBezTo>
                <a:cubicBezTo>
                  <a:pt x="170014" y="268038"/>
                  <a:pt x="192899" y="245153"/>
                  <a:pt x="221026" y="245153"/>
                </a:cubicBezTo>
                <a:cubicBezTo>
                  <a:pt x="232031" y="245153"/>
                  <a:pt x="242205" y="248690"/>
                  <a:pt x="250549" y="254638"/>
                </a:cubicBezTo>
                <a:lnTo>
                  <a:pt x="215021" y="290166"/>
                </a:lnTo>
                <a:cubicBezTo>
                  <a:pt x="211711" y="293477"/>
                  <a:pt x="211711" y="298838"/>
                  <a:pt x="215021" y="302148"/>
                </a:cubicBezTo>
                <a:cubicBezTo>
                  <a:pt x="216676" y="303804"/>
                  <a:pt x="218846" y="304628"/>
                  <a:pt x="221015" y="304628"/>
                </a:cubicBezTo>
                <a:cubicBezTo>
                  <a:pt x="223184" y="304628"/>
                  <a:pt x="225353" y="303804"/>
                  <a:pt x="227009" y="302148"/>
                </a:cubicBezTo>
                <a:lnTo>
                  <a:pt x="262537" y="266620"/>
                </a:lnTo>
                <a:cubicBezTo>
                  <a:pt x="268491" y="274970"/>
                  <a:pt x="272039" y="285150"/>
                  <a:pt x="272039" y="296166"/>
                </a:cubicBezTo>
                <a:close/>
                <a:moveTo>
                  <a:pt x="262633" y="242549"/>
                </a:moveTo>
                <a:cubicBezTo>
                  <a:pt x="251120" y="233595"/>
                  <a:pt x="236703" y="228206"/>
                  <a:pt x="221020" y="228206"/>
                </a:cubicBezTo>
                <a:cubicBezTo>
                  <a:pt x="183549" y="228206"/>
                  <a:pt x="153060" y="258694"/>
                  <a:pt x="153060" y="296166"/>
                </a:cubicBezTo>
                <a:cubicBezTo>
                  <a:pt x="153060" y="333637"/>
                  <a:pt x="183543" y="364120"/>
                  <a:pt x="221020" y="364120"/>
                </a:cubicBezTo>
                <a:cubicBezTo>
                  <a:pt x="258497" y="364120"/>
                  <a:pt x="288981" y="333637"/>
                  <a:pt x="288981" y="296166"/>
                </a:cubicBezTo>
                <a:cubicBezTo>
                  <a:pt x="288981" y="280472"/>
                  <a:pt x="283580" y="266044"/>
                  <a:pt x="274615" y="254531"/>
                </a:cubicBezTo>
                <a:lnTo>
                  <a:pt x="327717" y="201423"/>
                </a:lnTo>
                <a:cubicBezTo>
                  <a:pt x="350156" y="226658"/>
                  <a:pt x="363822" y="259853"/>
                  <a:pt x="363822" y="296194"/>
                </a:cubicBezTo>
                <a:cubicBezTo>
                  <a:pt x="363822" y="374916"/>
                  <a:pt x="299759" y="438956"/>
                  <a:pt x="221015" y="438956"/>
                </a:cubicBezTo>
                <a:cubicBezTo>
                  <a:pt x="142293" y="438956"/>
                  <a:pt x="78253" y="374916"/>
                  <a:pt x="78253" y="296194"/>
                </a:cubicBezTo>
                <a:cubicBezTo>
                  <a:pt x="78253" y="217449"/>
                  <a:pt x="142293" y="153387"/>
                  <a:pt x="221015" y="153387"/>
                </a:cubicBezTo>
                <a:cubicBezTo>
                  <a:pt x="257334" y="153387"/>
                  <a:pt x="290506" y="167036"/>
                  <a:pt x="315735" y="189446"/>
                </a:cubicBezTo>
                <a:lnTo>
                  <a:pt x="262633" y="242549"/>
                </a:lnTo>
                <a:close/>
                <a:moveTo>
                  <a:pt x="449730" y="117311"/>
                </a:moveTo>
                <a:lnTo>
                  <a:pt x="412699" y="116447"/>
                </a:lnTo>
                <a:lnTo>
                  <a:pt x="439550" y="89596"/>
                </a:lnTo>
                <a:cubicBezTo>
                  <a:pt x="442860" y="86286"/>
                  <a:pt x="442860" y="80919"/>
                  <a:pt x="439550" y="77614"/>
                </a:cubicBezTo>
                <a:cubicBezTo>
                  <a:pt x="436239" y="74304"/>
                  <a:pt x="430878" y="74304"/>
                  <a:pt x="427568" y="77614"/>
                </a:cubicBezTo>
                <a:lnTo>
                  <a:pt x="403321" y="101861"/>
                </a:lnTo>
                <a:lnTo>
                  <a:pt x="404095" y="69519"/>
                </a:lnTo>
                <a:lnTo>
                  <a:pt x="431596" y="43278"/>
                </a:lnTo>
                <a:cubicBezTo>
                  <a:pt x="431601" y="43278"/>
                  <a:pt x="431601" y="43272"/>
                  <a:pt x="431601" y="43272"/>
                </a:cubicBezTo>
                <a:lnTo>
                  <a:pt x="446803" y="28743"/>
                </a:lnTo>
                <a:lnTo>
                  <a:pt x="445939" y="66988"/>
                </a:lnTo>
                <a:cubicBezTo>
                  <a:pt x="445832" y="71665"/>
                  <a:pt x="449543" y="75541"/>
                  <a:pt x="454215" y="75648"/>
                </a:cubicBezTo>
                <a:lnTo>
                  <a:pt x="492449" y="76541"/>
                </a:lnTo>
                <a:lnTo>
                  <a:pt x="449730" y="117311"/>
                </a:lnTo>
                <a:close/>
              </a:path>
            </a:pathLst>
          </a:custGeom>
          <a:solidFill>
            <a:schemeClr val="tx1"/>
          </a:solidFill>
          <a:ln w="108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3C96"/>
              </a:solidFill>
              <a:effectLst/>
              <a:uLnTx/>
              <a:uFillTx/>
            </a:endParaRPr>
          </a:p>
        </p:txBody>
      </p:sp>
      <p:grpSp>
        <p:nvGrpSpPr>
          <p:cNvPr id="48" name="Рисунок 27">
            <a:extLst>
              <a:ext uri="{FF2B5EF4-FFF2-40B4-BE49-F238E27FC236}">
                <a16:creationId xmlns:a16="http://schemas.microsoft.com/office/drawing/2014/main" id="{E5BEEFF9-C3C6-4349-8820-531C47D4397D}"/>
              </a:ext>
            </a:extLst>
          </p:cNvPr>
          <p:cNvGrpSpPr/>
          <p:nvPr/>
        </p:nvGrpSpPr>
        <p:grpSpPr>
          <a:xfrm>
            <a:off x="10923705" y="2724788"/>
            <a:ext cx="312509" cy="296643"/>
            <a:chOff x="8786582" y="3436508"/>
            <a:chExt cx="455519" cy="425090"/>
          </a:xfrm>
          <a:solidFill>
            <a:schemeClr val="tx1"/>
          </a:solidFill>
        </p:grpSpPr>
        <p:sp>
          <p:nvSpPr>
            <p:cNvPr id="49" name="Полилиния: фигура 118">
              <a:extLst>
                <a:ext uri="{FF2B5EF4-FFF2-40B4-BE49-F238E27FC236}">
                  <a16:creationId xmlns:a16="http://schemas.microsoft.com/office/drawing/2014/main" id="{B9301100-4143-463B-A241-51B18ACBC547}"/>
                </a:ext>
              </a:extLst>
            </p:cNvPr>
            <p:cNvSpPr/>
            <p:nvPr/>
          </p:nvSpPr>
          <p:spPr>
            <a:xfrm>
              <a:off x="8836586" y="3713790"/>
              <a:ext cx="102100" cy="102100"/>
            </a:xfrm>
            <a:custGeom>
              <a:avLst/>
              <a:gdLst>
                <a:gd name="connsiteX0" fmla="*/ 0 w 102100"/>
                <a:gd name="connsiteY0" fmla="*/ 51050 h 102100"/>
                <a:gd name="connsiteX1" fmla="*/ 51050 w 102100"/>
                <a:gd name="connsiteY1" fmla="*/ 102100 h 102100"/>
                <a:gd name="connsiteX2" fmla="*/ 102100 w 102100"/>
                <a:gd name="connsiteY2" fmla="*/ 51050 h 102100"/>
                <a:gd name="connsiteX3" fmla="*/ 51050 w 102100"/>
                <a:gd name="connsiteY3" fmla="*/ 0 h 102100"/>
                <a:gd name="connsiteX4" fmla="*/ 0 w 102100"/>
                <a:gd name="connsiteY4" fmla="*/ 51050 h 102100"/>
                <a:gd name="connsiteX5" fmla="*/ 85320 w 102100"/>
                <a:gd name="connsiteY5" fmla="*/ 51050 h 102100"/>
                <a:gd name="connsiteX6" fmla="*/ 51050 w 102100"/>
                <a:gd name="connsiteY6" fmla="*/ 85320 h 102100"/>
                <a:gd name="connsiteX7" fmla="*/ 16780 w 102100"/>
                <a:gd name="connsiteY7" fmla="*/ 51050 h 102100"/>
                <a:gd name="connsiteX8" fmla="*/ 51050 w 102100"/>
                <a:gd name="connsiteY8" fmla="*/ 16780 h 102100"/>
                <a:gd name="connsiteX9" fmla="*/ 85320 w 102100"/>
                <a:gd name="connsiteY9" fmla="*/ 51050 h 10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100" h="102100">
                  <a:moveTo>
                    <a:pt x="0" y="51050"/>
                  </a:moveTo>
                  <a:cubicBezTo>
                    <a:pt x="0" y="79195"/>
                    <a:pt x="22899" y="102100"/>
                    <a:pt x="51050" y="102100"/>
                  </a:cubicBezTo>
                  <a:cubicBezTo>
                    <a:pt x="79201" y="102100"/>
                    <a:pt x="102100" y="79195"/>
                    <a:pt x="102100" y="51050"/>
                  </a:cubicBezTo>
                  <a:cubicBezTo>
                    <a:pt x="102100" y="22905"/>
                    <a:pt x="79201" y="0"/>
                    <a:pt x="51050" y="0"/>
                  </a:cubicBezTo>
                  <a:cubicBezTo>
                    <a:pt x="22899" y="0"/>
                    <a:pt x="0" y="22899"/>
                    <a:pt x="0" y="51050"/>
                  </a:cubicBezTo>
                  <a:close/>
                  <a:moveTo>
                    <a:pt x="85320" y="51050"/>
                  </a:moveTo>
                  <a:cubicBezTo>
                    <a:pt x="85320" y="69944"/>
                    <a:pt x="69944" y="85320"/>
                    <a:pt x="51050" y="85320"/>
                  </a:cubicBezTo>
                  <a:cubicBezTo>
                    <a:pt x="32156" y="85320"/>
                    <a:pt x="16780" y="69944"/>
                    <a:pt x="16780" y="51050"/>
                  </a:cubicBezTo>
                  <a:cubicBezTo>
                    <a:pt x="16780" y="32156"/>
                    <a:pt x="32156" y="16780"/>
                    <a:pt x="51050" y="16780"/>
                  </a:cubicBezTo>
                  <a:cubicBezTo>
                    <a:pt x="69944" y="16780"/>
                    <a:pt x="85320" y="32156"/>
                    <a:pt x="85320" y="5105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Полилиния: фигура 119">
              <a:extLst>
                <a:ext uri="{FF2B5EF4-FFF2-40B4-BE49-F238E27FC236}">
                  <a16:creationId xmlns:a16="http://schemas.microsoft.com/office/drawing/2014/main" id="{0652B0BF-C398-4BFF-BCF3-082DF966FF64}"/>
                </a:ext>
              </a:extLst>
            </p:cNvPr>
            <p:cNvSpPr/>
            <p:nvPr/>
          </p:nvSpPr>
          <p:spPr>
            <a:xfrm>
              <a:off x="9028534" y="3572068"/>
              <a:ext cx="213567" cy="159888"/>
            </a:xfrm>
            <a:custGeom>
              <a:avLst/>
              <a:gdLst>
                <a:gd name="connsiteX0" fmla="*/ 210764 w 213567"/>
                <a:gd name="connsiteY0" fmla="*/ 2130 h 159888"/>
                <a:gd name="connsiteX1" fmla="*/ 198917 w 213567"/>
                <a:gd name="connsiteY1" fmla="*/ 2801 h 159888"/>
                <a:gd name="connsiteX2" fmla="*/ 77056 w 213567"/>
                <a:gd name="connsiteY2" fmla="*/ 139294 h 159888"/>
                <a:gd name="connsiteX3" fmla="*/ 14322 w 213567"/>
                <a:gd name="connsiteY3" fmla="*/ 76560 h 159888"/>
                <a:gd name="connsiteX4" fmla="*/ 2458 w 213567"/>
                <a:gd name="connsiteY4" fmla="*/ 76560 h 159888"/>
                <a:gd name="connsiteX5" fmla="*/ 2458 w 213567"/>
                <a:gd name="connsiteY5" fmla="*/ 88423 h 159888"/>
                <a:gd name="connsiteX6" fmla="*/ 71474 w 213567"/>
                <a:gd name="connsiteY6" fmla="*/ 157433 h 159888"/>
                <a:gd name="connsiteX7" fmla="*/ 77408 w 213567"/>
                <a:gd name="connsiteY7" fmla="*/ 159889 h 159888"/>
                <a:gd name="connsiteX8" fmla="*/ 77643 w 213567"/>
                <a:gd name="connsiteY8" fmla="*/ 159883 h 159888"/>
                <a:gd name="connsiteX9" fmla="*/ 83667 w 213567"/>
                <a:gd name="connsiteY9" fmla="*/ 157086 h 159888"/>
                <a:gd name="connsiteX10" fmla="*/ 211441 w 213567"/>
                <a:gd name="connsiteY10" fmla="*/ 13971 h 159888"/>
                <a:gd name="connsiteX11" fmla="*/ 210764 w 213567"/>
                <a:gd name="connsiteY11" fmla="*/ 2130 h 15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567" h="159888">
                  <a:moveTo>
                    <a:pt x="210764" y="2130"/>
                  </a:moveTo>
                  <a:cubicBezTo>
                    <a:pt x="207307" y="-952"/>
                    <a:pt x="202010" y="-656"/>
                    <a:pt x="198917" y="2801"/>
                  </a:cubicBezTo>
                  <a:lnTo>
                    <a:pt x="77056" y="139294"/>
                  </a:lnTo>
                  <a:lnTo>
                    <a:pt x="14322" y="76560"/>
                  </a:lnTo>
                  <a:cubicBezTo>
                    <a:pt x="11044" y="73282"/>
                    <a:pt x="5736" y="73282"/>
                    <a:pt x="2458" y="76560"/>
                  </a:cubicBezTo>
                  <a:cubicBezTo>
                    <a:pt x="-819" y="79837"/>
                    <a:pt x="-819" y="85145"/>
                    <a:pt x="2458" y="88423"/>
                  </a:cubicBezTo>
                  <a:lnTo>
                    <a:pt x="71474" y="157433"/>
                  </a:lnTo>
                  <a:cubicBezTo>
                    <a:pt x="73051" y="159011"/>
                    <a:pt x="75182" y="159889"/>
                    <a:pt x="77408" y="159889"/>
                  </a:cubicBezTo>
                  <a:cubicBezTo>
                    <a:pt x="77487" y="159889"/>
                    <a:pt x="77565" y="159889"/>
                    <a:pt x="77643" y="159883"/>
                  </a:cubicBezTo>
                  <a:cubicBezTo>
                    <a:pt x="79948" y="159816"/>
                    <a:pt x="82129" y="158809"/>
                    <a:pt x="83667" y="157086"/>
                  </a:cubicBezTo>
                  <a:lnTo>
                    <a:pt x="211441" y="13971"/>
                  </a:lnTo>
                  <a:cubicBezTo>
                    <a:pt x="214523" y="10520"/>
                    <a:pt x="214220" y="5212"/>
                    <a:pt x="210764" y="213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Полилиния: фигура 120">
              <a:extLst>
                <a:ext uri="{FF2B5EF4-FFF2-40B4-BE49-F238E27FC236}">
                  <a16:creationId xmlns:a16="http://schemas.microsoft.com/office/drawing/2014/main" id="{97FDB61E-B7AA-4C1E-A264-E1A2743D4984}"/>
                </a:ext>
              </a:extLst>
            </p:cNvPr>
            <p:cNvSpPr/>
            <p:nvPr/>
          </p:nvSpPr>
          <p:spPr>
            <a:xfrm>
              <a:off x="8786582" y="3436508"/>
              <a:ext cx="330642" cy="425090"/>
            </a:xfrm>
            <a:custGeom>
              <a:avLst/>
              <a:gdLst>
                <a:gd name="connsiteX0" fmla="*/ 322252 w 330642"/>
                <a:gd name="connsiteY0" fmla="*/ 316430 h 425090"/>
                <a:gd name="connsiteX1" fmla="*/ 313862 w 330642"/>
                <a:gd name="connsiteY1" fmla="*/ 324820 h 425090"/>
                <a:gd name="connsiteX2" fmla="*/ 313862 w 330642"/>
                <a:gd name="connsiteY2" fmla="*/ 408311 h 425090"/>
                <a:gd name="connsiteX3" fmla="*/ 16780 w 330642"/>
                <a:gd name="connsiteY3" fmla="*/ 408311 h 425090"/>
                <a:gd name="connsiteX4" fmla="*/ 16780 w 330642"/>
                <a:gd name="connsiteY4" fmla="*/ 16780 h 425090"/>
                <a:gd name="connsiteX5" fmla="*/ 313862 w 330642"/>
                <a:gd name="connsiteY5" fmla="*/ 16780 h 425090"/>
                <a:gd name="connsiteX6" fmla="*/ 313862 w 330642"/>
                <a:gd name="connsiteY6" fmla="*/ 192560 h 425090"/>
                <a:gd name="connsiteX7" fmla="*/ 322252 w 330642"/>
                <a:gd name="connsiteY7" fmla="*/ 200950 h 425090"/>
                <a:gd name="connsiteX8" fmla="*/ 330642 w 330642"/>
                <a:gd name="connsiteY8" fmla="*/ 192560 h 425090"/>
                <a:gd name="connsiteX9" fmla="*/ 330642 w 330642"/>
                <a:gd name="connsiteY9" fmla="*/ 8390 h 425090"/>
                <a:gd name="connsiteX10" fmla="*/ 322252 w 330642"/>
                <a:gd name="connsiteY10" fmla="*/ 0 h 425090"/>
                <a:gd name="connsiteX11" fmla="*/ 8390 w 330642"/>
                <a:gd name="connsiteY11" fmla="*/ 0 h 425090"/>
                <a:gd name="connsiteX12" fmla="*/ 0 w 330642"/>
                <a:gd name="connsiteY12" fmla="*/ 8390 h 425090"/>
                <a:gd name="connsiteX13" fmla="*/ 0 w 330642"/>
                <a:gd name="connsiteY13" fmla="*/ 416701 h 425090"/>
                <a:gd name="connsiteX14" fmla="*/ 8390 w 330642"/>
                <a:gd name="connsiteY14" fmla="*/ 425091 h 425090"/>
                <a:gd name="connsiteX15" fmla="*/ 322252 w 330642"/>
                <a:gd name="connsiteY15" fmla="*/ 425091 h 425090"/>
                <a:gd name="connsiteX16" fmla="*/ 330642 w 330642"/>
                <a:gd name="connsiteY16" fmla="*/ 416701 h 425090"/>
                <a:gd name="connsiteX17" fmla="*/ 330642 w 330642"/>
                <a:gd name="connsiteY17" fmla="*/ 324820 h 425090"/>
                <a:gd name="connsiteX18" fmla="*/ 322252 w 330642"/>
                <a:gd name="connsiteY18" fmla="*/ 316430 h 425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0642" h="425090">
                  <a:moveTo>
                    <a:pt x="322252" y="316430"/>
                  </a:moveTo>
                  <a:cubicBezTo>
                    <a:pt x="317615" y="316430"/>
                    <a:pt x="313862" y="320188"/>
                    <a:pt x="313862" y="324820"/>
                  </a:cubicBezTo>
                  <a:lnTo>
                    <a:pt x="313862" y="408311"/>
                  </a:lnTo>
                  <a:lnTo>
                    <a:pt x="16780" y="408311"/>
                  </a:lnTo>
                  <a:lnTo>
                    <a:pt x="16780" y="16780"/>
                  </a:lnTo>
                  <a:lnTo>
                    <a:pt x="313862" y="16780"/>
                  </a:lnTo>
                  <a:lnTo>
                    <a:pt x="313862" y="192560"/>
                  </a:lnTo>
                  <a:cubicBezTo>
                    <a:pt x="313862" y="197192"/>
                    <a:pt x="317615" y="200950"/>
                    <a:pt x="322252" y="200950"/>
                  </a:cubicBezTo>
                  <a:cubicBezTo>
                    <a:pt x="326889" y="200950"/>
                    <a:pt x="330642" y="197192"/>
                    <a:pt x="330642" y="192560"/>
                  </a:cubicBezTo>
                  <a:lnTo>
                    <a:pt x="330642" y="8390"/>
                  </a:lnTo>
                  <a:cubicBezTo>
                    <a:pt x="330642" y="3759"/>
                    <a:pt x="326889" y="0"/>
                    <a:pt x="322252" y="0"/>
                  </a:cubicBezTo>
                  <a:lnTo>
                    <a:pt x="8390" y="0"/>
                  </a:lnTo>
                  <a:cubicBezTo>
                    <a:pt x="3753" y="0"/>
                    <a:pt x="0" y="3759"/>
                    <a:pt x="0" y="8390"/>
                  </a:cubicBezTo>
                  <a:lnTo>
                    <a:pt x="0" y="416701"/>
                  </a:lnTo>
                  <a:cubicBezTo>
                    <a:pt x="0" y="421332"/>
                    <a:pt x="3753" y="425091"/>
                    <a:pt x="8390" y="425091"/>
                  </a:cubicBezTo>
                  <a:lnTo>
                    <a:pt x="322252" y="425091"/>
                  </a:lnTo>
                  <a:cubicBezTo>
                    <a:pt x="326889" y="425091"/>
                    <a:pt x="330642" y="421332"/>
                    <a:pt x="330642" y="416701"/>
                  </a:cubicBezTo>
                  <a:lnTo>
                    <a:pt x="330642" y="324820"/>
                  </a:lnTo>
                  <a:cubicBezTo>
                    <a:pt x="330642" y="320188"/>
                    <a:pt x="326889" y="316430"/>
                    <a:pt x="322252" y="31643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Полилиния: фигура 121">
              <a:extLst>
                <a:ext uri="{FF2B5EF4-FFF2-40B4-BE49-F238E27FC236}">
                  <a16:creationId xmlns:a16="http://schemas.microsoft.com/office/drawing/2014/main" id="{BD811F0C-0511-4956-AFFC-F5B84F012864}"/>
                </a:ext>
              </a:extLst>
            </p:cNvPr>
            <p:cNvSpPr/>
            <p:nvPr/>
          </p:nvSpPr>
          <p:spPr>
            <a:xfrm>
              <a:off x="8833812" y="3532852"/>
              <a:ext cx="185339" cy="16779"/>
            </a:xfrm>
            <a:custGeom>
              <a:avLst/>
              <a:gdLst>
                <a:gd name="connsiteX0" fmla="*/ 176950 w 185339"/>
                <a:gd name="connsiteY0" fmla="*/ 16780 h 16779"/>
                <a:gd name="connsiteX1" fmla="*/ 185339 w 185339"/>
                <a:gd name="connsiteY1" fmla="*/ 8390 h 16779"/>
                <a:gd name="connsiteX2" fmla="*/ 176950 w 185339"/>
                <a:gd name="connsiteY2" fmla="*/ 0 h 16779"/>
                <a:gd name="connsiteX3" fmla="*/ 8390 w 185339"/>
                <a:gd name="connsiteY3" fmla="*/ 0 h 16779"/>
                <a:gd name="connsiteX4" fmla="*/ 0 w 185339"/>
                <a:gd name="connsiteY4" fmla="*/ 8390 h 16779"/>
                <a:gd name="connsiteX5" fmla="*/ 8390 w 185339"/>
                <a:gd name="connsiteY5" fmla="*/ 16780 h 16779"/>
                <a:gd name="connsiteX6" fmla="*/ 176950 w 185339"/>
                <a:gd name="connsiteY6" fmla="*/ 1678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339" h="16779">
                  <a:moveTo>
                    <a:pt x="176950" y="16780"/>
                  </a:moveTo>
                  <a:cubicBezTo>
                    <a:pt x="181586" y="16780"/>
                    <a:pt x="185339" y="13021"/>
                    <a:pt x="185339" y="8390"/>
                  </a:cubicBezTo>
                  <a:cubicBezTo>
                    <a:pt x="185339" y="3759"/>
                    <a:pt x="181586" y="0"/>
                    <a:pt x="176950" y="0"/>
                  </a:cubicBezTo>
                  <a:lnTo>
                    <a:pt x="8390" y="0"/>
                  </a:lnTo>
                  <a:cubicBezTo>
                    <a:pt x="3753" y="0"/>
                    <a:pt x="0" y="3759"/>
                    <a:pt x="0" y="8390"/>
                  </a:cubicBezTo>
                  <a:cubicBezTo>
                    <a:pt x="0" y="13021"/>
                    <a:pt x="3753" y="16780"/>
                    <a:pt x="8390" y="16780"/>
                  </a:cubicBezTo>
                  <a:lnTo>
                    <a:pt x="176950" y="16780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Полилиния: фигура 122">
              <a:extLst>
                <a:ext uri="{FF2B5EF4-FFF2-40B4-BE49-F238E27FC236}">
                  <a16:creationId xmlns:a16="http://schemas.microsoft.com/office/drawing/2014/main" id="{CA4F924D-5A1C-4399-A853-D9ADFA07BCF3}"/>
                </a:ext>
              </a:extLst>
            </p:cNvPr>
            <p:cNvSpPr/>
            <p:nvPr/>
          </p:nvSpPr>
          <p:spPr>
            <a:xfrm>
              <a:off x="8835921" y="3607489"/>
              <a:ext cx="185294" cy="16779"/>
            </a:xfrm>
            <a:custGeom>
              <a:avLst/>
              <a:gdLst>
                <a:gd name="connsiteX0" fmla="*/ 185295 w 185294"/>
                <a:gd name="connsiteY0" fmla="*/ 8390 h 16779"/>
                <a:gd name="connsiteX1" fmla="*/ 176905 w 185294"/>
                <a:gd name="connsiteY1" fmla="*/ 0 h 16779"/>
                <a:gd name="connsiteX2" fmla="*/ 8390 w 185294"/>
                <a:gd name="connsiteY2" fmla="*/ 0 h 16779"/>
                <a:gd name="connsiteX3" fmla="*/ 0 w 185294"/>
                <a:gd name="connsiteY3" fmla="*/ 8390 h 16779"/>
                <a:gd name="connsiteX4" fmla="*/ 8390 w 185294"/>
                <a:gd name="connsiteY4" fmla="*/ 16780 h 16779"/>
                <a:gd name="connsiteX5" fmla="*/ 176905 w 185294"/>
                <a:gd name="connsiteY5" fmla="*/ 16780 h 16779"/>
                <a:gd name="connsiteX6" fmla="*/ 185295 w 185294"/>
                <a:gd name="connsiteY6" fmla="*/ 8390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294" h="16779">
                  <a:moveTo>
                    <a:pt x="185295" y="8390"/>
                  </a:moveTo>
                  <a:cubicBezTo>
                    <a:pt x="185295" y="3759"/>
                    <a:pt x="181542" y="0"/>
                    <a:pt x="176905" y="0"/>
                  </a:cubicBezTo>
                  <a:lnTo>
                    <a:pt x="8390" y="0"/>
                  </a:lnTo>
                  <a:cubicBezTo>
                    <a:pt x="3753" y="0"/>
                    <a:pt x="0" y="3759"/>
                    <a:pt x="0" y="8390"/>
                  </a:cubicBezTo>
                  <a:cubicBezTo>
                    <a:pt x="0" y="13021"/>
                    <a:pt x="3753" y="16780"/>
                    <a:pt x="8390" y="16780"/>
                  </a:cubicBezTo>
                  <a:lnTo>
                    <a:pt x="176905" y="16780"/>
                  </a:lnTo>
                  <a:cubicBezTo>
                    <a:pt x="181542" y="16780"/>
                    <a:pt x="185295" y="13021"/>
                    <a:pt x="185295" y="8390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514900" y="3924103"/>
            <a:ext cx="10855493" cy="1286839"/>
            <a:chOff x="436949" y="1343734"/>
            <a:chExt cx="2230310" cy="4502088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65D0E19-EBD5-1BC0-813A-B15F60588B06}"/>
                </a:ext>
              </a:extLst>
            </p:cNvPr>
            <p:cNvSpPr txBox="1"/>
            <p:nvPr/>
          </p:nvSpPr>
          <p:spPr>
            <a:xfrm>
              <a:off x="436949" y="3584592"/>
              <a:ext cx="2116342" cy="22612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 defTabSz="685817">
                <a:spcAft>
                  <a:spcPts val="600"/>
                </a:spcAft>
                <a:defRPr/>
              </a:pPr>
              <a:r>
                <a:rPr lang="ru-RU" sz="1400" dirty="0" smtClean="0">
                  <a:latin typeface="Verdana (Основной текст)"/>
                  <a:cs typeface="Calibri" panose="020F0502020204030204" pitchFamily="34" charset="0"/>
                </a:rPr>
                <a:t>Кроме </a:t>
              </a:r>
              <a:r>
                <a:rPr lang="ru-RU" sz="1400" dirty="0">
                  <a:latin typeface="Verdana (Основной текст)"/>
                  <a:cs typeface="Calibri" panose="020F0502020204030204" pitchFamily="34" charset="0"/>
                </a:rPr>
                <a:t>внутренних аудитов в Компании внедрена система самоконтроля для оценки эффективности выполнения требований пищевой безопасности. Контроль проводится на всех уровнях – от </a:t>
              </a:r>
              <a:r>
                <a:rPr lang="ru-RU" sz="1400" dirty="0" smtClean="0">
                  <a:latin typeface="Verdana (Основной текст)"/>
                  <a:cs typeface="Calibri" panose="020F0502020204030204" pitchFamily="34" charset="0"/>
                </a:rPr>
                <a:t>Директора торгового комплекса </a:t>
              </a:r>
              <a:r>
                <a:rPr lang="ru-RU" sz="1400" dirty="0">
                  <a:latin typeface="Verdana (Основной текст)"/>
                  <a:cs typeface="Calibri" panose="020F0502020204030204" pitchFamily="34" charset="0"/>
                </a:rPr>
                <a:t>до Дивизионных директоров. Для всех уровней контроля разработаны чек-листы</a:t>
              </a:r>
              <a:endParaRPr lang="ru-RU" sz="1400" dirty="0" smtClean="0">
                <a:solidFill>
                  <a:schemeClr val="tx2"/>
                </a:solidFill>
              </a:endParaRPr>
            </a:p>
          </p:txBody>
        </p:sp>
        <p:grpSp>
          <p:nvGrpSpPr>
            <p:cNvPr id="56" name="Группа 55"/>
            <p:cNvGrpSpPr/>
            <p:nvPr/>
          </p:nvGrpSpPr>
          <p:grpSpPr>
            <a:xfrm>
              <a:off x="1030323" y="1343734"/>
              <a:ext cx="1636936" cy="2344024"/>
              <a:chOff x="1030323" y="1343734"/>
              <a:chExt cx="1636936" cy="2344024"/>
            </a:xfrm>
          </p:grpSpPr>
          <p:sp>
            <p:nvSpPr>
              <p:cNvPr id="60" name="Овал 59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2520983" y="1343734"/>
                <a:ext cx="146276" cy="2344024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61" name="Овал 60">
                <a:extLst>
                  <a:ext uri="{FF2B5EF4-FFF2-40B4-BE49-F238E27FC236}">
                    <a16:creationId xmlns:a16="http://schemas.microsoft.com/office/drawing/2014/main" id="{CDD4D058-422E-4E5B-9D8D-1AA555EA9A18}"/>
                  </a:ext>
                </a:extLst>
              </p:cNvPr>
              <p:cNvSpPr/>
              <p:nvPr/>
            </p:nvSpPr>
            <p:spPr>
              <a:xfrm>
                <a:off x="2518114" y="1343734"/>
                <a:ext cx="146276" cy="2344024"/>
              </a:xfrm>
              <a:prstGeom prst="ellipse">
                <a:avLst/>
              </a:prstGeom>
              <a:solidFill>
                <a:schemeClr val="bg1"/>
              </a:solidFill>
              <a:ln w="1111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400" dirty="0">
                  <a:solidFill>
                    <a:schemeClr val="tx1"/>
                  </a:solidFill>
                  <a:latin typeface="+mj-lt"/>
                </a:endParaRPr>
              </a:p>
            </p:txBody>
          </p:sp>
          <p:cxnSp>
            <p:nvCxnSpPr>
              <p:cNvPr id="65" name="Прямая соединительная линия 64">
                <a:extLst>
                  <a:ext uri="{FF2B5EF4-FFF2-40B4-BE49-F238E27FC236}">
                    <a16:creationId xmlns:a16="http://schemas.microsoft.com/office/drawing/2014/main" id="{F78E17E4-B6EC-FCD1-DE50-9C039168BD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0323" y="2392065"/>
                <a:ext cx="1487791" cy="113724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FE0B4896-07E5-429A-BE43-310398A462D5}"/>
              </a:ext>
            </a:extLst>
          </p:cNvPr>
          <p:cNvSpPr txBox="1"/>
          <p:nvPr/>
        </p:nvSpPr>
        <p:spPr>
          <a:xfrm>
            <a:off x="533629" y="4131742"/>
            <a:ext cx="2939295" cy="2215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1600" b="1" dirty="0" smtClean="0">
                <a:cs typeface="Arial" panose="020B0604020202020204" pitchFamily="34" charset="0"/>
              </a:rPr>
              <a:t>Система самоконтроля:</a:t>
            </a:r>
            <a:endParaRPr lang="ru-RU" sz="1600" b="1" dirty="0">
              <a:cs typeface="Arial" panose="020B0604020202020204" pitchFamily="34" charset="0"/>
            </a:endParaRPr>
          </a:p>
        </p:txBody>
      </p: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A287763A-0DE0-4594-B857-6AA128FFBC01}"/>
              </a:ext>
            </a:extLst>
          </p:cNvPr>
          <p:cNvGrpSpPr/>
          <p:nvPr/>
        </p:nvGrpSpPr>
        <p:grpSpPr>
          <a:xfrm>
            <a:off x="10806392" y="4213603"/>
            <a:ext cx="499086" cy="370350"/>
            <a:chOff x="571500" y="1701800"/>
            <a:chExt cx="863620" cy="524064"/>
          </a:xfrm>
          <a:solidFill>
            <a:schemeClr val="accent2"/>
          </a:solidFill>
        </p:grpSpPr>
        <p:sp>
          <p:nvSpPr>
            <p:cNvPr id="68" name="Полилиния: фигура 74">
              <a:extLst>
                <a:ext uri="{FF2B5EF4-FFF2-40B4-BE49-F238E27FC236}">
                  <a16:creationId xmlns:a16="http://schemas.microsoft.com/office/drawing/2014/main" id="{58D049C3-956D-4BD1-ABD3-40BA5A79EBED}"/>
                </a:ext>
              </a:extLst>
            </p:cNvPr>
            <p:cNvSpPr/>
            <p:nvPr/>
          </p:nvSpPr>
          <p:spPr>
            <a:xfrm rot="5400000">
              <a:off x="910601" y="1701345"/>
              <a:ext cx="524063" cy="52497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9" name="Полилиния: фигура 75">
              <a:extLst>
                <a:ext uri="{FF2B5EF4-FFF2-40B4-BE49-F238E27FC236}">
                  <a16:creationId xmlns:a16="http://schemas.microsoft.com/office/drawing/2014/main" id="{C7019FD3-105E-4C1C-A280-78E2D28FF13C}"/>
                </a:ext>
              </a:extLst>
            </p:cNvPr>
            <p:cNvSpPr/>
            <p:nvPr/>
          </p:nvSpPr>
          <p:spPr>
            <a:xfrm>
              <a:off x="571500" y="1886630"/>
              <a:ext cx="338643" cy="339234"/>
            </a:xfrm>
            <a:custGeom>
              <a:avLst/>
              <a:gdLst>
                <a:gd name="connsiteX0" fmla="*/ -310 w 489857"/>
                <a:gd name="connsiteY0" fmla="*/ -240 h 489857"/>
                <a:gd name="connsiteX1" fmla="*/ 489547 w 489857"/>
                <a:gd name="connsiteY1" fmla="*/ 489617 h 489857"/>
                <a:gd name="connsiteX2" fmla="*/ -310 w 489857"/>
                <a:gd name="connsiteY2" fmla="*/ -240 h 4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857" h="489857">
                  <a:moveTo>
                    <a:pt x="-310" y="-240"/>
                  </a:moveTo>
                  <a:cubicBezTo>
                    <a:pt x="-310" y="270298"/>
                    <a:pt x="219048" y="489617"/>
                    <a:pt x="489547" y="489617"/>
                  </a:cubicBezTo>
                  <a:cubicBezTo>
                    <a:pt x="489547" y="219079"/>
                    <a:pt x="270189" y="-240"/>
                    <a:pt x="-310" y="-240"/>
                  </a:cubicBezTo>
                  <a:close/>
                </a:path>
              </a:pathLst>
            </a:custGeom>
            <a:grpFill/>
            <a:ln w="9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70" name="Рисунок 67">
            <a:extLst>
              <a:ext uri="{FF2B5EF4-FFF2-40B4-BE49-F238E27FC236}">
                <a16:creationId xmlns:a16="http://schemas.microsoft.com/office/drawing/2014/main" id="{CE4E6F20-FE44-4184-BDAC-2D85A0D798B4}"/>
              </a:ext>
            </a:extLst>
          </p:cNvPr>
          <p:cNvGrpSpPr/>
          <p:nvPr/>
        </p:nvGrpSpPr>
        <p:grpSpPr>
          <a:xfrm>
            <a:off x="10843276" y="4002888"/>
            <a:ext cx="256842" cy="311843"/>
            <a:chOff x="5293882" y="1225568"/>
            <a:chExt cx="481314" cy="523683"/>
          </a:xfrm>
          <a:solidFill>
            <a:schemeClr val="tx1"/>
          </a:solidFill>
        </p:grpSpPr>
        <p:sp>
          <p:nvSpPr>
            <p:cNvPr id="71" name="Полилиния: фигура 283">
              <a:extLst>
                <a:ext uri="{FF2B5EF4-FFF2-40B4-BE49-F238E27FC236}">
                  <a16:creationId xmlns:a16="http://schemas.microsoft.com/office/drawing/2014/main" id="{332E0C36-A901-46D8-887C-95DB12DDD702}"/>
                </a:ext>
              </a:extLst>
            </p:cNvPr>
            <p:cNvSpPr/>
            <p:nvPr/>
          </p:nvSpPr>
          <p:spPr>
            <a:xfrm>
              <a:off x="5483131" y="1225568"/>
              <a:ext cx="102815" cy="102815"/>
            </a:xfrm>
            <a:custGeom>
              <a:avLst/>
              <a:gdLst>
                <a:gd name="connsiteX0" fmla="*/ 51408 w 102815"/>
                <a:gd name="connsiteY0" fmla="*/ 102816 h 102815"/>
                <a:gd name="connsiteX1" fmla="*/ 102816 w 102815"/>
                <a:gd name="connsiteY1" fmla="*/ 51408 h 102815"/>
                <a:gd name="connsiteX2" fmla="*/ 51408 w 102815"/>
                <a:gd name="connsiteY2" fmla="*/ 0 h 102815"/>
                <a:gd name="connsiteX3" fmla="*/ 0 w 102815"/>
                <a:gd name="connsiteY3" fmla="*/ 51408 h 102815"/>
                <a:gd name="connsiteX4" fmla="*/ 51408 w 102815"/>
                <a:gd name="connsiteY4" fmla="*/ 102816 h 102815"/>
                <a:gd name="connsiteX5" fmla="*/ 51408 w 102815"/>
                <a:gd name="connsiteY5" fmla="*/ 17513 h 102815"/>
                <a:gd name="connsiteX6" fmla="*/ 85868 w 102815"/>
                <a:gd name="connsiteY6" fmla="*/ 51973 h 102815"/>
                <a:gd name="connsiteX7" fmla="*/ 51408 w 102815"/>
                <a:gd name="connsiteY7" fmla="*/ 85868 h 102815"/>
                <a:gd name="connsiteX8" fmla="*/ 16948 w 102815"/>
                <a:gd name="connsiteY8" fmla="*/ 51408 h 102815"/>
                <a:gd name="connsiteX9" fmla="*/ 51408 w 102815"/>
                <a:gd name="connsiteY9" fmla="*/ 17513 h 102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815" h="102815">
                  <a:moveTo>
                    <a:pt x="51408" y="102816"/>
                  </a:moveTo>
                  <a:cubicBezTo>
                    <a:pt x="79654" y="102816"/>
                    <a:pt x="102816" y="79654"/>
                    <a:pt x="102816" y="51408"/>
                  </a:cubicBezTo>
                  <a:cubicBezTo>
                    <a:pt x="102816" y="23162"/>
                    <a:pt x="79654" y="0"/>
                    <a:pt x="51408" y="0"/>
                  </a:cubicBezTo>
                  <a:cubicBezTo>
                    <a:pt x="23162" y="0"/>
                    <a:pt x="0" y="23162"/>
                    <a:pt x="0" y="51408"/>
                  </a:cubicBezTo>
                  <a:cubicBezTo>
                    <a:pt x="0" y="79654"/>
                    <a:pt x="23162" y="102816"/>
                    <a:pt x="51408" y="102816"/>
                  </a:cubicBezTo>
                  <a:close/>
                  <a:moveTo>
                    <a:pt x="51408" y="17513"/>
                  </a:moveTo>
                  <a:cubicBezTo>
                    <a:pt x="70050" y="17513"/>
                    <a:pt x="85868" y="32766"/>
                    <a:pt x="85868" y="51973"/>
                  </a:cubicBezTo>
                  <a:cubicBezTo>
                    <a:pt x="85868" y="71180"/>
                    <a:pt x="70050" y="85868"/>
                    <a:pt x="51408" y="85868"/>
                  </a:cubicBezTo>
                  <a:cubicBezTo>
                    <a:pt x="32766" y="85868"/>
                    <a:pt x="16948" y="70615"/>
                    <a:pt x="16948" y="51408"/>
                  </a:cubicBezTo>
                  <a:cubicBezTo>
                    <a:pt x="16948" y="32201"/>
                    <a:pt x="32766" y="17513"/>
                    <a:pt x="51408" y="17513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Полилиния: фигура 284">
              <a:extLst>
                <a:ext uri="{FF2B5EF4-FFF2-40B4-BE49-F238E27FC236}">
                  <a16:creationId xmlns:a16="http://schemas.microsoft.com/office/drawing/2014/main" id="{6BF61F7D-648E-4E6E-A325-0ABC30E0F370}"/>
                </a:ext>
              </a:extLst>
            </p:cNvPr>
            <p:cNvSpPr/>
            <p:nvPr/>
          </p:nvSpPr>
          <p:spPr>
            <a:xfrm>
              <a:off x="5328342" y="1344201"/>
              <a:ext cx="412393" cy="296584"/>
            </a:xfrm>
            <a:custGeom>
              <a:avLst/>
              <a:gdLst>
                <a:gd name="connsiteX0" fmla="*/ 51408 w 412393"/>
                <a:gd name="connsiteY0" fmla="*/ 296585 h 296584"/>
                <a:gd name="connsiteX1" fmla="*/ 102816 w 412393"/>
                <a:gd name="connsiteY1" fmla="*/ 245177 h 296584"/>
                <a:gd name="connsiteX2" fmla="*/ 59882 w 412393"/>
                <a:gd name="connsiteY2" fmla="*/ 194898 h 296584"/>
                <a:gd name="connsiteX3" fmla="*/ 59882 w 412393"/>
                <a:gd name="connsiteY3" fmla="*/ 139536 h 296584"/>
                <a:gd name="connsiteX4" fmla="*/ 197723 w 412393"/>
                <a:gd name="connsiteY4" fmla="*/ 139536 h 296584"/>
                <a:gd name="connsiteX5" fmla="*/ 197723 w 412393"/>
                <a:gd name="connsiteY5" fmla="*/ 194898 h 296584"/>
                <a:gd name="connsiteX6" fmla="*/ 154789 w 412393"/>
                <a:gd name="connsiteY6" fmla="*/ 245177 h 296584"/>
                <a:gd name="connsiteX7" fmla="*/ 206197 w 412393"/>
                <a:gd name="connsiteY7" fmla="*/ 296585 h 296584"/>
                <a:gd name="connsiteX8" fmla="*/ 257605 w 412393"/>
                <a:gd name="connsiteY8" fmla="*/ 245177 h 296584"/>
                <a:gd name="connsiteX9" fmla="*/ 214671 w 412393"/>
                <a:gd name="connsiteY9" fmla="*/ 194898 h 296584"/>
                <a:gd name="connsiteX10" fmla="*/ 214671 w 412393"/>
                <a:gd name="connsiteY10" fmla="*/ 139536 h 296584"/>
                <a:gd name="connsiteX11" fmla="*/ 352512 w 412393"/>
                <a:gd name="connsiteY11" fmla="*/ 139536 h 296584"/>
                <a:gd name="connsiteX12" fmla="*/ 352512 w 412393"/>
                <a:gd name="connsiteY12" fmla="*/ 194898 h 296584"/>
                <a:gd name="connsiteX13" fmla="*/ 309578 w 412393"/>
                <a:gd name="connsiteY13" fmla="*/ 245177 h 296584"/>
                <a:gd name="connsiteX14" fmla="*/ 360986 w 412393"/>
                <a:gd name="connsiteY14" fmla="*/ 296585 h 296584"/>
                <a:gd name="connsiteX15" fmla="*/ 412394 w 412393"/>
                <a:gd name="connsiteY15" fmla="*/ 245177 h 296584"/>
                <a:gd name="connsiteX16" fmla="*/ 369460 w 412393"/>
                <a:gd name="connsiteY16" fmla="*/ 194898 h 296584"/>
                <a:gd name="connsiteX17" fmla="*/ 369460 w 412393"/>
                <a:gd name="connsiteY17" fmla="*/ 131062 h 296584"/>
                <a:gd name="connsiteX18" fmla="*/ 360986 w 412393"/>
                <a:gd name="connsiteY18" fmla="*/ 122588 h 296584"/>
                <a:gd name="connsiteX19" fmla="*/ 214671 w 412393"/>
                <a:gd name="connsiteY19" fmla="*/ 122588 h 296584"/>
                <a:gd name="connsiteX20" fmla="*/ 214671 w 412393"/>
                <a:gd name="connsiteY20" fmla="*/ 93212 h 296584"/>
                <a:gd name="connsiteX21" fmla="*/ 283026 w 412393"/>
                <a:gd name="connsiteY21" fmla="*/ 93212 h 296584"/>
                <a:gd name="connsiteX22" fmla="*/ 291500 w 412393"/>
                <a:gd name="connsiteY22" fmla="*/ 84738 h 296584"/>
                <a:gd name="connsiteX23" fmla="*/ 291500 w 412393"/>
                <a:gd name="connsiteY23" fmla="*/ 83044 h 296584"/>
                <a:gd name="connsiteX24" fmla="*/ 291500 w 412393"/>
                <a:gd name="connsiteY24" fmla="*/ 79654 h 296584"/>
                <a:gd name="connsiteX25" fmla="*/ 205632 w 412393"/>
                <a:gd name="connsiteY25" fmla="*/ 0 h 296584"/>
                <a:gd name="connsiteX26" fmla="*/ 119764 w 412393"/>
                <a:gd name="connsiteY26" fmla="*/ 79654 h 296584"/>
                <a:gd name="connsiteX27" fmla="*/ 120329 w 412393"/>
                <a:gd name="connsiteY27" fmla="*/ 85868 h 296584"/>
                <a:gd name="connsiteX28" fmla="*/ 128802 w 412393"/>
                <a:gd name="connsiteY28" fmla="*/ 92647 h 296584"/>
                <a:gd name="connsiteX29" fmla="*/ 197158 w 412393"/>
                <a:gd name="connsiteY29" fmla="*/ 92647 h 296584"/>
                <a:gd name="connsiteX30" fmla="*/ 197158 w 412393"/>
                <a:gd name="connsiteY30" fmla="*/ 122023 h 296584"/>
                <a:gd name="connsiteX31" fmla="*/ 51408 w 412393"/>
                <a:gd name="connsiteY31" fmla="*/ 122023 h 296584"/>
                <a:gd name="connsiteX32" fmla="*/ 42934 w 412393"/>
                <a:gd name="connsiteY32" fmla="*/ 130497 h 296584"/>
                <a:gd name="connsiteX33" fmla="*/ 42934 w 412393"/>
                <a:gd name="connsiteY33" fmla="*/ 194334 h 296584"/>
                <a:gd name="connsiteX34" fmla="*/ 0 w 412393"/>
                <a:gd name="connsiteY34" fmla="*/ 244612 h 296584"/>
                <a:gd name="connsiteX35" fmla="*/ 51408 w 412393"/>
                <a:gd name="connsiteY35" fmla="*/ 296585 h 296584"/>
                <a:gd name="connsiteX36" fmla="*/ 240657 w 412393"/>
                <a:gd name="connsiteY36" fmla="*/ 245177 h 296584"/>
                <a:gd name="connsiteX37" fmla="*/ 206197 w 412393"/>
                <a:gd name="connsiteY37" fmla="*/ 279637 h 296584"/>
                <a:gd name="connsiteX38" fmla="*/ 171737 w 412393"/>
                <a:gd name="connsiteY38" fmla="*/ 245177 h 296584"/>
                <a:gd name="connsiteX39" fmla="*/ 206197 w 412393"/>
                <a:gd name="connsiteY39" fmla="*/ 210716 h 296584"/>
                <a:gd name="connsiteX40" fmla="*/ 240657 w 412393"/>
                <a:gd name="connsiteY40" fmla="*/ 245177 h 296584"/>
                <a:gd name="connsiteX41" fmla="*/ 394881 w 412393"/>
                <a:gd name="connsiteY41" fmla="*/ 245177 h 296584"/>
                <a:gd name="connsiteX42" fmla="*/ 360421 w 412393"/>
                <a:gd name="connsiteY42" fmla="*/ 279637 h 296584"/>
                <a:gd name="connsiteX43" fmla="*/ 325961 w 412393"/>
                <a:gd name="connsiteY43" fmla="*/ 245177 h 296584"/>
                <a:gd name="connsiteX44" fmla="*/ 360421 w 412393"/>
                <a:gd name="connsiteY44" fmla="*/ 210716 h 296584"/>
                <a:gd name="connsiteX45" fmla="*/ 394881 w 412393"/>
                <a:gd name="connsiteY45" fmla="*/ 245177 h 296584"/>
                <a:gd name="connsiteX46" fmla="*/ 206197 w 412393"/>
                <a:gd name="connsiteY46" fmla="*/ 16948 h 296584"/>
                <a:gd name="connsiteX47" fmla="*/ 274553 w 412393"/>
                <a:gd name="connsiteY47" fmla="*/ 76265 h 296584"/>
                <a:gd name="connsiteX48" fmla="*/ 137276 w 412393"/>
                <a:gd name="connsiteY48" fmla="*/ 76265 h 296584"/>
                <a:gd name="connsiteX49" fmla="*/ 206197 w 412393"/>
                <a:gd name="connsiteY49" fmla="*/ 16948 h 296584"/>
                <a:gd name="connsiteX50" fmla="*/ 51408 w 412393"/>
                <a:gd name="connsiteY50" fmla="*/ 210716 h 296584"/>
                <a:gd name="connsiteX51" fmla="*/ 85868 w 412393"/>
                <a:gd name="connsiteY51" fmla="*/ 245177 h 296584"/>
                <a:gd name="connsiteX52" fmla="*/ 51408 w 412393"/>
                <a:gd name="connsiteY52" fmla="*/ 279637 h 296584"/>
                <a:gd name="connsiteX53" fmla="*/ 16948 w 412393"/>
                <a:gd name="connsiteY53" fmla="*/ 245177 h 296584"/>
                <a:gd name="connsiteX54" fmla="*/ 51408 w 412393"/>
                <a:gd name="connsiteY54" fmla="*/ 210716 h 29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12393" h="296584">
                  <a:moveTo>
                    <a:pt x="51408" y="296585"/>
                  </a:moveTo>
                  <a:cubicBezTo>
                    <a:pt x="79654" y="296585"/>
                    <a:pt x="102816" y="273423"/>
                    <a:pt x="102816" y="245177"/>
                  </a:cubicBezTo>
                  <a:cubicBezTo>
                    <a:pt x="102816" y="219755"/>
                    <a:pt x="84174" y="198853"/>
                    <a:pt x="59882" y="194898"/>
                  </a:cubicBezTo>
                  <a:lnTo>
                    <a:pt x="59882" y="139536"/>
                  </a:lnTo>
                  <a:lnTo>
                    <a:pt x="197723" y="139536"/>
                  </a:lnTo>
                  <a:lnTo>
                    <a:pt x="197723" y="194898"/>
                  </a:lnTo>
                  <a:cubicBezTo>
                    <a:pt x="173431" y="198853"/>
                    <a:pt x="154789" y="219755"/>
                    <a:pt x="154789" y="245177"/>
                  </a:cubicBezTo>
                  <a:cubicBezTo>
                    <a:pt x="154789" y="273423"/>
                    <a:pt x="177951" y="296585"/>
                    <a:pt x="206197" y="296585"/>
                  </a:cubicBezTo>
                  <a:cubicBezTo>
                    <a:pt x="234443" y="296585"/>
                    <a:pt x="257605" y="273423"/>
                    <a:pt x="257605" y="245177"/>
                  </a:cubicBezTo>
                  <a:cubicBezTo>
                    <a:pt x="257605" y="219755"/>
                    <a:pt x="238962" y="198853"/>
                    <a:pt x="214671" y="194898"/>
                  </a:cubicBezTo>
                  <a:lnTo>
                    <a:pt x="214671" y="139536"/>
                  </a:lnTo>
                  <a:lnTo>
                    <a:pt x="352512" y="139536"/>
                  </a:lnTo>
                  <a:lnTo>
                    <a:pt x="352512" y="194898"/>
                  </a:lnTo>
                  <a:cubicBezTo>
                    <a:pt x="328220" y="198853"/>
                    <a:pt x="309578" y="219755"/>
                    <a:pt x="309578" y="245177"/>
                  </a:cubicBezTo>
                  <a:cubicBezTo>
                    <a:pt x="309578" y="273423"/>
                    <a:pt x="332740" y="296585"/>
                    <a:pt x="360986" y="296585"/>
                  </a:cubicBezTo>
                  <a:cubicBezTo>
                    <a:pt x="389232" y="296585"/>
                    <a:pt x="412394" y="273423"/>
                    <a:pt x="412394" y="245177"/>
                  </a:cubicBezTo>
                  <a:cubicBezTo>
                    <a:pt x="412394" y="219755"/>
                    <a:pt x="393751" y="198853"/>
                    <a:pt x="369460" y="194898"/>
                  </a:cubicBezTo>
                  <a:lnTo>
                    <a:pt x="369460" y="131062"/>
                  </a:lnTo>
                  <a:cubicBezTo>
                    <a:pt x="369460" y="126543"/>
                    <a:pt x="365505" y="122588"/>
                    <a:pt x="360986" y="122588"/>
                  </a:cubicBezTo>
                  <a:lnTo>
                    <a:pt x="214671" y="122588"/>
                  </a:lnTo>
                  <a:lnTo>
                    <a:pt x="214671" y="93212"/>
                  </a:lnTo>
                  <a:lnTo>
                    <a:pt x="283026" y="93212"/>
                  </a:lnTo>
                  <a:cubicBezTo>
                    <a:pt x="287546" y="93212"/>
                    <a:pt x="291500" y="89258"/>
                    <a:pt x="291500" y="84738"/>
                  </a:cubicBezTo>
                  <a:cubicBezTo>
                    <a:pt x="291500" y="84174"/>
                    <a:pt x="291500" y="83609"/>
                    <a:pt x="291500" y="83044"/>
                  </a:cubicBezTo>
                  <a:cubicBezTo>
                    <a:pt x="291500" y="81914"/>
                    <a:pt x="291500" y="80784"/>
                    <a:pt x="291500" y="79654"/>
                  </a:cubicBezTo>
                  <a:cubicBezTo>
                    <a:pt x="291500" y="35590"/>
                    <a:pt x="253086" y="0"/>
                    <a:pt x="205632" y="0"/>
                  </a:cubicBezTo>
                  <a:cubicBezTo>
                    <a:pt x="158178" y="0"/>
                    <a:pt x="119764" y="35590"/>
                    <a:pt x="119764" y="79654"/>
                  </a:cubicBezTo>
                  <a:cubicBezTo>
                    <a:pt x="119764" y="81349"/>
                    <a:pt x="119764" y="83609"/>
                    <a:pt x="120329" y="85868"/>
                  </a:cubicBezTo>
                  <a:cubicBezTo>
                    <a:pt x="120894" y="89823"/>
                    <a:pt x="124848" y="92647"/>
                    <a:pt x="128802" y="92647"/>
                  </a:cubicBezTo>
                  <a:lnTo>
                    <a:pt x="197158" y="92647"/>
                  </a:lnTo>
                  <a:lnTo>
                    <a:pt x="197158" y="122023"/>
                  </a:lnTo>
                  <a:lnTo>
                    <a:pt x="51408" y="122023"/>
                  </a:lnTo>
                  <a:cubicBezTo>
                    <a:pt x="46889" y="122023"/>
                    <a:pt x="42934" y="125978"/>
                    <a:pt x="42934" y="130497"/>
                  </a:cubicBezTo>
                  <a:lnTo>
                    <a:pt x="42934" y="194334"/>
                  </a:lnTo>
                  <a:cubicBezTo>
                    <a:pt x="18642" y="198288"/>
                    <a:pt x="0" y="219190"/>
                    <a:pt x="0" y="244612"/>
                  </a:cubicBezTo>
                  <a:cubicBezTo>
                    <a:pt x="565" y="273423"/>
                    <a:pt x="23162" y="296585"/>
                    <a:pt x="51408" y="296585"/>
                  </a:cubicBezTo>
                  <a:close/>
                  <a:moveTo>
                    <a:pt x="240657" y="245177"/>
                  </a:moveTo>
                  <a:cubicBezTo>
                    <a:pt x="240657" y="263819"/>
                    <a:pt x="225404" y="279637"/>
                    <a:pt x="206197" y="279637"/>
                  </a:cubicBezTo>
                  <a:cubicBezTo>
                    <a:pt x="187554" y="279637"/>
                    <a:pt x="171737" y="264384"/>
                    <a:pt x="171737" y="245177"/>
                  </a:cubicBezTo>
                  <a:cubicBezTo>
                    <a:pt x="171737" y="226534"/>
                    <a:pt x="186990" y="210716"/>
                    <a:pt x="206197" y="210716"/>
                  </a:cubicBezTo>
                  <a:cubicBezTo>
                    <a:pt x="224839" y="210716"/>
                    <a:pt x="240657" y="226534"/>
                    <a:pt x="240657" y="245177"/>
                  </a:cubicBezTo>
                  <a:close/>
                  <a:moveTo>
                    <a:pt x="394881" y="245177"/>
                  </a:moveTo>
                  <a:cubicBezTo>
                    <a:pt x="394881" y="263819"/>
                    <a:pt x="379628" y="279637"/>
                    <a:pt x="360421" y="279637"/>
                  </a:cubicBezTo>
                  <a:cubicBezTo>
                    <a:pt x="341778" y="279637"/>
                    <a:pt x="325961" y="264384"/>
                    <a:pt x="325961" y="245177"/>
                  </a:cubicBezTo>
                  <a:cubicBezTo>
                    <a:pt x="325961" y="226534"/>
                    <a:pt x="341214" y="210716"/>
                    <a:pt x="360421" y="210716"/>
                  </a:cubicBezTo>
                  <a:cubicBezTo>
                    <a:pt x="379628" y="210716"/>
                    <a:pt x="394881" y="226534"/>
                    <a:pt x="394881" y="245177"/>
                  </a:cubicBezTo>
                  <a:close/>
                  <a:moveTo>
                    <a:pt x="206197" y="16948"/>
                  </a:moveTo>
                  <a:cubicBezTo>
                    <a:pt x="242917" y="16948"/>
                    <a:pt x="272858" y="42934"/>
                    <a:pt x="274553" y="76265"/>
                  </a:cubicBezTo>
                  <a:lnTo>
                    <a:pt x="137276" y="76265"/>
                  </a:lnTo>
                  <a:cubicBezTo>
                    <a:pt x="139536" y="42934"/>
                    <a:pt x="169477" y="16948"/>
                    <a:pt x="206197" y="16948"/>
                  </a:cubicBezTo>
                  <a:close/>
                  <a:moveTo>
                    <a:pt x="51408" y="210716"/>
                  </a:moveTo>
                  <a:cubicBezTo>
                    <a:pt x="70050" y="210716"/>
                    <a:pt x="85868" y="225969"/>
                    <a:pt x="85868" y="245177"/>
                  </a:cubicBezTo>
                  <a:cubicBezTo>
                    <a:pt x="85868" y="263819"/>
                    <a:pt x="70615" y="279637"/>
                    <a:pt x="51408" y="279637"/>
                  </a:cubicBezTo>
                  <a:cubicBezTo>
                    <a:pt x="32201" y="279637"/>
                    <a:pt x="16948" y="264384"/>
                    <a:pt x="16948" y="245177"/>
                  </a:cubicBezTo>
                  <a:cubicBezTo>
                    <a:pt x="17513" y="226534"/>
                    <a:pt x="32766" y="210716"/>
                    <a:pt x="51408" y="210716"/>
                  </a:cubicBez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Полилиния: фигура 285">
              <a:extLst>
                <a:ext uri="{FF2B5EF4-FFF2-40B4-BE49-F238E27FC236}">
                  <a16:creationId xmlns:a16="http://schemas.microsoft.com/office/drawing/2014/main" id="{748AA9AC-3B4F-4FC1-995E-74027290AD24}"/>
                </a:ext>
              </a:extLst>
            </p:cNvPr>
            <p:cNvSpPr/>
            <p:nvPr/>
          </p:nvSpPr>
          <p:spPr>
            <a:xfrm>
              <a:off x="5293882" y="1656604"/>
              <a:ext cx="481314" cy="92647"/>
            </a:xfrm>
            <a:custGeom>
              <a:avLst/>
              <a:gdLst>
                <a:gd name="connsiteX0" fmla="*/ 395446 w 481314"/>
                <a:gd name="connsiteY0" fmla="*/ 0 h 92647"/>
                <a:gd name="connsiteX1" fmla="*/ 318052 w 481314"/>
                <a:gd name="connsiteY1" fmla="*/ 45194 h 92647"/>
                <a:gd name="connsiteX2" fmla="*/ 240657 w 481314"/>
                <a:gd name="connsiteY2" fmla="*/ 0 h 92647"/>
                <a:gd name="connsiteX3" fmla="*/ 163263 w 481314"/>
                <a:gd name="connsiteY3" fmla="*/ 45194 h 92647"/>
                <a:gd name="connsiteX4" fmla="*/ 85868 w 481314"/>
                <a:gd name="connsiteY4" fmla="*/ 0 h 92647"/>
                <a:gd name="connsiteX5" fmla="*/ 0 w 481314"/>
                <a:gd name="connsiteY5" fmla="*/ 79654 h 92647"/>
                <a:gd name="connsiteX6" fmla="*/ 565 w 481314"/>
                <a:gd name="connsiteY6" fmla="*/ 85868 h 92647"/>
                <a:gd name="connsiteX7" fmla="*/ 9039 w 481314"/>
                <a:gd name="connsiteY7" fmla="*/ 92647 h 92647"/>
                <a:gd name="connsiteX8" fmla="*/ 163263 w 481314"/>
                <a:gd name="connsiteY8" fmla="*/ 92647 h 92647"/>
                <a:gd name="connsiteX9" fmla="*/ 163828 w 481314"/>
                <a:gd name="connsiteY9" fmla="*/ 92647 h 92647"/>
                <a:gd name="connsiteX10" fmla="*/ 163828 w 481314"/>
                <a:gd name="connsiteY10" fmla="*/ 92647 h 92647"/>
                <a:gd name="connsiteX11" fmla="*/ 318052 w 481314"/>
                <a:gd name="connsiteY11" fmla="*/ 92647 h 92647"/>
                <a:gd name="connsiteX12" fmla="*/ 318617 w 481314"/>
                <a:gd name="connsiteY12" fmla="*/ 92647 h 92647"/>
                <a:gd name="connsiteX13" fmla="*/ 318617 w 481314"/>
                <a:gd name="connsiteY13" fmla="*/ 92647 h 92647"/>
                <a:gd name="connsiteX14" fmla="*/ 472841 w 481314"/>
                <a:gd name="connsiteY14" fmla="*/ 92647 h 92647"/>
                <a:gd name="connsiteX15" fmla="*/ 481314 w 481314"/>
                <a:gd name="connsiteY15" fmla="*/ 84174 h 92647"/>
                <a:gd name="connsiteX16" fmla="*/ 481314 w 481314"/>
                <a:gd name="connsiteY16" fmla="*/ 82479 h 92647"/>
                <a:gd name="connsiteX17" fmla="*/ 481314 w 481314"/>
                <a:gd name="connsiteY17" fmla="*/ 79089 h 92647"/>
                <a:gd name="connsiteX18" fmla="*/ 395446 w 481314"/>
                <a:gd name="connsiteY18" fmla="*/ 0 h 92647"/>
                <a:gd name="connsiteX19" fmla="*/ 17513 w 481314"/>
                <a:gd name="connsiteY19" fmla="*/ 75700 h 92647"/>
                <a:gd name="connsiteX20" fmla="*/ 86433 w 481314"/>
                <a:gd name="connsiteY20" fmla="*/ 16383 h 92647"/>
                <a:gd name="connsiteX21" fmla="*/ 154789 w 481314"/>
                <a:gd name="connsiteY21" fmla="*/ 75700 h 92647"/>
                <a:gd name="connsiteX22" fmla="*/ 17513 w 481314"/>
                <a:gd name="connsiteY22" fmla="*/ 75700 h 92647"/>
                <a:gd name="connsiteX23" fmla="*/ 171737 w 481314"/>
                <a:gd name="connsiteY23" fmla="*/ 75700 h 92647"/>
                <a:gd name="connsiteX24" fmla="*/ 240657 w 481314"/>
                <a:gd name="connsiteY24" fmla="*/ 16383 h 92647"/>
                <a:gd name="connsiteX25" fmla="*/ 309013 w 481314"/>
                <a:gd name="connsiteY25" fmla="*/ 75700 h 92647"/>
                <a:gd name="connsiteX26" fmla="*/ 171737 w 481314"/>
                <a:gd name="connsiteY26" fmla="*/ 75700 h 92647"/>
                <a:gd name="connsiteX27" fmla="*/ 326526 w 481314"/>
                <a:gd name="connsiteY27" fmla="*/ 75700 h 92647"/>
                <a:gd name="connsiteX28" fmla="*/ 395446 w 481314"/>
                <a:gd name="connsiteY28" fmla="*/ 16383 h 92647"/>
                <a:gd name="connsiteX29" fmla="*/ 463802 w 481314"/>
                <a:gd name="connsiteY29" fmla="*/ 75700 h 92647"/>
                <a:gd name="connsiteX30" fmla="*/ 326526 w 481314"/>
                <a:gd name="connsiteY30" fmla="*/ 75700 h 92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81314" h="92647">
                  <a:moveTo>
                    <a:pt x="395446" y="0"/>
                  </a:moveTo>
                  <a:cubicBezTo>
                    <a:pt x="361551" y="0"/>
                    <a:pt x="331610" y="18642"/>
                    <a:pt x="318052" y="45194"/>
                  </a:cubicBezTo>
                  <a:cubicBezTo>
                    <a:pt x="304494" y="18642"/>
                    <a:pt x="275118" y="0"/>
                    <a:pt x="240657" y="0"/>
                  </a:cubicBezTo>
                  <a:cubicBezTo>
                    <a:pt x="206762" y="0"/>
                    <a:pt x="176821" y="18642"/>
                    <a:pt x="163263" y="45194"/>
                  </a:cubicBezTo>
                  <a:cubicBezTo>
                    <a:pt x="149705" y="18642"/>
                    <a:pt x="120329" y="0"/>
                    <a:pt x="85868" y="0"/>
                  </a:cubicBezTo>
                  <a:cubicBezTo>
                    <a:pt x="38415" y="0"/>
                    <a:pt x="0" y="35590"/>
                    <a:pt x="0" y="79654"/>
                  </a:cubicBezTo>
                  <a:cubicBezTo>
                    <a:pt x="0" y="81349"/>
                    <a:pt x="0" y="83609"/>
                    <a:pt x="565" y="85868"/>
                  </a:cubicBezTo>
                  <a:cubicBezTo>
                    <a:pt x="1130" y="89823"/>
                    <a:pt x="5084" y="92647"/>
                    <a:pt x="9039" y="92647"/>
                  </a:cubicBezTo>
                  <a:lnTo>
                    <a:pt x="163263" y="92647"/>
                  </a:lnTo>
                  <a:cubicBezTo>
                    <a:pt x="163263" y="92647"/>
                    <a:pt x="163263" y="92647"/>
                    <a:pt x="163828" y="92647"/>
                  </a:cubicBezTo>
                  <a:cubicBezTo>
                    <a:pt x="163828" y="92647"/>
                    <a:pt x="163828" y="92647"/>
                    <a:pt x="163828" y="92647"/>
                  </a:cubicBezTo>
                  <a:lnTo>
                    <a:pt x="318052" y="92647"/>
                  </a:lnTo>
                  <a:cubicBezTo>
                    <a:pt x="318052" y="92647"/>
                    <a:pt x="318052" y="92647"/>
                    <a:pt x="318617" y="92647"/>
                  </a:cubicBezTo>
                  <a:cubicBezTo>
                    <a:pt x="318617" y="92647"/>
                    <a:pt x="318617" y="92647"/>
                    <a:pt x="318617" y="92647"/>
                  </a:cubicBezTo>
                  <a:lnTo>
                    <a:pt x="472841" y="92647"/>
                  </a:lnTo>
                  <a:cubicBezTo>
                    <a:pt x="477360" y="92647"/>
                    <a:pt x="481314" y="88693"/>
                    <a:pt x="481314" y="84174"/>
                  </a:cubicBezTo>
                  <a:cubicBezTo>
                    <a:pt x="481314" y="83609"/>
                    <a:pt x="481314" y="83044"/>
                    <a:pt x="481314" y="82479"/>
                  </a:cubicBezTo>
                  <a:cubicBezTo>
                    <a:pt x="481314" y="81349"/>
                    <a:pt x="481314" y="80219"/>
                    <a:pt x="481314" y="79089"/>
                  </a:cubicBezTo>
                  <a:cubicBezTo>
                    <a:pt x="481314" y="35590"/>
                    <a:pt x="442900" y="0"/>
                    <a:pt x="395446" y="0"/>
                  </a:cubicBezTo>
                  <a:close/>
                  <a:moveTo>
                    <a:pt x="17513" y="75700"/>
                  </a:moveTo>
                  <a:cubicBezTo>
                    <a:pt x="19772" y="42934"/>
                    <a:pt x="49713" y="16383"/>
                    <a:pt x="86433" y="16383"/>
                  </a:cubicBezTo>
                  <a:cubicBezTo>
                    <a:pt x="123153" y="16383"/>
                    <a:pt x="153094" y="42369"/>
                    <a:pt x="154789" y="75700"/>
                  </a:cubicBezTo>
                  <a:lnTo>
                    <a:pt x="17513" y="75700"/>
                  </a:lnTo>
                  <a:close/>
                  <a:moveTo>
                    <a:pt x="171737" y="75700"/>
                  </a:moveTo>
                  <a:cubicBezTo>
                    <a:pt x="173996" y="42934"/>
                    <a:pt x="203937" y="16383"/>
                    <a:pt x="240657" y="16383"/>
                  </a:cubicBezTo>
                  <a:cubicBezTo>
                    <a:pt x="277377" y="16383"/>
                    <a:pt x="307318" y="42369"/>
                    <a:pt x="309013" y="75700"/>
                  </a:cubicBezTo>
                  <a:lnTo>
                    <a:pt x="171737" y="75700"/>
                  </a:lnTo>
                  <a:close/>
                  <a:moveTo>
                    <a:pt x="326526" y="75700"/>
                  </a:moveTo>
                  <a:cubicBezTo>
                    <a:pt x="328785" y="42934"/>
                    <a:pt x="358726" y="16383"/>
                    <a:pt x="395446" y="16383"/>
                  </a:cubicBezTo>
                  <a:cubicBezTo>
                    <a:pt x="432166" y="16383"/>
                    <a:pt x="462107" y="42369"/>
                    <a:pt x="463802" y="75700"/>
                  </a:cubicBezTo>
                  <a:lnTo>
                    <a:pt x="326526" y="75700"/>
                  </a:lnTo>
                  <a:close/>
                </a:path>
              </a:pathLst>
            </a:custGeom>
            <a:grpFill/>
            <a:ln w="108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3C96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4457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2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00000000000000000000E+00&quot;&gt;&lt;m_msothmcolidx val=&quot;0&quot;/&gt;&lt;m_rgb r=&quot;C6&quot; g=&quot;B0&quot; b=&quot;1C&quot;/&gt;&lt;/elem&gt;&lt;elem m_fUsage=&quot;9.00000000000000022204E-01&quot;&gt;&lt;m_msothmcolidx val=&quot;0&quot;/&gt;&lt;m_rgb r=&quot;FF&quot; g=&quot;F5&quot; b=&quot;B1&quot;/&gt;&lt;/elem&gt;&lt;elem m_fUsage=&quot;8.10000000000000053291E-01&quot;&gt;&lt;m_msothmcolidx val=&quot;0&quot;/&gt;&lt;m_rgb r=&quot;78&quot; g=&quot;BE&quot; b=&quot;20&quot;/&gt;&lt;/elem&gt;&lt;elem m_fUsage=&quot;7.29000000000000092371E-01&quot;&gt;&lt;m_msothmcolidx val=&quot;0&quot;/&gt;&lt;m_rgb r=&quot;ED&quot; g=&quot;8B&quot; b=&quot;0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бразцы слайдов: Лента">
  <a:themeElements>
    <a:clrScheme name="Другая 5">
      <a:dk1>
        <a:srgbClr val="4D4D4F"/>
      </a:dk1>
      <a:lt1>
        <a:srgbClr val="FFFFFF"/>
      </a:lt1>
      <a:dk2>
        <a:srgbClr val="FFDD00"/>
      </a:dk2>
      <a:lt2>
        <a:srgbClr val="FFDD00"/>
      </a:lt2>
      <a:accent1>
        <a:srgbClr val="FFDD00"/>
      </a:accent1>
      <a:accent2>
        <a:srgbClr val="00BE64"/>
      </a:accent2>
      <a:accent3>
        <a:srgbClr val="4D4D4F"/>
      </a:accent3>
      <a:accent4>
        <a:srgbClr val="4D4D4F"/>
      </a:accent4>
      <a:accent5>
        <a:srgbClr val="C00000"/>
      </a:accent5>
      <a:accent6>
        <a:srgbClr val="262627"/>
      </a:accent6>
      <a:hlink>
        <a:srgbClr val="262627"/>
      </a:hlink>
      <a:folHlink>
        <a:srgbClr val="4D4D4F"/>
      </a:folHlink>
    </a:clrScheme>
    <a:fontScheme name="Лента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tlCol="0" anchor="ctr"/>
      <a:lstStyle>
        <a:defPPr algn="l">
          <a:defRPr sz="1400" dirty="0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50727 Шаблон презентаций Группа Лента.pptx" id="{A4DEBEDE-8683-4F5C-9B0B-1DDE08D5E633}" vid="{478CD7D8-44A1-4A73-BAEC-7BC5543E9254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50727 Шаблон презентаций Группа Лента</Template>
  <TotalTime>690</TotalTime>
  <Words>7526</Words>
  <Application>Microsoft Office PowerPoint</Application>
  <PresentationFormat>Широкоэкранный</PresentationFormat>
  <Paragraphs>1433</Paragraphs>
  <Slides>124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4</vt:i4>
      </vt:variant>
    </vt:vector>
  </HeadingPairs>
  <TitlesOfParts>
    <vt:vector size="140" baseType="lpstr">
      <vt:lpstr>Aileron Heavy</vt:lpstr>
      <vt:lpstr>Akrobat</vt:lpstr>
      <vt:lpstr>Akrobat ExtraBold</vt:lpstr>
      <vt:lpstr>Arial</vt:lpstr>
      <vt:lpstr>Calibri</vt:lpstr>
      <vt:lpstr>Cambria</vt:lpstr>
      <vt:lpstr>Futura PT Book</vt:lpstr>
      <vt:lpstr>Helvetica World Bold</vt:lpstr>
      <vt:lpstr>Symbol</vt:lpstr>
      <vt:lpstr>Times New Roman</vt:lpstr>
      <vt:lpstr>Trebuchet MS</vt:lpstr>
      <vt:lpstr>Verdana</vt:lpstr>
      <vt:lpstr>Verdana (Основной текст)</vt:lpstr>
      <vt:lpstr>Wingdings</vt:lpstr>
      <vt:lpstr>Образцы слайдов: Лента</vt:lpstr>
      <vt:lpstr>Слайд think-cell</vt:lpstr>
      <vt:lpstr>СЛУЖБА КАЧЕСТВА ООО «ЛЕНТА» «Управление качеством»</vt:lpstr>
      <vt:lpstr>Повестка встречи</vt:lpstr>
      <vt:lpstr>Повестка встречи</vt:lpstr>
      <vt:lpstr>Как пройти проверку маркировки и документов быстро и без проблем?</vt:lpstr>
      <vt:lpstr>Это точно не пройдёт</vt:lpstr>
      <vt:lpstr>ТР ТС 022/2011 «Пищевая продукция в части её маркировки</vt:lpstr>
      <vt:lpstr>Размер шрифта  и способ нанесения</vt:lpstr>
      <vt:lpstr>Перечень несоответствий, при которых товар не будет пропущен  ОК</vt:lpstr>
      <vt:lpstr>Примеры нарушений оформления потребительской маркировки</vt:lpstr>
      <vt:lpstr>Примеры нарушений оформления документов</vt:lpstr>
      <vt:lpstr>Примеры нарушений оформления документов</vt:lpstr>
      <vt:lpstr>Реестр деклараций  на сайте Росаккредитации</vt:lpstr>
      <vt:lpstr>Реестр СГР  на сайте Росаккредитации</vt:lpstr>
      <vt:lpstr>Что не так с фото и документами?</vt:lpstr>
      <vt:lpstr>Что не так с фото? </vt:lpstr>
      <vt:lpstr>Примеры нарушений оформления документов</vt:lpstr>
      <vt:lpstr>Фото товара</vt:lpstr>
      <vt:lpstr>Документы для продукции с отличительными признаками</vt:lpstr>
      <vt:lpstr>Документы для продукции с отличительными признаками</vt:lpstr>
      <vt:lpstr>Документы для подтверждения срока годности после вскрытия упаковки</vt:lpstr>
      <vt:lpstr>Вопросы - ответы</vt:lpstr>
      <vt:lpstr>Всё бы хорошо, но есть ТОП 5 технических ошибок </vt:lpstr>
      <vt:lpstr>Обязательные для заполнения графы для ОК  на Портале Поставщика</vt:lpstr>
      <vt:lpstr>Портал поставщика</vt:lpstr>
      <vt:lpstr>Портал поставщика</vt:lpstr>
      <vt:lpstr>Портал поставщика</vt:lpstr>
      <vt:lpstr>Портал поставщика</vt:lpstr>
      <vt:lpstr>Портал поставщика</vt:lpstr>
      <vt:lpstr>Примеры основных технических нарушений</vt:lpstr>
      <vt:lpstr>Документы качества – декларация о соответствии</vt:lpstr>
      <vt:lpstr>Документы качества – свидетельство о государственной регистрации</vt:lpstr>
      <vt:lpstr>Портал поставщика</vt:lpstr>
      <vt:lpstr>Оформление результата проверки</vt:lpstr>
      <vt:lpstr>Наша команда профессионалов</vt:lpstr>
      <vt:lpstr>Спасибо за внимание!</vt:lpstr>
      <vt:lpstr>Как пройти аудит? Лайфхаки. </vt:lpstr>
      <vt:lpstr>Можно ли избежать аудита? </vt:lpstr>
      <vt:lpstr>Аудит поставщиков в «Ленте»</vt:lpstr>
      <vt:lpstr>Договор поставки</vt:lpstr>
      <vt:lpstr>Мониторинг качества и безопасности продукции</vt:lpstr>
      <vt:lpstr>Оценка поставщика  по результатам мониторинга:</vt:lpstr>
      <vt:lpstr>Аудит как возможность для развития. </vt:lpstr>
      <vt:lpstr>Презентация PowerPoint</vt:lpstr>
      <vt:lpstr>Аудит с поставщиком согласовывается заранее. План аудита</vt:lpstr>
      <vt:lpstr>План аудита (продолжение).</vt:lpstr>
      <vt:lpstr>Условия аудита.</vt:lpstr>
      <vt:lpstr>Лайфхаки.</vt:lpstr>
      <vt:lpstr>Лайфхаки.</vt:lpstr>
      <vt:lpstr>Что такое «критичное несоответствие».</vt:lpstr>
      <vt:lpstr>Презентация PowerPoint</vt:lpstr>
      <vt:lpstr>Вопрос - ответ. </vt:lpstr>
      <vt:lpstr>Что делать если аудит провален? </vt:lpstr>
      <vt:lpstr>Презентация PowerPoint</vt:lpstr>
      <vt:lpstr>Презентация PowerPoint</vt:lpstr>
      <vt:lpstr>Презентация PowerPoint</vt:lpstr>
      <vt:lpstr>Спасибо за внимание!</vt:lpstr>
      <vt:lpstr>Управляем качеством вместе?</vt:lpstr>
      <vt:lpstr>На страже стандартов качества</vt:lpstr>
      <vt:lpstr>Презентация PowerPoint</vt:lpstr>
      <vt:lpstr>Карта России по дивизионам «Ленты»</vt:lpstr>
      <vt:lpstr>Основные направления в работе</vt:lpstr>
      <vt:lpstr>Каждая жалоба важна! Путь от покупателя к изготовителю</vt:lpstr>
      <vt:lpstr>Жалобы покупателей</vt:lpstr>
      <vt:lpstr>Несоответствия в маркировке «Честный Знак»</vt:lpstr>
      <vt:lpstr>Основные этапы работы с несоответствующим товаром</vt:lpstr>
      <vt:lpstr>Что мы ожидаем от поставщика/изготовителя: </vt:lpstr>
      <vt:lpstr>Что будет, если товар решил сыграть в игру «угадай, что внутри»?</vt:lpstr>
      <vt:lpstr>Причины и критерии блокировки товаров к заказам</vt:lpstr>
      <vt:lpstr>Лабораторные исследования товаров</vt:lpstr>
      <vt:lpstr>Работа с запросами/предписаниями надзорных органов  </vt:lpstr>
      <vt:lpstr>             Потребительский индекс товара (ПИТ) – показатель, который отражает соотношение +/- оценок товара покупателями. Он может быть от -100% до +100%.  ПИТ точнее показывает  воспринимаемое покупателями качество и позволяет оперативно выявлять позитивные и негативные тренды.  </vt:lpstr>
      <vt:lpstr>Другие критерии блокировки:</vt:lpstr>
      <vt:lpstr>Общие условия разблокировки для всех видов несоответствий.</vt:lpstr>
      <vt:lpstr>Вопрос - Ответ</vt:lpstr>
      <vt:lpstr>Виды компенсаций    Возврат производится с места обнаружения брака по Уведомлению на № 41… </vt:lpstr>
      <vt:lpstr>Оформление Уведомления о возврате № 41 и Доверенности</vt:lpstr>
      <vt:lpstr>Презентация PowerPoint</vt:lpstr>
      <vt:lpstr>Утилизация</vt:lpstr>
      <vt:lpstr>Разница процессов согласования брака (порчи) и нарушений в маркировке «Честный знак».</vt:lpstr>
      <vt:lpstr>Спасибо за внимание!</vt:lpstr>
      <vt:lpstr>Особенности в работе с товарами МультиМедиа</vt:lpstr>
      <vt:lpstr>Все про претензии</vt:lpstr>
      <vt:lpstr>Шаг 1</vt:lpstr>
      <vt:lpstr>Шаг 1</vt:lpstr>
      <vt:lpstr>Процедуры работы с СЦ в «Ленте»</vt:lpstr>
      <vt:lpstr>Шаг 1</vt:lpstr>
      <vt:lpstr>Сервисные центры (СЦ) – ключевой партнер в диагностике </vt:lpstr>
      <vt:lpstr>Процедуры работы с СЦ в «Ленте»</vt:lpstr>
      <vt:lpstr>Заключение</vt:lpstr>
      <vt:lpstr>Спасибо за внимание!</vt:lpstr>
      <vt:lpstr>Все под контролем? </vt:lpstr>
      <vt:lpstr>Ваша продукция в безопасности.</vt:lpstr>
      <vt:lpstr>Требования к приемке товара</vt:lpstr>
      <vt:lpstr>Требования к приемке товара</vt:lpstr>
      <vt:lpstr>Требования при приемке к проверке температурных режимов транспортировки и температуры продукции, требующей особых условий хранения</vt:lpstr>
      <vt:lpstr>Контроль условий хранения товаров</vt:lpstr>
      <vt:lpstr>Презентация PowerPoint</vt:lpstr>
      <vt:lpstr>Корректирующие действия, в случае выявления несоответствия температурного режима</vt:lpstr>
      <vt:lpstr>Презентация PowerPoint</vt:lpstr>
      <vt:lpstr>Вопрос - Ответ</vt:lpstr>
      <vt:lpstr>Спасибо за внимание!</vt:lpstr>
      <vt:lpstr>ИНФОРМАЦИЯ ДЛЯ ПОСТАВЩИКА  Работа с товарами СТМ</vt:lpstr>
      <vt:lpstr>Хендбук для поставщиков товаров СТМ</vt:lpstr>
      <vt:lpstr>ВЫБОР ПОСТАВЩИКА</vt:lpstr>
      <vt:lpstr>ТЕНДЕР. Небиржевые позиции</vt:lpstr>
      <vt:lpstr>ВВОД ТОВАРА СТМ</vt:lpstr>
      <vt:lpstr>ВВОД ТОВАРА СТМ</vt:lpstr>
      <vt:lpstr>Презентация PowerPoint</vt:lpstr>
      <vt:lpstr>АУДИТЫ ПРОИЗВОДСТВЕННЫХ ПЛОЩАДОК СТМ: основные условия</vt:lpstr>
      <vt:lpstr>АУДИТЫ ПРОИЗВОДСТВЕННЫХ ПЛОЩАДОК СТМ: ВНЕПЛАНОВЫЕ</vt:lpstr>
      <vt:lpstr>АУДИТЫ ПРОИЗВОДСТВЕННЫХ ПЛОЩАДОК СТМ: ПЛАНОВЫЕ</vt:lpstr>
      <vt:lpstr>ПРОЦЕСС ВВОДА ТОВАРА СТМ</vt:lpstr>
      <vt:lpstr>КОНТРОЛЬ КАЧЕСТВА СТМ</vt:lpstr>
      <vt:lpstr>ПРОВЕРКА СООТВЕТСТВИЯ ТОВАРА СТМ : объективное качество</vt:lpstr>
      <vt:lpstr>ОЦЕНКА УДОВЛЕТВОРЕННОСТИ ПОКУПАТЕЛЕЙ: воспринимаемое качество</vt:lpstr>
      <vt:lpstr>ОЦЕНКА УДОВЛЕТВОРЕННОСТИ ПОКУПАТЕЛЕЙ: мониторинг отзывов, жалоб, оценок покупателей</vt:lpstr>
      <vt:lpstr>ПРИМЕР</vt:lpstr>
      <vt:lpstr>Критерии оценки</vt:lpstr>
      <vt:lpstr>Проверка соответствия товара экспертные дегустации в офисе СПб</vt:lpstr>
      <vt:lpstr>ОЦЕНКА УДОВЛЕТВОРЕННОСТИ ПОКУПАТЕЛЕЙ: Мастерские</vt:lpstr>
      <vt:lpstr>ОЦЕНКА УДОВЛЕТВОРЕННОСТИ ПОКУПАТЕЛЕЙ: онлайн-опросы</vt:lpstr>
      <vt:lpstr>ПРОЦЕСС УЛУЧШЕНИЯ КАЧЕСТВА</vt:lpstr>
      <vt:lpstr>БЛОКИРОВКА ТОВАРА/ПОСТАВЩИКА ПО КАЧЕСТВУ</vt:lpstr>
      <vt:lpstr>Спасибо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презентации  «Группа Лента»</dc:title>
  <dc:creator>Копчикова Юлия</dc:creator>
  <cp:lastModifiedBy>Головнева Светлана</cp:lastModifiedBy>
  <cp:revision>54</cp:revision>
  <dcterms:created xsi:type="dcterms:W3CDTF">2025-09-24T08:37:47Z</dcterms:created>
  <dcterms:modified xsi:type="dcterms:W3CDTF">2025-10-02T07:45:49Z</dcterms:modified>
</cp:coreProperties>
</file>